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1" r:id="rId4"/>
    <p:sldMasterId id="2147483682" r:id="rId5"/>
    <p:sldMasterId id="2147483688" r:id="rId6"/>
  </p:sldMasterIdLst>
  <p:notesMasterIdLst>
    <p:notesMasterId r:id="rId19"/>
  </p:notesMasterIdLst>
  <p:sldIdLst>
    <p:sldId id="261" r:id="rId7"/>
    <p:sldId id="2147480996" r:id="rId8"/>
    <p:sldId id="2147482587" r:id="rId9"/>
    <p:sldId id="2147482573" r:id="rId10"/>
    <p:sldId id="2147482586" r:id="rId11"/>
    <p:sldId id="2147482566" r:id="rId12"/>
    <p:sldId id="2147481029" r:id="rId13"/>
    <p:sldId id="2147482561" r:id="rId14"/>
    <p:sldId id="2147482580" r:id="rId15"/>
    <p:sldId id="2147482585" r:id="rId16"/>
    <p:sldId id="2147482570" r:id="rId17"/>
    <p:sldId id="2147482563" r:id="rId18"/>
  </p:sldIdLst>
  <p:sldSz cx="12192000" cy="6858000"/>
  <p:notesSz cx="6794500" cy="9906000"/>
  <p:embeddedFontLst>
    <p:embeddedFont>
      <p:font typeface="Aldhabi" panose="01000000000000000000" pitchFamily="2" charset="-78"/>
      <p:regular r:id="rId20"/>
    </p:embeddedFont>
    <p:embeddedFont>
      <p:font typeface="Century Gothic" panose="020B0502020202020204" pitchFamily="34" charset="0"/>
      <p:regular r:id="rId21"/>
      <p:bold r:id="rId22"/>
      <p:italic r:id="rId23"/>
      <p:boldItalic r:id="rId24"/>
    </p:embeddedFont>
    <p:embeddedFont>
      <p:font typeface="Corbel" panose="020B0503020204020204" pitchFamily="34" charset="0"/>
      <p:regular r:id="rId25"/>
      <p:bold r:id="rId26"/>
      <p:italic r:id="rId27"/>
      <p:boldItalic r:id="rId28"/>
    </p:embeddedFont>
    <p:embeddedFont>
      <p:font typeface="DM Sans" pitchFamily="2" charset="0"/>
      <p:regular r:id="rId29"/>
      <p:bold r:id="rId30"/>
      <p:italic r:id="rId31"/>
      <p:boldItalic r:id="rId32"/>
    </p:embeddedFont>
    <p:embeddedFont>
      <p:font typeface="DM Sans 14pt Light" pitchFamily="2" charset="0"/>
      <p:regular r:id="rId33"/>
      <p:italic r:id="rId34"/>
    </p:embeddedFont>
    <p:embeddedFont>
      <p:font typeface="DM Sans SemiBold" panose="020B0604020202020204" charset="0"/>
      <p:bold r:id="rId35"/>
      <p:boldItalic r:id="rId36"/>
    </p:embeddedFont>
    <p:embeddedFont>
      <p:font typeface="Montserrat" panose="00000500000000000000" pitchFamily="2" charset="0"/>
      <p:regular r:id="rId37"/>
      <p:bold r:id="rId38"/>
      <p:italic r:id="rId39"/>
      <p:boldItalic r:id="rId40"/>
    </p:embeddedFont>
    <p:embeddedFont>
      <p:font typeface="Montserrat Black" panose="00000A00000000000000" pitchFamily="2" charset="0"/>
      <p:bold r:id="rId41"/>
      <p:boldItalic r:id="rId42"/>
    </p:embeddedFont>
    <p:embeddedFont>
      <p:font typeface="Montserrat ExtraBold" panose="00000900000000000000" pitchFamily="2" charset="0"/>
      <p:bold r:id="rId43"/>
      <p:boldItalic r:id="rId44"/>
    </p:embeddedFont>
    <p:embeddedFont>
      <p:font typeface="Montserrat Medium" panose="00000600000000000000" pitchFamily="2" charset="0"/>
      <p:regular r:id="rId45"/>
      <p:italic r:id="rId46"/>
    </p:embeddedFont>
    <p:embeddedFont>
      <p:font typeface="Montserrat SemiBold" panose="00000700000000000000" pitchFamily="2" charset="0"/>
      <p:bold r:id="rId47"/>
      <p:boldItalic r:id="rId48"/>
    </p:embeddedFont>
  </p:embeddedFont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8974808-9FD4-5CB6-0011-5A84CEDABE20}" name="Leonardo Costa" initials="LC" userId="S::leonardo.costa-nip@esgas.com.br::870c3507-5930-460b-9725-ed41cd6b52a3" providerId="AD"/>
  <p188:author id="{3E84F412-AD8A-44A9-A932-9FEDDB8F97AB}" name="Gabriel Mannarelli Vechiato" initials="GV" userId="S::gabriel.vechiato@energisa.com.br::7f472a7d-98c5-4fca-8ca3-9ac7847173cd" providerId="AD"/>
  <p188:author id="{B0443D25-6603-6FEC-8B10-76959FC2A49E}" name="Raphael Pereira dos Santos" initials="RS" userId="S::rpereira@energisa.com.br::abfeabc6-2fb7-4ccc-baf3-e05b1b3c6d3c" providerId="AD"/>
  <p188:author id="{4963143F-6161-6C71-E975-1BA3AEBBFF8A}" name="Guilherme Garcez Cabral" initials="GC" userId="S::guilherme.cabral@energisa.com.br::218d6919-2053-435f-8536-af4ea9526658" providerId="AD"/>
  <p188:author id="{85962A50-E21B-7E2A-DF26-EAB625D7033D}" name="Juliano Augusto Nunes Paixao" initials="JP" userId="S::juliano.paixao@energisa.com.br::2bf714f8-3cc8-44b9-a2b0-a0d87eb89bf6" providerId="AD"/>
  <p188:author id="{763D716E-C93D-FD81-36E1-1F69F3560AC8}" name="Tatiany Brito de Oliveira Gusmao" initials="TG" userId="S::tatiany.oliveira@energisa.com.br::45cbb6df-fc2f-4990-b0fa-c0de13c8562b" providerId="AD"/>
  <p188:author id="{352D1B85-29D1-C06C-50B1-4F03CC8D1EC0}" name="Fernanda Vieira Borel Coutinho" initials="FC" userId="S::fvieira.coutinho@energisa.com.br::ab328658-694d-4809-918a-cb9e172f8dcf" providerId="AD"/>
  <p188:author id="{8D6E6C87-7C28-A068-194D-A7C4025E18E7}" name="cristiane kawasaki" initials="ck" userId="2c814d6031b85a38" providerId="Windows Live"/>
  <p188:author id="{573A468F-C4E3-5376-B49A-1782D4211B52}" name="Vinicius Ferreira Rizerio Chaves" initials="VC" userId="S::vferreira.rchaves@energisa.com.br::110a4f0f-21bc-4d8b-9691-4f6af441505f" providerId="AD"/>
  <p188:author id="{462C2E99-3A68-0A17-2C23-DE34F40AF723}" name="Jadson Goncalves Soares" initials="" userId="S::jadson.soares@energisa.com.br::bddff4fb-baff-4833-81e8-2cc7e709276d" providerId="AD"/>
  <p188:author id="{57ACD0A9-ACF5-0F26-F8F4-B6B5207AB7CA}" name="Alessandro Locatelli" initials="AL" userId="S::alessandro.locatelli@energisa.com.br::7f7b87b5-d3d8-4f2d-b911-e144a51a30b1" providerId="AD"/>
  <p188:author id="{FFB326E7-772F-BB7F-560E-CEFD73D505CD}" name="Fabio Antonio Bertollo" initials="FB" userId="S::fabio.bertollo@energisa.com.br::21f4ea03-d60c-4af1-9c01-1f0968ff7dc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021"/>
    <a:srgbClr val="C2CD23"/>
    <a:srgbClr val="156082"/>
    <a:srgbClr val="163E64"/>
    <a:srgbClr val="92D050"/>
    <a:srgbClr val="D9D9D9"/>
    <a:srgbClr val="00B0F0"/>
    <a:srgbClr val="ED7D31"/>
    <a:srgbClr val="005174"/>
    <a:srgbClr val="007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3DD16D-4426-49D5-989B-ECEEA92F97AB}" v="4" dt="2026-04-28T11:36:06.186"/>
    <p1510:client id="{70E9659A-0506-4AFF-BDE2-870FF3B71EE7}" v="403" dt="2026-04-28T13:10:16.837"/>
    <p1510:client id="{A3DBCC79-D5C6-4050-B658-D9481323E86D}" v="131" dt="2026-04-28T12:30:33.74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Estilo E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font" Target="fonts/font23.fntdata"/><Relationship Id="rId47" Type="http://schemas.openxmlformats.org/officeDocument/2006/relationships/font" Target="fonts/font28.fntdata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font" Target="fonts/font10.fntdata"/><Relationship Id="rId11" Type="http://schemas.openxmlformats.org/officeDocument/2006/relationships/slide" Target="slides/slide5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font" Target="fonts/font21.fntdata"/><Relationship Id="rId45" Type="http://schemas.openxmlformats.org/officeDocument/2006/relationships/font" Target="fonts/font26.fntdata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schemas.openxmlformats.org/officeDocument/2006/relationships/font" Target="fonts/font25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font" Target="fonts/font24.fntdata"/><Relationship Id="rId48" Type="http://schemas.openxmlformats.org/officeDocument/2006/relationships/font" Target="fonts/font29.fntdata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openxmlformats.org/officeDocument/2006/relationships/font" Target="fonts/font27.fntdata"/><Relationship Id="rId20" Type="http://schemas.openxmlformats.org/officeDocument/2006/relationships/font" Target="fonts/font1.fntdata"/><Relationship Id="rId41" Type="http://schemas.openxmlformats.org/officeDocument/2006/relationships/font" Target="fonts/font22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4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energisa.sharepoint.com/sites/SUPPLYEGRANDESCONTAS/Documentos%20Compartilhados/19%20-%20Solicita&#231;&#245;es%20de%20An&#225;lises%20e%20Avalia&#231;&#245;es/Apresenta&#231;&#227;o%20Gas%20Week/gas%20week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1.xml"/><Relationship Id="rId4" Type="http://schemas.openxmlformats.org/officeDocument/2006/relationships/oleObject" Target="https://energisa.sharepoint.com/sites/SUPPLYEGRANDESCONTAS/Documentos%20Compartilhados/19%20-%20Solicita&#231;&#245;es%20de%20An&#225;lises%20e%20Avalia&#231;&#245;es/Apresenta&#231;&#227;o%20Gas%20Week/Novo(a)%20Planilha%20do%20Microsoft%20Excel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2.xml"/><Relationship Id="rId4" Type="http://schemas.openxmlformats.org/officeDocument/2006/relationships/oleObject" Target="https://energisa.sharepoint.com/sites/SUPPLYEGRANDESCONTAS/Documentos%20Compartilhados/19%20-%20Solicita&#231;&#245;es%20de%20An&#225;lises%20e%20Avalia&#231;&#245;es/Apresenta&#231;&#227;o%20Gas%20Week/gas%20wee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INVESTIMENTO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rgbClr val="175FA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1BE-4BA9-820C-3189A324909E}"/>
              </c:ext>
            </c:extLst>
          </c:dPt>
          <c:dPt>
            <c:idx val="1"/>
            <c:bubble3D val="0"/>
            <c:spPr>
              <a:solidFill>
                <a:srgbClr val="41A63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E-4BA9-820C-3189A324909E}"/>
              </c:ext>
            </c:extLst>
          </c:dPt>
          <c:dPt>
            <c:idx val="2"/>
            <c:bubble3D val="0"/>
            <c:spPr>
              <a:solidFill>
                <a:srgbClr val="ADC91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E-4BA9-820C-3189A324909E}"/>
              </c:ext>
            </c:extLst>
          </c:dPt>
          <c:cat>
            <c:strRef>
              <c:f>Planilha1!$A$2:$A$4</c:f>
              <c:strCache>
                <c:ptCount val="3"/>
                <c:pt idx="0">
                  <c:v>INTERIORIZAÇÃO DO DESENVOLVIMENTO DO ESTADO</c:v>
                </c:pt>
                <c:pt idx="1">
                  <c:v>DEMOCRATIZAÇÃO ENERGÉTICA </c:v>
                </c:pt>
                <c:pt idx="2">
                  <c:v>OPERAÇÃO SEGURA, CONFIÁVEL E _x000b_DE QUALIDADE</c:v>
                </c:pt>
              </c:strCache>
            </c:strRef>
          </c:cat>
          <c:val>
            <c:numRef>
              <c:f>Planilha1!$B$2:$B$4</c:f>
              <c:numCache>
                <c:formatCode>#,##0</c:formatCode>
                <c:ptCount val="3"/>
                <c:pt idx="0">
                  <c:v>330000000</c:v>
                </c:pt>
                <c:pt idx="1">
                  <c:v>460000000</c:v>
                </c:pt>
                <c:pt idx="2">
                  <c:v>21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BE-4BA9-820C-3189A3249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s!$B$5</c:f>
              <c:strCache>
                <c:ptCount val="1"/>
                <c:pt idx="0">
                  <c:v>Industrial</c:v>
                </c:pt>
              </c:strCache>
            </c:strRef>
          </c:tx>
          <c:spPr>
            <a:solidFill>
              <a:srgbClr val="0071A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defRPr>
                    </a:pPr>
                    <a:fld id="{173A8557-0866-4A53-B88B-E2B94E596BE8}" type="CELLRANGE">
                      <a:rPr lang="en-US"/>
                      <a:pPr>
                        <a:defRPr>
                          <a:solidFill>
                            <a:schemeClr val="bg1"/>
                          </a:solidFill>
                          <a:latin typeface="Montserrat" panose="00000500000000000000" pitchFamily="2" charset="0"/>
                        </a:defRPr>
                      </a:pPr>
                      <a:t>[INTERVALODACÉLULA]</a:t>
                    </a:fld>
                    <a:endParaRPr lang="pt-BR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Montserrat" panose="00000500000000000000" pitchFamily="2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115C-4A60-909C-CED8B3A153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759C2D8-62FE-4D3D-96C9-17C97F43765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F061-4BB0-8708-6899E44FDCF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0901073-50E9-47F8-B851-5F6F306C2AA1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061-4BB0-8708-6899E44FDC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2A73DD7-5900-4219-9BCE-C63691D92B45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F061-4BB0-8708-6899E44FDC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5F39B76-9C45-4061-8F82-C00640AB6227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F061-4BB0-8708-6899E44FDCF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5:$G$5</c:f>
              <c:numCache>
                <c:formatCode>_(* #,##0.00_);_(* \(#,##0.00\);_(* "-"??_);_(@_)</c:formatCode>
                <c:ptCount val="5"/>
                <c:pt idx="0">
                  <c:v>677292.90899100003</c:v>
                </c:pt>
                <c:pt idx="1">
                  <c:v>693244.45775000006</c:v>
                </c:pt>
                <c:pt idx="2">
                  <c:v>873505.80350000015</c:v>
                </c:pt>
                <c:pt idx="3">
                  <c:v>893458.45775000029</c:v>
                </c:pt>
                <c:pt idx="4">
                  <c:v>967421.2204166667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16:$G$16</c15:f>
                <c15:dlblRangeCache>
                  <c:ptCount val="5"/>
                  <c:pt idx="0">
                    <c:v>94,13%</c:v>
                  </c:pt>
                  <c:pt idx="1">
                    <c:v>93,60%</c:v>
                  </c:pt>
                  <c:pt idx="2">
                    <c:v>94,18%</c:v>
                  </c:pt>
                  <c:pt idx="3">
                    <c:v>93,76%</c:v>
                  </c:pt>
                  <c:pt idx="4">
                    <c:v>93,2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115C-4A60-909C-CED8B3A15310}"/>
            </c:ext>
          </c:extLst>
        </c:ser>
        <c:ser>
          <c:idx val="1"/>
          <c:order val="1"/>
          <c:tx>
            <c:strRef>
              <c:f>Graficos!$B$6</c:f>
              <c:strCache>
                <c:ptCount val="1"/>
                <c:pt idx="0">
                  <c:v>Matéria-Prima</c:v>
                </c:pt>
              </c:strCache>
            </c:strRef>
          </c:tx>
          <c:spPr>
            <a:solidFill>
              <a:srgbClr val="F3702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686556E-1D16-45D6-92D2-13063C9B4F36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F061-4BB0-8708-6899E44FDCF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3DB59A7-2F7E-45A5-862A-127240B9683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F061-4BB0-8708-6899E44FDCF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2FB3F09-66F2-4A0E-8C30-AFBD97B6CFB1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061-4BB0-8708-6899E44FDC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B4496D5-7282-4901-87AE-FE4A56663D15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F061-4BB0-8708-6899E44FDC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BE6F200-97AD-4AF1-8900-D5CA4F393ECA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F061-4BB0-8708-6899E44FD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6:$G$6</c:f>
              <c:numCache>
                <c:formatCode>_(* #,##0.00_);_(* \(#,##0.00\);_(* "-"??_);_(@_)</c:formatCode>
                <c:ptCount val="5"/>
                <c:pt idx="0">
                  <c:v>12125.366068333335</c:v>
                </c:pt>
                <c:pt idx="1">
                  <c:v>12215.333333333336</c:v>
                </c:pt>
                <c:pt idx="2">
                  <c:v>12248.800000000001</c:v>
                </c:pt>
                <c:pt idx="3">
                  <c:v>12215.333333333336</c:v>
                </c:pt>
                <c:pt idx="4">
                  <c:v>12215.33333333333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17:$G$17</c15:f>
                <c15:dlblRangeCache>
                  <c:ptCount val="5"/>
                  <c:pt idx="0">
                    <c:v>1,69%</c:v>
                  </c:pt>
                  <c:pt idx="1">
                    <c:v>1,65%</c:v>
                  </c:pt>
                  <c:pt idx="2">
                    <c:v>1,32%</c:v>
                  </c:pt>
                  <c:pt idx="3">
                    <c:v>1,28%</c:v>
                  </c:pt>
                  <c:pt idx="4">
                    <c:v>1,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115C-4A60-909C-CED8B3A15310}"/>
            </c:ext>
          </c:extLst>
        </c:ser>
        <c:ser>
          <c:idx val="2"/>
          <c:order val="2"/>
          <c:tx>
            <c:strRef>
              <c:f>Graficos!$B$7</c:f>
              <c:strCache>
                <c:ptCount val="1"/>
                <c:pt idx="0">
                  <c:v>GNV</c:v>
                </c:pt>
              </c:strCache>
            </c:strRef>
          </c:tx>
          <c:spPr>
            <a:solidFill>
              <a:srgbClr val="00723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0C5A43D-4D3B-4194-A92A-8270F9F6C1D8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F061-4BB0-8708-6899E44FDCF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93C76D4-7DE9-4D7D-B0E2-2D71DFFB4D06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F061-4BB0-8708-6899E44FDCF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0CE0538-B765-4BE1-9D74-AFAF420E33C3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F061-4BB0-8708-6899E44FDC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2F652E8-EF94-4193-AFC4-D1ED0128EB54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F061-4BB0-8708-6899E44FDC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035D202-E845-4253-8C09-F47872CEC23F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F061-4BB0-8708-6899E44FD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7:$G$7</c:f>
              <c:numCache>
                <c:formatCode>_(* #,##0.00_);_(* \(#,##0.00\);_(* "-"??_);_(@_)</c:formatCode>
                <c:ptCount val="5"/>
                <c:pt idx="0">
                  <c:v>17138.564729252375</c:v>
                </c:pt>
                <c:pt idx="1">
                  <c:v>20205.440523712699</c:v>
                </c:pt>
                <c:pt idx="2">
                  <c:v>23124.846793251032</c:v>
                </c:pt>
                <c:pt idx="3">
                  <c:v>26393.599322112914</c:v>
                </c:pt>
                <c:pt idx="4">
                  <c:v>34614.78238389262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18:$G$18</c15:f>
                <c15:dlblRangeCache>
                  <c:ptCount val="5"/>
                  <c:pt idx="0">
                    <c:v>2,38%</c:v>
                  </c:pt>
                  <c:pt idx="1">
                    <c:v>2,73%</c:v>
                  </c:pt>
                  <c:pt idx="2">
                    <c:v>2,49%</c:v>
                  </c:pt>
                  <c:pt idx="3">
                    <c:v>2,77%</c:v>
                  </c:pt>
                  <c:pt idx="4">
                    <c:v>3,3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115C-4A60-909C-CED8B3A15310}"/>
            </c:ext>
          </c:extLst>
        </c:ser>
        <c:ser>
          <c:idx val="3"/>
          <c:order val="3"/>
          <c:tx>
            <c:strRef>
              <c:f>Graficos!$B$8</c:f>
              <c:strCache>
                <c:ptCount val="1"/>
                <c:pt idx="0">
                  <c:v>Climatizaçã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964004442617185E-2"/>
                  <c:y val="0"/>
                </c:manualLayout>
              </c:layout>
              <c:tx>
                <c:rich>
                  <a:bodyPr/>
                  <a:lstStyle/>
                  <a:p>
                    <a:fld id="{985B8AC9-45C8-4CB1-AC07-B360B1579398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F061-4BB0-8708-6899E44FDCFD}"/>
                </c:ext>
              </c:extLst>
            </c:dLbl>
            <c:dLbl>
              <c:idx val="1"/>
              <c:layout>
                <c:manualLayout>
                  <c:x val="6.4964004442617157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defRPr>
                    </a:pPr>
                    <a:fld id="{F152973D-F9AA-47BB-ADAA-F11656EF16FB}" type="CELLRANGE">
                      <a:rPr lang="en-US"/>
                      <a:pPr>
                        <a:defRPr>
                          <a:latin typeface="Montserrat" panose="00000500000000000000" pitchFamily="2" charset="0"/>
                        </a:defRPr>
                      </a:pPr>
                      <a:t>[INTERVALODACÉLULA]</a:t>
                    </a:fld>
                    <a:endParaRPr lang="pt-B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Montserrat" panose="00000500000000000000" pitchFamily="2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15C-4A60-909C-CED8B3A15310}"/>
                </c:ext>
              </c:extLst>
            </c:dLbl>
            <c:dLbl>
              <c:idx val="2"/>
              <c:layout>
                <c:manualLayout>
                  <c:x val="6.4964004442617157E-2"/>
                  <c:y val="0"/>
                </c:manualLayout>
              </c:layout>
              <c:tx>
                <c:rich>
                  <a:bodyPr/>
                  <a:lstStyle/>
                  <a:p>
                    <a:fld id="{9DD4F2C1-D586-4CE1-8083-370D2CA124D8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15C-4A60-909C-CED8B3A15310}"/>
                </c:ext>
              </c:extLst>
            </c:dLbl>
            <c:dLbl>
              <c:idx val="3"/>
              <c:layout>
                <c:manualLayout>
                  <c:x val="6.4964004442617157E-2"/>
                  <c:y val="0"/>
                </c:manualLayout>
              </c:layout>
              <c:tx>
                <c:rich>
                  <a:bodyPr/>
                  <a:lstStyle/>
                  <a:p>
                    <a:fld id="{FDBAF4FE-C832-42AF-B56D-681C7E674EBC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F061-4BB0-8708-6899E44FDCFD}"/>
                </c:ext>
              </c:extLst>
            </c:dLbl>
            <c:dLbl>
              <c:idx val="4"/>
              <c:layout>
                <c:manualLayout>
                  <c:x val="6.4964004442617032E-2"/>
                  <c:y val="0"/>
                </c:manualLayout>
              </c:layout>
              <c:tx>
                <c:rich>
                  <a:bodyPr/>
                  <a:lstStyle/>
                  <a:p>
                    <a:fld id="{306642C1-B4D3-46FD-8A17-7DA591C21533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F061-4BB0-8708-6899E44FD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8:$G$8</c:f>
              <c:numCache>
                <c:formatCode>_(* #,##0.00_);_(* \(#,##0.00\);_(* "-"??_);_(@_)</c:formatCode>
                <c:ptCount val="5"/>
                <c:pt idx="0">
                  <c:v>143.48084800000001</c:v>
                </c:pt>
                <c:pt idx="1">
                  <c:v>124.1</c:v>
                </c:pt>
                <c:pt idx="2">
                  <c:v>124.44000000000004</c:v>
                </c:pt>
                <c:pt idx="3">
                  <c:v>124.10000000000004</c:v>
                </c:pt>
                <c:pt idx="4">
                  <c:v>124.100000000000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19:$G$19</c15:f>
                <c15:dlblRangeCache>
                  <c:ptCount val="5"/>
                  <c:pt idx="0">
                    <c:v>0,02%</c:v>
                  </c:pt>
                  <c:pt idx="1">
                    <c:v>0,02%</c:v>
                  </c:pt>
                  <c:pt idx="2">
                    <c:v>0,01%</c:v>
                  </c:pt>
                  <c:pt idx="3">
                    <c:v>0,01%</c:v>
                  </c:pt>
                  <c:pt idx="4">
                    <c:v>0,0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115C-4A60-909C-CED8B3A15310}"/>
            </c:ext>
          </c:extLst>
        </c:ser>
        <c:ser>
          <c:idx val="4"/>
          <c:order val="4"/>
          <c:tx>
            <c:strRef>
              <c:f>Graficos!$B$9</c:f>
              <c:strCache>
                <c:ptCount val="1"/>
                <c:pt idx="0">
                  <c:v>Comercial</c:v>
                </c:pt>
              </c:strCache>
            </c:strRef>
          </c:tx>
          <c:spPr>
            <a:solidFill>
              <a:srgbClr val="C2CD2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BCF02C0-7507-4E76-9807-6135CB40C5E0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F061-4BB0-8708-6899E44FDCFD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defRPr>
                    </a:pPr>
                    <a:fld id="{C8871167-ADF4-4734-816E-61A4DB18F72C}" type="CELLRANGE">
                      <a:rPr lang="en-US"/>
                      <a:pPr>
                        <a:defRPr>
                          <a:latin typeface="Montserrat" panose="00000500000000000000" pitchFamily="2" charset="0"/>
                        </a:defRPr>
                      </a:pPr>
                      <a:t>[INTERVALODACÉLULA]</a:t>
                    </a:fld>
                    <a:endParaRPr lang="pt-B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Montserrat" panose="00000500000000000000" pitchFamily="2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15C-4A60-909C-CED8B3A153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3B1DD21-D28E-443A-B380-CB6E604FBDB2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F061-4BB0-8708-6899E44FDC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551A5C5-E6FC-4486-8B77-5F377D8D876E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F061-4BB0-8708-6899E44FDC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FD891C3-4390-4986-842F-7B5208B18FA4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F061-4BB0-8708-6899E44FD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9:$G$9</c:f>
              <c:numCache>
                <c:formatCode>_(* #,##0.00_);_(* \(#,##0.00\);_(* "-"??_);_(@_)</c:formatCode>
                <c:ptCount val="5"/>
                <c:pt idx="0">
                  <c:v>5528.0920079999996</c:v>
                </c:pt>
                <c:pt idx="1">
                  <c:v>6540.2398899999998</c:v>
                </c:pt>
                <c:pt idx="2">
                  <c:v>7690.5509257142858</c:v>
                </c:pt>
                <c:pt idx="3">
                  <c:v>8858.1162100000001</c:v>
                </c:pt>
                <c:pt idx="4">
                  <c:v>9982.165499999999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20:$G$20</c15:f>
                <c15:dlblRangeCache>
                  <c:ptCount val="5"/>
                  <c:pt idx="0">
                    <c:v>0,77%</c:v>
                  </c:pt>
                  <c:pt idx="1">
                    <c:v>0,88%</c:v>
                  </c:pt>
                  <c:pt idx="2">
                    <c:v>0,83%</c:v>
                  </c:pt>
                  <c:pt idx="3">
                    <c:v>0,93%</c:v>
                  </c:pt>
                  <c:pt idx="4">
                    <c:v>0,9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115C-4A60-909C-CED8B3A15310}"/>
            </c:ext>
          </c:extLst>
        </c:ser>
        <c:ser>
          <c:idx val="5"/>
          <c:order val="5"/>
          <c:tx>
            <c:strRef>
              <c:f>Graficos!$B$10</c:f>
              <c:strCache>
                <c:ptCount val="1"/>
                <c:pt idx="0">
                  <c:v>Residencial</c:v>
                </c:pt>
              </c:strCache>
            </c:strRef>
          </c:tx>
          <c:spPr>
            <a:solidFill>
              <a:srgbClr val="00517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F5ACA1E-465C-4AC3-B86F-56C33904B60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F061-4BB0-8708-6899E44FDCF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2702184-7422-4283-9896-69553A2C0749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F061-4BB0-8708-6899E44FDCF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288903A-5C50-4634-83AB-C65FCD949B4E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F061-4BB0-8708-6899E44FDC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44063B0-7C6F-4D84-AB90-1896D69AADC3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F061-4BB0-8708-6899E44FDC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530E30F-88B6-4836-A119-7083DB2BA1DC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F061-4BB0-8708-6899E44FD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os!$C$4:$G$4</c:f>
              <c:numCache>
                <c:formatCode>General</c:formatCode>
                <c:ptCount val="5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</c:numCache>
            </c:numRef>
          </c:cat>
          <c:val>
            <c:numRef>
              <c:f>Graficos!$C$10:$G$10</c:f>
              <c:numCache>
                <c:formatCode>_(* #,##0.00_);_(* \(#,##0.00\);_(* "-"??_);_(@_)</c:formatCode>
                <c:ptCount val="5"/>
                <c:pt idx="0">
                  <c:v>7307.9517090929994</c:v>
                </c:pt>
                <c:pt idx="1">
                  <c:v>8304.1364194297348</c:v>
                </c:pt>
                <c:pt idx="2">
                  <c:v>10762.458126486232</c:v>
                </c:pt>
                <c:pt idx="3">
                  <c:v>11903.862606988279</c:v>
                </c:pt>
                <c:pt idx="4">
                  <c:v>13240.79743021142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Graficos!$C$21:$G$21</c15:f>
                <c15:dlblRangeCache>
                  <c:ptCount val="5"/>
                  <c:pt idx="0">
                    <c:v>1,02%</c:v>
                  </c:pt>
                  <c:pt idx="1">
                    <c:v>1,12%</c:v>
                  </c:pt>
                  <c:pt idx="2">
                    <c:v>1,16%</c:v>
                  </c:pt>
                  <c:pt idx="3">
                    <c:v>1,25%</c:v>
                  </c:pt>
                  <c:pt idx="4">
                    <c:v>1,2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115C-4A60-909C-CED8B3A153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6705136"/>
        <c:axId val="36713296"/>
      </c:barChart>
      <c:catAx>
        <c:axId val="3670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713296"/>
        <c:crosses val="autoZero"/>
        <c:auto val="1"/>
        <c:lblAlgn val="ctr"/>
        <c:lblOffset val="100"/>
        <c:noMultiLvlLbl val="0"/>
      </c:catAx>
      <c:valAx>
        <c:axId val="36713296"/>
        <c:scaling>
          <c:orientation val="minMax"/>
          <c:max val="1050000"/>
          <c:min val="500000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3670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32814299676569E-2"/>
          <c:y val="2.8124998269869694E-2"/>
          <c:w val="0.97513437140064685"/>
          <c:h val="0.90668756725593214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665954959"/>
        <c:axId val="665952079"/>
      </c:barChart>
      <c:catAx>
        <c:axId val="665954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bg1"/>
                </a:solidFill>
                <a:latin typeface="Montserrat ExtraBold" pitchFamily="2" charset="0"/>
                <a:ea typeface="+mn-ea"/>
                <a:cs typeface="+mn-cs"/>
              </a:defRPr>
            </a:pPr>
            <a:endParaRPr lang="pt-BR"/>
          </a:p>
        </c:txPr>
        <c:crossAx val="665952079"/>
        <c:crosses val="autoZero"/>
        <c:auto val="1"/>
        <c:lblAlgn val="ctr"/>
        <c:lblOffset val="100"/>
        <c:noMultiLvlLbl val="0"/>
      </c:catAx>
      <c:valAx>
        <c:axId val="66595207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95495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E-2A13-4361-BF10-D1210B0FA353}"/>
              </c:ext>
            </c:extLst>
          </c:dPt>
          <c:dPt>
            <c:idx val="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0-F91B-47BA-8521-8CF87F36AA5D}"/>
              </c:ext>
            </c:extLst>
          </c:dPt>
          <c:dPt>
            <c:idx val="2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A13-4361-BF10-D1210B0FA353}"/>
              </c:ext>
            </c:extLst>
          </c:dPt>
          <c:dPt>
            <c:idx val="3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A13-4361-BF10-D1210B0FA353}"/>
              </c:ext>
            </c:extLst>
          </c:dPt>
          <c:dPt>
            <c:idx val="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1-F91B-47BA-8521-8CF87F36AA5D}"/>
              </c:ext>
            </c:extLst>
          </c:dPt>
          <c:dPt>
            <c:idx val="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2-F91B-47BA-8521-8CF87F36AA5D}"/>
              </c:ext>
            </c:extLst>
          </c:dPt>
          <c:dPt>
            <c:idx val="6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3-F91B-47BA-8521-8CF87F36AA5D}"/>
              </c:ext>
            </c:extLst>
          </c:dPt>
          <c:dPt>
            <c:idx val="7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4-F91B-47BA-8521-8CF87F36AA5D}"/>
              </c:ext>
            </c:extLst>
          </c:dPt>
          <c:dPt>
            <c:idx val="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5-F91B-47BA-8521-8CF87F36AA5D}"/>
              </c:ext>
            </c:extLst>
          </c:dPt>
          <c:dPt>
            <c:idx val="9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A13-4361-BF10-D1210B0FA353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A13-4361-BF10-D1210B0FA353}"/>
              </c:ext>
            </c:extLst>
          </c:dPt>
          <c:dPt>
            <c:idx val="1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6-F91B-47BA-8521-8CF87F36AA5D}"/>
              </c:ext>
            </c:extLst>
          </c:dPt>
          <c:dPt>
            <c:idx val="1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7-F91B-47BA-8521-8CF87F36AA5D}"/>
              </c:ext>
            </c:extLst>
          </c:dPt>
          <c:dPt>
            <c:idx val="1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8-F91B-47BA-8521-8CF87F36AA5D}"/>
              </c:ext>
            </c:extLst>
          </c:dPt>
          <c:dPt>
            <c:idx val="1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9-F91B-47BA-8521-8CF87F36AA5D}"/>
              </c:ext>
            </c:extLst>
          </c:dPt>
          <c:dPt>
            <c:idx val="1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A-F91B-47BA-8521-8CF87F36AA5D}"/>
              </c:ext>
            </c:extLst>
          </c:dPt>
          <c:dPt>
            <c:idx val="1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A13-4361-BF10-D1210B0FA353}"/>
              </c:ext>
            </c:extLst>
          </c:dPt>
          <c:dPt>
            <c:idx val="1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A13-4361-BF10-D1210B0FA353}"/>
              </c:ext>
            </c:extLst>
          </c:dPt>
          <c:dPt>
            <c:idx val="1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B-F91B-47BA-8521-8CF87F36AA5D}"/>
              </c:ext>
            </c:extLst>
          </c:dPt>
          <c:dPt>
            <c:idx val="1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C-F91B-47BA-8521-8CF87F36AA5D}"/>
              </c:ext>
            </c:extLst>
          </c:dPt>
          <c:dPt>
            <c:idx val="20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D-F91B-47BA-8521-8CF87F36AA5D}"/>
              </c:ext>
            </c:extLst>
          </c:dPt>
          <c:dPt>
            <c:idx val="2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F-F91B-47BA-8521-8CF87F36AA5D}"/>
              </c:ext>
            </c:extLst>
          </c:dPt>
          <c:dPt>
            <c:idx val="2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E-F91B-47BA-8521-8CF87F36AA5D}"/>
              </c:ext>
            </c:extLst>
          </c:dPt>
          <c:dPt>
            <c:idx val="23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A13-4361-BF10-D1210B0FA353}"/>
              </c:ext>
            </c:extLst>
          </c:dPt>
          <c:dPt>
            <c:idx val="2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A13-4361-BF10-D1210B0FA353}"/>
              </c:ext>
            </c:extLst>
          </c:dPt>
          <c:dPt>
            <c:idx val="2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0-F91B-47BA-8521-8CF87F36AA5D}"/>
              </c:ext>
            </c:extLst>
          </c:dPt>
          <c:dPt>
            <c:idx val="26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1-F91B-47BA-8521-8CF87F36AA5D}"/>
              </c:ext>
            </c:extLst>
          </c:dPt>
          <c:dPt>
            <c:idx val="27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2-F91B-47BA-8521-8CF87F36AA5D}"/>
              </c:ext>
            </c:extLst>
          </c:dPt>
          <c:dPt>
            <c:idx val="2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3-F91B-47BA-8521-8CF87F36AA5D}"/>
              </c:ext>
            </c:extLst>
          </c:dPt>
          <c:dPt>
            <c:idx val="2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4-F91B-47BA-8521-8CF87F36AA5D}"/>
              </c:ext>
            </c:extLst>
          </c:dPt>
          <c:dPt>
            <c:idx val="3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A13-4361-BF10-D1210B0FA353}"/>
              </c:ext>
            </c:extLst>
          </c:dPt>
          <c:dPt>
            <c:idx val="3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2A13-4361-BF10-D1210B0FA353}"/>
              </c:ext>
            </c:extLst>
          </c:dPt>
          <c:dPt>
            <c:idx val="3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5-F91B-47BA-8521-8CF87F36AA5D}"/>
              </c:ext>
            </c:extLst>
          </c:dPt>
          <c:dPt>
            <c:idx val="3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6-F91B-47BA-8521-8CF87F36AA5D}"/>
              </c:ext>
            </c:extLst>
          </c:dPt>
          <c:dPt>
            <c:idx val="3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7-F91B-47BA-8521-8CF87F36AA5D}"/>
              </c:ext>
            </c:extLst>
          </c:dPt>
          <c:dPt>
            <c:idx val="3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8-F91B-47BA-8521-8CF87F36AA5D}"/>
              </c:ext>
            </c:extLst>
          </c:dPt>
          <c:dPt>
            <c:idx val="36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9-F91B-47BA-8521-8CF87F36AA5D}"/>
              </c:ext>
            </c:extLst>
          </c:dPt>
          <c:dPt>
            <c:idx val="3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2A13-4361-BF10-D1210B0FA353}"/>
              </c:ext>
            </c:extLst>
          </c:dPt>
          <c:dPt>
            <c:idx val="38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2A13-4361-BF10-D1210B0FA353}"/>
              </c:ext>
            </c:extLst>
          </c:dPt>
          <c:dPt>
            <c:idx val="3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A-F91B-47BA-8521-8CF87F36AA5D}"/>
              </c:ext>
            </c:extLst>
          </c:dPt>
          <c:dPt>
            <c:idx val="40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B-F91B-47BA-8521-8CF87F36AA5D}"/>
              </c:ext>
            </c:extLst>
          </c:dPt>
          <c:dPt>
            <c:idx val="4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C-F91B-47BA-8521-8CF87F36AA5D}"/>
              </c:ext>
            </c:extLst>
          </c:dPt>
          <c:dPt>
            <c:idx val="4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D-F91B-47BA-8521-8CF87F36AA5D}"/>
              </c:ext>
            </c:extLst>
          </c:dPt>
          <c:dPt>
            <c:idx val="4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E-F91B-47BA-8521-8CF87F36AA5D}"/>
              </c:ext>
            </c:extLst>
          </c:dPt>
          <c:dPt>
            <c:idx val="4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2A13-4361-BF10-D1210B0FA353}"/>
              </c:ext>
            </c:extLst>
          </c:dPt>
          <c:dPt>
            <c:idx val="4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2A13-4361-BF10-D1210B0FA353}"/>
              </c:ext>
            </c:extLst>
          </c:dPt>
          <c:dPt>
            <c:idx val="4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2A13-4361-BF10-D1210B0FA353}"/>
              </c:ext>
            </c:extLst>
          </c:dPt>
          <c:dPt>
            <c:idx val="4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2A13-4361-BF10-D1210B0FA353}"/>
              </c:ext>
            </c:extLst>
          </c:dPt>
          <c:dPt>
            <c:idx val="48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2A13-4361-BF10-D1210B0FA353}"/>
              </c:ext>
            </c:extLst>
          </c:dPt>
          <c:dPt>
            <c:idx val="4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F-F91B-47BA-8521-8CF87F36AA5D}"/>
              </c:ext>
            </c:extLst>
          </c:dPt>
          <c:dPt>
            <c:idx val="50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0-F91B-47BA-8521-8CF87F36AA5D}"/>
              </c:ext>
            </c:extLst>
          </c:dPt>
          <c:dPt>
            <c:idx val="5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2A13-4361-BF10-D1210B0FA353}"/>
              </c:ext>
            </c:extLst>
          </c:dPt>
          <c:dPt>
            <c:idx val="52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2A13-4361-BF10-D1210B0FA353}"/>
              </c:ext>
            </c:extLst>
          </c:dPt>
          <c:dPt>
            <c:idx val="5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1-F91B-47BA-8521-8CF87F36AA5D}"/>
              </c:ext>
            </c:extLst>
          </c:dPt>
          <c:dPt>
            <c:idx val="5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2-F91B-47BA-8521-8CF87F36AA5D}"/>
              </c:ext>
            </c:extLst>
          </c:dPt>
          <c:dPt>
            <c:idx val="5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3-F91B-47BA-8521-8CF87F36AA5D}"/>
              </c:ext>
            </c:extLst>
          </c:dPt>
          <c:dPt>
            <c:idx val="56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5-F91B-47BA-8521-8CF87F36AA5D}"/>
              </c:ext>
            </c:extLst>
          </c:dPt>
          <c:dPt>
            <c:idx val="57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4-F91B-47BA-8521-8CF87F36AA5D}"/>
              </c:ext>
            </c:extLst>
          </c:dPt>
          <c:dPt>
            <c:idx val="58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2A13-4361-BF10-D1210B0FA353}"/>
              </c:ext>
            </c:extLst>
          </c:dPt>
          <c:dPt>
            <c:idx val="59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2A13-4361-BF10-D1210B0FA353}"/>
              </c:ext>
            </c:extLst>
          </c:dPt>
          <c:dPt>
            <c:idx val="60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7-F91B-47BA-8521-8CF87F36AA5D}"/>
              </c:ext>
            </c:extLst>
          </c:dPt>
          <c:dPt>
            <c:idx val="6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6-F91B-47BA-8521-8CF87F36AA5D}"/>
              </c:ext>
            </c:extLst>
          </c:dPt>
          <c:dPt>
            <c:idx val="6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8-F91B-47BA-8521-8CF87F36AA5D}"/>
              </c:ext>
            </c:extLst>
          </c:dPt>
          <c:dPt>
            <c:idx val="6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9-F91B-47BA-8521-8CF87F36AA5D}"/>
              </c:ext>
            </c:extLst>
          </c:dPt>
          <c:dPt>
            <c:idx val="6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A-F91B-47BA-8521-8CF87F36AA5D}"/>
              </c:ext>
            </c:extLst>
          </c:dPt>
          <c:dPt>
            <c:idx val="6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2A13-4361-BF10-D1210B0FA353}"/>
              </c:ext>
            </c:extLst>
          </c:dPt>
          <c:dPt>
            <c:idx val="6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2A13-4361-BF10-D1210B0FA353}"/>
              </c:ext>
            </c:extLst>
          </c:dPt>
          <c:dPt>
            <c:idx val="67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B-F91B-47BA-8521-8CF87F36AA5D}"/>
              </c:ext>
            </c:extLst>
          </c:dPt>
          <c:dPt>
            <c:idx val="6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C-F91B-47BA-8521-8CF87F36AA5D}"/>
              </c:ext>
            </c:extLst>
          </c:dPt>
          <c:dPt>
            <c:idx val="6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D-F91B-47BA-8521-8CF87F36AA5D}"/>
              </c:ext>
            </c:extLst>
          </c:dPt>
          <c:dPt>
            <c:idx val="70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E-F91B-47BA-8521-8CF87F36AA5D}"/>
              </c:ext>
            </c:extLst>
          </c:dPt>
          <c:dPt>
            <c:idx val="7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F-F91B-47BA-8521-8CF87F36AA5D}"/>
              </c:ext>
            </c:extLst>
          </c:dPt>
          <c:dPt>
            <c:idx val="72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2A13-4361-BF10-D1210B0FA353}"/>
              </c:ext>
            </c:extLst>
          </c:dPt>
          <c:dPt>
            <c:idx val="73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1-2A13-4361-BF10-D1210B0FA353}"/>
              </c:ext>
            </c:extLst>
          </c:dPt>
          <c:dPt>
            <c:idx val="7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0-F91B-47BA-8521-8CF87F36AA5D}"/>
              </c:ext>
            </c:extLst>
          </c:dPt>
          <c:dPt>
            <c:idx val="7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1-F91B-47BA-8521-8CF87F36AA5D}"/>
              </c:ext>
            </c:extLst>
          </c:dPt>
          <c:dPt>
            <c:idx val="76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2-F91B-47BA-8521-8CF87F36AA5D}"/>
              </c:ext>
            </c:extLst>
          </c:dPt>
          <c:dPt>
            <c:idx val="77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3-F91B-47BA-8521-8CF87F36AA5D}"/>
              </c:ext>
            </c:extLst>
          </c:dPt>
          <c:dPt>
            <c:idx val="7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4-F91B-47BA-8521-8CF87F36AA5D}"/>
              </c:ext>
            </c:extLst>
          </c:dPt>
          <c:dPt>
            <c:idx val="79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3-2A13-4361-BF10-D1210B0FA353}"/>
              </c:ext>
            </c:extLst>
          </c:dPt>
          <c:dPt>
            <c:idx val="8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5-2A13-4361-BF10-D1210B0FA353}"/>
              </c:ext>
            </c:extLst>
          </c:dPt>
          <c:dPt>
            <c:idx val="8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5-F91B-47BA-8521-8CF87F36AA5D}"/>
              </c:ext>
            </c:extLst>
          </c:dPt>
          <c:dPt>
            <c:idx val="8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6-F91B-47BA-8521-8CF87F36AA5D}"/>
              </c:ext>
            </c:extLst>
          </c:dPt>
          <c:dPt>
            <c:idx val="8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7-F91B-47BA-8521-8CF87F36AA5D}"/>
              </c:ext>
            </c:extLst>
          </c:dPt>
          <c:dPt>
            <c:idx val="8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7-2A13-4361-BF10-D1210B0FA353}"/>
              </c:ext>
            </c:extLst>
          </c:dPt>
          <c:dPt>
            <c:idx val="8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9-2A13-4361-BF10-D1210B0FA353}"/>
              </c:ext>
            </c:extLst>
          </c:dPt>
          <c:dPt>
            <c:idx val="8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B-2A13-4361-BF10-D1210B0FA353}"/>
              </c:ext>
            </c:extLst>
          </c:dPt>
          <c:dPt>
            <c:idx val="8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D-2A13-4361-BF10-D1210B0FA353}"/>
              </c:ext>
            </c:extLst>
          </c:dPt>
          <c:dPt>
            <c:idx val="88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8-F91B-47BA-8521-8CF87F36AA5D}"/>
              </c:ext>
            </c:extLst>
          </c:dPt>
          <c:dPt>
            <c:idx val="89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79-F91B-47BA-8521-8CF87F36AA5D}"/>
              </c:ext>
            </c:extLst>
          </c:dPt>
          <c:cat>
            <c:multiLvlStrRef>
              <c:f>'variação consumo zonas (JAN-MA)'!$B$3:$C$92</c:f>
              <c:multiLvlStrCache>
                <c:ptCount val="90"/>
                <c:lvl>
                  <c:pt idx="0">
                    <c:v>01/01/2026</c:v>
                  </c:pt>
                  <c:pt idx="1">
                    <c:v>02/01/2026</c:v>
                  </c:pt>
                  <c:pt idx="2">
                    <c:v>03/01/2026</c:v>
                  </c:pt>
                  <c:pt idx="3">
                    <c:v>04/01/2026</c:v>
                  </c:pt>
                  <c:pt idx="4">
                    <c:v>05/01/2026</c:v>
                  </c:pt>
                  <c:pt idx="5">
                    <c:v>06/01/2026</c:v>
                  </c:pt>
                  <c:pt idx="6">
                    <c:v>07/01/2026</c:v>
                  </c:pt>
                  <c:pt idx="7">
                    <c:v>08/01/2026</c:v>
                  </c:pt>
                  <c:pt idx="8">
                    <c:v>09/01/2026</c:v>
                  </c:pt>
                  <c:pt idx="9">
                    <c:v>10/01/2026</c:v>
                  </c:pt>
                  <c:pt idx="10">
                    <c:v>11/01/2026</c:v>
                  </c:pt>
                  <c:pt idx="11">
                    <c:v>12/01/2026</c:v>
                  </c:pt>
                  <c:pt idx="12">
                    <c:v>13/01/2026</c:v>
                  </c:pt>
                  <c:pt idx="13">
                    <c:v>14/01/2026</c:v>
                  </c:pt>
                  <c:pt idx="14">
                    <c:v>15/01/2026</c:v>
                  </c:pt>
                  <c:pt idx="15">
                    <c:v>16/01/2026</c:v>
                  </c:pt>
                  <c:pt idx="16">
                    <c:v>17/01/2026</c:v>
                  </c:pt>
                  <c:pt idx="17">
                    <c:v>18/01/2026</c:v>
                  </c:pt>
                  <c:pt idx="18">
                    <c:v>19/01/2026</c:v>
                  </c:pt>
                  <c:pt idx="19">
                    <c:v>20/01/2026</c:v>
                  </c:pt>
                  <c:pt idx="20">
                    <c:v>21/01/2026</c:v>
                  </c:pt>
                  <c:pt idx="21">
                    <c:v>22/01/2026</c:v>
                  </c:pt>
                  <c:pt idx="22">
                    <c:v>23/01/2026</c:v>
                  </c:pt>
                  <c:pt idx="23">
                    <c:v>24/01/2026</c:v>
                  </c:pt>
                  <c:pt idx="24">
                    <c:v>25/01/2026</c:v>
                  </c:pt>
                  <c:pt idx="25">
                    <c:v>26/01/2026</c:v>
                  </c:pt>
                  <c:pt idx="26">
                    <c:v>27/01/2026</c:v>
                  </c:pt>
                  <c:pt idx="27">
                    <c:v>28/01/2026</c:v>
                  </c:pt>
                  <c:pt idx="28">
                    <c:v>29/01/2026</c:v>
                  </c:pt>
                  <c:pt idx="29">
                    <c:v>30/01/2026</c:v>
                  </c:pt>
                  <c:pt idx="30">
                    <c:v>31/01/2026</c:v>
                  </c:pt>
                  <c:pt idx="31">
                    <c:v>01/02/2026</c:v>
                  </c:pt>
                  <c:pt idx="32">
                    <c:v>02/02/2026</c:v>
                  </c:pt>
                  <c:pt idx="33">
                    <c:v>03/02/2026</c:v>
                  </c:pt>
                  <c:pt idx="34">
                    <c:v>04/02/2026</c:v>
                  </c:pt>
                  <c:pt idx="35">
                    <c:v>05/02/2026</c:v>
                  </c:pt>
                  <c:pt idx="36">
                    <c:v>06/02/2026</c:v>
                  </c:pt>
                  <c:pt idx="37">
                    <c:v>07/02/2026</c:v>
                  </c:pt>
                  <c:pt idx="38">
                    <c:v>08/02/2026</c:v>
                  </c:pt>
                  <c:pt idx="39">
                    <c:v>09/02/2026</c:v>
                  </c:pt>
                  <c:pt idx="40">
                    <c:v>10/02/2026</c:v>
                  </c:pt>
                  <c:pt idx="41">
                    <c:v>11/02/2026</c:v>
                  </c:pt>
                  <c:pt idx="42">
                    <c:v>12/02/2026</c:v>
                  </c:pt>
                  <c:pt idx="43">
                    <c:v>13/02/2026</c:v>
                  </c:pt>
                  <c:pt idx="44">
                    <c:v>14/02/2026</c:v>
                  </c:pt>
                  <c:pt idx="45">
                    <c:v>15/02/2026</c:v>
                  </c:pt>
                  <c:pt idx="46">
                    <c:v>16/02/2026</c:v>
                  </c:pt>
                  <c:pt idx="47">
                    <c:v>17/02/2026</c:v>
                  </c:pt>
                  <c:pt idx="48">
                    <c:v>18/02/2026</c:v>
                  </c:pt>
                  <c:pt idx="49">
                    <c:v>19/02/2026</c:v>
                  </c:pt>
                  <c:pt idx="50">
                    <c:v>20/02/2026</c:v>
                  </c:pt>
                  <c:pt idx="51">
                    <c:v>21/02/2026</c:v>
                  </c:pt>
                  <c:pt idx="52">
                    <c:v>22/02/2026</c:v>
                  </c:pt>
                  <c:pt idx="53">
                    <c:v>23/02/2026</c:v>
                  </c:pt>
                  <c:pt idx="54">
                    <c:v>24/02/2026</c:v>
                  </c:pt>
                  <c:pt idx="55">
                    <c:v>25/02/2026</c:v>
                  </c:pt>
                  <c:pt idx="56">
                    <c:v>26/02/2026</c:v>
                  </c:pt>
                  <c:pt idx="57">
                    <c:v>27/02/2026</c:v>
                  </c:pt>
                  <c:pt idx="58">
                    <c:v>28/02/2026</c:v>
                  </c:pt>
                  <c:pt idx="59">
                    <c:v>01/03/2026</c:v>
                  </c:pt>
                  <c:pt idx="60">
                    <c:v>02/03/2026</c:v>
                  </c:pt>
                  <c:pt idx="61">
                    <c:v>03/03/2026</c:v>
                  </c:pt>
                  <c:pt idx="62">
                    <c:v>04/03/2026</c:v>
                  </c:pt>
                  <c:pt idx="63">
                    <c:v>05/03/2026</c:v>
                  </c:pt>
                  <c:pt idx="64">
                    <c:v>06/03/2026</c:v>
                  </c:pt>
                  <c:pt idx="65">
                    <c:v>07/03/2026</c:v>
                  </c:pt>
                  <c:pt idx="66">
                    <c:v>08/03/2026</c:v>
                  </c:pt>
                  <c:pt idx="67">
                    <c:v>09/03/2026</c:v>
                  </c:pt>
                  <c:pt idx="68">
                    <c:v>10/03/2026</c:v>
                  </c:pt>
                  <c:pt idx="69">
                    <c:v>11/03/2026</c:v>
                  </c:pt>
                  <c:pt idx="70">
                    <c:v>12/03/2026</c:v>
                  </c:pt>
                  <c:pt idx="71">
                    <c:v>13/03/2026</c:v>
                  </c:pt>
                  <c:pt idx="72">
                    <c:v>14/03/2026</c:v>
                  </c:pt>
                  <c:pt idx="73">
                    <c:v>15/03/2026</c:v>
                  </c:pt>
                  <c:pt idx="74">
                    <c:v>16/03/2026</c:v>
                  </c:pt>
                  <c:pt idx="75">
                    <c:v>17/03/2026</c:v>
                  </c:pt>
                  <c:pt idx="76">
                    <c:v>18/03/2026</c:v>
                  </c:pt>
                  <c:pt idx="77">
                    <c:v>19/03/2026</c:v>
                  </c:pt>
                  <c:pt idx="78">
                    <c:v>20/03/2026</c:v>
                  </c:pt>
                  <c:pt idx="79">
                    <c:v>21/03/2026</c:v>
                  </c:pt>
                  <c:pt idx="80">
                    <c:v>22/03/2026</c:v>
                  </c:pt>
                  <c:pt idx="81">
                    <c:v>23/03/2026</c:v>
                  </c:pt>
                  <c:pt idx="82">
                    <c:v>24/03/2026</c:v>
                  </c:pt>
                  <c:pt idx="83">
                    <c:v>25/03/2026</c:v>
                  </c:pt>
                  <c:pt idx="84">
                    <c:v>26/03/2026</c:v>
                  </c:pt>
                  <c:pt idx="85">
                    <c:v>27/03/2026</c:v>
                  </c:pt>
                  <c:pt idx="86">
                    <c:v>28/03/2026</c:v>
                  </c:pt>
                  <c:pt idx="87">
                    <c:v>29/03/2026</c:v>
                  </c:pt>
                  <c:pt idx="88">
                    <c:v>30/03/2026</c:v>
                  </c:pt>
                  <c:pt idx="89">
                    <c:v>31/03/2026</c:v>
                  </c:pt>
                </c:lvl>
                <c:lvl>
                  <c:pt idx="0">
                    <c:v>JANEIRO</c:v>
                  </c:pt>
                  <c:pt idx="31">
                    <c:v>FEVEREIRO</c:v>
                  </c:pt>
                  <c:pt idx="59">
                    <c:v>MARÇO</c:v>
                  </c:pt>
                </c:lvl>
              </c:multiLvlStrCache>
            </c:multiLvlStrRef>
          </c:cat>
          <c:val>
            <c:numRef>
              <c:f>'variação consumo zonas (JAN-MA)'!$D$3:$D$92</c:f>
              <c:numCache>
                <c:formatCode>#,##0</c:formatCode>
                <c:ptCount val="90"/>
                <c:pt idx="0">
                  <c:v>109449.3518</c:v>
                </c:pt>
                <c:pt idx="1">
                  <c:v>158343.65779999999</c:v>
                </c:pt>
                <c:pt idx="2">
                  <c:v>187047.9325</c:v>
                </c:pt>
                <c:pt idx="3">
                  <c:v>177681.3787</c:v>
                </c:pt>
                <c:pt idx="4">
                  <c:v>219282.7409</c:v>
                </c:pt>
                <c:pt idx="5">
                  <c:v>224936.7481</c:v>
                </c:pt>
                <c:pt idx="6">
                  <c:v>224687.19519999999</c:v>
                </c:pt>
                <c:pt idx="7">
                  <c:v>238116.49280000001</c:v>
                </c:pt>
                <c:pt idx="8">
                  <c:v>233021.1857</c:v>
                </c:pt>
                <c:pt idx="9">
                  <c:v>221155.22819999998</c:v>
                </c:pt>
                <c:pt idx="10">
                  <c:v>180485.4627</c:v>
                </c:pt>
                <c:pt idx="11">
                  <c:v>194155.47410000002</c:v>
                </c:pt>
                <c:pt idx="12">
                  <c:v>222350.9785</c:v>
                </c:pt>
                <c:pt idx="13">
                  <c:v>255620.43029999998</c:v>
                </c:pt>
                <c:pt idx="14">
                  <c:v>242314.40700000001</c:v>
                </c:pt>
                <c:pt idx="15">
                  <c:v>231722.38340000002</c:v>
                </c:pt>
                <c:pt idx="16">
                  <c:v>201261.2647</c:v>
                </c:pt>
                <c:pt idx="17">
                  <c:v>180874.1752</c:v>
                </c:pt>
                <c:pt idx="18">
                  <c:v>140874.33279999997</c:v>
                </c:pt>
                <c:pt idx="19">
                  <c:v>235605.978</c:v>
                </c:pt>
                <c:pt idx="20">
                  <c:v>231329.47750000001</c:v>
                </c:pt>
                <c:pt idx="21">
                  <c:v>222845.5914</c:v>
                </c:pt>
                <c:pt idx="22">
                  <c:v>226398.0526</c:v>
                </c:pt>
                <c:pt idx="23">
                  <c:v>214690.5858</c:v>
                </c:pt>
                <c:pt idx="24">
                  <c:v>195017.10889999999</c:v>
                </c:pt>
                <c:pt idx="25">
                  <c:v>220968.41889999999</c:v>
                </c:pt>
                <c:pt idx="26">
                  <c:v>244287.03200000001</c:v>
                </c:pt>
                <c:pt idx="27">
                  <c:v>252952.05600000001</c:v>
                </c:pt>
                <c:pt idx="28">
                  <c:v>239040.71840000001</c:v>
                </c:pt>
                <c:pt idx="29">
                  <c:v>224226.97719999999</c:v>
                </c:pt>
                <c:pt idx="30">
                  <c:v>224226.97719999999</c:v>
                </c:pt>
                <c:pt idx="31">
                  <c:v>186800.87709999998</c:v>
                </c:pt>
                <c:pt idx="32">
                  <c:v>236930.63959999999</c:v>
                </c:pt>
                <c:pt idx="33">
                  <c:v>233435.8272</c:v>
                </c:pt>
                <c:pt idx="34">
                  <c:v>235014.60069999998</c:v>
                </c:pt>
                <c:pt idx="35">
                  <c:v>230052.64290000001</c:v>
                </c:pt>
                <c:pt idx="36">
                  <c:v>262167.35090000002</c:v>
                </c:pt>
                <c:pt idx="37">
                  <c:v>211735.16119999997</c:v>
                </c:pt>
                <c:pt idx="38">
                  <c:v>174556.19209999999</c:v>
                </c:pt>
                <c:pt idx="39">
                  <c:v>207996.00829999999</c:v>
                </c:pt>
                <c:pt idx="40">
                  <c:v>234668.94819999998</c:v>
                </c:pt>
                <c:pt idx="41">
                  <c:v>232084.7623</c:v>
                </c:pt>
                <c:pt idx="42">
                  <c:v>230258.81229999999</c:v>
                </c:pt>
                <c:pt idx="43">
                  <c:v>244585.83970000001</c:v>
                </c:pt>
                <c:pt idx="44">
                  <c:v>220371.2469</c:v>
                </c:pt>
                <c:pt idx="45">
                  <c:v>157676.03210000001</c:v>
                </c:pt>
                <c:pt idx="46">
                  <c:v>172215.88130000001</c:v>
                </c:pt>
                <c:pt idx="47">
                  <c:v>172571.90090000001</c:v>
                </c:pt>
                <c:pt idx="48">
                  <c:v>199811.76950000002</c:v>
                </c:pt>
                <c:pt idx="49">
                  <c:v>206051.00770000002</c:v>
                </c:pt>
                <c:pt idx="50">
                  <c:v>234645.90660000002</c:v>
                </c:pt>
                <c:pt idx="51">
                  <c:v>227754.69219999999</c:v>
                </c:pt>
                <c:pt idx="52">
                  <c:v>197547.71019999997</c:v>
                </c:pt>
                <c:pt idx="53">
                  <c:v>228466.82739999998</c:v>
                </c:pt>
                <c:pt idx="54">
                  <c:v>243135.35040000002</c:v>
                </c:pt>
                <c:pt idx="55">
                  <c:v>237798.65359999999</c:v>
                </c:pt>
                <c:pt idx="56">
                  <c:v>239624.4577</c:v>
                </c:pt>
                <c:pt idx="57">
                  <c:v>234676.43730000002</c:v>
                </c:pt>
                <c:pt idx="58">
                  <c:v>226058.8493</c:v>
                </c:pt>
                <c:pt idx="59">
                  <c:v>198598.34950000001</c:v>
                </c:pt>
                <c:pt idx="60">
                  <c:v>230051.39189999999</c:v>
                </c:pt>
                <c:pt idx="61">
                  <c:v>249646.31570000001</c:v>
                </c:pt>
                <c:pt idx="62">
                  <c:v>241346.94799999997</c:v>
                </c:pt>
                <c:pt idx="63">
                  <c:v>246436.56100000002</c:v>
                </c:pt>
                <c:pt idx="64">
                  <c:v>261575.51790000001</c:v>
                </c:pt>
                <c:pt idx="65">
                  <c:v>230907.87150000001</c:v>
                </c:pt>
                <c:pt idx="66">
                  <c:v>204929.38160000002</c:v>
                </c:pt>
                <c:pt idx="67">
                  <c:v>223769.3265</c:v>
                </c:pt>
                <c:pt idx="68">
                  <c:v>235915.92600000001</c:v>
                </c:pt>
                <c:pt idx="69">
                  <c:v>246619.44399999999</c:v>
                </c:pt>
                <c:pt idx="70">
                  <c:v>256850.53229999999</c:v>
                </c:pt>
                <c:pt idx="71">
                  <c:v>238084.8602</c:v>
                </c:pt>
                <c:pt idx="72">
                  <c:v>229830.18840000001</c:v>
                </c:pt>
                <c:pt idx="73">
                  <c:v>207007.35250000001</c:v>
                </c:pt>
                <c:pt idx="74">
                  <c:v>250302.32889999999</c:v>
                </c:pt>
                <c:pt idx="75">
                  <c:v>262211.35259999998</c:v>
                </c:pt>
                <c:pt idx="76">
                  <c:v>258685.446</c:v>
                </c:pt>
                <c:pt idx="77">
                  <c:v>254742.02450000003</c:v>
                </c:pt>
                <c:pt idx="78">
                  <c:v>250129.19469999999</c:v>
                </c:pt>
                <c:pt idx="79">
                  <c:v>216224.79730000001</c:v>
                </c:pt>
                <c:pt idx="80">
                  <c:v>184439.3284</c:v>
                </c:pt>
                <c:pt idx="81">
                  <c:v>224151.17549999998</c:v>
                </c:pt>
                <c:pt idx="82">
                  <c:v>258437.08010000002</c:v>
                </c:pt>
                <c:pt idx="83">
                  <c:v>259917.58360000001</c:v>
                </c:pt>
                <c:pt idx="84">
                  <c:v>260883.82029999999</c:v>
                </c:pt>
                <c:pt idx="85">
                  <c:v>263786.85940000002</c:v>
                </c:pt>
                <c:pt idx="86">
                  <c:v>220919.26689999999</c:v>
                </c:pt>
                <c:pt idx="87">
                  <c:v>189890.02530000001</c:v>
                </c:pt>
                <c:pt idx="88">
                  <c:v>241980.2726</c:v>
                </c:pt>
                <c:pt idx="89">
                  <c:v>241980.27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E-C721-48FA-9EDE-4762C21DE5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286454304"/>
        <c:axId val="1286449024"/>
      </c:barChart>
      <c:lineChart>
        <c:grouping val="standard"/>
        <c:varyColors val="0"/>
        <c:ser>
          <c:idx val="1"/>
          <c:order val="1"/>
          <c:spPr>
            <a:ln w="28575" cap="rnd">
              <a:solidFill>
                <a:srgbClr val="F37021"/>
              </a:solidFill>
              <a:round/>
            </a:ln>
            <a:effectLst/>
          </c:spPr>
          <c:marker>
            <c:symbol val="none"/>
          </c:marker>
          <c:cat>
            <c:multiLvlStrRef>
              <c:f>'variação consumo zonas (JAN-MA)'!$B$3:$C$92</c:f>
              <c:multiLvlStrCache>
                <c:ptCount val="90"/>
                <c:lvl>
                  <c:pt idx="0">
                    <c:v>01/01/2026</c:v>
                  </c:pt>
                  <c:pt idx="1">
                    <c:v>02/01/2026</c:v>
                  </c:pt>
                  <c:pt idx="2">
                    <c:v>03/01/2026</c:v>
                  </c:pt>
                  <c:pt idx="3">
                    <c:v>04/01/2026</c:v>
                  </c:pt>
                  <c:pt idx="4">
                    <c:v>05/01/2026</c:v>
                  </c:pt>
                  <c:pt idx="5">
                    <c:v>06/01/2026</c:v>
                  </c:pt>
                  <c:pt idx="6">
                    <c:v>07/01/2026</c:v>
                  </c:pt>
                  <c:pt idx="7">
                    <c:v>08/01/2026</c:v>
                  </c:pt>
                  <c:pt idx="8">
                    <c:v>09/01/2026</c:v>
                  </c:pt>
                  <c:pt idx="9">
                    <c:v>10/01/2026</c:v>
                  </c:pt>
                  <c:pt idx="10">
                    <c:v>11/01/2026</c:v>
                  </c:pt>
                  <c:pt idx="11">
                    <c:v>12/01/2026</c:v>
                  </c:pt>
                  <c:pt idx="12">
                    <c:v>13/01/2026</c:v>
                  </c:pt>
                  <c:pt idx="13">
                    <c:v>14/01/2026</c:v>
                  </c:pt>
                  <c:pt idx="14">
                    <c:v>15/01/2026</c:v>
                  </c:pt>
                  <c:pt idx="15">
                    <c:v>16/01/2026</c:v>
                  </c:pt>
                  <c:pt idx="16">
                    <c:v>17/01/2026</c:v>
                  </c:pt>
                  <c:pt idx="17">
                    <c:v>18/01/2026</c:v>
                  </c:pt>
                  <c:pt idx="18">
                    <c:v>19/01/2026</c:v>
                  </c:pt>
                  <c:pt idx="19">
                    <c:v>20/01/2026</c:v>
                  </c:pt>
                  <c:pt idx="20">
                    <c:v>21/01/2026</c:v>
                  </c:pt>
                  <c:pt idx="21">
                    <c:v>22/01/2026</c:v>
                  </c:pt>
                  <c:pt idx="22">
                    <c:v>23/01/2026</c:v>
                  </c:pt>
                  <c:pt idx="23">
                    <c:v>24/01/2026</c:v>
                  </c:pt>
                  <c:pt idx="24">
                    <c:v>25/01/2026</c:v>
                  </c:pt>
                  <c:pt idx="25">
                    <c:v>26/01/2026</c:v>
                  </c:pt>
                  <c:pt idx="26">
                    <c:v>27/01/2026</c:v>
                  </c:pt>
                  <c:pt idx="27">
                    <c:v>28/01/2026</c:v>
                  </c:pt>
                  <c:pt idx="28">
                    <c:v>29/01/2026</c:v>
                  </c:pt>
                  <c:pt idx="29">
                    <c:v>30/01/2026</c:v>
                  </c:pt>
                  <c:pt idx="30">
                    <c:v>31/01/2026</c:v>
                  </c:pt>
                  <c:pt idx="31">
                    <c:v>01/02/2026</c:v>
                  </c:pt>
                  <c:pt idx="32">
                    <c:v>02/02/2026</c:v>
                  </c:pt>
                  <c:pt idx="33">
                    <c:v>03/02/2026</c:v>
                  </c:pt>
                  <c:pt idx="34">
                    <c:v>04/02/2026</c:v>
                  </c:pt>
                  <c:pt idx="35">
                    <c:v>05/02/2026</c:v>
                  </c:pt>
                  <c:pt idx="36">
                    <c:v>06/02/2026</c:v>
                  </c:pt>
                  <c:pt idx="37">
                    <c:v>07/02/2026</c:v>
                  </c:pt>
                  <c:pt idx="38">
                    <c:v>08/02/2026</c:v>
                  </c:pt>
                  <c:pt idx="39">
                    <c:v>09/02/2026</c:v>
                  </c:pt>
                  <c:pt idx="40">
                    <c:v>10/02/2026</c:v>
                  </c:pt>
                  <c:pt idx="41">
                    <c:v>11/02/2026</c:v>
                  </c:pt>
                  <c:pt idx="42">
                    <c:v>12/02/2026</c:v>
                  </c:pt>
                  <c:pt idx="43">
                    <c:v>13/02/2026</c:v>
                  </c:pt>
                  <c:pt idx="44">
                    <c:v>14/02/2026</c:v>
                  </c:pt>
                  <c:pt idx="45">
                    <c:v>15/02/2026</c:v>
                  </c:pt>
                  <c:pt idx="46">
                    <c:v>16/02/2026</c:v>
                  </c:pt>
                  <c:pt idx="47">
                    <c:v>17/02/2026</c:v>
                  </c:pt>
                  <c:pt idx="48">
                    <c:v>18/02/2026</c:v>
                  </c:pt>
                  <c:pt idx="49">
                    <c:v>19/02/2026</c:v>
                  </c:pt>
                  <c:pt idx="50">
                    <c:v>20/02/2026</c:v>
                  </c:pt>
                  <c:pt idx="51">
                    <c:v>21/02/2026</c:v>
                  </c:pt>
                  <c:pt idx="52">
                    <c:v>22/02/2026</c:v>
                  </c:pt>
                  <c:pt idx="53">
                    <c:v>23/02/2026</c:v>
                  </c:pt>
                  <c:pt idx="54">
                    <c:v>24/02/2026</c:v>
                  </c:pt>
                  <c:pt idx="55">
                    <c:v>25/02/2026</c:v>
                  </c:pt>
                  <c:pt idx="56">
                    <c:v>26/02/2026</c:v>
                  </c:pt>
                  <c:pt idx="57">
                    <c:v>27/02/2026</c:v>
                  </c:pt>
                  <c:pt idx="58">
                    <c:v>28/02/2026</c:v>
                  </c:pt>
                  <c:pt idx="59">
                    <c:v>01/03/2026</c:v>
                  </c:pt>
                  <c:pt idx="60">
                    <c:v>02/03/2026</c:v>
                  </c:pt>
                  <c:pt idx="61">
                    <c:v>03/03/2026</c:v>
                  </c:pt>
                  <c:pt idx="62">
                    <c:v>04/03/2026</c:v>
                  </c:pt>
                  <c:pt idx="63">
                    <c:v>05/03/2026</c:v>
                  </c:pt>
                  <c:pt idx="64">
                    <c:v>06/03/2026</c:v>
                  </c:pt>
                  <c:pt idx="65">
                    <c:v>07/03/2026</c:v>
                  </c:pt>
                  <c:pt idx="66">
                    <c:v>08/03/2026</c:v>
                  </c:pt>
                  <c:pt idx="67">
                    <c:v>09/03/2026</c:v>
                  </c:pt>
                  <c:pt idx="68">
                    <c:v>10/03/2026</c:v>
                  </c:pt>
                  <c:pt idx="69">
                    <c:v>11/03/2026</c:v>
                  </c:pt>
                  <c:pt idx="70">
                    <c:v>12/03/2026</c:v>
                  </c:pt>
                  <c:pt idx="71">
                    <c:v>13/03/2026</c:v>
                  </c:pt>
                  <c:pt idx="72">
                    <c:v>14/03/2026</c:v>
                  </c:pt>
                  <c:pt idx="73">
                    <c:v>15/03/2026</c:v>
                  </c:pt>
                  <c:pt idx="74">
                    <c:v>16/03/2026</c:v>
                  </c:pt>
                  <c:pt idx="75">
                    <c:v>17/03/2026</c:v>
                  </c:pt>
                  <c:pt idx="76">
                    <c:v>18/03/2026</c:v>
                  </c:pt>
                  <c:pt idx="77">
                    <c:v>19/03/2026</c:v>
                  </c:pt>
                  <c:pt idx="78">
                    <c:v>20/03/2026</c:v>
                  </c:pt>
                  <c:pt idx="79">
                    <c:v>21/03/2026</c:v>
                  </c:pt>
                  <c:pt idx="80">
                    <c:v>22/03/2026</c:v>
                  </c:pt>
                  <c:pt idx="81">
                    <c:v>23/03/2026</c:v>
                  </c:pt>
                  <c:pt idx="82">
                    <c:v>24/03/2026</c:v>
                  </c:pt>
                  <c:pt idx="83">
                    <c:v>25/03/2026</c:v>
                  </c:pt>
                  <c:pt idx="84">
                    <c:v>26/03/2026</c:v>
                  </c:pt>
                  <c:pt idx="85">
                    <c:v>27/03/2026</c:v>
                  </c:pt>
                  <c:pt idx="86">
                    <c:v>28/03/2026</c:v>
                  </c:pt>
                  <c:pt idx="87">
                    <c:v>29/03/2026</c:v>
                  </c:pt>
                  <c:pt idx="88">
                    <c:v>30/03/2026</c:v>
                  </c:pt>
                  <c:pt idx="89">
                    <c:v>31/03/2026</c:v>
                  </c:pt>
                </c:lvl>
                <c:lvl>
                  <c:pt idx="0">
                    <c:v>JANEIRO</c:v>
                  </c:pt>
                  <c:pt idx="31">
                    <c:v>FEVEREIRO</c:v>
                  </c:pt>
                  <c:pt idx="59">
                    <c:v>MARÇO</c:v>
                  </c:pt>
                </c:lvl>
              </c:multiLvlStrCache>
            </c:multiLvlStrRef>
          </c:cat>
          <c:val>
            <c:numRef>
              <c:f>'variação consumo zonas (JAN-MA)'!$E$3:$E$92</c:f>
              <c:numCache>
                <c:formatCode>#,##0</c:formatCode>
                <c:ptCount val="90"/>
                <c:pt idx="0">
                  <c:v>212000</c:v>
                </c:pt>
                <c:pt idx="1">
                  <c:v>212000</c:v>
                </c:pt>
                <c:pt idx="2">
                  <c:v>212000</c:v>
                </c:pt>
                <c:pt idx="3">
                  <c:v>212000</c:v>
                </c:pt>
                <c:pt idx="4">
                  <c:v>212000</c:v>
                </c:pt>
                <c:pt idx="5">
                  <c:v>212000</c:v>
                </c:pt>
                <c:pt idx="6">
                  <c:v>212000</c:v>
                </c:pt>
                <c:pt idx="7">
                  <c:v>212000</c:v>
                </c:pt>
                <c:pt idx="8">
                  <c:v>212000</c:v>
                </c:pt>
                <c:pt idx="9">
                  <c:v>212000</c:v>
                </c:pt>
                <c:pt idx="10">
                  <c:v>212000</c:v>
                </c:pt>
                <c:pt idx="11">
                  <c:v>212000</c:v>
                </c:pt>
                <c:pt idx="12">
                  <c:v>212000</c:v>
                </c:pt>
                <c:pt idx="13">
                  <c:v>212000</c:v>
                </c:pt>
                <c:pt idx="14">
                  <c:v>212000</c:v>
                </c:pt>
                <c:pt idx="15">
                  <c:v>212000</c:v>
                </c:pt>
                <c:pt idx="16">
                  <c:v>212000</c:v>
                </c:pt>
                <c:pt idx="17">
                  <c:v>212000</c:v>
                </c:pt>
                <c:pt idx="18">
                  <c:v>212000</c:v>
                </c:pt>
                <c:pt idx="19">
                  <c:v>212000</c:v>
                </c:pt>
                <c:pt idx="20">
                  <c:v>212000</c:v>
                </c:pt>
                <c:pt idx="21">
                  <c:v>212000</c:v>
                </c:pt>
                <c:pt idx="22">
                  <c:v>212000</c:v>
                </c:pt>
                <c:pt idx="23">
                  <c:v>212000</c:v>
                </c:pt>
                <c:pt idx="24">
                  <c:v>212000</c:v>
                </c:pt>
                <c:pt idx="25">
                  <c:v>212000</c:v>
                </c:pt>
                <c:pt idx="26">
                  <c:v>212000</c:v>
                </c:pt>
                <c:pt idx="27">
                  <c:v>212000</c:v>
                </c:pt>
                <c:pt idx="28">
                  <c:v>212000</c:v>
                </c:pt>
                <c:pt idx="29">
                  <c:v>212000</c:v>
                </c:pt>
                <c:pt idx="30">
                  <c:v>212000</c:v>
                </c:pt>
                <c:pt idx="31">
                  <c:v>212000</c:v>
                </c:pt>
                <c:pt idx="32">
                  <c:v>212000</c:v>
                </c:pt>
                <c:pt idx="33">
                  <c:v>212000</c:v>
                </c:pt>
                <c:pt idx="34">
                  <c:v>212000</c:v>
                </c:pt>
                <c:pt idx="35">
                  <c:v>212000</c:v>
                </c:pt>
                <c:pt idx="36">
                  <c:v>212000</c:v>
                </c:pt>
                <c:pt idx="37">
                  <c:v>212000</c:v>
                </c:pt>
                <c:pt idx="38">
                  <c:v>212000</c:v>
                </c:pt>
                <c:pt idx="39">
                  <c:v>212000</c:v>
                </c:pt>
                <c:pt idx="40">
                  <c:v>212000</c:v>
                </c:pt>
                <c:pt idx="41">
                  <c:v>212000</c:v>
                </c:pt>
                <c:pt idx="42">
                  <c:v>212000</c:v>
                </c:pt>
                <c:pt idx="43">
                  <c:v>212000</c:v>
                </c:pt>
                <c:pt idx="44">
                  <c:v>212000</c:v>
                </c:pt>
                <c:pt idx="45">
                  <c:v>212000</c:v>
                </c:pt>
                <c:pt idx="46">
                  <c:v>212000</c:v>
                </c:pt>
                <c:pt idx="47">
                  <c:v>212000</c:v>
                </c:pt>
                <c:pt idx="48">
                  <c:v>212000</c:v>
                </c:pt>
                <c:pt idx="49">
                  <c:v>212000</c:v>
                </c:pt>
                <c:pt idx="50">
                  <c:v>212000</c:v>
                </c:pt>
                <c:pt idx="51">
                  <c:v>212000</c:v>
                </c:pt>
                <c:pt idx="52">
                  <c:v>212000</c:v>
                </c:pt>
                <c:pt idx="53">
                  <c:v>212000</c:v>
                </c:pt>
                <c:pt idx="54">
                  <c:v>212000</c:v>
                </c:pt>
                <c:pt idx="55">
                  <c:v>212000</c:v>
                </c:pt>
                <c:pt idx="56">
                  <c:v>212000</c:v>
                </c:pt>
                <c:pt idx="57">
                  <c:v>212000</c:v>
                </c:pt>
                <c:pt idx="58">
                  <c:v>212000</c:v>
                </c:pt>
                <c:pt idx="59">
                  <c:v>212000</c:v>
                </c:pt>
                <c:pt idx="60">
                  <c:v>212000</c:v>
                </c:pt>
                <c:pt idx="61">
                  <c:v>212000</c:v>
                </c:pt>
                <c:pt idx="62">
                  <c:v>212000</c:v>
                </c:pt>
                <c:pt idx="63">
                  <c:v>212000</c:v>
                </c:pt>
                <c:pt idx="64">
                  <c:v>212000</c:v>
                </c:pt>
                <c:pt idx="65">
                  <c:v>212000</c:v>
                </c:pt>
                <c:pt idx="66">
                  <c:v>212000</c:v>
                </c:pt>
                <c:pt idx="67">
                  <c:v>212000</c:v>
                </c:pt>
                <c:pt idx="68">
                  <c:v>212000</c:v>
                </c:pt>
                <c:pt idx="69">
                  <c:v>212000</c:v>
                </c:pt>
                <c:pt idx="70">
                  <c:v>212000</c:v>
                </c:pt>
                <c:pt idx="71">
                  <c:v>212000</c:v>
                </c:pt>
                <c:pt idx="72">
                  <c:v>212000</c:v>
                </c:pt>
                <c:pt idx="73">
                  <c:v>212000</c:v>
                </c:pt>
                <c:pt idx="74">
                  <c:v>212000</c:v>
                </c:pt>
                <c:pt idx="75">
                  <c:v>212000</c:v>
                </c:pt>
                <c:pt idx="76">
                  <c:v>212000</c:v>
                </c:pt>
                <c:pt idx="77">
                  <c:v>212000</c:v>
                </c:pt>
                <c:pt idx="78">
                  <c:v>212000</c:v>
                </c:pt>
                <c:pt idx="79">
                  <c:v>212000</c:v>
                </c:pt>
                <c:pt idx="80">
                  <c:v>212000</c:v>
                </c:pt>
                <c:pt idx="81">
                  <c:v>212000</c:v>
                </c:pt>
                <c:pt idx="82">
                  <c:v>212000</c:v>
                </c:pt>
                <c:pt idx="83">
                  <c:v>212000</c:v>
                </c:pt>
                <c:pt idx="84">
                  <c:v>212000</c:v>
                </c:pt>
                <c:pt idx="85">
                  <c:v>212000</c:v>
                </c:pt>
                <c:pt idx="86">
                  <c:v>212000</c:v>
                </c:pt>
                <c:pt idx="87">
                  <c:v>212000</c:v>
                </c:pt>
                <c:pt idx="88">
                  <c:v>212000</c:v>
                </c:pt>
                <c:pt idx="89">
                  <c:v>212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F-C721-48FA-9EDE-4762C21DE540}"/>
            </c:ext>
          </c:extLst>
        </c:ser>
        <c:ser>
          <c:idx val="2"/>
          <c:order val="2"/>
          <c:spPr>
            <a:ln w="28575" cap="rnd">
              <a:solidFill>
                <a:srgbClr val="163E64"/>
              </a:solidFill>
              <a:round/>
            </a:ln>
            <a:effectLst/>
          </c:spPr>
          <c:marker>
            <c:symbol val="none"/>
          </c:marker>
          <c:cat>
            <c:multiLvlStrRef>
              <c:f>'variação consumo zonas (JAN-MA)'!$B$3:$C$92</c:f>
              <c:multiLvlStrCache>
                <c:ptCount val="90"/>
                <c:lvl>
                  <c:pt idx="0">
                    <c:v>01/01/2026</c:v>
                  </c:pt>
                  <c:pt idx="1">
                    <c:v>02/01/2026</c:v>
                  </c:pt>
                  <c:pt idx="2">
                    <c:v>03/01/2026</c:v>
                  </c:pt>
                  <c:pt idx="3">
                    <c:v>04/01/2026</c:v>
                  </c:pt>
                  <c:pt idx="4">
                    <c:v>05/01/2026</c:v>
                  </c:pt>
                  <c:pt idx="5">
                    <c:v>06/01/2026</c:v>
                  </c:pt>
                  <c:pt idx="6">
                    <c:v>07/01/2026</c:v>
                  </c:pt>
                  <c:pt idx="7">
                    <c:v>08/01/2026</c:v>
                  </c:pt>
                  <c:pt idx="8">
                    <c:v>09/01/2026</c:v>
                  </c:pt>
                  <c:pt idx="9">
                    <c:v>10/01/2026</c:v>
                  </c:pt>
                  <c:pt idx="10">
                    <c:v>11/01/2026</c:v>
                  </c:pt>
                  <c:pt idx="11">
                    <c:v>12/01/2026</c:v>
                  </c:pt>
                  <c:pt idx="12">
                    <c:v>13/01/2026</c:v>
                  </c:pt>
                  <c:pt idx="13">
                    <c:v>14/01/2026</c:v>
                  </c:pt>
                  <c:pt idx="14">
                    <c:v>15/01/2026</c:v>
                  </c:pt>
                  <c:pt idx="15">
                    <c:v>16/01/2026</c:v>
                  </c:pt>
                  <c:pt idx="16">
                    <c:v>17/01/2026</c:v>
                  </c:pt>
                  <c:pt idx="17">
                    <c:v>18/01/2026</c:v>
                  </c:pt>
                  <c:pt idx="18">
                    <c:v>19/01/2026</c:v>
                  </c:pt>
                  <c:pt idx="19">
                    <c:v>20/01/2026</c:v>
                  </c:pt>
                  <c:pt idx="20">
                    <c:v>21/01/2026</c:v>
                  </c:pt>
                  <c:pt idx="21">
                    <c:v>22/01/2026</c:v>
                  </c:pt>
                  <c:pt idx="22">
                    <c:v>23/01/2026</c:v>
                  </c:pt>
                  <c:pt idx="23">
                    <c:v>24/01/2026</c:v>
                  </c:pt>
                  <c:pt idx="24">
                    <c:v>25/01/2026</c:v>
                  </c:pt>
                  <c:pt idx="25">
                    <c:v>26/01/2026</c:v>
                  </c:pt>
                  <c:pt idx="26">
                    <c:v>27/01/2026</c:v>
                  </c:pt>
                  <c:pt idx="27">
                    <c:v>28/01/2026</c:v>
                  </c:pt>
                  <c:pt idx="28">
                    <c:v>29/01/2026</c:v>
                  </c:pt>
                  <c:pt idx="29">
                    <c:v>30/01/2026</c:v>
                  </c:pt>
                  <c:pt idx="30">
                    <c:v>31/01/2026</c:v>
                  </c:pt>
                  <c:pt idx="31">
                    <c:v>01/02/2026</c:v>
                  </c:pt>
                  <c:pt idx="32">
                    <c:v>02/02/2026</c:v>
                  </c:pt>
                  <c:pt idx="33">
                    <c:v>03/02/2026</c:v>
                  </c:pt>
                  <c:pt idx="34">
                    <c:v>04/02/2026</c:v>
                  </c:pt>
                  <c:pt idx="35">
                    <c:v>05/02/2026</c:v>
                  </c:pt>
                  <c:pt idx="36">
                    <c:v>06/02/2026</c:v>
                  </c:pt>
                  <c:pt idx="37">
                    <c:v>07/02/2026</c:v>
                  </c:pt>
                  <c:pt idx="38">
                    <c:v>08/02/2026</c:v>
                  </c:pt>
                  <c:pt idx="39">
                    <c:v>09/02/2026</c:v>
                  </c:pt>
                  <c:pt idx="40">
                    <c:v>10/02/2026</c:v>
                  </c:pt>
                  <c:pt idx="41">
                    <c:v>11/02/2026</c:v>
                  </c:pt>
                  <c:pt idx="42">
                    <c:v>12/02/2026</c:v>
                  </c:pt>
                  <c:pt idx="43">
                    <c:v>13/02/2026</c:v>
                  </c:pt>
                  <c:pt idx="44">
                    <c:v>14/02/2026</c:v>
                  </c:pt>
                  <c:pt idx="45">
                    <c:v>15/02/2026</c:v>
                  </c:pt>
                  <c:pt idx="46">
                    <c:v>16/02/2026</c:v>
                  </c:pt>
                  <c:pt idx="47">
                    <c:v>17/02/2026</c:v>
                  </c:pt>
                  <c:pt idx="48">
                    <c:v>18/02/2026</c:v>
                  </c:pt>
                  <c:pt idx="49">
                    <c:v>19/02/2026</c:v>
                  </c:pt>
                  <c:pt idx="50">
                    <c:v>20/02/2026</c:v>
                  </c:pt>
                  <c:pt idx="51">
                    <c:v>21/02/2026</c:v>
                  </c:pt>
                  <c:pt idx="52">
                    <c:v>22/02/2026</c:v>
                  </c:pt>
                  <c:pt idx="53">
                    <c:v>23/02/2026</c:v>
                  </c:pt>
                  <c:pt idx="54">
                    <c:v>24/02/2026</c:v>
                  </c:pt>
                  <c:pt idx="55">
                    <c:v>25/02/2026</c:v>
                  </c:pt>
                  <c:pt idx="56">
                    <c:v>26/02/2026</c:v>
                  </c:pt>
                  <c:pt idx="57">
                    <c:v>27/02/2026</c:v>
                  </c:pt>
                  <c:pt idx="58">
                    <c:v>28/02/2026</c:v>
                  </c:pt>
                  <c:pt idx="59">
                    <c:v>01/03/2026</c:v>
                  </c:pt>
                  <c:pt idx="60">
                    <c:v>02/03/2026</c:v>
                  </c:pt>
                  <c:pt idx="61">
                    <c:v>03/03/2026</c:v>
                  </c:pt>
                  <c:pt idx="62">
                    <c:v>04/03/2026</c:v>
                  </c:pt>
                  <c:pt idx="63">
                    <c:v>05/03/2026</c:v>
                  </c:pt>
                  <c:pt idx="64">
                    <c:v>06/03/2026</c:v>
                  </c:pt>
                  <c:pt idx="65">
                    <c:v>07/03/2026</c:v>
                  </c:pt>
                  <c:pt idx="66">
                    <c:v>08/03/2026</c:v>
                  </c:pt>
                  <c:pt idx="67">
                    <c:v>09/03/2026</c:v>
                  </c:pt>
                  <c:pt idx="68">
                    <c:v>10/03/2026</c:v>
                  </c:pt>
                  <c:pt idx="69">
                    <c:v>11/03/2026</c:v>
                  </c:pt>
                  <c:pt idx="70">
                    <c:v>12/03/2026</c:v>
                  </c:pt>
                  <c:pt idx="71">
                    <c:v>13/03/2026</c:v>
                  </c:pt>
                  <c:pt idx="72">
                    <c:v>14/03/2026</c:v>
                  </c:pt>
                  <c:pt idx="73">
                    <c:v>15/03/2026</c:v>
                  </c:pt>
                  <c:pt idx="74">
                    <c:v>16/03/2026</c:v>
                  </c:pt>
                  <c:pt idx="75">
                    <c:v>17/03/2026</c:v>
                  </c:pt>
                  <c:pt idx="76">
                    <c:v>18/03/2026</c:v>
                  </c:pt>
                  <c:pt idx="77">
                    <c:v>19/03/2026</c:v>
                  </c:pt>
                  <c:pt idx="78">
                    <c:v>20/03/2026</c:v>
                  </c:pt>
                  <c:pt idx="79">
                    <c:v>21/03/2026</c:v>
                  </c:pt>
                  <c:pt idx="80">
                    <c:v>22/03/2026</c:v>
                  </c:pt>
                  <c:pt idx="81">
                    <c:v>23/03/2026</c:v>
                  </c:pt>
                  <c:pt idx="82">
                    <c:v>24/03/2026</c:v>
                  </c:pt>
                  <c:pt idx="83">
                    <c:v>25/03/2026</c:v>
                  </c:pt>
                  <c:pt idx="84">
                    <c:v>26/03/2026</c:v>
                  </c:pt>
                  <c:pt idx="85">
                    <c:v>27/03/2026</c:v>
                  </c:pt>
                  <c:pt idx="86">
                    <c:v>28/03/2026</c:v>
                  </c:pt>
                  <c:pt idx="87">
                    <c:v>29/03/2026</c:v>
                  </c:pt>
                  <c:pt idx="88">
                    <c:v>30/03/2026</c:v>
                  </c:pt>
                  <c:pt idx="89">
                    <c:v>31/03/2026</c:v>
                  </c:pt>
                </c:lvl>
                <c:lvl>
                  <c:pt idx="0">
                    <c:v>JANEIRO</c:v>
                  </c:pt>
                  <c:pt idx="31">
                    <c:v>FEVEREIRO</c:v>
                  </c:pt>
                  <c:pt idx="59">
                    <c:v>MARÇO</c:v>
                  </c:pt>
                </c:lvl>
              </c:multiLvlStrCache>
            </c:multiLvlStrRef>
          </c:cat>
          <c:val>
            <c:numRef>
              <c:f>'variação consumo zonas (JAN-MA)'!$F$3:$F$92</c:f>
              <c:numCache>
                <c:formatCode>#,##0</c:formatCode>
                <c:ptCount val="90"/>
                <c:pt idx="0">
                  <c:v>151613.64736666667</c:v>
                </c:pt>
                <c:pt idx="1">
                  <c:v>151613.64736666667</c:v>
                </c:pt>
                <c:pt idx="2">
                  <c:v>151613.64736666667</c:v>
                </c:pt>
                <c:pt idx="3">
                  <c:v>219840.1385142857</c:v>
                </c:pt>
                <c:pt idx="4">
                  <c:v>219840.1385142857</c:v>
                </c:pt>
                <c:pt idx="5">
                  <c:v>219840.1385142857</c:v>
                </c:pt>
                <c:pt idx="6">
                  <c:v>219840.1385142857</c:v>
                </c:pt>
                <c:pt idx="7">
                  <c:v>219840.1385142857</c:v>
                </c:pt>
                <c:pt idx="8">
                  <c:v>219840.1385142857</c:v>
                </c:pt>
                <c:pt idx="9">
                  <c:v>219840.1385142857</c:v>
                </c:pt>
                <c:pt idx="10">
                  <c:v>218272.91438571428</c:v>
                </c:pt>
                <c:pt idx="11">
                  <c:v>218272.91438571428</c:v>
                </c:pt>
                <c:pt idx="12">
                  <c:v>218272.91438571428</c:v>
                </c:pt>
                <c:pt idx="13">
                  <c:v>218272.91438571428</c:v>
                </c:pt>
                <c:pt idx="14">
                  <c:v>218272.91438571428</c:v>
                </c:pt>
                <c:pt idx="15">
                  <c:v>218272.91438571428</c:v>
                </c:pt>
                <c:pt idx="16">
                  <c:v>218272.91438571428</c:v>
                </c:pt>
                <c:pt idx="17">
                  <c:v>207516.88475714289</c:v>
                </c:pt>
                <c:pt idx="18">
                  <c:v>207516.88475714289</c:v>
                </c:pt>
                <c:pt idx="19">
                  <c:v>207516.88475714289</c:v>
                </c:pt>
                <c:pt idx="20">
                  <c:v>207516.88475714289</c:v>
                </c:pt>
                <c:pt idx="21">
                  <c:v>207516.88475714289</c:v>
                </c:pt>
                <c:pt idx="22">
                  <c:v>207516.88475714289</c:v>
                </c:pt>
                <c:pt idx="23">
                  <c:v>207516.88475714289</c:v>
                </c:pt>
                <c:pt idx="24">
                  <c:v>228674.18408571431</c:v>
                </c:pt>
                <c:pt idx="25">
                  <c:v>228674.18408571431</c:v>
                </c:pt>
                <c:pt idx="26">
                  <c:v>228674.18408571431</c:v>
                </c:pt>
                <c:pt idx="27">
                  <c:v>228674.18408571431</c:v>
                </c:pt>
                <c:pt idx="28">
                  <c:v>228674.18408571431</c:v>
                </c:pt>
                <c:pt idx="29">
                  <c:v>228674.18408571431</c:v>
                </c:pt>
                <c:pt idx="30">
                  <c:v>228674.18408571431</c:v>
                </c:pt>
                <c:pt idx="31">
                  <c:v>228019.58565714283</c:v>
                </c:pt>
                <c:pt idx="32">
                  <c:v>228019.58565714283</c:v>
                </c:pt>
                <c:pt idx="33">
                  <c:v>228019.58565714283</c:v>
                </c:pt>
                <c:pt idx="34">
                  <c:v>228019.58565714283</c:v>
                </c:pt>
                <c:pt idx="35">
                  <c:v>228019.58565714283</c:v>
                </c:pt>
                <c:pt idx="36">
                  <c:v>228019.58565714283</c:v>
                </c:pt>
                <c:pt idx="37">
                  <c:v>228019.58565714283</c:v>
                </c:pt>
                <c:pt idx="38">
                  <c:v>220645.97282857139</c:v>
                </c:pt>
                <c:pt idx="39">
                  <c:v>220645.97282857139</c:v>
                </c:pt>
                <c:pt idx="40">
                  <c:v>220645.97282857139</c:v>
                </c:pt>
                <c:pt idx="41">
                  <c:v>220645.97282857139</c:v>
                </c:pt>
                <c:pt idx="42">
                  <c:v>220645.97282857139</c:v>
                </c:pt>
                <c:pt idx="43">
                  <c:v>220645.97282857139</c:v>
                </c:pt>
                <c:pt idx="44">
                  <c:v>220645.97282857139</c:v>
                </c:pt>
                <c:pt idx="45">
                  <c:v>195818.17004285715</c:v>
                </c:pt>
                <c:pt idx="46">
                  <c:v>195818.17004285715</c:v>
                </c:pt>
                <c:pt idx="47">
                  <c:v>195818.17004285715</c:v>
                </c:pt>
                <c:pt idx="48">
                  <c:v>195818.17004285715</c:v>
                </c:pt>
                <c:pt idx="49">
                  <c:v>195818.17004285715</c:v>
                </c:pt>
                <c:pt idx="50">
                  <c:v>195818.17004285715</c:v>
                </c:pt>
                <c:pt idx="51">
                  <c:v>195818.17004285715</c:v>
                </c:pt>
                <c:pt idx="52">
                  <c:v>229615.4694142857</c:v>
                </c:pt>
                <c:pt idx="53">
                  <c:v>229615.4694142857</c:v>
                </c:pt>
                <c:pt idx="54">
                  <c:v>229615.4694142857</c:v>
                </c:pt>
                <c:pt idx="55">
                  <c:v>229615.4694142857</c:v>
                </c:pt>
                <c:pt idx="56">
                  <c:v>229615.4694142857</c:v>
                </c:pt>
                <c:pt idx="57">
                  <c:v>229615.4694142857</c:v>
                </c:pt>
                <c:pt idx="58">
                  <c:v>229615.4694142857</c:v>
                </c:pt>
                <c:pt idx="59">
                  <c:v>236937.5650714286</c:v>
                </c:pt>
                <c:pt idx="60">
                  <c:v>236937.5650714286</c:v>
                </c:pt>
                <c:pt idx="61">
                  <c:v>236937.5650714286</c:v>
                </c:pt>
                <c:pt idx="62">
                  <c:v>236937.5650714286</c:v>
                </c:pt>
                <c:pt idx="63">
                  <c:v>236937.5650714286</c:v>
                </c:pt>
                <c:pt idx="64">
                  <c:v>236937.5650714286</c:v>
                </c:pt>
                <c:pt idx="65">
                  <c:v>236937.5650714286</c:v>
                </c:pt>
                <c:pt idx="66">
                  <c:v>233714.23700000002</c:v>
                </c:pt>
                <c:pt idx="67">
                  <c:v>233714.23700000002</c:v>
                </c:pt>
                <c:pt idx="68">
                  <c:v>233714.23700000002</c:v>
                </c:pt>
                <c:pt idx="69">
                  <c:v>233714.23700000002</c:v>
                </c:pt>
                <c:pt idx="70">
                  <c:v>233714.23700000002</c:v>
                </c:pt>
                <c:pt idx="71">
                  <c:v>233714.23700000002</c:v>
                </c:pt>
                <c:pt idx="72">
                  <c:v>233714.23700000002</c:v>
                </c:pt>
                <c:pt idx="73">
                  <c:v>242757.49950000001</c:v>
                </c:pt>
                <c:pt idx="74">
                  <c:v>242757.49950000001</c:v>
                </c:pt>
                <c:pt idx="75">
                  <c:v>242757.49950000001</c:v>
                </c:pt>
                <c:pt idx="76">
                  <c:v>242757.49950000001</c:v>
                </c:pt>
                <c:pt idx="77">
                  <c:v>242757.49950000001</c:v>
                </c:pt>
                <c:pt idx="78">
                  <c:v>242757.49950000001</c:v>
                </c:pt>
                <c:pt idx="79">
                  <c:v>242757.49950000001</c:v>
                </c:pt>
                <c:pt idx="80">
                  <c:v>238933.58774285714</c:v>
                </c:pt>
                <c:pt idx="81">
                  <c:v>238933.58774285714</c:v>
                </c:pt>
                <c:pt idx="82">
                  <c:v>238933.58774285714</c:v>
                </c:pt>
                <c:pt idx="83">
                  <c:v>238933.58774285714</c:v>
                </c:pt>
                <c:pt idx="84">
                  <c:v>238933.58774285714</c:v>
                </c:pt>
                <c:pt idx="85">
                  <c:v>238933.58774285714</c:v>
                </c:pt>
                <c:pt idx="86">
                  <c:v>238933.58774285714</c:v>
                </c:pt>
                <c:pt idx="87">
                  <c:v>224616.85683333335</c:v>
                </c:pt>
                <c:pt idx="88">
                  <c:v>224616.85683333335</c:v>
                </c:pt>
                <c:pt idx="89">
                  <c:v>224616.85683333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0-C721-48FA-9EDE-4762C21DE5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86454304"/>
        <c:axId val="1286449024"/>
      </c:lineChart>
      <c:catAx>
        <c:axId val="12864543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6449024"/>
        <c:crosses val="autoZero"/>
        <c:auto val="1"/>
        <c:lblAlgn val="ctr"/>
        <c:lblOffset val="100"/>
        <c:noMultiLvlLbl val="1"/>
      </c:catAx>
      <c:valAx>
        <c:axId val="128644902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28645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ED7D3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9AC-404F-ABD2-5AA5817B6E6A}"/>
              </c:ext>
            </c:extLst>
          </c:dPt>
          <c:dPt>
            <c:idx val="1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7BB-44C6-83A1-82F781B34E5D}"/>
              </c:ext>
            </c:extLst>
          </c:dPt>
          <c:dPt>
            <c:idx val="2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7BB-44C6-83A1-82F781B34E5D}"/>
              </c:ext>
            </c:extLst>
          </c:dPt>
          <c:dPt>
            <c:idx val="3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7BB-44C6-83A1-82F781B34E5D}"/>
              </c:ext>
            </c:extLst>
          </c:dPt>
          <c:dPt>
            <c:idx val="4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7BB-44C6-83A1-82F781B34E5D}"/>
              </c:ext>
            </c:extLst>
          </c:dPt>
          <c:dPt>
            <c:idx val="5"/>
            <c:invertIfNegative val="0"/>
            <c:bubble3D val="0"/>
            <c:spPr>
              <a:solidFill>
                <a:srgbClr val="C2CD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E7BB-44C6-83A1-82F781B34E5D}"/>
              </c:ext>
            </c:extLst>
          </c:dPt>
          <c:dPt>
            <c:idx val="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9AC-404F-ABD2-5AA5817B6E6A}"/>
              </c:ext>
            </c:extLst>
          </c:dPt>
          <c:cat>
            <c:numRef>
              <c:f>'variação consumo zonas (JAN-MA)'!$I$5:$I$11</c:f>
              <c:numCache>
                <c:formatCode>dddd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variação consumo zonas (JAN-MA)'!$J$5:$J$11</c:f>
              <c:numCache>
                <c:formatCode>_(* #,##0.00_);_(* \(#,##0.00\);_(* "-"??_);_(@_)</c:formatCode>
                <c:ptCount val="7"/>
                <c:pt idx="0">
                  <c:v>187346.41340769228</c:v>
                </c:pt>
                <c:pt idx="1">
                  <c:v>214703.44759230767</c:v>
                </c:pt>
                <c:pt idx="2">
                  <c:v>235321.82386923075</c:v>
                </c:pt>
                <c:pt idx="3">
                  <c:v>239655.69722500001</c:v>
                </c:pt>
                <c:pt idx="4">
                  <c:v>228974.34000769228</c:v>
                </c:pt>
                <c:pt idx="5">
                  <c:v>235643.40179999999</c:v>
                </c:pt>
                <c:pt idx="6">
                  <c:v>217860.31246923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AC-404F-ABD2-5AA5817B6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14682560"/>
        <c:axId val="1387790400"/>
      </c:barChart>
      <c:dateAx>
        <c:axId val="1414682560"/>
        <c:scaling>
          <c:orientation val="minMax"/>
        </c:scaling>
        <c:delete val="0"/>
        <c:axPos val="b"/>
        <c:numFmt formatCode="dddd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pt-BR"/>
          </a:p>
        </c:txPr>
        <c:crossAx val="1387790400"/>
        <c:crosses val="autoZero"/>
        <c:auto val="1"/>
        <c:lblOffset val="100"/>
        <c:baseTimeUnit val="days"/>
      </c:dateAx>
      <c:valAx>
        <c:axId val="1387790400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41468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493</cdr:x>
      <cdr:y>0.07138</cdr:y>
    </cdr:from>
    <cdr:to>
      <cdr:x>0.32812</cdr:x>
      <cdr:y>0.17877</cdr:y>
    </cdr:to>
    <cdr:sp macro="" textlink="">
      <cdr:nvSpPr>
        <cdr:cNvPr id="2" name="CaixaDeTexto 17">
          <a:extLst xmlns:a="http://schemas.openxmlformats.org/drawingml/2006/main">
            <a:ext uri="{FF2B5EF4-FFF2-40B4-BE49-F238E27FC236}">
              <a16:creationId xmlns:a16="http://schemas.microsoft.com/office/drawing/2014/main" id="{5C007674-43A7-1C73-4D99-42DBAEF42638}"/>
            </a:ext>
          </a:extLst>
        </cdr:cNvPr>
        <cdr:cNvSpPr txBox="1"/>
      </cdr:nvSpPr>
      <cdr:spPr>
        <a:xfrm xmlns:a="http://schemas.openxmlformats.org/drawingml/2006/main">
          <a:off x="2435689" y="245506"/>
          <a:ext cx="1282722" cy="3693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pt-BR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BR" b="1" dirty="0">
              <a:solidFill>
                <a:srgbClr val="156082"/>
              </a:solidFill>
              <a:latin typeface="Montserrat" pitchFamily="2" charset="0"/>
            </a:rPr>
            <a:t>∆ 41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996</cdr:x>
      <cdr:y>0.16306</cdr:y>
    </cdr:from>
    <cdr:to>
      <cdr:x>0.5</cdr:x>
      <cdr:y>0.36608</cdr:y>
    </cdr:to>
    <cdr:cxnSp macro="">
      <cdr:nvCxnSpPr>
        <cdr:cNvPr id="3" name="Conector: Angulado 2">
          <a:extLst xmlns:a="http://schemas.openxmlformats.org/drawingml/2006/main">
            <a:ext uri="{FF2B5EF4-FFF2-40B4-BE49-F238E27FC236}">
              <a16:creationId xmlns:a16="http://schemas.microsoft.com/office/drawing/2014/main" id="{297670FB-5A66-480F-BADA-3F3B24B2BE64}"/>
            </a:ext>
          </a:extLst>
        </cdr:cNvPr>
        <cdr:cNvCxnSpPr/>
      </cdr:nvCxnSpPr>
      <cdr:spPr>
        <a:xfrm xmlns:a="http://schemas.openxmlformats.org/drawingml/2006/main" rot="10800000" flipV="1">
          <a:off x="642620" y="325448"/>
          <a:ext cx="2929029" cy="405194"/>
        </a:xfrm>
        <a:prstGeom xmlns:a="http://schemas.openxmlformats.org/drawingml/2006/main" prst="bentConnector3">
          <a:avLst>
            <a:gd name="adj1" fmla="val 100123"/>
          </a:avLst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</cdr:x>
      <cdr:y>0.16255</cdr:y>
    </cdr:from>
    <cdr:to>
      <cdr:x>0.91348</cdr:x>
      <cdr:y>0.28185</cdr:y>
    </cdr:to>
    <cdr:cxnSp macro="">
      <cdr:nvCxnSpPr>
        <cdr:cNvPr id="6" name="Conector: Angulado 5">
          <a:extLst xmlns:a="http://schemas.openxmlformats.org/drawingml/2006/main">
            <a:ext uri="{FF2B5EF4-FFF2-40B4-BE49-F238E27FC236}">
              <a16:creationId xmlns:a16="http://schemas.microsoft.com/office/drawing/2014/main" id="{8720762E-0004-F302-D82E-F0239E2434AF}"/>
            </a:ext>
          </a:extLst>
        </cdr:cNvPr>
        <cdr:cNvCxnSpPr/>
      </cdr:nvCxnSpPr>
      <cdr:spPr>
        <a:xfrm xmlns:a="http://schemas.openxmlformats.org/drawingml/2006/main">
          <a:off x="3571645" y="324430"/>
          <a:ext cx="2953614" cy="238108"/>
        </a:xfrm>
        <a:prstGeom xmlns:a="http://schemas.openxmlformats.org/drawingml/2006/main" prst="bentConnector3">
          <a:avLst>
            <a:gd name="adj1" fmla="val 100050"/>
          </a:avLst>
        </a:prstGeom>
        <a:ln xmlns:a="http://schemas.openxmlformats.org/drawingml/2006/main" w="28575">
          <a:solidFill>
            <a:srgbClr val="F3702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EF436-4697-4B7F-81B1-1729C094DB34}" type="datetimeFigureOut">
              <a:rPr lang="pt-BR" smtClean="0"/>
              <a:t>28/04/2026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091E1-AAB0-4BDA-980D-A6BF674A950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8306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Sugiro alterar a redação para emissões evitadas, e suprimir com o uso do GN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091E1-AAB0-4BDA-980D-A6BF674A9504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0658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5ED41F-2AA8-0451-EFF8-7DCD97BAB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5A52CC-5C08-7257-F50F-B0DC4978E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8186A3-CDCD-D03C-1ADB-380E4643E3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9752E1-F846-51AD-F789-EA61649376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8E3AF-DE84-4041-987A-C510A907F69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241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99078D-BD9A-0CA4-677C-0D924100E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30DBB2-C39C-5088-8730-67107C49C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82FBD4-0C02-5349-BB34-6792C0D8EC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C2F52E-5003-2137-D176-137DD71253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8E3AF-DE84-4041-987A-C510A907F69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82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3D51A-E885-9E69-4141-045021AD3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C7F3DE0-6CF3-20CE-A8A5-A4F5A7E00A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7A6011F1-5C85-E760-5C2C-BFEC5AA8C3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3E1E2F2-741A-F515-CCCE-F95E7481E2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4D0C11-95C4-49CD-A77F-21AE393BFD5A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576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E6184-D053-370F-94F9-47EA388ED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889BAC-D3B0-37FB-02DB-C64240A07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DA8C80-CA14-C17E-B3F7-FDEDE80B49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Lei do Gás </a:t>
            </a:r>
          </a:p>
          <a:p>
            <a:endParaRPr lang="pt-BR"/>
          </a:p>
          <a:p>
            <a:r>
              <a:rPr lang="pt-BR"/>
              <a:t>Mais resolução ARS´ML </a:t>
            </a:r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02F650-DB16-504E-0C94-7B8D03C426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8E3AF-DE84-4041-987A-C510A907F69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952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8C960-C69D-0E72-C08B-A0C5C7CF5C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1CEEA94C-D922-714B-6067-9B10A4732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AF0BFCE-BC38-882F-EC09-2CF0D2896D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DF3E297-20AF-5BA2-8FCF-B24B8E892A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4D0C11-95C4-49CD-A77F-21AE393BFD5A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03023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994BC-ED6D-E646-4304-3D0D6710E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D67DE7F-6772-0906-44D7-5C2E0F8021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7E262C16-D379-7283-DF80-5A9169BFD9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4DCDE74-4B89-FE0E-F89D-B749780BF7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4D0C11-95C4-49CD-A77F-21AE393BFD5A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9169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055BA8-3ECC-6E81-8A25-210CCFC38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5E7B5A-CE4C-8362-975B-6D8BC53424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2B3893-E960-5A0A-06A8-389DCA75A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FD0B48-898D-8842-ED3C-F410C65C84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8E3AF-DE84-4041-987A-C510A907F69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6285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091E1-AAB0-4BDA-980D-A6BF674A9504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6623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0CB7524-5AA4-42F0-A093-F05F706848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49898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0CB7524-5AA4-42F0-A093-F05F70684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92510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F8A29C-99BB-1FDF-E0E8-B99170C5B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10F9E3-054A-BD59-2A30-F498352918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E616455-B689-C618-FAB8-A4496EDE9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C5817-6328-44C0-97E8-92E9EBE842CA}" type="datetimeFigureOut">
              <a:rPr lang="pt-BR" smtClean="0"/>
              <a:t>28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A73BC2-1517-923D-6D48-B4C3FDCE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1A5B449-DD95-9F6E-5129-2BC895531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B624C-E2D7-4538-AC16-E747E3E468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5201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0CB7524-5AA4-42F0-A093-F05F706848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49898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0CB7524-5AA4-42F0-A093-F05F70684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87964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86085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76492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u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9" y="987701"/>
            <a:ext cx="10797117" cy="259209"/>
          </a:xfrm>
        </p:spPr>
        <p:txBody>
          <a:bodyPr/>
          <a:lstStyle>
            <a:lvl1pPr marL="0" indent="0">
              <a:buNone/>
              <a:defRPr sz="1200">
                <a:solidFill>
                  <a:srgbClr val="943427"/>
                </a:solidFill>
                <a:latin typeface="DM Sans 14pt Light" pitchFamily="2" charset="0"/>
              </a:defRPr>
            </a:lvl1pPr>
          </a:lstStyle>
          <a:p>
            <a:pPr lvl="0"/>
            <a:r>
              <a:rPr lang="en-US"/>
              <a:t>Click to edit Master Subtitle styles</a:t>
            </a:r>
            <a:endParaRPr lang="pt-BR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19667" y="1416051"/>
            <a:ext cx="10797119" cy="4530725"/>
          </a:xfrm>
        </p:spPr>
        <p:txBody>
          <a:bodyPr/>
          <a:lstStyle>
            <a:lvl1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1pPr>
            <a:lvl2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2pPr>
            <a:lvl3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3pPr>
            <a:lvl4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4pPr>
            <a:lvl5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719665" y="289708"/>
            <a:ext cx="8971083" cy="535793"/>
          </a:xfrm>
        </p:spPr>
        <p:txBody>
          <a:bodyPr/>
          <a:lstStyle>
            <a:lvl1pPr>
              <a:defRPr>
                <a:solidFill>
                  <a:schemeClr val="accent4">
                    <a:lumMod val="75000"/>
                    <a:lumOff val="25000"/>
                  </a:schemeClr>
                </a:solidFill>
                <a:latin typeface="DM Sans 14pt Light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20490F1-A625-4820-92FF-FD88013BA0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6834" y="6384707"/>
            <a:ext cx="8227483" cy="190892"/>
          </a:xfrm>
        </p:spPr>
        <p:txBody>
          <a:bodyPr anchor="b"/>
          <a:lstStyle>
            <a:lvl1pPr marL="0" indent="0">
              <a:buNone/>
              <a:defRPr sz="700">
                <a:latin typeface="DM Sans 14pt Light" pitchFamily="2" charset="0"/>
              </a:defRPr>
            </a:lvl1pPr>
          </a:lstStyle>
          <a:p>
            <a:r>
              <a:rPr lang="en-US"/>
              <a:t>Notes</a:t>
            </a:r>
          </a:p>
        </p:txBody>
      </p:sp>
    </p:spTree>
    <p:extLst>
      <p:ext uri="{BB962C8B-B14F-4D97-AF65-F5344CB8AC3E}">
        <p14:creationId xmlns:p14="http://schemas.microsoft.com/office/powerpoint/2010/main" val="70072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775C541-3FBC-A124-E313-DD66FDF8A6D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5F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AB70ECCF-9A4A-A8A8-5381-1D8C52B9CB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596649" y="6289495"/>
            <a:ext cx="264975" cy="28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6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0CB7524-5AA4-42F0-A093-F05F706848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49898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0CB7524-5AA4-42F0-A093-F05F70684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23946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15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0909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3047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AB70ECCF-9A4A-A8A8-5381-1D8C52B9CB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596649" y="6289495"/>
            <a:ext cx="264975" cy="286155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F3205440-9E30-A898-B2B6-B691338BAD57}"/>
              </a:ext>
            </a:extLst>
          </p:cNvPr>
          <p:cNvSpPr/>
          <p:nvPr userDrawn="1"/>
        </p:nvSpPr>
        <p:spPr>
          <a:xfrm rot="10800000"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48945D"/>
              </a:gs>
              <a:gs pos="100000">
                <a:srgbClr val="A6C61E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446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u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9" y="987701"/>
            <a:ext cx="10797117" cy="259209"/>
          </a:xfrm>
        </p:spPr>
        <p:txBody>
          <a:bodyPr/>
          <a:lstStyle>
            <a:lvl1pPr marL="0" indent="0">
              <a:buNone/>
              <a:defRPr sz="1200">
                <a:solidFill>
                  <a:srgbClr val="943427"/>
                </a:solidFill>
                <a:latin typeface="DM Sans 14pt Light" pitchFamily="2" charset="0"/>
              </a:defRPr>
            </a:lvl1pPr>
          </a:lstStyle>
          <a:p>
            <a:pPr lvl="0"/>
            <a:r>
              <a:rPr lang="en-US"/>
              <a:t>Click to edit Master Subtitle styles</a:t>
            </a:r>
            <a:endParaRPr lang="pt-BR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19667" y="1416051"/>
            <a:ext cx="10797119" cy="4530725"/>
          </a:xfrm>
        </p:spPr>
        <p:txBody>
          <a:bodyPr/>
          <a:lstStyle>
            <a:lvl1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1pPr>
            <a:lvl2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2pPr>
            <a:lvl3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3pPr>
            <a:lvl4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4pPr>
            <a:lvl5pPr>
              <a:buClr>
                <a:srgbClr val="943427"/>
              </a:buClr>
              <a:defRPr>
                <a:solidFill>
                  <a:srgbClr val="333333"/>
                </a:solidFill>
                <a:latin typeface="DM Sans 14pt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719665" y="289708"/>
            <a:ext cx="8971083" cy="535793"/>
          </a:xfrm>
        </p:spPr>
        <p:txBody>
          <a:bodyPr/>
          <a:lstStyle>
            <a:lvl1pPr>
              <a:defRPr>
                <a:solidFill>
                  <a:schemeClr val="accent4">
                    <a:lumMod val="75000"/>
                    <a:lumOff val="25000"/>
                  </a:schemeClr>
                </a:solidFill>
                <a:latin typeface="DM Sans 14pt Light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20490F1-A625-4820-92FF-FD88013BA0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6834" y="6384707"/>
            <a:ext cx="8227483" cy="190892"/>
          </a:xfrm>
        </p:spPr>
        <p:txBody>
          <a:bodyPr anchor="b"/>
          <a:lstStyle>
            <a:lvl1pPr marL="0" indent="0">
              <a:buNone/>
              <a:defRPr sz="700">
                <a:latin typeface="DM Sans 14pt Light" pitchFamily="2" charset="0"/>
              </a:defRPr>
            </a:lvl1pPr>
          </a:lstStyle>
          <a:p>
            <a:r>
              <a:rPr lang="en-US"/>
              <a:t>Notes</a:t>
            </a:r>
          </a:p>
        </p:txBody>
      </p:sp>
    </p:spTree>
    <p:extLst>
      <p:ext uri="{BB962C8B-B14F-4D97-AF65-F5344CB8AC3E}">
        <p14:creationId xmlns:p14="http://schemas.microsoft.com/office/powerpoint/2010/main" val="3393188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68D08A-BA7D-4629-AFAC-3BBB8D622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ontserrat Medium" panose="00000600000000000000" pitchFamily="50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25AAD97-F10E-302D-2F76-629174C87B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ontserrat Medium" panose="00000600000000000000" pitchFamily="50" charset="0"/>
              </a:defRPr>
            </a:lvl1pPr>
            <a:lvl2pPr>
              <a:defRPr>
                <a:latin typeface="Montserrat Medium" panose="00000600000000000000" pitchFamily="50" charset="0"/>
              </a:defRPr>
            </a:lvl2pPr>
            <a:lvl3pPr>
              <a:defRPr>
                <a:latin typeface="Montserrat Medium" panose="00000600000000000000" pitchFamily="50" charset="0"/>
              </a:defRPr>
            </a:lvl3pPr>
            <a:lvl4pPr>
              <a:defRPr>
                <a:latin typeface="Montserrat Medium" panose="00000600000000000000" pitchFamily="50" charset="0"/>
              </a:defRPr>
            </a:lvl4pPr>
            <a:lvl5pPr>
              <a:defRPr>
                <a:latin typeface="Montserrat Medium" panose="00000600000000000000" pitchFamily="50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D1BAA40-5D18-B512-CCBE-77BCB861B7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ontserrat Medium" panose="00000600000000000000" pitchFamily="50" charset="0"/>
              </a:defRPr>
            </a:lvl1pPr>
          </a:lstStyle>
          <a:p>
            <a:fld id="{0A13A888-0CDF-4A96-9A92-FC9883378CF2}" type="datetimeFigureOut">
              <a:rPr lang="pt-BR" smtClean="0"/>
              <a:pPr/>
              <a:t>28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F6DE96F-FF8B-4E36-985E-31B437695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ontserrat Medium" panose="000006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42295E-ECA5-BFD8-9083-F69E3BD0D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 Medium" panose="00000600000000000000" pitchFamily="50" charset="0"/>
              </a:defRPr>
            </a:lvl1pPr>
          </a:lstStyle>
          <a:p>
            <a:fld id="{065CA2C2-7163-46AE-8136-4D97427B972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4961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AB70ECCF-9A4A-A8A8-5381-1D8C52B9CB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596649" y="6289495"/>
            <a:ext cx="264975" cy="286155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6169E1B6-C0E1-2E1A-0574-3B7EADADE2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8000">
                <a:srgbClr val="197391"/>
              </a:gs>
              <a:gs pos="76000">
                <a:srgbClr val="238778"/>
              </a:gs>
              <a:gs pos="64000">
                <a:srgbClr val="3CA055"/>
              </a:gs>
              <a:gs pos="51000">
                <a:srgbClr val="78B446"/>
              </a:gs>
              <a:gs pos="39000">
                <a:srgbClr val="AAA537"/>
              </a:gs>
              <a:gs pos="27000">
                <a:srgbClr val="D29128"/>
              </a:gs>
              <a:gs pos="14000">
                <a:srgbClr val="EC8428"/>
              </a:gs>
              <a:gs pos="0">
                <a:srgbClr val="F99C1C"/>
              </a:gs>
              <a:gs pos="100000">
                <a:srgbClr val="0F5F96"/>
              </a:gs>
            </a:gsLst>
            <a:lin ang="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0D245132-52F6-FD32-06B7-498E858DF7CD}"/>
              </a:ext>
            </a:extLst>
          </p:cNvPr>
          <p:cNvSpPr/>
          <p:nvPr userDrawn="1"/>
        </p:nvSpPr>
        <p:spPr>
          <a:xfrm>
            <a:off x="2614776" y="8618356"/>
            <a:ext cx="12192000" cy="6838895"/>
          </a:xfrm>
          <a:prstGeom prst="rect">
            <a:avLst/>
          </a:prstGeom>
          <a:solidFill>
            <a:schemeClr val="bg1">
              <a:alpha val="12000"/>
            </a:schemeClr>
          </a:solidFill>
          <a:effectLst>
            <a:softEdge rad="635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9752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AB70ECCF-9A4A-A8A8-5381-1D8C52B9CB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596649" y="6289495"/>
            <a:ext cx="264975" cy="286155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6169E1B6-C0E1-2E1A-0574-3B7EADADE2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8000">
                <a:srgbClr val="197391"/>
              </a:gs>
              <a:gs pos="76000">
                <a:srgbClr val="238778"/>
              </a:gs>
              <a:gs pos="64000">
                <a:srgbClr val="3CA055"/>
              </a:gs>
              <a:gs pos="51000">
                <a:srgbClr val="78B446"/>
              </a:gs>
              <a:gs pos="39000">
                <a:srgbClr val="AAA537"/>
              </a:gs>
              <a:gs pos="27000">
                <a:srgbClr val="D29128"/>
              </a:gs>
              <a:gs pos="14000">
                <a:srgbClr val="EC8428"/>
              </a:gs>
              <a:gs pos="0">
                <a:srgbClr val="F99C1C"/>
              </a:gs>
              <a:gs pos="100000">
                <a:srgbClr val="0F5F96"/>
              </a:gs>
            </a:gsLst>
            <a:lin ang="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3C55C452-44CB-63CE-B2CF-E3E185683A3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alpha val="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555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FB1DE6D8-FB19-FC9B-A307-6155068DBB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5000">
                <a:srgbClr val="1F1F4C"/>
              </a:gs>
              <a:gs pos="0">
                <a:srgbClr val="006199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</p:spTree>
    <p:extLst>
      <p:ext uri="{BB962C8B-B14F-4D97-AF65-F5344CB8AC3E}">
        <p14:creationId xmlns:p14="http://schemas.microsoft.com/office/powerpoint/2010/main" val="2163675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Liv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 userDrawn="1"/>
        </p:nvGrpSpPr>
        <p:grpSpPr>
          <a:xfrm>
            <a:off x="4591749" y="2861123"/>
            <a:ext cx="3211703" cy="808689"/>
            <a:chOff x="4870450" y="3759200"/>
            <a:chExt cx="2654300" cy="668338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5584825" y="4014788"/>
              <a:ext cx="263525" cy="157163"/>
            </a:xfrm>
            <a:custGeom>
              <a:avLst/>
              <a:gdLst>
                <a:gd name="T0" fmla="*/ 758 w 1079"/>
                <a:gd name="T1" fmla="*/ 0 h 643"/>
                <a:gd name="T2" fmla="*/ 1079 w 1079"/>
                <a:gd name="T3" fmla="*/ 322 h 643"/>
                <a:gd name="T4" fmla="*/ 757 w 1079"/>
                <a:gd name="T5" fmla="*/ 643 h 643"/>
                <a:gd name="T6" fmla="*/ 320 w 1079"/>
                <a:gd name="T7" fmla="*/ 643 h 643"/>
                <a:gd name="T8" fmla="*/ 0 w 1079"/>
                <a:gd name="T9" fmla="*/ 322 h 643"/>
                <a:gd name="T10" fmla="*/ 321 w 1079"/>
                <a:gd name="T11" fmla="*/ 0 h 643"/>
                <a:gd name="T12" fmla="*/ 758 w 1079"/>
                <a:gd name="T13" fmla="*/ 0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9" h="643">
                  <a:moveTo>
                    <a:pt x="758" y="0"/>
                  </a:moveTo>
                  <a:cubicBezTo>
                    <a:pt x="935" y="0"/>
                    <a:pt x="1079" y="144"/>
                    <a:pt x="1079" y="322"/>
                  </a:cubicBezTo>
                  <a:cubicBezTo>
                    <a:pt x="1079" y="499"/>
                    <a:pt x="935" y="643"/>
                    <a:pt x="757" y="643"/>
                  </a:cubicBezTo>
                  <a:cubicBezTo>
                    <a:pt x="320" y="643"/>
                    <a:pt x="320" y="643"/>
                    <a:pt x="320" y="643"/>
                  </a:cubicBezTo>
                  <a:cubicBezTo>
                    <a:pt x="143" y="643"/>
                    <a:pt x="0" y="499"/>
                    <a:pt x="0" y="322"/>
                  </a:cubicBezTo>
                  <a:cubicBezTo>
                    <a:pt x="0" y="144"/>
                    <a:pt x="143" y="0"/>
                    <a:pt x="321" y="0"/>
                  </a:cubicBezTo>
                  <a:lnTo>
                    <a:pt x="7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pt-BR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6669088" y="3759200"/>
              <a:ext cx="155575" cy="668338"/>
            </a:xfrm>
            <a:custGeom>
              <a:avLst/>
              <a:gdLst>
                <a:gd name="T0" fmla="*/ 643 w 644"/>
                <a:gd name="T1" fmla="*/ 2411 h 2732"/>
                <a:gd name="T2" fmla="*/ 322 w 644"/>
                <a:gd name="T3" fmla="*/ 2732 h 2732"/>
                <a:gd name="T4" fmla="*/ 0 w 644"/>
                <a:gd name="T5" fmla="*/ 2411 h 2732"/>
                <a:gd name="T6" fmla="*/ 0 w 644"/>
                <a:gd name="T7" fmla="*/ 321 h 2732"/>
                <a:gd name="T8" fmla="*/ 322 w 644"/>
                <a:gd name="T9" fmla="*/ 0 h 2732"/>
                <a:gd name="T10" fmla="*/ 643 w 644"/>
                <a:gd name="T11" fmla="*/ 320 h 2732"/>
                <a:gd name="T12" fmla="*/ 644 w 644"/>
                <a:gd name="T13" fmla="*/ 2411 h 2732"/>
                <a:gd name="T14" fmla="*/ 643 w 644"/>
                <a:gd name="T15" fmla="*/ 24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" h="2732">
                  <a:moveTo>
                    <a:pt x="643" y="2411"/>
                  </a:moveTo>
                  <a:cubicBezTo>
                    <a:pt x="643" y="2588"/>
                    <a:pt x="499" y="2732"/>
                    <a:pt x="322" y="2732"/>
                  </a:cubicBezTo>
                  <a:cubicBezTo>
                    <a:pt x="145" y="2732"/>
                    <a:pt x="1" y="2588"/>
                    <a:pt x="0" y="2411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1" y="143"/>
                    <a:pt x="145" y="0"/>
                    <a:pt x="322" y="0"/>
                  </a:cubicBezTo>
                  <a:cubicBezTo>
                    <a:pt x="499" y="0"/>
                    <a:pt x="643" y="143"/>
                    <a:pt x="643" y="320"/>
                  </a:cubicBezTo>
                  <a:cubicBezTo>
                    <a:pt x="644" y="2411"/>
                    <a:pt x="644" y="2411"/>
                    <a:pt x="644" y="2411"/>
                  </a:cubicBezTo>
                  <a:lnTo>
                    <a:pt x="643" y="24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pt-BR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6858000" y="3759200"/>
              <a:ext cx="666750" cy="668338"/>
            </a:xfrm>
            <a:custGeom>
              <a:avLst/>
              <a:gdLst>
                <a:gd name="T0" fmla="*/ 2045 w 2733"/>
                <a:gd name="T1" fmla="*/ 181 h 2734"/>
                <a:gd name="T2" fmla="*/ 2210 w 2733"/>
                <a:gd name="T3" fmla="*/ 461 h 2734"/>
                <a:gd name="T4" fmla="*/ 1888 w 2733"/>
                <a:gd name="T5" fmla="*/ 783 h 2734"/>
                <a:gd name="T6" fmla="*/ 1719 w 2733"/>
                <a:gd name="T7" fmla="*/ 735 h 2734"/>
                <a:gd name="T8" fmla="*/ 1366 w 2733"/>
                <a:gd name="T9" fmla="*/ 643 h 2734"/>
                <a:gd name="T10" fmla="*/ 642 w 2733"/>
                <a:gd name="T11" fmla="*/ 1367 h 2734"/>
                <a:gd name="T12" fmla="*/ 1366 w 2733"/>
                <a:gd name="T13" fmla="*/ 2090 h 2734"/>
                <a:gd name="T14" fmla="*/ 2014 w 2733"/>
                <a:gd name="T15" fmla="*/ 1688 h 2734"/>
                <a:gd name="T16" fmla="*/ 1366 w 2733"/>
                <a:gd name="T17" fmla="*/ 1688 h 2734"/>
                <a:gd name="T18" fmla="*/ 1045 w 2733"/>
                <a:gd name="T19" fmla="*/ 1367 h 2734"/>
                <a:gd name="T20" fmla="*/ 1366 w 2733"/>
                <a:gd name="T21" fmla="*/ 1045 h 2734"/>
                <a:gd name="T22" fmla="*/ 2411 w 2733"/>
                <a:gd name="T23" fmla="*/ 1045 h 2734"/>
                <a:gd name="T24" fmla="*/ 2733 w 2733"/>
                <a:gd name="T25" fmla="*/ 1367 h 2734"/>
                <a:gd name="T26" fmla="*/ 1366 w 2733"/>
                <a:gd name="T27" fmla="*/ 2734 h 2734"/>
                <a:gd name="T28" fmla="*/ 0 w 2733"/>
                <a:gd name="T29" fmla="*/ 1367 h 2734"/>
                <a:gd name="T30" fmla="*/ 1366 w 2733"/>
                <a:gd name="T31" fmla="*/ 0 h 2734"/>
                <a:gd name="T32" fmla="*/ 2046 w 2733"/>
                <a:gd name="T33" fmla="*/ 180 h 2734"/>
                <a:gd name="T34" fmla="*/ 2045 w 2733"/>
                <a:gd name="T35" fmla="*/ 181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33" h="2734">
                  <a:moveTo>
                    <a:pt x="2045" y="181"/>
                  </a:moveTo>
                  <a:cubicBezTo>
                    <a:pt x="2144" y="236"/>
                    <a:pt x="2210" y="341"/>
                    <a:pt x="2210" y="461"/>
                  </a:cubicBezTo>
                  <a:cubicBezTo>
                    <a:pt x="2210" y="639"/>
                    <a:pt x="2066" y="783"/>
                    <a:pt x="1888" y="783"/>
                  </a:cubicBezTo>
                  <a:cubicBezTo>
                    <a:pt x="1826" y="783"/>
                    <a:pt x="1768" y="765"/>
                    <a:pt x="1719" y="735"/>
                  </a:cubicBezTo>
                  <a:cubicBezTo>
                    <a:pt x="1614" y="676"/>
                    <a:pt x="1494" y="643"/>
                    <a:pt x="1366" y="643"/>
                  </a:cubicBezTo>
                  <a:cubicBezTo>
                    <a:pt x="966" y="643"/>
                    <a:pt x="642" y="967"/>
                    <a:pt x="642" y="1367"/>
                  </a:cubicBezTo>
                  <a:cubicBezTo>
                    <a:pt x="642" y="1766"/>
                    <a:pt x="966" y="2090"/>
                    <a:pt x="1366" y="2090"/>
                  </a:cubicBezTo>
                  <a:cubicBezTo>
                    <a:pt x="1650" y="2090"/>
                    <a:pt x="1895" y="1927"/>
                    <a:pt x="2014" y="1688"/>
                  </a:cubicBezTo>
                  <a:cubicBezTo>
                    <a:pt x="1366" y="1688"/>
                    <a:pt x="1366" y="1688"/>
                    <a:pt x="1366" y="1688"/>
                  </a:cubicBezTo>
                  <a:cubicBezTo>
                    <a:pt x="1189" y="1688"/>
                    <a:pt x="1045" y="1544"/>
                    <a:pt x="1045" y="1367"/>
                  </a:cubicBezTo>
                  <a:cubicBezTo>
                    <a:pt x="1045" y="1189"/>
                    <a:pt x="1189" y="1045"/>
                    <a:pt x="1366" y="1045"/>
                  </a:cubicBezTo>
                  <a:cubicBezTo>
                    <a:pt x="2411" y="1045"/>
                    <a:pt x="2411" y="1045"/>
                    <a:pt x="2411" y="1045"/>
                  </a:cubicBezTo>
                  <a:cubicBezTo>
                    <a:pt x="2589" y="1045"/>
                    <a:pt x="2733" y="1189"/>
                    <a:pt x="2733" y="1367"/>
                  </a:cubicBezTo>
                  <a:cubicBezTo>
                    <a:pt x="2733" y="2122"/>
                    <a:pt x="2121" y="2734"/>
                    <a:pt x="1366" y="2734"/>
                  </a:cubicBezTo>
                  <a:cubicBezTo>
                    <a:pt x="612" y="2734"/>
                    <a:pt x="0" y="2122"/>
                    <a:pt x="0" y="1367"/>
                  </a:cubicBezTo>
                  <a:cubicBezTo>
                    <a:pt x="0" y="612"/>
                    <a:pt x="612" y="0"/>
                    <a:pt x="1366" y="0"/>
                  </a:cubicBezTo>
                  <a:cubicBezTo>
                    <a:pt x="1613" y="0"/>
                    <a:pt x="1845" y="66"/>
                    <a:pt x="2046" y="180"/>
                  </a:cubicBezTo>
                  <a:lnTo>
                    <a:pt x="2045" y="1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pt-BR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4870450" y="3759200"/>
              <a:ext cx="1055688" cy="668338"/>
            </a:xfrm>
            <a:custGeom>
              <a:avLst/>
              <a:gdLst>
                <a:gd name="T0" fmla="*/ 2087 w 4328"/>
                <a:gd name="T1" fmla="*/ 205 h 2734"/>
                <a:gd name="T2" fmla="*/ 2242 w 4328"/>
                <a:gd name="T3" fmla="*/ 482 h 2734"/>
                <a:gd name="T4" fmla="*/ 1920 w 4328"/>
                <a:gd name="T5" fmla="*/ 804 h 2734"/>
                <a:gd name="T6" fmla="*/ 1747 w 4328"/>
                <a:gd name="T7" fmla="*/ 751 h 2734"/>
                <a:gd name="T8" fmla="*/ 1367 w 4328"/>
                <a:gd name="T9" fmla="*/ 643 h 2734"/>
                <a:gd name="T10" fmla="*/ 643 w 4328"/>
                <a:gd name="T11" fmla="*/ 1367 h 2734"/>
                <a:gd name="T12" fmla="*/ 1367 w 4328"/>
                <a:gd name="T13" fmla="*/ 2090 h 2734"/>
                <a:gd name="T14" fmla="*/ 2059 w 4328"/>
                <a:gd name="T15" fmla="*/ 1578 h 2734"/>
                <a:gd name="T16" fmla="*/ 2465 w 4328"/>
                <a:gd name="T17" fmla="*/ 250 h 2734"/>
                <a:gd name="T18" fmla="*/ 2773 w 4328"/>
                <a:gd name="T19" fmla="*/ 27 h 2734"/>
                <a:gd name="T20" fmla="*/ 4006 w 4328"/>
                <a:gd name="T21" fmla="*/ 27 h 2734"/>
                <a:gd name="T22" fmla="*/ 4328 w 4328"/>
                <a:gd name="T23" fmla="*/ 348 h 2734"/>
                <a:gd name="T24" fmla="*/ 4006 w 4328"/>
                <a:gd name="T25" fmla="*/ 670 h 2734"/>
                <a:gd name="T26" fmla="*/ 3109 w 4328"/>
                <a:gd name="T27" fmla="*/ 670 h 2734"/>
                <a:gd name="T28" fmla="*/ 2982 w 4328"/>
                <a:gd name="T29" fmla="*/ 761 h 2734"/>
                <a:gd name="T30" fmla="*/ 2676 w 4328"/>
                <a:gd name="T31" fmla="*/ 1762 h 2734"/>
                <a:gd name="T32" fmla="*/ 1367 w 4328"/>
                <a:gd name="T33" fmla="*/ 2734 h 2734"/>
                <a:gd name="T34" fmla="*/ 0 w 4328"/>
                <a:gd name="T35" fmla="*/ 1367 h 2734"/>
                <a:gd name="T36" fmla="*/ 1367 w 4328"/>
                <a:gd name="T37" fmla="*/ 0 h 2734"/>
                <a:gd name="T38" fmla="*/ 2087 w 4328"/>
                <a:gd name="T39" fmla="*/ 205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28" h="2734">
                  <a:moveTo>
                    <a:pt x="2087" y="205"/>
                  </a:moveTo>
                  <a:cubicBezTo>
                    <a:pt x="2181" y="261"/>
                    <a:pt x="2242" y="364"/>
                    <a:pt x="2242" y="482"/>
                  </a:cubicBezTo>
                  <a:cubicBezTo>
                    <a:pt x="2242" y="660"/>
                    <a:pt x="2098" y="804"/>
                    <a:pt x="1920" y="804"/>
                  </a:cubicBezTo>
                  <a:cubicBezTo>
                    <a:pt x="1856" y="804"/>
                    <a:pt x="1797" y="783"/>
                    <a:pt x="1747" y="751"/>
                  </a:cubicBezTo>
                  <a:cubicBezTo>
                    <a:pt x="1636" y="682"/>
                    <a:pt x="1506" y="643"/>
                    <a:pt x="1367" y="643"/>
                  </a:cubicBezTo>
                  <a:cubicBezTo>
                    <a:pt x="967" y="643"/>
                    <a:pt x="643" y="967"/>
                    <a:pt x="643" y="1367"/>
                  </a:cubicBezTo>
                  <a:cubicBezTo>
                    <a:pt x="643" y="1766"/>
                    <a:pt x="967" y="2090"/>
                    <a:pt x="1367" y="2090"/>
                  </a:cubicBezTo>
                  <a:cubicBezTo>
                    <a:pt x="1695" y="2090"/>
                    <a:pt x="1970" y="1877"/>
                    <a:pt x="2059" y="1578"/>
                  </a:cubicBezTo>
                  <a:cubicBezTo>
                    <a:pt x="2465" y="250"/>
                    <a:pt x="2465" y="250"/>
                    <a:pt x="2465" y="250"/>
                  </a:cubicBezTo>
                  <a:cubicBezTo>
                    <a:pt x="2507" y="121"/>
                    <a:pt x="2630" y="27"/>
                    <a:pt x="2773" y="27"/>
                  </a:cubicBezTo>
                  <a:cubicBezTo>
                    <a:pt x="4006" y="27"/>
                    <a:pt x="4006" y="27"/>
                    <a:pt x="4006" y="27"/>
                  </a:cubicBezTo>
                  <a:cubicBezTo>
                    <a:pt x="4184" y="27"/>
                    <a:pt x="4328" y="171"/>
                    <a:pt x="4328" y="348"/>
                  </a:cubicBezTo>
                  <a:cubicBezTo>
                    <a:pt x="4328" y="526"/>
                    <a:pt x="4184" y="670"/>
                    <a:pt x="4006" y="670"/>
                  </a:cubicBezTo>
                  <a:cubicBezTo>
                    <a:pt x="3109" y="670"/>
                    <a:pt x="3109" y="670"/>
                    <a:pt x="3109" y="670"/>
                  </a:cubicBezTo>
                  <a:cubicBezTo>
                    <a:pt x="3050" y="670"/>
                    <a:pt x="3000" y="708"/>
                    <a:pt x="2982" y="761"/>
                  </a:cubicBezTo>
                  <a:cubicBezTo>
                    <a:pt x="2676" y="1762"/>
                    <a:pt x="2676" y="1762"/>
                    <a:pt x="2676" y="1762"/>
                  </a:cubicBezTo>
                  <a:cubicBezTo>
                    <a:pt x="2506" y="2324"/>
                    <a:pt x="1984" y="2734"/>
                    <a:pt x="1367" y="2734"/>
                  </a:cubicBezTo>
                  <a:cubicBezTo>
                    <a:pt x="612" y="2734"/>
                    <a:pt x="0" y="2122"/>
                    <a:pt x="0" y="1367"/>
                  </a:cubicBezTo>
                  <a:cubicBezTo>
                    <a:pt x="0" y="612"/>
                    <a:pt x="612" y="0"/>
                    <a:pt x="1367" y="0"/>
                  </a:cubicBezTo>
                  <a:cubicBezTo>
                    <a:pt x="1631" y="0"/>
                    <a:pt x="1877" y="75"/>
                    <a:pt x="2087" y="2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pt-BR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508625" y="3759200"/>
              <a:ext cx="1127125" cy="668338"/>
            </a:xfrm>
            <a:custGeom>
              <a:avLst/>
              <a:gdLst>
                <a:gd name="T0" fmla="*/ 1345 w 4623"/>
                <a:gd name="T1" fmla="*/ 1969 h 2733"/>
                <a:gd name="T2" fmla="*/ 1345 w 4623"/>
                <a:gd name="T3" fmla="*/ 1968 h 2733"/>
                <a:gd name="T4" fmla="*/ 1875 w 4623"/>
                <a:gd name="T5" fmla="*/ 232 h 2733"/>
                <a:gd name="T6" fmla="*/ 2184 w 4623"/>
                <a:gd name="T7" fmla="*/ 1 h 2733"/>
                <a:gd name="T8" fmla="*/ 2213 w 4623"/>
                <a:gd name="T9" fmla="*/ 0 h 2733"/>
                <a:gd name="T10" fmla="*/ 2251 w 4623"/>
                <a:gd name="T11" fmla="*/ 0 h 2733"/>
                <a:gd name="T12" fmla="*/ 2558 w 4623"/>
                <a:gd name="T13" fmla="*/ 226 h 2733"/>
                <a:gd name="T14" fmla="*/ 2924 w 4623"/>
                <a:gd name="T15" fmla="*/ 1423 h 2733"/>
                <a:gd name="T16" fmla="*/ 3286 w 4623"/>
                <a:gd name="T17" fmla="*/ 236 h 2733"/>
                <a:gd name="T18" fmla="*/ 3596 w 4623"/>
                <a:gd name="T19" fmla="*/ 1 h 2733"/>
                <a:gd name="T20" fmla="*/ 3625 w 4623"/>
                <a:gd name="T21" fmla="*/ 1 h 2733"/>
                <a:gd name="T22" fmla="*/ 3663 w 4623"/>
                <a:gd name="T23" fmla="*/ 1 h 2733"/>
                <a:gd name="T24" fmla="*/ 3971 w 4623"/>
                <a:gd name="T25" fmla="*/ 227 h 2733"/>
                <a:gd name="T26" fmla="*/ 4607 w 4623"/>
                <a:gd name="T27" fmla="*/ 2311 h 2733"/>
                <a:gd name="T28" fmla="*/ 4623 w 4623"/>
                <a:gd name="T29" fmla="*/ 2411 h 2733"/>
                <a:gd name="T30" fmla="*/ 4301 w 4623"/>
                <a:gd name="T31" fmla="*/ 2733 h 2733"/>
                <a:gd name="T32" fmla="*/ 3994 w 4623"/>
                <a:gd name="T33" fmla="*/ 2507 h 2733"/>
                <a:gd name="T34" fmla="*/ 3629 w 4623"/>
                <a:gd name="T35" fmla="*/ 1313 h 2733"/>
                <a:gd name="T36" fmla="*/ 3263 w 4623"/>
                <a:gd name="T37" fmla="*/ 2511 h 2733"/>
                <a:gd name="T38" fmla="*/ 2958 w 4623"/>
                <a:gd name="T39" fmla="*/ 2733 h 2733"/>
                <a:gd name="T40" fmla="*/ 2919 w 4623"/>
                <a:gd name="T41" fmla="*/ 2732 h 2733"/>
                <a:gd name="T42" fmla="*/ 2889 w 4623"/>
                <a:gd name="T43" fmla="*/ 2731 h 2733"/>
                <a:gd name="T44" fmla="*/ 2583 w 4623"/>
                <a:gd name="T45" fmla="*/ 2507 h 2733"/>
                <a:gd name="T46" fmla="*/ 2218 w 4623"/>
                <a:gd name="T47" fmla="*/ 1312 h 2733"/>
                <a:gd name="T48" fmla="*/ 1863 w 4623"/>
                <a:gd name="T49" fmla="*/ 2473 h 2733"/>
                <a:gd name="T50" fmla="*/ 1554 w 4623"/>
                <a:gd name="T51" fmla="*/ 2704 h 2733"/>
                <a:gd name="T52" fmla="*/ 322 w 4623"/>
                <a:gd name="T53" fmla="*/ 2704 h 2733"/>
                <a:gd name="T54" fmla="*/ 0 w 4623"/>
                <a:gd name="T55" fmla="*/ 2385 h 2733"/>
                <a:gd name="T56" fmla="*/ 322 w 4623"/>
                <a:gd name="T57" fmla="*/ 2063 h 2733"/>
                <a:gd name="T58" fmla="*/ 1217 w 4623"/>
                <a:gd name="T59" fmla="*/ 2063 h 2733"/>
                <a:gd name="T60" fmla="*/ 1345 w 4623"/>
                <a:gd name="T61" fmla="*/ 1969 h 2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23" h="2733">
                  <a:moveTo>
                    <a:pt x="1345" y="1969"/>
                  </a:moveTo>
                  <a:cubicBezTo>
                    <a:pt x="1345" y="1968"/>
                    <a:pt x="1345" y="1968"/>
                    <a:pt x="1345" y="1968"/>
                  </a:cubicBezTo>
                  <a:cubicBezTo>
                    <a:pt x="1875" y="232"/>
                    <a:pt x="1875" y="232"/>
                    <a:pt x="1875" y="232"/>
                  </a:cubicBezTo>
                  <a:cubicBezTo>
                    <a:pt x="1914" y="99"/>
                    <a:pt x="2037" y="1"/>
                    <a:pt x="2184" y="1"/>
                  </a:cubicBezTo>
                  <a:cubicBezTo>
                    <a:pt x="2194" y="1"/>
                    <a:pt x="2202" y="0"/>
                    <a:pt x="2213" y="0"/>
                  </a:cubicBezTo>
                  <a:cubicBezTo>
                    <a:pt x="2228" y="0"/>
                    <a:pt x="2238" y="0"/>
                    <a:pt x="2251" y="0"/>
                  </a:cubicBezTo>
                  <a:cubicBezTo>
                    <a:pt x="2396" y="0"/>
                    <a:pt x="2517" y="95"/>
                    <a:pt x="2558" y="226"/>
                  </a:cubicBezTo>
                  <a:cubicBezTo>
                    <a:pt x="2924" y="1423"/>
                    <a:pt x="2924" y="1423"/>
                    <a:pt x="2924" y="1423"/>
                  </a:cubicBezTo>
                  <a:cubicBezTo>
                    <a:pt x="3286" y="236"/>
                    <a:pt x="3286" y="236"/>
                    <a:pt x="3286" y="236"/>
                  </a:cubicBezTo>
                  <a:cubicBezTo>
                    <a:pt x="3324" y="101"/>
                    <a:pt x="3448" y="1"/>
                    <a:pt x="3596" y="1"/>
                  </a:cubicBezTo>
                  <a:cubicBezTo>
                    <a:pt x="3605" y="1"/>
                    <a:pt x="3613" y="1"/>
                    <a:pt x="3625" y="1"/>
                  </a:cubicBezTo>
                  <a:cubicBezTo>
                    <a:pt x="3640" y="0"/>
                    <a:pt x="3650" y="1"/>
                    <a:pt x="3663" y="1"/>
                  </a:cubicBezTo>
                  <a:cubicBezTo>
                    <a:pt x="3807" y="1"/>
                    <a:pt x="3929" y="96"/>
                    <a:pt x="3971" y="227"/>
                  </a:cubicBezTo>
                  <a:cubicBezTo>
                    <a:pt x="4607" y="2311"/>
                    <a:pt x="4607" y="2311"/>
                    <a:pt x="4607" y="2311"/>
                  </a:cubicBezTo>
                  <a:cubicBezTo>
                    <a:pt x="4617" y="2343"/>
                    <a:pt x="4623" y="2376"/>
                    <a:pt x="4623" y="2411"/>
                  </a:cubicBezTo>
                  <a:cubicBezTo>
                    <a:pt x="4623" y="2589"/>
                    <a:pt x="4479" y="2733"/>
                    <a:pt x="4301" y="2733"/>
                  </a:cubicBezTo>
                  <a:cubicBezTo>
                    <a:pt x="4157" y="2733"/>
                    <a:pt x="4035" y="2638"/>
                    <a:pt x="3994" y="2507"/>
                  </a:cubicBezTo>
                  <a:cubicBezTo>
                    <a:pt x="3629" y="1313"/>
                    <a:pt x="3629" y="1313"/>
                    <a:pt x="3629" y="1313"/>
                  </a:cubicBezTo>
                  <a:cubicBezTo>
                    <a:pt x="3263" y="2511"/>
                    <a:pt x="3263" y="2511"/>
                    <a:pt x="3263" y="2511"/>
                  </a:cubicBezTo>
                  <a:cubicBezTo>
                    <a:pt x="3219" y="2636"/>
                    <a:pt x="3098" y="2733"/>
                    <a:pt x="2958" y="2733"/>
                  </a:cubicBezTo>
                  <a:cubicBezTo>
                    <a:pt x="2944" y="2733"/>
                    <a:pt x="2934" y="2733"/>
                    <a:pt x="2919" y="2732"/>
                  </a:cubicBezTo>
                  <a:cubicBezTo>
                    <a:pt x="2907" y="2732"/>
                    <a:pt x="2899" y="2731"/>
                    <a:pt x="2889" y="2731"/>
                  </a:cubicBezTo>
                  <a:cubicBezTo>
                    <a:pt x="2745" y="2731"/>
                    <a:pt x="2624" y="2637"/>
                    <a:pt x="2583" y="2507"/>
                  </a:cubicBezTo>
                  <a:cubicBezTo>
                    <a:pt x="2218" y="1312"/>
                    <a:pt x="2218" y="1312"/>
                    <a:pt x="2218" y="1312"/>
                  </a:cubicBezTo>
                  <a:cubicBezTo>
                    <a:pt x="1863" y="2473"/>
                    <a:pt x="1863" y="2473"/>
                    <a:pt x="1863" y="2473"/>
                  </a:cubicBezTo>
                  <a:cubicBezTo>
                    <a:pt x="1824" y="2607"/>
                    <a:pt x="1701" y="2704"/>
                    <a:pt x="1554" y="2704"/>
                  </a:cubicBezTo>
                  <a:cubicBezTo>
                    <a:pt x="322" y="2704"/>
                    <a:pt x="322" y="2704"/>
                    <a:pt x="322" y="2704"/>
                  </a:cubicBezTo>
                  <a:cubicBezTo>
                    <a:pt x="144" y="2704"/>
                    <a:pt x="0" y="2562"/>
                    <a:pt x="0" y="2385"/>
                  </a:cubicBezTo>
                  <a:cubicBezTo>
                    <a:pt x="0" y="2207"/>
                    <a:pt x="144" y="2063"/>
                    <a:pt x="322" y="2063"/>
                  </a:cubicBezTo>
                  <a:cubicBezTo>
                    <a:pt x="1217" y="2063"/>
                    <a:pt x="1217" y="2063"/>
                    <a:pt x="1217" y="2063"/>
                  </a:cubicBezTo>
                  <a:cubicBezTo>
                    <a:pt x="1277" y="2063"/>
                    <a:pt x="1328" y="2024"/>
                    <a:pt x="1345" y="19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pt-BR"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151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21DEE18D-127C-CE8F-ECE0-55F5F8CD6C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2302896" y="-642258"/>
            <a:ext cx="827500" cy="272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0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AB3796-301E-8DB0-3E99-ECA378863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439D9E2-B7E0-A3A7-F906-BB49CD5D14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0B40B82-5E81-FF55-C260-6C5A6A129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C5817-6328-44C0-97E8-92E9EBE842CA}" type="datetimeFigureOut">
              <a:rPr lang="pt-BR" smtClean="0"/>
              <a:t>28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0A474EF-1DE6-B99F-0F47-10EF79BEA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AED58E9-7454-D7B0-3115-0E21BD564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B624C-E2D7-4538-AC16-E747E3E468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7967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324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3906A40-8981-4C4A-B15C-7568CFCC0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6659313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421" imgH="423" progId="TCLayout.ActiveDocument.1">
                  <p:embed/>
                </p:oleObj>
              </mc:Choice>
              <mc:Fallback>
                <p:oleObj name="Slide do think-cell" r:id="rId1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3906A40-8981-4C4A-B15C-7568CFCC0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B47597A-486A-9728-1174-4FAD37A10119}"/>
              </a:ext>
            </a:extLst>
          </p:cNvPr>
          <p:cNvSpPr/>
          <p:nvPr userDrawn="1"/>
        </p:nvSpPr>
        <p:spPr>
          <a:xfrm>
            <a:off x="0" y="-1223020"/>
            <a:ext cx="473065" cy="473031"/>
          </a:xfrm>
          <a:prstGeom prst="rect">
            <a:avLst/>
          </a:prstGeom>
          <a:solidFill>
            <a:srgbClr val="009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2F0E60-D555-F21B-DCB7-915F0EB96A5E}"/>
              </a:ext>
            </a:extLst>
          </p:cNvPr>
          <p:cNvSpPr/>
          <p:nvPr userDrawn="1"/>
        </p:nvSpPr>
        <p:spPr>
          <a:xfrm>
            <a:off x="498800" y="-1223020"/>
            <a:ext cx="473065" cy="473031"/>
          </a:xfrm>
          <a:prstGeom prst="rect">
            <a:avLst/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7D58EB-A669-5C7F-CEDB-1DE48DCE8E4E}"/>
              </a:ext>
            </a:extLst>
          </p:cNvPr>
          <p:cNvSpPr/>
          <p:nvPr userDrawn="1"/>
        </p:nvSpPr>
        <p:spPr>
          <a:xfrm>
            <a:off x="997601" y="-1223020"/>
            <a:ext cx="473065" cy="473031"/>
          </a:xfrm>
          <a:prstGeom prst="rect">
            <a:avLst/>
          </a:prstGeom>
          <a:solidFill>
            <a:srgbClr val="F47B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625E6F-D662-5490-B7AC-048A574D6A89}"/>
              </a:ext>
            </a:extLst>
          </p:cNvPr>
          <p:cNvSpPr/>
          <p:nvPr userDrawn="1"/>
        </p:nvSpPr>
        <p:spPr>
          <a:xfrm>
            <a:off x="1496401" y="-1223020"/>
            <a:ext cx="473065" cy="473031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1CF636-9B3D-5EDC-CD23-D8F9A9B397C7}"/>
              </a:ext>
            </a:extLst>
          </p:cNvPr>
          <p:cNvSpPr/>
          <p:nvPr userDrawn="1"/>
        </p:nvSpPr>
        <p:spPr>
          <a:xfrm>
            <a:off x="1995201" y="-1223020"/>
            <a:ext cx="473065" cy="473031"/>
          </a:xfrm>
          <a:prstGeom prst="rect">
            <a:avLst/>
          </a:prstGeom>
          <a:solidFill>
            <a:srgbClr val="75C7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C248EE-7256-564D-C3BB-2894B81F2623}"/>
              </a:ext>
            </a:extLst>
          </p:cNvPr>
          <p:cNvSpPr/>
          <p:nvPr userDrawn="1"/>
        </p:nvSpPr>
        <p:spPr>
          <a:xfrm>
            <a:off x="3627734" y="-1223020"/>
            <a:ext cx="473065" cy="473031"/>
          </a:xfrm>
          <a:prstGeom prst="rect">
            <a:avLst/>
          </a:prstGeom>
          <a:solidFill>
            <a:srgbClr val="0061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5AD5B3-D065-65AE-2084-DD3289C47FBA}"/>
              </a:ext>
            </a:extLst>
          </p:cNvPr>
          <p:cNvSpPr/>
          <p:nvPr userDrawn="1"/>
        </p:nvSpPr>
        <p:spPr>
          <a:xfrm>
            <a:off x="4126534" y="-1223020"/>
            <a:ext cx="473065" cy="473031"/>
          </a:xfrm>
          <a:prstGeom prst="rect">
            <a:avLst/>
          </a:prstGeom>
          <a:solidFill>
            <a:srgbClr val="628C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4177912-CB16-B2FF-3FB4-83CCF195C611}"/>
              </a:ext>
            </a:extLst>
          </p:cNvPr>
          <p:cNvSpPr/>
          <p:nvPr userDrawn="1"/>
        </p:nvSpPr>
        <p:spPr>
          <a:xfrm>
            <a:off x="4625334" y="-1223020"/>
            <a:ext cx="473065" cy="473031"/>
          </a:xfrm>
          <a:prstGeom prst="rect">
            <a:avLst/>
          </a:prstGeom>
          <a:solidFill>
            <a:srgbClr val="E65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55E82F-877D-E48D-451C-EE0CC198317A}"/>
              </a:ext>
            </a:extLst>
          </p:cNvPr>
          <p:cNvSpPr/>
          <p:nvPr userDrawn="1"/>
        </p:nvSpPr>
        <p:spPr>
          <a:xfrm>
            <a:off x="5124135" y="-1223020"/>
            <a:ext cx="473065" cy="47303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69367AA-CE48-AD8D-606E-2C1ADBA7CEA0}"/>
              </a:ext>
            </a:extLst>
          </p:cNvPr>
          <p:cNvSpPr/>
          <p:nvPr userDrawn="1"/>
        </p:nvSpPr>
        <p:spPr>
          <a:xfrm>
            <a:off x="5622935" y="-1223020"/>
            <a:ext cx="473065" cy="473031"/>
          </a:xfrm>
          <a:prstGeom prst="rect">
            <a:avLst/>
          </a:prstGeom>
          <a:solidFill>
            <a:srgbClr val="17A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FB231B-2B27-FD3B-CCA5-990E68719A5F}"/>
              </a:ext>
            </a:extLst>
          </p:cNvPr>
          <p:cNvSpPr/>
          <p:nvPr userDrawn="1"/>
        </p:nvSpPr>
        <p:spPr>
          <a:xfrm>
            <a:off x="3128933" y="-1223020"/>
            <a:ext cx="473065" cy="473031"/>
          </a:xfrm>
          <a:prstGeom prst="rect">
            <a:avLst/>
          </a:prstGeom>
          <a:solidFill>
            <a:srgbClr val="1F1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0283DC-A23E-497A-2173-D43093A6FBE3}"/>
              </a:ext>
            </a:extLst>
          </p:cNvPr>
          <p:cNvSpPr/>
          <p:nvPr userDrawn="1"/>
        </p:nvSpPr>
        <p:spPr>
          <a:xfrm>
            <a:off x="6724482" y="-1223020"/>
            <a:ext cx="473065" cy="473031"/>
          </a:xfrm>
          <a:prstGeom prst="rect">
            <a:avLst/>
          </a:prstGeom>
          <a:solidFill>
            <a:srgbClr val="00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15EC41-2AE9-BA63-2654-FB3DFC8209BA}"/>
              </a:ext>
            </a:extLst>
          </p:cNvPr>
          <p:cNvSpPr/>
          <p:nvPr userDrawn="1"/>
        </p:nvSpPr>
        <p:spPr>
          <a:xfrm>
            <a:off x="7223282" y="-1223020"/>
            <a:ext cx="473065" cy="473031"/>
          </a:xfrm>
          <a:prstGeom prst="rect">
            <a:avLst/>
          </a:prstGeom>
          <a:solidFill>
            <a:srgbClr val="B5E6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ABDFF9-FB8F-24B2-ECBB-A2F8615B411D}"/>
              </a:ext>
            </a:extLst>
          </p:cNvPr>
          <p:cNvSpPr/>
          <p:nvPr userDrawn="1"/>
        </p:nvSpPr>
        <p:spPr>
          <a:xfrm>
            <a:off x="7722083" y="-1223020"/>
            <a:ext cx="473065" cy="473031"/>
          </a:xfrm>
          <a:prstGeom prst="rect">
            <a:avLst/>
          </a:prstGeom>
          <a:solidFill>
            <a:srgbClr val="FF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6411C2-1302-A371-C1A9-4F94F6D9DC1E}"/>
              </a:ext>
            </a:extLst>
          </p:cNvPr>
          <p:cNvSpPr/>
          <p:nvPr userDrawn="1"/>
        </p:nvSpPr>
        <p:spPr>
          <a:xfrm>
            <a:off x="8220883" y="-1223020"/>
            <a:ext cx="473065" cy="473031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2DC51F-AC38-6075-80D3-6BEFF88ED730}"/>
              </a:ext>
            </a:extLst>
          </p:cNvPr>
          <p:cNvSpPr/>
          <p:nvPr userDrawn="1"/>
        </p:nvSpPr>
        <p:spPr>
          <a:xfrm>
            <a:off x="8719683" y="-1223020"/>
            <a:ext cx="473065" cy="473031"/>
          </a:xfrm>
          <a:prstGeom prst="rect">
            <a:avLst/>
          </a:prstGeom>
          <a:solidFill>
            <a:srgbClr val="73E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89FC53-293E-C541-91F2-F371BD6FFDE8}"/>
              </a:ext>
            </a:extLst>
          </p:cNvPr>
          <p:cNvSpPr/>
          <p:nvPr userDrawn="1"/>
        </p:nvSpPr>
        <p:spPr>
          <a:xfrm>
            <a:off x="9580345" y="-1223020"/>
            <a:ext cx="473065" cy="47303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5B09FB-FE80-E7CF-AF5F-79ECDAEC0A20}"/>
              </a:ext>
            </a:extLst>
          </p:cNvPr>
          <p:cNvSpPr/>
          <p:nvPr userDrawn="1"/>
        </p:nvSpPr>
        <p:spPr>
          <a:xfrm>
            <a:off x="10265714" y="-1223020"/>
            <a:ext cx="473065" cy="473031"/>
          </a:xfrm>
          <a:prstGeom prst="rect">
            <a:avLst/>
          </a:prstGeom>
          <a:solidFill>
            <a:srgbClr val="5B4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CB70E4-8342-8846-3A94-D9B27DA2C7E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-117570" y="-565475"/>
            <a:ext cx="2591162" cy="3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370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0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</p:sldLayoutIdLst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668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38623" indent="-138623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415869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455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693115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213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970361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1247607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410">
          <p15:clr>
            <a:srgbClr val="F26B43"/>
          </p15:clr>
        </p15:guide>
        <p15:guide id="3" orient="horz" pos="4059">
          <p15:clr>
            <a:srgbClr val="F26B43"/>
          </p15:clr>
        </p15:guide>
        <p15:guide id="4" pos="7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3906A40-8981-4C4A-B15C-7568CFCC0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6659313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8" imgW="421" imgH="423" progId="TCLayout.ActiveDocument.1">
                  <p:embed/>
                </p:oleObj>
              </mc:Choice>
              <mc:Fallback>
                <p:oleObj name="Slide do think-cell" r:id="rId8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3906A40-8981-4C4A-B15C-7568CFCC0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B47597A-486A-9728-1174-4FAD37A10119}"/>
              </a:ext>
            </a:extLst>
          </p:cNvPr>
          <p:cNvSpPr/>
          <p:nvPr userDrawn="1"/>
        </p:nvSpPr>
        <p:spPr>
          <a:xfrm>
            <a:off x="0" y="-1223020"/>
            <a:ext cx="473065" cy="473031"/>
          </a:xfrm>
          <a:prstGeom prst="rect">
            <a:avLst/>
          </a:prstGeom>
          <a:solidFill>
            <a:srgbClr val="009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2F0E60-D555-F21B-DCB7-915F0EB96A5E}"/>
              </a:ext>
            </a:extLst>
          </p:cNvPr>
          <p:cNvSpPr/>
          <p:nvPr userDrawn="1"/>
        </p:nvSpPr>
        <p:spPr>
          <a:xfrm>
            <a:off x="498800" y="-1223020"/>
            <a:ext cx="473065" cy="473031"/>
          </a:xfrm>
          <a:prstGeom prst="rect">
            <a:avLst/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7D58EB-A669-5C7F-CEDB-1DE48DCE8E4E}"/>
              </a:ext>
            </a:extLst>
          </p:cNvPr>
          <p:cNvSpPr/>
          <p:nvPr userDrawn="1"/>
        </p:nvSpPr>
        <p:spPr>
          <a:xfrm>
            <a:off x="997601" y="-1223020"/>
            <a:ext cx="473065" cy="473031"/>
          </a:xfrm>
          <a:prstGeom prst="rect">
            <a:avLst/>
          </a:prstGeom>
          <a:solidFill>
            <a:srgbClr val="F47B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625E6F-D662-5490-B7AC-048A574D6A89}"/>
              </a:ext>
            </a:extLst>
          </p:cNvPr>
          <p:cNvSpPr/>
          <p:nvPr userDrawn="1"/>
        </p:nvSpPr>
        <p:spPr>
          <a:xfrm>
            <a:off x="1496401" y="-1223020"/>
            <a:ext cx="473065" cy="473031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1CF636-9B3D-5EDC-CD23-D8F9A9B397C7}"/>
              </a:ext>
            </a:extLst>
          </p:cNvPr>
          <p:cNvSpPr/>
          <p:nvPr userDrawn="1"/>
        </p:nvSpPr>
        <p:spPr>
          <a:xfrm>
            <a:off x="1995201" y="-1223020"/>
            <a:ext cx="473065" cy="473031"/>
          </a:xfrm>
          <a:prstGeom prst="rect">
            <a:avLst/>
          </a:prstGeom>
          <a:solidFill>
            <a:srgbClr val="75C7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C248EE-7256-564D-C3BB-2894B81F2623}"/>
              </a:ext>
            </a:extLst>
          </p:cNvPr>
          <p:cNvSpPr/>
          <p:nvPr userDrawn="1"/>
        </p:nvSpPr>
        <p:spPr>
          <a:xfrm>
            <a:off x="3627734" y="-1223020"/>
            <a:ext cx="473065" cy="473031"/>
          </a:xfrm>
          <a:prstGeom prst="rect">
            <a:avLst/>
          </a:prstGeom>
          <a:solidFill>
            <a:srgbClr val="0061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5AD5B3-D065-65AE-2084-DD3289C47FBA}"/>
              </a:ext>
            </a:extLst>
          </p:cNvPr>
          <p:cNvSpPr/>
          <p:nvPr userDrawn="1"/>
        </p:nvSpPr>
        <p:spPr>
          <a:xfrm>
            <a:off x="4126534" y="-1223020"/>
            <a:ext cx="473065" cy="473031"/>
          </a:xfrm>
          <a:prstGeom prst="rect">
            <a:avLst/>
          </a:prstGeom>
          <a:solidFill>
            <a:srgbClr val="628C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4177912-CB16-B2FF-3FB4-83CCF195C611}"/>
              </a:ext>
            </a:extLst>
          </p:cNvPr>
          <p:cNvSpPr/>
          <p:nvPr userDrawn="1"/>
        </p:nvSpPr>
        <p:spPr>
          <a:xfrm>
            <a:off x="4625334" y="-1223020"/>
            <a:ext cx="473065" cy="473031"/>
          </a:xfrm>
          <a:prstGeom prst="rect">
            <a:avLst/>
          </a:prstGeom>
          <a:solidFill>
            <a:srgbClr val="E65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55E82F-877D-E48D-451C-EE0CC198317A}"/>
              </a:ext>
            </a:extLst>
          </p:cNvPr>
          <p:cNvSpPr/>
          <p:nvPr userDrawn="1"/>
        </p:nvSpPr>
        <p:spPr>
          <a:xfrm>
            <a:off x="5124135" y="-1223020"/>
            <a:ext cx="473065" cy="47303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69367AA-CE48-AD8D-606E-2C1ADBA7CEA0}"/>
              </a:ext>
            </a:extLst>
          </p:cNvPr>
          <p:cNvSpPr/>
          <p:nvPr userDrawn="1"/>
        </p:nvSpPr>
        <p:spPr>
          <a:xfrm>
            <a:off x="5622935" y="-1223020"/>
            <a:ext cx="473065" cy="473031"/>
          </a:xfrm>
          <a:prstGeom prst="rect">
            <a:avLst/>
          </a:prstGeom>
          <a:solidFill>
            <a:srgbClr val="17A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FB231B-2B27-FD3B-CCA5-990E68719A5F}"/>
              </a:ext>
            </a:extLst>
          </p:cNvPr>
          <p:cNvSpPr/>
          <p:nvPr userDrawn="1"/>
        </p:nvSpPr>
        <p:spPr>
          <a:xfrm>
            <a:off x="3128933" y="-1223020"/>
            <a:ext cx="473065" cy="473031"/>
          </a:xfrm>
          <a:prstGeom prst="rect">
            <a:avLst/>
          </a:prstGeom>
          <a:solidFill>
            <a:srgbClr val="1F1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0283DC-A23E-497A-2173-D43093A6FBE3}"/>
              </a:ext>
            </a:extLst>
          </p:cNvPr>
          <p:cNvSpPr/>
          <p:nvPr userDrawn="1"/>
        </p:nvSpPr>
        <p:spPr>
          <a:xfrm>
            <a:off x="6724482" y="-1223020"/>
            <a:ext cx="473065" cy="473031"/>
          </a:xfrm>
          <a:prstGeom prst="rect">
            <a:avLst/>
          </a:prstGeom>
          <a:solidFill>
            <a:srgbClr val="00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15EC41-2AE9-BA63-2654-FB3DFC8209BA}"/>
              </a:ext>
            </a:extLst>
          </p:cNvPr>
          <p:cNvSpPr/>
          <p:nvPr userDrawn="1"/>
        </p:nvSpPr>
        <p:spPr>
          <a:xfrm>
            <a:off x="7223282" y="-1223020"/>
            <a:ext cx="473065" cy="473031"/>
          </a:xfrm>
          <a:prstGeom prst="rect">
            <a:avLst/>
          </a:prstGeom>
          <a:solidFill>
            <a:srgbClr val="B5E6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ABDFF9-FB8F-24B2-ECBB-A2F8615B411D}"/>
              </a:ext>
            </a:extLst>
          </p:cNvPr>
          <p:cNvSpPr/>
          <p:nvPr userDrawn="1"/>
        </p:nvSpPr>
        <p:spPr>
          <a:xfrm>
            <a:off x="7722083" y="-1223020"/>
            <a:ext cx="473065" cy="473031"/>
          </a:xfrm>
          <a:prstGeom prst="rect">
            <a:avLst/>
          </a:prstGeom>
          <a:solidFill>
            <a:srgbClr val="FF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6411C2-1302-A371-C1A9-4F94F6D9DC1E}"/>
              </a:ext>
            </a:extLst>
          </p:cNvPr>
          <p:cNvSpPr/>
          <p:nvPr userDrawn="1"/>
        </p:nvSpPr>
        <p:spPr>
          <a:xfrm>
            <a:off x="8220883" y="-1223020"/>
            <a:ext cx="473065" cy="473031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2DC51F-AC38-6075-80D3-6BEFF88ED730}"/>
              </a:ext>
            </a:extLst>
          </p:cNvPr>
          <p:cNvSpPr/>
          <p:nvPr userDrawn="1"/>
        </p:nvSpPr>
        <p:spPr>
          <a:xfrm>
            <a:off x="8719683" y="-1223020"/>
            <a:ext cx="473065" cy="473031"/>
          </a:xfrm>
          <a:prstGeom prst="rect">
            <a:avLst/>
          </a:prstGeom>
          <a:solidFill>
            <a:srgbClr val="73E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89FC53-293E-C541-91F2-F371BD6FFDE8}"/>
              </a:ext>
            </a:extLst>
          </p:cNvPr>
          <p:cNvSpPr/>
          <p:nvPr userDrawn="1"/>
        </p:nvSpPr>
        <p:spPr>
          <a:xfrm>
            <a:off x="9580345" y="-1223020"/>
            <a:ext cx="473065" cy="47303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5B09FB-FE80-E7CF-AF5F-79ECDAEC0A20}"/>
              </a:ext>
            </a:extLst>
          </p:cNvPr>
          <p:cNvSpPr/>
          <p:nvPr userDrawn="1"/>
        </p:nvSpPr>
        <p:spPr>
          <a:xfrm>
            <a:off x="10265714" y="-1223020"/>
            <a:ext cx="473065" cy="473031"/>
          </a:xfrm>
          <a:prstGeom prst="rect">
            <a:avLst/>
          </a:prstGeom>
          <a:solidFill>
            <a:srgbClr val="5B4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CB70E4-8342-8846-3A94-D9B27DA2C7E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-117570" y="-565475"/>
            <a:ext cx="2591162" cy="3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41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</p:sldLayoutIdLst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668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38623" indent="-138623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415869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455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693115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213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970361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1247607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410">
          <p15:clr>
            <a:srgbClr val="F26B43"/>
          </p15:clr>
        </p15:guide>
        <p15:guide id="3" orient="horz" pos="4059">
          <p15:clr>
            <a:srgbClr val="F26B43"/>
          </p15:clr>
        </p15:guide>
        <p15:guide id="4" pos="7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3906A40-8981-4C4A-B15C-7568CFCC0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6659313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9" imgW="421" imgH="423" progId="TCLayout.ActiveDocument.1">
                  <p:embed/>
                </p:oleObj>
              </mc:Choice>
              <mc:Fallback>
                <p:oleObj name="Slide do think-cell" r:id="rId9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3906A40-8981-4C4A-B15C-7568CFCC0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B47597A-486A-9728-1174-4FAD37A10119}"/>
              </a:ext>
            </a:extLst>
          </p:cNvPr>
          <p:cNvSpPr/>
          <p:nvPr userDrawn="1"/>
        </p:nvSpPr>
        <p:spPr>
          <a:xfrm>
            <a:off x="0" y="-1223020"/>
            <a:ext cx="473065" cy="473031"/>
          </a:xfrm>
          <a:prstGeom prst="rect">
            <a:avLst/>
          </a:prstGeom>
          <a:solidFill>
            <a:srgbClr val="009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2F0E60-D555-F21B-DCB7-915F0EB96A5E}"/>
              </a:ext>
            </a:extLst>
          </p:cNvPr>
          <p:cNvSpPr/>
          <p:nvPr userDrawn="1"/>
        </p:nvSpPr>
        <p:spPr>
          <a:xfrm>
            <a:off x="498800" y="-1223020"/>
            <a:ext cx="473065" cy="473031"/>
          </a:xfrm>
          <a:prstGeom prst="rect">
            <a:avLst/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7D58EB-A669-5C7F-CEDB-1DE48DCE8E4E}"/>
              </a:ext>
            </a:extLst>
          </p:cNvPr>
          <p:cNvSpPr/>
          <p:nvPr userDrawn="1"/>
        </p:nvSpPr>
        <p:spPr>
          <a:xfrm>
            <a:off x="997601" y="-1223020"/>
            <a:ext cx="473065" cy="473031"/>
          </a:xfrm>
          <a:prstGeom prst="rect">
            <a:avLst/>
          </a:prstGeom>
          <a:solidFill>
            <a:srgbClr val="F47B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625E6F-D662-5490-B7AC-048A574D6A89}"/>
              </a:ext>
            </a:extLst>
          </p:cNvPr>
          <p:cNvSpPr/>
          <p:nvPr userDrawn="1"/>
        </p:nvSpPr>
        <p:spPr>
          <a:xfrm>
            <a:off x="1496401" y="-1223020"/>
            <a:ext cx="473065" cy="473031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1CF636-9B3D-5EDC-CD23-D8F9A9B397C7}"/>
              </a:ext>
            </a:extLst>
          </p:cNvPr>
          <p:cNvSpPr/>
          <p:nvPr userDrawn="1"/>
        </p:nvSpPr>
        <p:spPr>
          <a:xfrm>
            <a:off x="1995201" y="-1223020"/>
            <a:ext cx="473065" cy="473031"/>
          </a:xfrm>
          <a:prstGeom prst="rect">
            <a:avLst/>
          </a:prstGeom>
          <a:solidFill>
            <a:srgbClr val="75C7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C248EE-7256-564D-C3BB-2894B81F2623}"/>
              </a:ext>
            </a:extLst>
          </p:cNvPr>
          <p:cNvSpPr/>
          <p:nvPr userDrawn="1"/>
        </p:nvSpPr>
        <p:spPr>
          <a:xfrm>
            <a:off x="3627734" y="-1223020"/>
            <a:ext cx="473065" cy="473031"/>
          </a:xfrm>
          <a:prstGeom prst="rect">
            <a:avLst/>
          </a:prstGeom>
          <a:solidFill>
            <a:srgbClr val="0061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5AD5B3-D065-65AE-2084-DD3289C47FBA}"/>
              </a:ext>
            </a:extLst>
          </p:cNvPr>
          <p:cNvSpPr/>
          <p:nvPr userDrawn="1"/>
        </p:nvSpPr>
        <p:spPr>
          <a:xfrm>
            <a:off x="4126534" y="-1223020"/>
            <a:ext cx="473065" cy="473031"/>
          </a:xfrm>
          <a:prstGeom prst="rect">
            <a:avLst/>
          </a:prstGeom>
          <a:solidFill>
            <a:srgbClr val="628C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4177912-CB16-B2FF-3FB4-83CCF195C611}"/>
              </a:ext>
            </a:extLst>
          </p:cNvPr>
          <p:cNvSpPr/>
          <p:nvPr userDrawn="1"/>
        </p:nvSpPr>
        <p:spPr>
          <a:xfrm>
            <a:off x="4625334" y="-1223020"/>
            <a:ext cx="473065" cy="473031"/>
          </a:xfrm>
          <a:prstGeom prst="rect">
            <a:avLst/>
          </a:prstGeom>
          <a:solidFill>
            <a:srgbClr val="E65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55E82F-877D-E48D-451C-EE0CC198317A}"/>
              </a:ext>
            </a:extLst>
          </p:cNvPr>
          <p:cNvSpPr/>
          <p:nvPr userDrawn="1"/>
        </p:nvSpPr>
        <p:spPr>
          <a:xfrm>
            <a:off x="5124135" y="-1223020"/>
            <a:ext cx="473065" cy="47303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69367AA-CE48-AD8D-606E-2C1ADBA7CEA0}"/>
              </a:ext>
            </a:extLst>
          </p:cNvPr>
          <p:cNvSpPr/>
          <p:nvPr userDrawn="1"/>
        </p:nvSpPr>
        <p:spPr>
          <a:xfrm>
            <a:off x="5622935" y="-1223020"/>
            <a:ext cx="473065" cy="473031"/>
          </a:xfrm>
          <a:prstGeom prst="rect">
            <a:avLst/>
          </a:prstGeom>
          <a:solidFill>
            <a:srgbClr val="17A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FB231B-2B27-FD3B-CCA5-990E68719A5F}"/>
              </a:ext>
            </a:extLst>
          </p:cNvPr>
          <p:cNvSpPr/>
          <p:nvPr userDrawn="1"/>
        </p:nvSpPr>
        <p:spPr>
          <a:xfrm>
            <a:off x="3128933" y="-1223020"/>
            <a:ext cx="473065" cy="473031"/>
          </a:xfrm>
          <a:prstGeom prst="rect">
            <a:avLst/>
          </a:prstGeom>
          <a:solidFill>
            <a:srgbClr val="1F1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0283DC-A23E-497A-2173-D43093A6FBE3}"/>
              </a:ext>
            </a:extLst>
          </p:cNvPr>
          <p:cNvSpPr/>
          <p:nvPr userDrawn="1"/>
        </p:nvSpPr>
        <p:spPr>
          <a:xfrm>
            <a:off x="6724482" y="-1223020"/>
            <a:ext cx="473065" cy="473031"/>
          </a:xfrm>
          <a:prstGeom prst="rect">
            <a:avLst/>
          </a:prstGeom>
          <a:solidFill>
            <a:srgbClr val="00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15EC41-2AE9-BA63-2654-FB3DFC8209BA}"/>
              </a:ext>
            </a:extLst>
          </p:cNvPr>
          <p:cNvSpPr/>
          <p:nvPr userDrawn="1"/>
        </p:nvSpPr>
        <p:spPr>
          <a:xfrm>
            <a:off x="7223282" y="-1223020"/>
            <a:ext cx="473065" cy="473031"/>
          </a:xfrm>
          <a:prstGeom prst="rect">
            <a:avLst/>
          </a:prstGeom>
          <a:solidFill>
            <a:srgbClr val="B5E6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ABDFF9-FB8F-24B2-ECBB-A2F8615B411D}"/>
              </a:ext>
            </a:extLst>
          </p:cNvPr>
          <p:cNvSpPr/>
          <p:nvPr userDrawn="1"/>
        </p:nvSpPr>
        <p:spPr>
          <a:xfrm>
            <a:off x="7722083" y="-1223020"/>
            <a:ext cx="473065" cy="473031"/>
          </a:xfrm>
          <a:prstGeom prst="rect">
            <a:avLst/>
          </a:prstGeom>
          <a:solidFill>
            <a:srgbClr val="FF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6411C2-1302-A371-C1A9-4F94F6D9DC1E}"/>
              </a:ext>
            </a:extLst>
          </p:cNvPr>
          <p:cNvSpPr/>
          <p:nvPr userDrawn="1"/>
        </p:nvSpPr>
        <p:spPr>
          <a:xfrm>
            <a:off x="8220883" y="-1223020"/>
            <a:ext cx="473065" cy="473031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2DC51F-AC38-6075-80D3-6BEFF88ED730}"/>
              </a:ext>
            </a:extLst>
          </p:cNvPr>
          <p:cNvSpPr/>
          <p:nvPr userDrawn="1"/>
        </p:nvSpPr>
        <p:spPr>
          <a:xfrm>
            <a:off x="8719683" y="-1223020"/>
            <a:ext cx="473065" cy="473031"/>
          </a:xfrm>
          <a:prstGeom prst="rect">
            <a:avLst/>
          </a:prstGeom>
          <a:solidFill>
            <a:srgbClr val="73E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89FC53-293E-C541-91F2-F371BD6FFDE8}"/>
              </a:ext>
            </a:extLst>
          </p:cNvPr>
          <p:cNvSpPr/>
          <p:nvPr userDrawn="1"/>
        </p:nvSpPr>
        <p:spPr>
          <a:xfrm>
            <a:off x="9580345" y="-1223020"/>
            <a:ext cx="473065" cy="47303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5B09FB-FE80-E7CF-AF5F-79ECDAEC0A20}"/>
              </a:ext>
            </a:extLst>
          </p:cNvPr>
          <p:cNvSpPr/>
          <p:nvPr userDrawn="1"/>
        </p:nvSpPr>
        <p:spPr>
          <a:xfrm>
            <a:off x="10265714" y="-1223020"/>
            <a:ext cx="473065" cy="473031"/>
          </a:xfrm>
          <a:prstGeom prst="rect">
            <a:avLst/>
          </a:prstGeom>
          <a:solidFill>
            <a:srgbClr val="5B4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 sz="1092">
              <a:latin typeface="DM Sans 14pt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CB70E4-8342-8846-3A94-D9B27DA2C7E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117570" y="-565475"/>
            <a:ext cx="2591162" cy="3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008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</p:sldLayoutIdLst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668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38623" indent="-138623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415869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455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693115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213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970361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1247607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410">
          <p15:clr>
            <a:srgbClr val="F26B43"/>
          </p15:clr>
        </p15:guide>
        <p15:guide id="3" orient="horz" pos="4059">
          <p15:clr>
            <a:srgbClr val="F26B43"/>
          </p15:clr>
        </p15:guide>
        <p15:guide id="4" pos="7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9.sv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1.svg"/><Relationship Id="rId5" Type="http://schemas.openxmlformats.org/officeDocument/2006/relationships/image" Target="../media/image50.svg"/><Relationship Id="rId4" Type="http://schemas.openxmlformats.org/officeDocument/2006/relationships/image" Target="../media/image4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jpe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11" Type="http://schemas.openxmlformats.org/officeDocument/2006/relationships/chart" Target="../charts/chart1.xml"/><Relationship Id="rId5" Type="http://schemas.openxmlformats.org/officeDocument/2006/relationships/image" Target="../media/image12.sv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9.sv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chart" Target="../charts/chart3.xml"/><Relationship Id="rId9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18.pn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svg"/><Relationship Id="rId5" Type="http://schemas.openxmlformats.org/officeDocument/2006/relationships/image" Target="../media/image27.sv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svg"/><Relationship Id="rId5" Type="http://schemas.openxmlformats.org/officeDocument/2006/relationships/image" Target="../media/image43.svg"/><Relationship Id="rId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3B028354-1A32-BB2C-A0A6-12257B7660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" y="0"/>
            <a:ext cx="12191207" cy="6856773"/>
          </a:xfrm>
          <a:prstGeom prst="rect">
            <a:avLst/>
          </a:prstGeom>
        </p:spPr>
      </p:pic>
      <p:pic>
        <p:nvPicPr>
          <p:cNvPr id="10" name="Graphic 5">
            <a:extLst>
              <a:ext uri="{FF2B5EF4-FFF2-40B4-BE49-F238E27FC236}">
                <a16:creationId xmlns:a16="http://schemas.microsoft.com/office/drawing/2014/main" id="{3E2A854B-DED5-4D52-3F24-813CB5AC55A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1366" y="-1290397"/>
            <a:ext cx="8211912" cy="8925428"/>
          </a:xfrm>
          <a:prstGeom prst="rect">
            <a:avLst/>
          </a:prstGeom>
        </p:spPr>
      </p:pic>
      <p:pic>
        <p:nvPicPr>
          <p:cNvPr id="6" name="Imagem 5" descr="Bolo com decoração de brinquedo&#10;&#10;O conteúdo gerado por IA pode estar incorreto.">
            <a:extLst>
              <a:ext uri="{FF2B5EF4-FFF2-40B4-BE49-F238E27FC236}">
                <a16:creationId xmlns:a16="http://schemas.microsoft.com/office/drawing/2014/main" id="{6F097BC4-8A52-D477-0462-7EDD467CC6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769" y="1064924"/>
            <a:ext cx="4410000" cy="3717500"/>
          </a:xfrm>
          <a:prstGeom prst="rect">
            <a:avLst/>
          </a:prstGeom>
        </p:spPr>
      </p:pic>
      <p:pic>
        <p:nvPicPr>
          <p:cNvPr id="16" name="Graphic 34">
            <a:extLst>
              <a:ext uri="{FF2B5EF4-FFF2-40B4-BE49-F238E27FC236}">
                <a16:creationId xmlns:a16="http://schemas.microsoft.com/office/drawing/2014/main" id="{E568BF06-F456-BD1C-ADC1-8EABB96107F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90910" y="126217"/>
            <a:ext cx="691442" cy="298905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DDB69AAC-D646-DB20-E845-57DE89617A05}"/>
              </a:ext>
            </a:extLst>
          </p:cNvPr>
          <p:cNvGrpSpPr/>
          <p:nvPr/>
        </p:nvGrpSpPr>
        <p:grpSpPr>
          <a:xfrm>
            <a:off x="4201500" y="1226007"/>
            <a:ext cx="7820191" cy="2689954"/>
            <a:chOff x="4201500" y="1226007"/>
            <a:chExt cx="7820191" cy="2689954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7B429902-B498-96F2-BED5-24C710FB6ACE}"/>
                </a:ext>
              </a:extLst>
            </p:cNvPr>
            <p:cNvSpPr txBox="1"/>
            <p:nvPr/>
          </p:nvSpPr>
          <p:spPr>
            <a:xfrm>
              <a:off x="4201500" y="1226007"/>
              <a:ext cx="7319958" cy="12453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pt-BR" sz="7200">
                <a:solidFill>
                  <a:srgbClr val="B7CE21"/>
                </a:solidFill>
                <a:latin typeface="DM Sans" pitchFamily="2" charset="0"/>
              </a:endParaRP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AE0D44B8-EA0D-4EF8-A0B2-3F7CB3633C0D}"/>
                </a:ext>
              </a:extLst>
            </p:cNvPr>
            <p:cNvSpPr txBox="1"/>
            <p:nvPr/>
          </p:nvSpPr>
          <p:spPr>
            <a:xfrm>
              <a:off x="4874667" y="1821178"/>
              <a:ext cx="6109431" cy="12252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pt-BR" sz="7200">
                  <a:solidFill>
                    <a:schemeClr val="bg1"/>
                  </a:solidFill>
                  <a:latin typeface="+mj-lt"/>
                </a:rPr>
                <a:t>GÁS WEEK</a:t>
              </a:r>
              <a:endParaRPr lang="pt-BR" sz="8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2FBF078E-DBDC-D18A-6C03-CC3B7846B1AA}"/>
                </a:ext>
              </a:extLst>
            </p:cNvPr>
            <p:cNvSpPr txBox="1"/>
            <p:nvPr/>
          </p:nvSpPr>
          <p:spPr>
            <a:xfrm>
              <a:off x="5912260" y="2690689"/>
              <a:ext cx="6109431" cy="12252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pt-BR" sz="7200">
                  <a:solidFill>
                    <a:srgbClr val="AFCA1F"/>
                  </a:solidFill>
                  <a:latin typeface="+mj-lt"/>
                </a:rPr>
                <a:t>ES GÁ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495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4649A-3D3C-1A9B-8429-582CF6A12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A395F8E4-D767-E7B2-E811-A752AE8CA4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8" b="9167"/>
          <a:stretch>
            <a:fillRect/>
          </a:stretch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12ADC461-39DE-F8B4-58E7-C1E30ED40B3B}"/>
              </a:ext>
            </a:extLst>
          </p:cNvPr>
          <p:cNvSpPr/>
          <p:nvPr/>
        </p:nvSpPr>
        <p:spPr>
          <a:xfrm>
            <a:off x="-1104900" y="-533400"/>
            <a:ext cx="5490633" cy="1720295"/>
          </a:xfrm>
          <a:prstGeom prst="roundRect">
            <a:avLst>
              <a:gd name="adj" fmla="val 15929"/>
            </a:avLst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B3CC5A41-CA7B-DA0A-664A-6D395DC4394A}"/>
              </a:ext>
            </a:extLst>
          </p:cNvPr>
          <p:cNvSpPr txBox="1"/>
          <p:nvPr/>
        </p:nvSpPr>
        <p:spPr>
          <a:xfrm>
            <a:off x="104503" y="148872"/>
            <a:ext cx="439782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153668"/>
                </a:solidFill>
                <a:latin typeface="Montserrat Black" panose="00000A00000000000000" pitchFamily="50" charset="0"/>
              </a:rPr>
              <a:t>Integração – Transporte e Distribuição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446BD684-6884-410F-4139-183953E54354}"/>
              </a:ext>
            </a:extLst>
          </p:cNvPr>
          <p:cNvGrpSpPr/>
          <p:nvPr/>
        </p:nvGrpSpPr>
        <p:grpSpPr>
          <a:xfrm>
            <a:off x="2608070" y="722819"/>
            <a:ext cx="6286644" cy="5668863"/>
            <a:chOff x="2608070" y="722819"/>
            <a:chExt cx="6286644" cy="5668863"/>
          </a:xfrm>
        </p:grpSpPr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E6F8AB70-D888-8EC5-9EB7-0D6A98DC5AB8}"/>
                </a:ext>
              </a:extLst>
            </p:cNvPr>
            <p:cNvGrpSpPr/>
            <p:nvPr/>
          </p:nvGrpSpPr>
          <p:grpSpPr>
            <a:xfrm>
              <a:off x="2608070" y="5631565"/>
              <a:ext cx="2023267" cy="760117"/>
              <a:chOff x="2608070" y="5631565"/>
              <a:chExt cx="2023267" cy="760117"/>
            </a:xfrm>
          </p:grpSpPr>
          <p:sp>
            <p:nvSpPr>
              <p:cNvPr id="56" name="Google Shape;1138;p30">
                <a:extLst>
                  <a:ext uri="{FF2B5EF4-FFF2-40B4-BE49-F238E27FC236}">
                    <a16:creationId xmlns:a16="http://schemas.microsoft.com/office/drawing/2014/main" id="{856D9718-E99B-658D-41E6-C5F3D6B6D4D7}"/>
                  </a:ext>
                </a:extLst>
              </p:cNvPr>
              <p:cNvSpPr/>
              <p:nvPr/>
            </p:nvSpPr>
            <p:spPr>
              <a:xfrm>
                <a:off x="2655040" y="5631565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57" name="Conector reto 56">
                <a:extLst>
                  <a:ext uri="{FF2B5EF4-FFF2-40B4-BE49-F238E27FC236}">
                    <a16:creationId xmlns:a16="http://schemas.microsoft.com/office/drawing/2014/main" id="{7A2E9D66-C98C-14F5-53BA-B0ACFFA676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18637" y="5813056"/>
                <a:ext cx="0" cy="578626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to 57">
                <a:extLst>
                  <a:ext uri="{FF2B5EF4-FFF2-40B4-BE49-F238E27FC236}">
                    <a16:creationId xmlns:a16="http://schemas.microsoft.com/office/drawing/2014/main" id="{111E7FB5-371A-00DE-1291-FC702C0BEB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893" y="5813056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CaixaDeTexto 58">
                <a:extLst>
                  <a:ext uri="{FF2B5EF4-FFF2-40B4-BE49-F238E27FC236}">
                    <a16:creationId xmlns:a16="http://schemas.microsoft.com/office/drawing/2014/main" id="{EB0CC199-F0B5-BB3F-9CAB-B1C986A59FEB}"/>
                  </a:ext>
                </a:extLst>
              </p:cNvPr>
              <p:cNvSpPr txBox="1"/>
              <p:nvPr/>
            </p:nvSpPr>
            <p:spPr>
              <a:xfrm>
                <a:off x="2608070" y="5641190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 ITAPEMIRIM</a:t>
                </a:r>
              </a:p>
            </p:txBody>
          </p:sp>
        </p:grpSp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1C976354-C1AE-ABE5-82F3-69D5C2649965}"/>
                </a:ext>
              </a:extLst>
            </p:cNvPr>
            <p:cNvGrpSpPr/>
            <p:nvPr/>
          </p:nvGrpSpPr>
          <p:grpSpPr>
            <a:xfrm>
              <a:off x="3354070" y="5140183"/>
              <a:ext cx="2023267" cy="760117"/>
              <a:chOff x="2608070" y="5631565"/>
              <a:chExt cx="2023267" cy="760117"/>
            </a:xfrm>
          </p:grpSpPr>
          <p:sp>
            <p:nvSpPr>
              <p:cNvPr id="52" name="Google Shape;1138;p30">
                <a:extLst>
                  <a:ext uri="{FF2B5EF4-FFF2-40B4-BE49-F238E27FC236}">
                    <a16:creationId xmlns:a16="http://schemas.microsoft.com/office/drawing/2014/main" id="{EC63BE1E-5589-F7D6-8133-3573AEBDC536}"/>
                  </a:ext>
                </a:extLst>
              </p:cNvPr>
              <p:cNvSpPr/>
              <p:nvPr/>
            </p:nvSpPr>
            <p:spPr>
              <a:xfrm>
                <a:off x="2655040" y="5631565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53" name="Conector reto 52">
                <a:extLst>
                  <a:ext uri="{FF2B5EF4-FFF2-40B4-BE49-F238E27FC236}">
                    <a16:creationId xmlns:a16="http://schemas.microsoft.com/office/drawing/2014/main" id="{57E2BB30-E8A6-EF86-CB39-D53AD4616F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18637" y="5813056"/>
                <a:ext cx="0" cy="578626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Conector reto 53">
                <a:extLst>
                  <a:ext uri="{FF2B5EF4-FFF2-40B4-BE49-F238E27FC236}">
                    <a16:creationId xmlns:a16="http://schemas.microsoft.com/office/drawing/2014/main" id="{C1EA129F-1A71-18EE-E68D-44A69DA09F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893" y="5813056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CaixaDeTexto 54">
                <a:extLst>
                  <a:ext uri="{FF2B5EF4-FFF2-40B4-BE49-F238E27FC236}">
                    <a16:creationId xmlns:a16="http://schemas.microsoft.com/office/drawing/2014/main" id="{C88019C8-5357-0556-2E69-028A56E91632}"/>
                  </a:ext>
                </a:extLst>
              </p:cNvPr>
              <p:cNvSpPr txBox="1"/>
              <p:nvPr/>
            </p:nvSpPr>
            <p:spPr>
              <a:xfrm>
                <a:off x="2608070" y="5641190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ANCHIETA</a:t>
                </a:r>
              </a:p>
            </p:txBody>
          </p:sp>
        </p:grpSp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1A7F1875-95B1-5928-1B66-BD1888B3AEAF}"/>
                </a:ext>
              </a:extLst>
            </p:cNvPr>
            <p:cNvGrpSpPr/>
            <p:nvPr/>
          </p:nvGrpSpPr>
          <p:grpSpPr>
            <a:xfrm>
              <a:off x="3619703" y="4719737"/>
              <a:ext cx="2129164" cy="415634"/>
              <a:chOff x="2608070" y="5631565"/>
              <a:chExt cx="2129164" cy="415634"/>
            </a:xfrm>
          </p:grpSpPr>
          <p:sp>
            <p:nvSpPr>
              <p:cNvPr id="49" name="Google Shape;1138;p30">
                <a:extLst>
                  <a:ext uri="{FF2B5EF4-FFF2-40B4-BE49-F238E27FC236}">
                    <a16:creationId xmlns:a16="http://schemas.microsoft.com/office/drawing/2014/main" id="{B81D9B61-C7FA-55A4-5CC6-DB77EF8B2806}"/>
                  </a:ext>
                </a:extLst>
              </p:cNvPr>
              <p:cNvSpPr/>
              <p:nvPr/>
            </p:nvSpPr>
            <p:spPr>
              <a:xfrm>
                <a:off x="2655040" y="5631565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50" name="Conector reto 49">
                <a:extLst>
                  <a:ext uri="{FF2B5EF4-FFF2-40B4-BE49-F238E27FC236}">
                    <a16:creationId xmlns:a16="http://schemas.microsoft.com/office/drawing/2014/main" id="{8C2D9227-5D34-E759-B5E7-5BB3C928C0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893" y="5813056"/>
                <a:ext cx="756341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CaixaDeTexto 50">
                <a:extLst>
                  <a:ext uri="{FF2B5EF4-FFF2-40B4-BE49-F238E27FC236}">
                    <a16:creationId xmlns:a16="http://schemas.microsoft.com/office/drawing/2014/main" id="{7C1068B5-19D2-1B06-CD6D-632C3F160C44}"/>
                  </a:ext>
                </a:extLst>
              </p:cNvPr>
              <p:cNvSpPr txBox="1"/>
              <p:nvPr/>
            </p:nvSpPr>
            <p:spPr>
              <a:xfrm>
                <a:off x="2608070" y="5641190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VIANA</a:t>
                </a:r>
              </a:p>
            </p:txBody>
          </p:sp>
        </p:grpSp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1907460-8B25-14FE-A44E-EA1CF0912B4E}"/>
                </a:ext>
              </a:extLst>
            </p:cNvPr>
            <p:cNvGrpSpPr/>
            <p:nvPr/>
          </p:nvGrpSpPr>
          <p:grpSpPr>
            <a:xfrm>
              <a:off x="3400776" y="4202738"/>
              <a:ext cx="2013742" cy="468745"/>
              <a:chOff x="2607806" y="5905881"/>
              <a:chExt cx="2013742" cy="468745"/>
            </a:xfrm>
          </p:grpSpPr>
          <p:sp>
            <p:nvSpPr>
              <p:cNvPr id="45" name="Google Shape;1138;p30">
                <a:extLst>
                  <a:ext uri="{FF2B5EF4-FFF2-40B4-BE49-F238E27FC236}">
                    <a16:creationId xmlns:a16="http://schemas.microsoft.com/office/drawing/2014/main" id="{19DD723A-E2D1-39AE-CE30-CFBAB83CC4CA}"/>
                  </a:ext>
                </a:extLst>
              </p:cNvPr>
              <p:cNvSpPr/>
              <p:nvPr/>
            </p:nvSpPr>
            <p:spPr>
              <a:xfrm>
                <a:off x="2654776" y="5905881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46" name="Conector reto 45">
                <a:extLst>
                  <a:ext uri="{FF2B5EF4-FFF2-40B4-BE49-F238E27FC236}">
                    <a16:creationId xmlns:a16="http://schemas.microsoft.com/office/drawing/2014/main" id="{B4F64747-ADAB-346E-7ABF-810A7AD3EE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12287" y="6075118"/>
                <a:ext cx="0" cy="29950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to 46">
                <a:extLst>
                  <a:ext uri="{FF2B5EF4-FFF2-40B4-BE49-F238E27FC236}">
                    <a16:creationId xmlns:a16="http://schemas.microsoft.com/office/drawing/2014/main" id="{E3394825-4240-62F8-E7E8-054B38BDD7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71104" y="6087372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CaixaDeTexto 47">
                <a:extLst>
                  <a:ext uri="{FF2B5EF4-FFF2-40B4-BE49-F238E27FC236}">
                    <a16:creationId xmlns:a16="http://schemas.microsoft.com/office/drawing/2014/main" id="{7220ADAE-182F-DE35-9EC9-40EA4775FB0E}"/>
                  </a:ext>
                </a:extLst>
              </p:cNvPr>
              <p:cNvSpPr txBox="1"/>
              <p:nvPr/>
            </p:nvSpPr>
            <p:spPr>
              <a:xfrm>
                <a:off x="2607806" y="5915506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ANCHIETA</a:t>
                </a:r>
              </a:p>
            </p:txBody>
          </p:sp>
        </p:grp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B327B108-CB2D-D9F3-4C9C-789DABDCCA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91150" y="4664197"/>
              <a:ext cx="908152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16E39C9F-B147-9F28-83C5-EF4C4E0F7420}"/>
                </a:ext>
              </a:extLst>
            </p:cNvPr>
            <p:cNvGrpSpPr/>
            <p:nvPr/>
          </p:nvGrpSpPr>
          <p:grpSpPr>
            <a:xfrm>
              <a:off x="3980892" y="3697144"/>
              <a:ext cx="2023267" cy="616623"/>
              <a:chOff x="2607806" y="5905881"/>
              <a:chExt cx="2023267" cy="616623"/>
            </a:xfrm>
          </p:grpSpPr>
          <p:sp>
            <p:nvSpPr>
              <p:cNvPr id="41" name="Google Shape;1138;p30">
                <a:extLst>
                  <a:ext uri="{FF2B5EF4-FFF2-40B4-BE49-F238E27FC236}">
                    <a16:creationId xmlns:a16="http://schemas.microsoft.com/office/drawing/2014/main" id="{39E54298-D653-F35F-43AF-32F6798C91E9}"/>
                  </a:ext>
                </a:extLst>
              </p:cNvPr>
              <p:cNvSpPr/>
              <p:nvPr/>
            </p:nvSpPr>
            <p:spPr>
              <a:xfrm>
                <a:off x="2654776" y="5905881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42" name="Conector reto 41">
                <a:extLst>
                  <a:ext uri="{FF2B5EF4-FFF2-40B4-BE49-F238E27FC236}">
                    <a16:creationId xmlns:a16="http://schemas.microsoft.com/office/drawing/2014/main" id="{0EEFC2AE-D156-867D-D814-6BE01EA1DD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21812" y="6105810"/>
                <a:ext cx="0" cy="416694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ector reto 42">
                <a:extLst>
                  <a:ext uri="{FF2B5EF4-FFF2-40B4-BE49-F238E27FC236}">
                    <a16:creationId xmlns:a16="http://schemas.microsoft.com/office/drawing/2014/main" id="{17A25DB2-1E67-AFD5-2F85-FD192433545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629" y="6087372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CaixaDeTexto 43">
                <a:extLst>
                  <a:ext uri="{FF2B5EF4-FFF2-40B4-BE49-F238E27FC236}">
                    <a16:creationId xmlns:a16="http://schemas.microsoft.com/office/drawing/2014/main" id="{4A4A96DF-F2B8-23CF-D144-A4F0E73DB479}"/>
                  </a:ext>
                </a:extLst>
              </p:cNvPr>
              <p:cNvSpPr txBox="1"/>
              <p:nvPr/>
            </p:nvSpPr>
            <p:spPr>
              <a:xfrm>
                <a:off x="2607806" y="5915506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VB 10</a:t>
                </a:r>
              </a:p>
            </p:txBody>
          </p:sp>
        </p:grp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5CB85C69-69AE-14A2-7959-2FFD1ADB98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78525" y="4301312"/>
              <a:ext cx="457200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Google Shape;1138;p30">
              <a:extLst>
                <a:ext uri="{FF2B5EF4-FFF2-40B4-BE49-F238E27FC236}">
                  <a16:creationId xmlns:a16="http://schemas.microsoft.com/office/drawing/2014/main" id="{9DE3AEA3-AED9-9CF3-FC85-182744FD0A8D}"/>
                </a:ext>
              </a:extLst>
            </p:cNvPr>
            <p:cNvSpPr/>
            <p:nvPr/>
          </p:nvSpPr>
          <p:spPr>
            <a:xfrm>
              <a:off x="7001854" y="4436909"/>
              <a:ext cx="1417110" cy="362982"/>
            </a:xfrm>
            <a:prstGeom prst="roundRect">
              <a:avLst>
                <a:gd name="adj" fmla="val 16442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10057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endParaRPr>
            </a:p>
          </p:txBody>
        </p:sp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F9DD7F2B-581A-6477-F97E-E2829ABBA601}"/>
                </a:ext>
              </a:extLst>
            </p:cNvPr>
            <p:cNvSpPr txBox="1"/>
            <p:nvPr/>
          </p:nvSpPr>
          <p:spPr>
            <a:xfrm>
              <a:off x="6954884" y="4446534"/>
              <a:ext cx="1511050" cy="4060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  <a:t>PR</a:t>
              </a:r>
              <a:b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</a:b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  <a:t>VALE</a:t>
              </a:r>
            </a:p>
          </p:txBody>
        </p: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100389D-C30D-A76F-F81C-30C5C2D6E3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18250" y="4616906"/>
              <a:ext cx="908152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468A26C8-8849-35C0-A47E-A83835DFDCA9}"/>
                </a:ext>
              </a:extLst>
            </p:cNvPr>
            <p:cNvGrpSpPr/>
            <p:nvPr/>
          </p:nvGrpSpPr>
          <p:grpSpPr>
            <a:xfrm>
              <a:off x="3829556" y="3169324"/>
              <a:ext cx="2023267" cy="468745"/>
              <a:chOff x="2607806" y="5905881"/>
              <a:chExt cx="2023267" cy="468745"/>
            </a:xfrm>
          </p:grpSpPr>
          <p:sp>
            <p:nvSpPr>
              <p:cNvPr id="37" name="Google Shape;1138;p30">
                <a:extLst>
                  <a:ext uri="{FF2B5EF4-FFF2-40B4-BE49-F238E27FC236}">
                    <a16:creationId xmlns:a16="http://schemas.microsoft.com/office/drawing/2014/main" id="{C71AF253-5D80-FC79-D518-980FDAD8151C}"/>
                  </a:ext>
                </a:extLst>
              </p:cNvPr>
              <p:cNvSpPr/>
              <p:nvPr/>
            </p:nvSpPr>
            <p:spPr>
              <a:xfrm>
                <a:off x="2654776" y="5905881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38" name="Conector reto 37">
                <a:extLst>
                  <a:ext uri="{FF2B5EF4-FFF2-40B4-BE49-F238E27FC236}">
                    <a16:creationId xmlns:a16="http://schemas.microsoft.com/office/drawing/2014/main" id="{B6ED7967-4868-C8A0-A510-1DFBF503735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12287" y="6075118"/>
                <a:ext cx="0" cy="29950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to 38">
                <a:extLst>
                  <a:ext uri="{FF2B5EF4-FFF2-40B4-BE49-F238E27FC236}">
                    <a16:creationId xmlns:a16="http://schemas.microsoft.com/office/drawing/2014/main" id="{1008D28F-4FB0-5EF9-5547-4610AEC88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629" y="6087372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CaixaDeTexto 39">
                <a:extLst>
                  <a:ext uri="{FF2B5EF4-FFF2-40B4-BE49-F238E27FC236}">
                    <a16:creationId xmlns:a16="http://schemas.microsoft.com/office/drawing/2014/main" id="{DA7C572C-F7A5-9AB1-40B5-1BE3A1A2AC8A}"/>
                  </a:ext>
                </a:extLst>
              </p:cNvPr>
              <p:cNvSpPr txBox="1"/>
              <p:nvPr/>
            </p:nvSpPr>
            <p:spPr>
              <a:xfrm>
                <a:off x="2607806" y="5959651"/>
                <a:ext cx="1511050" cy="3259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0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BARRA DO RIACHO</a:t>
                </a:r>
                <a:endPara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</p:grp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EEB3614B-D07D-0FD8-630C-D7D526F24A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19930" y="3621258"/>
              <a:ext cx="908152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Google Shape;1138;p30">
              <a:extLst>
                <a:ext uri="{FF2B5EF4-FFF2-40B4-BE49-F238E27FC236}">
                  <a16:creationId xmlns:a16="http://schemas.microsoft.com/office/drawing/2014/main" id="{4635BCD8-F89C-E3C9-FF53-33059879B02F}"/>
                </a:ext>
              </a:extLst>
            </p:cNvPr>
            <p:cNvSpPr/>
            <p:nvPr/>
          </p:nvSpPr>
          <p:spPr>
            <a:xfrm>
              <a:off x="7430634" y="3403495"/>
              <a:ext cx="1417110" cy="362982"/>
            </a:xfrm>
            <a:prstGeom prst="roundRect">
              <a:avLst>
                <a:gd name="adj" fmla="val 16442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10057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endParaRP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277775C6-9350-CEA0-2865-07B9ABAD5C11}"/>
                </a:ext>
              </a:extLst>
            </p:cNvPr>
            <p:cNvSpPr txBox="1"/>
            <p:nvPr/>
          </p:nvSpPr>
          <p:spPr>
            <a:xfrm>
              <a:off x="7383664" y="3413120"/>
              <a:ext cx="1511050" cy="4060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  <a:t>PR</a:t>
              </a:r>
              <a:b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</a:b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rPr>
                <a:t>ARACRUZ</a:t>
              </a:r>
            </a:p>
          </p:txBody>
        </p: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B0244515-C8A2-3E38-BE7A-C8E53C4A7F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47030" y="3583492"/>
              <a:ext cx="908152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Agrupar 21">
              <a:extLst>
                <a:ext uri="{FF2B5EF4-FFF2-40B4-BE49-F238E27FC236}">
                  <a16:creationId xmlns:a16="http://schemas.microsoft.com/office/drawing/2014/main" id="{A9604DD5-51AD-A6AA-5AB0-198452849827}"/>
                </a:ext>
              </a:extLst>
            </p:cNvPr>
            <p:cNvGrpSpPr/>
            <p:nvPr/>
          </p:nvGrpSpPr>
          <p:grpSpPr>
            <a:xfrm>
              <a:off x="4704815" y="2530464"/>
              <a:ext cx="2023267" cy="616623"/>
              <a:chOff x="2607806" y="5905881"/>
              <a:chExt cx="2023267" cy="616623"/>
            </a:xfrm>
          </p:grpSpPr>
          <p:sp>
            <p:nvSpPr>
              <p:cNvPr id="33" name="Google Shape;1138;p30">
                <a:extLst>
                  <a:ext uri="{FF2B5EF4-FFF2-40B4-BE49-F238E27FC236}">
                    <a16:creationId xmlns:a16="http://schemas.microsoft.com/office/drawing/2014/main" id="{A5264D0D-A114-14EC-1EB0-3B7AC28A8D57}"/>
                  </a:ext>
                </a:extLst>
              </p:cNvPr>
              <p:cNvSpPr/>
              <p:nvPr/>
            </p:nvSpPr>
            <p:spPr>
              <a:xfrm>
                <a:off x="2654776" y="5905881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34" name="Conector reto 33">
                <a:extLst>
                  <a:ext uri="{FF2B5EF4-FFF2-40B4-BE49-F238E27FC236}">
                    <a16:creationId xmlns:a16="http://schemas.microsoft.com/office/drawing/2014/main" id="{B2E3C8A3-7C1C-E583-3929-D60A6B29861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12287" y="6105810"/>
                <a:ext cx="0" cy="416694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ector reto 34">
                <a:extLst>
                  <a:ext uri="{FF2B5EF4-FFF2-40B4-BE49-F238E27FC236}">
                    <a16:creationId xmlns:a16="http://schemas.microsoft.com/office/drawing/2014/main" id="{0339C1CB-F6B6-AAAC-30E1-6D1CB173E27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629" y="6087372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669A0F9F-C609-1EAE-02EF-0053EFCCE3FE}"/>
                  </a:ext>
                </a:extLst>
              </p:cNvPr>
              <p:cNvSpPr txBox="1"/>
              <p:nvPr/>
            </p:nvSpPr>
            <p:spPr>
              <a:xfrm>
                <a:off x="2607806" y="5915506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LINHARES</a:t>
                </a:r>
              </a:p>
            </p:txBody>
          </p:sp>
        </p:grp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7C6E3CA4-7CE0-57F0-B328-8F27666046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6098" y="3137807"/>
              <a:ext cx="457200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Agrupar 23">
              <a:extLst>
                <a:ext uri="{FF2B5EF4-FFF2-40B4-BE49-F238E27FC236}">
                  <a16:creationId xmlns:a16="http://schemas.microsoft.com/office/drawing/2014/main" id="{5132184C-3A7C-9B41-436B-A8228A2BB79A}"/>
                </a:ext>
              </a:extLst>
            </p:cNvPr>
            <p:cNvGrpSpPr/>
            <p:nvPr/>
          </p:nvGrpSpPr>
          <p:grpSpPr>
            <a:xfrm>
              <a:off x="5444972" y="2065384"/>
              <a:ext cx="2023267" cy="828062"/>
              <a:chOff x="2607806" y="5905881"/>
              <a:chExt cx="2023267" cy="828062"/>
            </a:xfrm>
          </p:grpSpPr>
          <p:sp>
            <p:nvSpPr>
              <p:cNvPr id="29" name="Google Shape;1138;p30">
                <a:extLst>
                  <a:ext uri="{FF2B5EF4-FFF2-40B4-BE49-F238E27FC236}">
                    <a16:creationId xmlns:a16="http://schemas.microsoft.com/office/drawing/2014/main" id="{931A4A00-B7AC-F24A-401D-2E47EC7D62A8}"/>
                  </a:ext>
                </a:extLst>
              </p:cNvPr>
              <p:cNvSpPr/>
              <p:nvPr/>
            </p:nvSpPr>
            <p:spPr>
              <a:xfrm>
                <a:off x="2654776" y="5905881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30" name="Conector reto 29">
                <a:extLst>
                  <a:ext uri="{FF2B5EF4-FFF2-40B4-BE49-F238E27FC236}">
                    <a16:creationId xmlns:a16="http://schemas.microsoft.com/office/drawing/2014/main" id="{AD62E639-A4E2-9ADA-3179-B5D3498ECE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21812" y="6087372"/>
                <a:ext cx="0" cy="646571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ector reto 30">
                <a:extLst>
                  <a:ext uri="{FF2B5EF4-FFF2-40B4-BE49-F238E27FC236}">
                    <a16:creationId xmlns:a16="http://schemas.microsoft.com/office/drawing/2014/main" id="{85655202-5595-7E2B-C69E-687BC0E682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629" y="6087372"/>
                <a:ext cx="650444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CaixaDeTexto 31">
                <a:extLst>
                  <a:ext uri="{FF2B5EF4-FFF2-40B4-BE49-F238E27FC236}">
                    <a16:creationId xmlns:a16="http://schemas.microsoft.com/office/drawing/2014/main" id="{7E95EAC4-C70F-F063-2B77-B0691A2B68D9}"/>
                  </a:ext>
                </a:extLst>
              </p:cNvPr>
              <p:cNvSpPr txBox="1"/>
              <p:nvPr/>
            </p:nvSpPr>
            <p:spPr>
              <a:xfrm>
                <a:off x="2607806" y="5915506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 UTE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LINHARES</a:t>
                </a:r>
              </a:p>
            </p:txBody>
          </p:sp>
        </p:grpSp>
        <p:grpSp>
          <p:nvGrpSpPr>
            <p:cNvPr id="25" name="Agrupar 24">
              <a:extLst>
                <a:ext uri="{FF2B5EF4-FFF2-40B4-BE49-F238E27FC236}">
                  <a16:creationId xmlns:a16="http://schemas.microsoft.com/office/drawing/2014/main" id="{E5492C06-B37F-58CE-BBE0-C9D1D9AAE54C}"/>
                </a:ext>
              </a:extLst>
            </p:cNvPr>
            <p:cNvGrpSpPr/>
            <p:nvPr/>
          </p:nvGrpSpPr>
          <p:grpSpPr>
            <a:xfrm>
              <a:off x="5234720" y="722819"/>
              <a:ext cx="2129164" cy="415634"/>
              <a:chOff x="2608070" y="5631565"/>
              <a:chExt cx="2129164" cy="415634"/>
            </a:xfrm>
          </p:grpSpPr>
          <p:sp>
            <p:nvSpPr>
              <p:cNvPr id="26" name="Google Shape;1138;p30">
                <a:extLst>
                  <a:ext uri="{FF2B5EF4-FFF2-40B4-BE49-F238E27FC236}">
                    <a16:creationId xmlns:a16="http://schemas.microsoft.com/office/drawing/2014/main" id="{4B706660-86BB-04BD-835D-B5B78E14BA96}"/>
                  </a:ext>
                </a:extLst>
              </p:cNvPr>
              <p:cNvSpPr/>
              <p:nvPr/>
            </p:nvSpPr>
            <p:spPr>
              <a:xfrm>
                <a:off x="2655040" y="5631565"/>
                <a:ext cx="1417110" cy="362982"/>
              </a:xfrm>
              <a:prstGeom prst="roundRect">
                <a:avLst>
                  <a:gd name="adj" fmla="val 16442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91425" rIns="91425" bIns="10057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153668"/>
                  </a:solidFill>
                  <a:effectLst/>
                  <a:uLnTx/>
                  <a:uFillTx/>
                  <a:latin typeface="Montserrat" panose="00000500000000000000" pitchFamily="2" charset="0"/>
                  <a:ea typeface="Fira Sans Extra Condensed SemiBold"/>
                  <a:cs typeface="Fira Sans Extra Condensed SemiBold"/>
                  <a:sym typeface="Fira Sans Extra Condensed SemiBold"/>
                </a:endParaRPr>
              </a:p>
            </p:txBody>
          </p:sp>
          <p:cxnSp>
            <p:nvCxnSpPr>
              <p:cNvPr id="27" name="Conector reto 26">
                <a:extLst>
                  <a:ext uri="{FF2B5EF4-FFF2-40B4-BE49-F238E27FC236}">
                    <a16:creationId xmlns:a16="http://schemas.microsoft.com/office/drawing/2014/main" id="{7FEC369D-8148-859A-263B-18D2429A504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80893" y="5813056"/>
                <a:ext cx="756341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CaixaDeTexto 27">
                <a:extLst>
                  <a:ext uri="{FF2B5EF4-FFF2-40B4-BE49-F238E27FC236}">
                    <a16:creationId xmlns:a16="http://schemas.microsoft.com/office/drawing/2014/main" id="{464AF391-867C-62B9-515A-FBF757C22C91}"/>
                  </a:ext>
                </a:extLst>
              </p:cNvPr>
              <p:cNvSpPr txBox="1"/>
              <p:nvPr/>
            </p:nvSpPr>
            <p:spPr>
              <a:xfrm>
                <a:off x="2608070" y="5641190"/>
                <a:ext cx="1511050" cy="406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defRPr/>
                </a:pP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PR</a:t>
                </a:r>
                <a:b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</a:br>
                <a:r>
                  <a:rPr kumimoji="0" lang="pt-BR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53668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Fira Sans Extra Condensed SemiBold"/>
                    <a:cs typeface="Fira Sans Extra Condensed SemiBold"/>
                    <a:sym typeface="Fira Sans Extra Condensed SemiBold"/>
                  </a:rPr>
                  <a:t>SÃO MATEU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874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96ED4D-DA08-326E-0779-76A04C6841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DFDA81A-ADFD-0B39-84FB-EF344C7058B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40" b="7985"/>
          <a:stretch>
            <a:fillRect/>
          </a:stretch>
        </p:blipFill>
        <p:spPr>
          <a:xfrm>
            <a:off x="1922" y="1"/>
            <a:ext cx="12202778" cy="6858000"/>
          </a:xfrm>
          <a:prstGeom prst="rect">
            <a:avLst/>
          </a:prstGeom>
        </p:spPr>
      </p:pic>
      <p:sp>
        <p:nvSpPr>
          <p:cNvPr id="6" name="Google Shape;1138;p30">
            <a:extLst>
              <a:ext uri="{FF2B5EF4-FFF2-40B4-BE49-F238E27FC236}">
                <a16:creationId xmlns:a16="http://schemas.microsoft.com/office/drawing/2014/main" id="{F184CB3A-F61E-C81C-FD7D-7264D0B4BB88}"/>
              </a:ext>
            </a:extLst>
          </p:cNvPr>
          <p:cNvSpPr/>
          <p:nvPr/>
        </p:nvSpPr>
        <p:spPr>
          <a:xfrm>
            <a:off x="9581722" y="609233"/>
            <a:ext cx="1221608" cy="421285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PE VB10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pic>
        <p:nvPicPr>
          <p:cNvPr id="7" name="Imagem 6" descr="Ícone&#10;&#10;O conteúdo gerado por IA pode estar incorreto.">
            <a:extLst>
              <a:ext uri="{FF2B5EF4-FFF2-40B4-BE49-F238E27FC236}">
                <a16:creationId xmlns:a16="http://schemas.microsoft.com/office/drawing/2014/main" id="{00385774-BF04-9124-18C7-9A727A1361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3732" y="315572"/>
            <a:ext cx="761262" cy="272638"/>
          </a:xfrm>
          <a:prstGeom prst="rect">
            <a:avLst/>
          </a:prstGeom>
        </p:spPr>
      </p:pic>
      <p:sp>
        <p:nvSpPr>
          <p:cNvPr id="8" name="Google Shape;1138;p30">
            <a:extLst>
              <a:ext uri="{FF2B5EF4-FFF2-40B4-BE49-F238E27FC236}">
                <a16:creationId xmlns:a16="http://schemas.microsoft.com/office/drawing/2014/main" id="{AD5B35A1-9F3D-FBB5-105C-A163F435C69E}"/>
              </a:ext>
            </a:extLst>
          </p:cNvPr>
          <p:cNvSpPr/>
          <p:nvPr/>
        </p:nvSpPr>
        <p:spPr>
          <a:xfrm>
            <a:off x="875480" y="5446260"/>
            <a:ext cx="1417110" cy="401293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PE VIANA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pic>
        <p:nvPicPr>
          <p:cNvPr id="9" name="Imagem 8" descr="Ícone&#10;&#10;O conteúdo gerado por IA pode estar incorreto.">
            <a:extLst>
              <a:ext uri="{FF2B5EF4-FFF2-40B4-BE49-F238E27FC236}">
                <a16:creationId xmlns:a16="http://schemas.microsoft.com/office/drawing/2014/main" id="{3EF12D97-81DA-B41B-0A07-F2EDCA50C2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5082" y="5151397"/>
            <a:ext cx="761262" cy="272638"/>
          </a:xfrm>
          <a:prstGeom prst="rect">
            <a:avLst/>
          </a:prstGeom>
        </p:spPr>
      </p:pic>
      <p:sp>
        <p:nvSpPr>
          <p:cNvPr id="10" name="Google Shape;1138;p30">
            <a:extLst>
              <a:ext uri="{FF2B5EF4-FFF2-40B4-BE49-F238E27FC236}">
                <a16:creationId xmlns:a16="http://schemas.microsoft.com/office/drawing/2014/main" id="{A9EE27EB-A738-A5CF-AEBE-B73C470C8B14}"/>
              </a:ext>
            </a:extLst>
          </p:cNvPr>
          <p:cNvSpPr/>
          <p:nvPr/>
        </p:nvSpPr>
        <p:spPr>
          <a:xfrm>
            <a:off x="8791535" y="3563991"/>
            <a:ext cx="1558222" cy="445407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PE VITÓRIA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pic>
        <p:nvPicPr>
          <p:cNvPr id="12" name="Imagem 11" descr="Ícone&#10;&#10;O conteúdo gerado por IA pode estar incorreto.">
            <a:extLst>
              <a:ext uri="{FF2B5EF4-FFF2-40B4-BE49-F238E27FC236}">
                <a16:creationId xmlns:a16="http://schemas.microsoft.com/office/drawing/2014/main" id="{9F966D27-0BBF-858E-9626-671756579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0015" y="3242912"/>
            <a:ext cx="761262" cy="306048"/>
          </a:xfrm>
          <a:prstGeom prst="rect">
            <a:avLst/>
          </a:prstGeom>
        </p:spPr>
      </p:pic>
      <p:sp>
        <p:nvSpPr>
          <p:cNvPr id="13" name="Google Shape;1138;p30">
            <a:extLst>
              <a:ext uri="{FF2B5EF4-FFF2-40B4-BE49-F238E27FC236}">
                <a16:creationId xmlns:a16="http://schemas.microsoft.com/office/drawing/2014/main" id="{9DF4C51F-B5CA-7DD9-7F25-D216A72B7B53}"/>
              </a:ext>
            </a:extLst>
          </p:cNvPr>
          <p:cNvSpPr/>
          <p:nvPr/>
        </p:nvSpPr>
        <p:spPr>
          <a:xfrm>
            <a:off x="7186455" y="5257940"/>
            <a:ext cx="1243666" cy="410598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PE VALE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CA09BA0B-2378-928F-C266-7A9950FF3BD8}"/>
              </a:ext>
            </a:extLst>
          </p:cNvPr>
          <p:cNvCxnSpPr>
            <a:cxnSpLocks/>
          </p:cNvCxnSpPr>
          <p:nvPr/>
        </p:nvCxnSpPr>
        <p:spPr>
          <a:xfrm>
            <a:off x="8959828" y="810252"/>
            <a:ext cx="621896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8562F04E-9054-34DA-9153-D8367A870AF5}"/>
              </a:ext>
            </a:extLst>
          </p:cNvPr>
          <p:cNvCxnSpPr>
            <a:cxnSpLocks/>
          </p:cNvCxnSpPr>
          <p:nvPr/>
        </p:nvCxnSpPr>
        <p:spPr>
          <a:xfrm flipV="1">
            <a:off x="7808289" y="3773901"/>
            <a:ext cx="0" cy="1412778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75A6FFD-67B6-A1A9-8A5C-56A762B33237}"/>
              </a:ext>
            </a:extLst>
          </p:cNvPr>
          <p:cNvCxnSpPr>
            <a:cxnSpLocks/>
          </p:cNvCxnSpPr>
          <p:nvPr/>
        </p:nvCxnSpPr>
        <p:spPr>
          <a:xfrm flipH="1">
            <a:off x="7808289" y="3780749"/>
            <a:ext cx="983246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Ícone&#10;&#10;O conteúdo gerado por IA pode estar incorreto.">
            <a:extLst>
              <a:ext uri="{FF2B5EF4-FFF2-40B4-BE49-F238E27FC236}">
                <a16:creationId xmlns:a16="http://schemas.microsoft.com/office/drawing/2014/main" id="{3BDD7444-6E95-2D18-696F-A120BE79F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7658" y="4967602"/>
            <a:ext cx="761262" cy="272638"/>
          </a:xfrm>
          <a:prstGeom prst="rect">
            <a:avLst/>
          </a:prstGeom>
        </p:spPr>
      </p:pic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E9D9A72C-9C04-1508-A1FC-1AF610237EB4}"/>
              </a:ext>
            </a:extLst>
          </p:cNvPr>
          <p:cNvCxnSpPr>
            <a:cxnSpLocks/>
          </p:cNvCxnSpPr>
          <p:nvPr/>
        </p:nvCxnSpPr>
        <p:spPr>
          <a:xfrm flipV="1">
            <a:off x="2832727" y="5668538"/>
            <a:ext cx="0" cy="578626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08210C6B-0860-4307-2C7D-51980A8B9353}"/>
              </a:ext>
            </a:extLst>
          </p:cNvPr>
          <p:cNvSpPr txBox="1"/>
          <p:nvPr/>
        </p:nvSpPr>
        <p:spPr>
          <a:xfrm rot="16407883">
            <a:off x="7951046" y="58101"/>
            <a:ext cx="1680976" cy="288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>
                <a:solidFill>
                  <a:schemeClr val="bg1"/>
                </a:solidFill>
              </a:rPr>
              <a:t>Gasoduto Lagoa Parda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98E591BA-FB87-4508-A338-FF879298E8DA}"/>
              </a:ext>
            </a:extLst>
          </p:cNvPr>
          <p:cNvSpPr txBox="1"/>
          <p:nvPr/>
        </p:nvSpPr>
        <p:spPr>
          <a:xfrm rot="16407883">
            <a:off x="4908469" y="776740"/>
            <a:ext cx="2013782" cy="288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>
                <a:solidFill>
                  <a:schemeClr val="bg1"/>
                </a:solidFill>
              </a:rPr>
              <a:t>Gasoduto Cacimbas- Vitória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C7DEF0F8-012F-781F-4ADB-A4F36775425B}"/>
              </a:ext>
            </a:extLst>
          </p:cNvPr>
          <p:cNvSpPr txBox="1"/>
          <p:nvPr/>
        </p:nvSpPr>
        <p:spPr>
          <a:xfrm rot="19210859">
            <a:off x="2856556" y="2619722"/>
            <a:ext cx="2808775" cy="288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>
                <a:solidFill>
                  <a:schemeClr val="bg1"/>
                </a:solidFill>
              </a:rPr>
              <a:t>Gasoduto </a:t>
            </a:r>
            <a:r>
              <a:rPr lang="pt-BR" sz="1000" err="1">
                <a:solidFill>
                  <a:schemeClr val="bg1"/>
                </a:solidFill>
              </a:rPr>
              <a:t>Cabiunas</a:t>
            </a:r>
            <a:r>
              <a:rPr lang="pt-BR" sz="1000">
                <a:solidFill>
                  <a:schemeClr val="bg1"/>
                </a:solidFill>
              </a:rPr>
              <a:t>- Vitória</a:t>
            </a:r>
          </a:p>
        </p:txBody>
      </p:sp>
      <p:sp>
        <p:nvSpPr>
          <p:cNvPr id="29" name="Google Shape;1138;p30">
            <a:extLst>
              <a:ext uri="{FF2B5EF4-FFF2-40B4-BE49-F238E27FC236}">
                <a16:creationId xmlns:a16="http://schemas.microsoft.com/office/drawing/2014/main" id="{7C4BF6D4-BF95-B3F4-BDE0-DF4A99AC1473}"/>
              </a:ext>
            </a:extLst>
          </p:cNvPr>
          <p:cNvSpPr/>
          <p:nvPr/>
        </p:nvSpPr>
        <p:spPr>
          <a:xfrm>
            <a:off x="9815630" y="1045550"/>
            <a:ext cx="703095" cy="421285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ES3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sp>
        <p:nvSpPr>
          <p:cNvPr id="30" name="Google Shape;1138;p30">
            <a:extLst>
              <a:ext uri="{FF2B5EF4-FFF2-40B4-BE49-F238E27FC236}">
                <a16:creationId xmlns:a16="http://schemas.microsoft.com/office/drawing/2014/main" id="{116A51BB-3A13-6B89-C170-D11531A9A37D}"/>
              </a:ext>
            </a:extLst>
          </p:cNvPr>
          <p:cNvSpPr/>
          <p:nvPr/>
        </p:nvSpPr>
        <p:spPr>
          <a:xfrm>
            <a:off x="9216283" y="4025222"/>
            <a:ext cx="703095" cy="421285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ES2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sp>
        <p:nvSpPr>
          <p:cNvPr id="31" name="Google Shape;1138;p30">
            <a:extLst>
              <a:ext uri="{FF2B5EF4-FFF2-40B4-BE49-F238E27FC236}">
                <a16:creationId xmlns:a16="http://schemas.microsoft.com/office/drawing/2014/main" id="{241CDAC9-A7CF-0135-C772-44A9039E252D}"/>
              </a:ext>
            </a:extLst>
          </p:cNvPr>
          <p:cNvSpPr/>
          <p:nvPr/>
        </p:nvSpPr>
        <p:spPr>
          <a:xfrm>
            <a:off x="7456741" y="5686238"/>
            <a:ext cx="703095" cy="421285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ES2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sp>
        <p:nvSpPr>
          <p:cNvPr id="32" name="Google Shape;1138;p30">
            <a:extLst>
              <a:ext uri="{FF2B5EF4-FFF2-40B4-BE49-F238E27FC236}">
                <a16:creationId xmlns:a16="http://schemas.microsoft.com/office/drawing/2014/main" id="{25E0615C-CB70-C4C9-EAAF-265B108C415B}"/>
              </a:ext>
            </a:extLst>
          </p:cNvPr>
          <p:cNvSpPr/>
          <p:nvPr/>
        </p:nvSpPr>
        <p:spPr>
          <a:xfrm>
            <a:off x="1294166" y="5869777"/>
            <a:ext cx="703095" cy="421285"/>
          </a:xfrm>
          <a:prstGeom prst="roundRect">
            <a:avLst>
              <a:gd name="adj" fmla="val 1644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100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153668"/>
                </a:solidFill>
                <a:effectLst/>
                <a:uLnTx/>
                <a:uFillTx/>
                <a:latin typeface="Montserrat" panose="00000500000000000000" pitchFamily="2" charset="0"/>
                <a:ea typeface="Fira Sans Extra Condensed SemiBold"/>
                <a:cs typeface="Fira Sans Extra Condensed SemiBold"/>
                <a:sym typeface="Fira Sans Extra Condensed SemiBold"/>
              </a:rPr>
              <a:t>ES1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153668"/>
              </a:solidFill>
              <a:effectLst/>
              <a:uLnTx/>
              <a:uFillTx/>
              <a:latin typeface="Montserrat" panose="00000500000000000000" pitchFamily="2" charset="0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CCEB75D6-FECE-24FE-D0C0-DF8DF9D48F51}"/>
              </a:ext>
            </a:extLst>
          </p:cNvPr>
          <p:cNvCxnSpPr>
            <a:cxnSpLocks/>
          </p:cNvCxnSpPr>
          <p:nvPr/>
        </p:nvCxnSpPr>
        <p:spPr>
          <a:xfrm flipH="1">
            <a:off x="2201333" y="5668538"/>
            <a:ext cx="650444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24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AB440-D198-7314-0536-36FFAF065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94DB1143-F7F8-D092-62E6-52EC0B8C4848}"/>
              </a:ext>
            </a:extLst>
          </p:cNvPr>
          <p:cNvSpPr/>
          <p:nvPr/>
        </p:nvSpPr>
        <p:spPr>
          <a:xfrm rot="10800000"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0000">
                <a:srgbClr val="215F9A"/>
              </a:gs>
              <a:gs pos="0">
                <a:srgbClr val="357A7B"/>
              </a:gs>
            </a:gsLst>
            <a:lin ang="13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aphic 39">
            <a:extLst>
              <a:ext uri="{FF2B5EF4-FFF2-40B4-BE49-F238E27FC236}">
                <a16:creationId xmlns:a16="http://schemas.microsoft.com/office/drawing/2014/main" id="{3E940A98-1C6B-9470-BE99-11B7CDA01D9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258700" y="2330802"/>
            <a:ext cx="3674599" cy="1588498"/>
          </a:xfrm>
          <a:prstGeom prst="rect">
            <a:avLst/>
          </a:prstGeom>
        </p:spPr>
      </p:pic>
      <p:pic>
        <p:nvPicPr>
          <p:cNvPr id="2" name="Graphic 5">
            <a:extLst>
              <a:ext uri="{FF2B5EF4-FFF2-40B4-BE49-F238E27FC236}">
                <a16:creationId xmlns:a16="http://schemas.microsoft.com/office/drawing/2014/main" id="{4BE7AFD7-5489-3059-39AA-2B533A24C9C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82104">
            <a:off x="1337323" y="-3968614"/>
            <a:ext cx="12192000" cy="13251338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28BC5B1-32A6-3A19-1A0F-F142C832EA6B}"/>
              </a:ext>
            </a:extLst>
          </p:cNvPr>
          <p:cNvSpPr txBox="1"/>
          <p:nvPr/>
        </p:nvSpPr>
        <p:spPr>
          <a:xfrm>
            <a:off x="1683919" y="4773308"/>
            <a:ext cx="5181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chemeClr val="bg1"/>
                </a:solidFill>
                <a:latin typeface="Montserrat" pitchFamily="2" charset="0"/>
              </a:rPr>
              <a:t>Lucas Magalhães Torres</a:t>
            </a:r>
          </a:p>
          <a:p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Gerente de </a:t>
            </a:r>
            <a:r>
              <a:rPr lang="pt-BR" b="1" err="1">
                <a:solidFill>
                  <a:schemeClr val="bg1"/>
                </a:solidFill>
                <a:latin typeface="Montserrat" pitchFamily="2" charset="0"/>
              </a:rPr>
              <a:t>Supply</a:t>
            </a:r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 e Grandes Conta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65462FC-F92C-FA56-EAFF-5D48678A1F57}"/>
              </a:ext>
            </a:extLst>
          </p:cNvPr>
          <p:cNvSpPr txBox="1"/>
          <p:nvPr/>
        </p:nvSpPr>
        <p:spPr>
          <a:xfrm>
            <a:off x="7299057" y="4636308"/>
            <a:ext cx="51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(27) 99661 - 5231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92AB188B-932A-9072-045B-8E77D9CA5F2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1870"/>
          <a:stretch>
            <a:fillRect/>
          </a:stretch>
        </p:blipFill>
        <p:spPr>
          <a:xfrm>
            <a:off x="971459" y="4731520"/>
            <a:ext cx="796046" cy="860997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34F210E-D9F7-3B4E-6C28-CF089E75BA0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6402"/>
          <a:stretch>
            <a:fillRect/>
          </a:stretch>
        </p:blipFill>
        <p:spPr>
          <a:xfrm>
            <a:off x="6772576" y="4513734"/>
            <a:ext cx="526481" cy="550172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01EDB1D7-622E-1AFB-4A3E-11FA1838E68E}"/>
              </a:ext>
            </a:extLst>
          </p:cNvPr>
          <p:cNvSpPr txBox="1"/>
          <p:nvPr/>
        </p:nvSpPr>
        <p:spPr>
          <a:xfrm>
            <a:off x="7330438" y="5315554"/>
            <a:ext cx="51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lucas.magalhaes@energisa.com.br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EB58212B-399B-79A8-D963-468132EE9C9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1870"/>
          <a:stretch>
            <a:fillRect/>
          </a:stretch>
        </p:blipFill>
        <p:spPr>
          <a:xfrm>
            <a:off x="6781933" y="5201711"/>
            <a:ext cx="555971" cy="601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987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820608-BC38-614A-C80E-DB2EE6B4F4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 descr="A city at night with a road and buildings&#10;&#10;AI-generated content may be incorrect.">
            <a:extLst>
              <a:ext uri="{FF2B5EF4-FFF2-40B4-BE49-F238E27FC236}">
                <a16:creationId xmlns:a16="http://schemas.microsoft.com/office/drawing/2014/main" id="{B7CF1A08-6711-08FF-DCCB-07A39AC788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86758823-2B76-C56F-FED1-D6B85DF19F87}"/>
              </a:ext>
            </a:extLst>
          </p:cNvPr>
          <p:cNvSpPr txBox="1"/>
          <p:nvPr/>
        </p:nvSpPr>
        <p:spPr>
          <a:xfrm>
            <a:off x="639795" y="545068"/>
            <a:ext cx="4123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ADC91B"/>
                </a:solidFill>
                <a:effectLst/>
                <a:uLnTx/>
                <a:uFillTx/>
                <a:latin typeface="Montserrat Black" panose="00000A00000000000000" pitchFamily="50" charset="0"/>
                <a:ea typeface="+mn-ea"/>
                <a:cs typeface="+mn-cs"/>
                <a:sym typeface="Montserrat Black"/>
              </a:rPr>
              <a:t>Projeção até o final de 2030</a:t>
            </a:r>
          </a:p>
        </p:txBody>
      </p:sp>
      <p:sp>
        <p:nvSpPr>
          <p:cNvPr id="2" name="Graphic 5">
            <a:extLst>
              <a:ext uri="{FF2B5EF4-FFF2-40B4-BE49-F238E27FC236}">
                <a16:creationId xmlns:a16="http://schemas.microsoft.com/office/drawing/2014/main" id="{74FE8A92-4478-3B59-3BE9-58B29F58D0B7}"/>
              </a:ext>
            </a:extLst>
          </p:cNvPr>
          <p:cNvSpPr/>
          <p:nvPr/>
        </p:nvSpPr>
        <p:spPr>
          <a:xfrm>
            <a:off x="-3164838" y="-8239317"/>
            <a:ext cx="18724102" cy="20378335"/>
          </a:xfrm>
          <a:custGeom>
            <a:avLst/>
            <a:gdLst>
              <a:gd name="connsiteX0" fmla="*/ 5533989 w 18724102"/>
              <a:gd name="connsiteY0" fmla="*/ 18036390 h 20378335"/>
              <a:gd name="connsiteX1" fmla="*/ 9801822 w 18724102"/>
              <a:gd name="connsiteY1" fmla="*/ 13278037 h 20378335"/>
              <a:gd name="connsiteX2" fmla="*/ 15155782 w 18724102"/>
              <a:gd name="connsiteY2" fmla="*/ 15151006 h 20378335"/>
              <a:gd name="connsiteX3" fmla="*/ 6800988 w 18724102"/>
              <a:gd name="connsiteY3" fmla="*/ 18094116 h 20378335"/>
              <a:gd name="connsiteX4" fmla="*/ 5534284 w 18724102"/>
              <a:gd name="connsiteY4" fmla="*/ 18036390 h 20378335"/>
              <a:gd name="connsiteX5" fmla="*/ 9481520 w 18724102"/>
              <a:gd name="connsiteY5" fmla="*/ 3215455 h 20378335"/>
              <a:gd name="connsiteX6" fmla="*/ 2555060 w 18724102"/>
              <a:gd name="connsiteY6" fmla="*/ 17256356 h 20378335"/>
              <a:gd name="connsiteX7" fmla="*/ 9481520 w 18724102"/>
              <a:gd name="connsiteY7" fmla="*/ 3215455 h 20378335"/>
              <a:gd name="connsiteX8" fmla="*/ 10898605 w 18724102"/>
              <a:gd name="connsiteY8" fmla="*/ 46180 h 20378335"/>
              <a:gd name="connsiteX9" fmla="*/ 496482 w 18724102"/>
              <a:gd name="connsiteY9" fmla="*/ 19026900 h 20378335"/>
              <a:gd name="connsiteX10" fmla="*/ 11437376 w 18724102"/>
              <a:gd name="connsiteY10" fmla="*/ 19775260 h 20378335"/>
              <a:gd name="connsiteX11" fmla="*/ 18621676 w 18724102"/>
              <a:gd name="connsiteY11" fmla="*/ 15079367 h 20378335"/>
              <a:gd name="connsiteX12" fmla="*/ 18724102 w 18724102"/>
              <a:gd name="connsiteY12" fmla="*/ 14935201 h 20378335"/>
              <a:gd name="connsiteX13" fmla="*/ 18599178 w 18724102"/>
              <a:gd name="connsiteY13" fmla="*/ 14810278 h 20378335"/>
              <a:gd name="connsiteX14" fmla="*/ 10881732 w 18724102"/>
              <a:gd name="connsiteY14" fmla="*/ 11104896 h 20378335"/>
              <a:gd name="connsiteX15" fmla="*/ 11142237 w 18724102"/>
              <a:gd name="connsiteY15" fmla="*/ 160743 h 20378335"/>
              <a:gd name="connsiteX16" fmla="*/ 11067933 w 18724102"/>
              <a:gd name="connsiteY16" fmla="*/ 0 h 20378335"/>
              <a:gd name="connsiteX17" fmla="*/ 10898309 w 18724102"/>
              <a:gd name="connsiteY17" fmla="*/ 46476 h 20378335"/>
              <a:gd name="connsiteX0" fmla="*/ 5533989 w 18724102"/>
              <a:gd name="connsiteY0" fmla="*/ 18036390 h 20378335"/>
              <a:gd name="connsiteX1" fmla="*/ 9801822 w 18724102"/>
              <a:gd name="connsiteY1" fmla="*/ 13278037 h 20378335"/>
              <a:gd name="connsiteX2" fmla="*/ 15155782 w 18724102"/>
              <a:gd name="connsiteY2" fmla="*/ 15151006 h 20378335"/>
              <a:gd name="connsiteX3" fmla="*/ 6800988 w 18724102"/>
              <a:gd name="connsiteY3" fmla="*/ 18094116 h 20378335"/>
              <a:gd name="connsiteX4" fmla="*/ 5534284 w 18724102"/>
              <a:gd name="connsiteY4" fmla="*/ 18036390 h 20378335"/>
              <a:gd name="connsiteX5" fmla="*/ 9481520 w 18724102"/>
              <a:gd name="connsiteY5" fmla="*/ 3215455 h 20378335"/>
              <a:gd name="connsiteX6" fmla="*/ 2555060 w 18724102"/>
              <a:gd name="connsiteY6" fmla="*/ 17256356 h 20378335"/>
              <a:gd name="connsiteX7" fmla="*/ 3870738 w 18724102"/>
              <a:gd name="connsiteY7" fmla="*/ 9010842 h 20378335"/>
              <a:gd name="connsiteX8" fmla="*/ 9481520 w 18724102"/>
              <a:gd name="connsiteY8" fmla="*/ 3215455 h 20378335"/>
              <a:gd name="connsiteX9" fmla="*/ 10898605 w 18724102"/>
              <a:gd name="connsiteY9" fmla="*/ 46180 h 20378335"/>
              <a:gd name="connsiteX10" fmla="*/ 496482 w 18724102"/>
              <a:gd name="connsiteY10" fmla="*/ 19026900 h 20378335"/>
              <a:gd name="connsiteX11" fmla="*/ 11437376 w 18724102"/>
              <a:gd name="connsiteY11" fmla="*/ 19775260 h 20378335"/>
              <a:gd name="connsiteX12" fmla="*/ 18621676 w 18724102"/>
              <a:gd name="connsiteY12" fmla="*/ 15079367 h 20378335"/>
              <a:gd name="connsiteX13" fmla="*/ 18724102 w 18724102"/>
              <a:gd name="connsiteY13" fmla="*/ 14935201 h 20378335"/>
              <a:gd name="connsiteX14" fmla="*/ 18599178 w 18724102"/>
              <a:gd name="connsiteY14" fmla="*/ 14810278 h 20378335"/>
              <a:gd name="connsiteX15" fmla="*/ 10881732 w 18724102"/>
              <a:gd name="connsiteY15" fmla="*/ 11104896 h 20378335"/>
              <a:gd name="connsiteX16" fmla="*/ 11142237 w 18724102"/>
              <a:gd name="connsiteY16" fmla="*/ 160743 h 20378335"/>
              <a:gd name="connsiteX17" fmla="*/ 11067933 w 18724102"/>
              <a:gd name="connsiteY17" fmla="*/ 0 h 20378335"/>
              <a:gd name="connsiteX18" fmla="*/ 10898309 w 18724102"/>
              <a:gd name="connsiteY18" fmla="*/ 46476 h 20378335"/>
              <a:gd name="connsiteX19" fmla="*/ 10898605 w 18724102"/>
              <a:gd name="connsiteY19" fmla="*/ 46180 h 20378335"/>
              <a:gd name="connsiteX0" fmla="*/ 5533989 w 18724102"/>
              <a:gd name="connsiteY0" fmla="*/ 18036390 h 20378335"/>
              <a:gd name="connsiteX1" fmla="*/ 9801822 w 18724102"/>
              <a:gd name="connsiteY1" fmla="*/ 13278037 h 20378335"/>
              <a:gd name="connsiteX2" fmla="*/ 15155782 w 18724102"/>
              <a:gd name="connsiteY2" fmla="*/ 15151006 h 20378335"/>
              <a:gd name="connsiteX3" fmla="*/ 6800988 w 18724102"/>
              <a:gd name="connsiteY3" fmla="*/ 18094116 h 20378335"/>
              <a:gd name="connsiteX4" fmla="*/ 5534284 w 18724102"/>
              <a:gd name="connsiteY4" fmla="*/ 18036390 h 20378335"/>
              <a:gd name="connsiteX5" fmla="*/ 9481520 w 18724102"/>
              <a:gd name="connsiteY5" fmla="*/ 3215455 h 20378335"/>
              <a:gd name="connsiteX6" fmla="*/ 2555060 w 18724102"/>
              <a:gd name="connsiteY6" fmla="*/ 17256356 h 20378335"/>
              <a:gd name="connsiteX7" fmla="*/ 3083338 w 18724102"/>
              <a:gd name="connsiteY7" fmla="*/ 8325042 h 20378335"/>
              <a:gd name="connsiteX8" fmla="*/ 9481520 w 18724102"/>
              <a:gd name="connsiteY8" fmla="*/ 3215455 h 20378335"/>
              <a:gd name="connsiteX9" fmla="*/ 10898605 w 18724102"/>
              <a:gd name="connsiteY9" fmla="*/ 46180 h 20378335"/>
              <a:gd name="connsiteX10" fmla="*/ 496482 w 18724102"/>
              <a:gd name="connsiteY10" fmla="*/ 19026900 h 20378335"/>
              <a:gd name="connsiteX11" fmla="*/ 11437376 w 18724102"/>
              <a:gd name="connsiteY11" fmla="*/ 19775260 h 20378335"/>
              <a:gd name="connsiteX12" fmla="*/ 18621676 w 18724102"/>
              <a:gd name="connsiteY12" fmla="*/ 15079367 h 20378335"/>
              <a:gd name="connsiteX13" fmla="*/ 18724102 w 18724102"/>
              <a:gd name="connsiteY13" fmla="*/ 14935201 h 20378335"/>
              <a:gd name="connsiteX14" fmla="*/ 18599178 w 18724102"/>
              <a:gd name="connsiteY14" fmla="*/ 14810278 h 20378335"/>
              <a:gd name="connsiteX15" fmla="*/ 10881732 w 18724102"/>
              <a:gd name="connsiteY15" fmla="*/ 11104896 h 20378335"/>
              <a:gd name="connsiteX16" fmla="*/ 11142237 w 18724102"/>
              <a:gd name="connsiteY16" fmla="*/ 160743 h 20378335"/>
              <a:gd name="connsiteX17" fmla="*/ 11067933 w 18724102"/>
              <a:gd name="connsiteY17" fmla="*/ 0 h 20378335"/>
              <a:gd name="connsiteX18" fmla="*/ 10898309 w 18724102"/>
              <a:gd name="connsiteY18" fmla="*/ 46476 h 20378335"/>
              <a:gd name="connsiteX19" fmla="*/ 10898605 w 18724102"/>
              <a:gd name="connsiteY19" fmla="*/ 46180 h 20378335"/>
              <a:gd name="connsiteX0" fmla="*/ 5533989 w 18724102"/>
              <a:gd name="connsiteY0" fmla="*/ 18036390 h 20378335"/>
              <a:gd name="connsiteX1" fmla="*/ 9801822 w 18724102"/>
              <a:gd name="connsiteY1" fmla="*/ 13278037 h 20378335"/>
              <a:gd name="connsiteX2" fmla="*/ 15155782 w 18724102"/>
              <a:gd name="connsiteY2" fmla="*/ 15151006 h 20378335"/>
              <a:gd name="connsiteX3" fmla="*/ 6800988 w 18724102"/>
              <a:gd name="connsiteY3" fmla="*/ 18094116 h 20378335"/>
              <a:gd name="connsiteX4" fmla="*/ 5534284 w 18724102"/>
              <a:gd name="connsiteY4" fmla="*/ 18036390 h 20378335"/>
              <a:gd name="connsiteX5" fmla="*/ 9481520 w 18724102"/>
              <a:gd name="connsiteY5" fmla="*/ 3215455 h 20378335"/>
              <a:gd name="connsiteX6" fmla="*/ 2555060 w 18724102"/>
              <a:gd name="connsiteY6" fmla="*/ 17256356 h 20378335"/>
              <a:gd name="connsiteX7" fmla="*/ 2778538 w 18724102"/>
              <a:gd name="connsiteY7" fmla="*/ 8274242 h 20378335"/>
              <a:gd name="connsiteX8" fmla="*/ 9481520 w 18724102"/>
              <a:gd name="connsiteY8" fmla="*/ 3215455 h 20378335"/>
              <a:gd name="connsiteX9" fmla="*/ 10898605 w 18724102"/>
              <a:gd name="connsiteY9" fmla="*/ 46180 h 20378335"/>
              <a:gd name="connsiteX10" fmla="*/ 496482 w 18724102"/>
              <a:gd name="connsiteY10" fmla="*/ 19026900 h 20378335"/>
              <a:gd name="connsiteX11" fmla="*/ 11437376 w 18724102"/>
              <a:gd name="connsiteY11" fmla="*/ 19775260 h 20378335"/>
              <a:gd name="connsiteX12" fmla="*/ 18621676 w 18724102"/>
              <a:gd name="connsiteY12" fmla="*/ 15079367 h 20378335"/>
              <a:gd name="connsiteX13" fmla="*/ 18724102 w 18724102"/>
              <a:gd name="connsiteY13" fmla="*/ 14935201 h 20378335"/>
              <a:gd name="connsiteX14" fmla="*/ 18599178 w 18724102"/>
              <a:gd name="connsiteY14" fmla="*/ 14810278 h 20378335"/>
              <a:gd name="connsiteX15" fmla="*/ 10881732 w 18724102"/>
              <a:gd name="connsiteY15" fmla="*/ 11104896 h 20378335"/>
              <a:gd name="connsiteX16" fmla="*/ 11142237 w 18724102"/>
              <a:gd name="connsiteY16" fmla="*/ 160743 h 20378335"/>
              <a:gd name="connsiteX17" fmla="*/ 11067933 w 18724102"/>
              <a:gd name="connsiteY17" fmla="*/ 0 h 20378335"/>
              <a:gd name="connsiteX18" fmla="*/ 10898309 w 18724102"/>
              <a:gd name="connsiteY18" fmla="*/ 46476 h 20378335"/>
              <a:gd name="connsiteX19" fmla="*/ 10898605 w 18724102"/>
              <a:gd name="connsiteY19" fmla="*/ 46180 h 20378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24102" h="20378335">
                <a:moveTo>
                  <a:pt x="5533989" y="18036390"/>
                </a:moveTo>
                <a:cubicBezTo>
                  <a:pt x="7282033" y="16718474"/>
                  <a:pt x="8723097" y="15092096"/>
                  <a:pt x="9801822" y="13278037"/>
                </a:cubicBezTo>
                <a:cubicBezTo>
                  <a:pt x="11646372" y="13527884"/>
                  <a:pt x="13471384" y="14147471"/>
                  <a:pt x="15155782" y="15151006"/>
                </a:cubicBezTo>
                <a:cubicBezTo>
                  <a:pt x="12785487" y="17105086"/>
                  <a:pt x="9821952" y="18094116"/>
                  <a:pt x="6800988" y="18094116"/>
                </a:cubicBezTo>
                <a:cubicBezTo>
                  <a:pt x="6379740" y="18094116"/>
                  <a:pt x="5957012" y="18075466"/>
                  <a:pt x="5534284" y="18036390"/>
                </a:cubicBezTo>
                <a:moveTo>
                  <a:pt x="9481520" y="3215455"/>
                </a:moveTo>
                <a:cubicBezTo>
                  <a:pt x="10411935" y="8731344"/>
                  <a:pt x="7625722" y="14377189"/>
                  <a:pt x="2555060" y="17256356"/>
                </a:cubicBezTo>
                <a:cubicBezTo>
                  <a:pt x="1619930" y="18222254"/>
                  <a:pt x="1624128" y="10614392"/>
                  <a:pt x="2778538" y="8274242"/>
                </a:cubicBezTo>
                <a:cubicBezTo>
                  <a:pt x="3932948" y="5934092"/>
                  <a:pt x="8310209" y="4709565"/>
                  <a:pt x="9481520" y="3215455"/>
                </a:cubicBezTo>
                <a:moveTo>
                  <a:pt x="10898605" y="46180"/>
                </a:moveTo>
                <a:cubicBezTo>
                  <a:pt x="2894012" y="2970048"/>
                  <a:pt x="-1551143" y="11282217"/>
                  <a:pt x="496482" y="19026900"/>
                </a:cubicBezTo>
                <a:cubicBezTo>
                  <a:pt x="5174314" y="21377066"/>
                  <a:pt x="10645797" y="19994614"/>
                  <a:pt x="11437376" y="19775260"/>
                </a:cubicBezTo>
                <a:cubicBezTo>
                  <a:pt x="14169713" y="18959110"/>
                  <a:pt x="16676772" y="17388386"/>
                  <a:pt x="18621676" y="15079367"/>
                </a:cubicBezTo>
                <a:lnTo>
                  <a:pt x="18724102" y="14935201"/>
                </a:lnTo>
                <a:lnTo>
                  <a:pt x="18599178" y="14810278"/>
                </a:lnTo>
                <a:cubicBezTo>
                  <a:pt x="16292825" y="12853533"/>
                  <a:pt x="13621470" y="11627089"/>
                  <a:pt x="10881732" y="11104896"/>
                </a:cubicBezTo>
                <a:cubicBezTo>
                  <a:pt x="12272766" y="7683997"/>
                  <a:pt x="12469625" y="3820833"/>
                  <a:pt x="11142237" y="160743"/>
                </a:cubicBezTo>
                <a:lnTo>
                  <a:pt x="11067933" y="0"/>
                </a:lnTo>
                <a:lnTo>
                  <a:pt x="10898309" y="46476"/>
                </a:lnTo>
                <a:lnTo>
                  <a:pt x="10898605" y="46180"/>
                </a:lnTo>
                <a:close/>
              </a:path>
            </a:pathLst>
          </a:custGeom>
          <a:solidFill>
            <a:srgbClr val="ADC91B"/>
          </a:solidFill>
          <a:ln w="29598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1CF866-550E-8635-1A09-0DAE49203667}"/>
              </a:ext>
            </a:extLst>
          </p:cNvPr>
          <p:cNvGrpSpPr/>
          <p:nvPr/>
        </p:nvGrpSpPr>
        <p:grpSpPr>
          <a:xfrm>
            <a:off x="686885" y="2321446"/>
            <a:ext cx="4271652" cy="999906"/>
            <a:chOff x="686886" y="1789183"/>
            <a:chExt cx="4271652" cy="999906"/>
          </a:xfrm>
        </p:grpSpPr>
        <p:sp>
          <p:nvSpPr>
            <p:cNvPr id="15" name="TextBox 3">
              <a:extLst>
                <a:ext uri="{FF2B5EF4-FFF2-40B4-BE49-F238E27FC236}">
                  <a16:creationId xmlns:a16="http://schemas.microsoft.com/office/drawing/2014/main" id="{5497FF0D-06C0-46B2-0BD9-14FECAFA6E4E}"/>
                </a:ext>
              </a:extLst>
            </p:cNvPr>
            <p:cNvSpPr txBox="1"/>
            <p:nvPr/>
          </p:nvSpPr>
          <p:spPr>
            <a:xfrm>
              <a:off x="686886" y="1789183"/>
              <a:ext cx="4271652" cy="733100"/>
            </a:xfrm>
            <a:prstGeom prst="rect">
              <a:avLst/>
            </a:prstGeom>
            <a:noFill/>
          </p:spPr>
          <p:txBody>
            <a:bodyPr wrap="square" lIns="55450" tIns="27725" rIns="55450" bIns="27725" anchor="t">
              <a:spAutoFit/>
            </a:bodyPr>
            <a:lstStyle/>
            <a:p>
              <a:pPr marL="0" marR="0" lvl="0" indent="0" algn="l" defTabSz="6096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0" i="0" u="none" strike="noStrike" kern="1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Black" panose="00000A00000000000000" pitchFamily="2" charset="0"/>
                  <a:ea typeface="Segoe UI Black"/>
                  <a:cs typeface="Segoe UI"/>
                  <a:sym typeface="Helvetica Neue"/>
                </a:rPr>
                <a:t>R$ 1 BI</a:t>
              </a:r>
            </a:p>
          </p:txBody>
        </p:sp>
        <p:sp>
          <p:nvSpPr>
            <p:cNvPr id="19" name="TextBox 4">
              <a:extLst>
                <a:ext uri="{FF2B5EF4-FFF2-40B4-BE49-F238E27FC236}">
                  <a16:creationId xmlns:a16="http://schemas.microsoft.com/office/drawing/2014/main" id="{EDDB5945-3936-CCA0-A5EB-DD66EBBEDFAD}"/>
                </a:ext>
              </a:extLst>
            </p:cNvPr>
            <p:cNvSpPr txBox="1"/>
            <p:nvPr/>
          </p:nvSpPr>
          <p:spPr>
            <a:xfrm>
              <a:off x="690625" y="2450535"/>
              <a:ext cx="358872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6096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0" u="none" strike="noStrike" kern="1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Medium" panose="00000600000000000000" pitchFamily="50" charset="0"/>
                  <a:ea typeface="Segoe UI Black"/>
                  <a:cs typeface="Segoe UI Light" panose="020B0502040204020203" pitchFamily="34" charset="0"/>
                  <a:sym typeface="Helvetica Neue"/>
                </a:rPr>
                <a:t>Investimento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C0E1176E-D362-0192-BF54-35F99243E598}"/>
              </a:ext>
            </a:extLst>
          </p:cNvPr>
          <p:cNvGrpSpPr/>
          <p:nvPr/>
        </p:nvGrpSpPr>
        <p:grpSpPr>
          <a:xfrm>
            <a:off x="9243799" y="3203729"/>
            <a:ext cx="2106729" cy="2047151"/>
            <a:chOff x="10107633" y="3707750"/>
            <a:chExt cx="2106729" cy="2047151"/>
          </a:xfrm>
        </p:grpSpPr>
        <p:grpSp>
          <p:nvGrpSpPr>
            <p:cNvPr id="43" name="Agrupar 57">
              <a:extLst>
                <a:ext uri="{FF2B5EF4-FFF2-40B4-BE49-F238E27FC236}">
                  <a16:creationId xmlns:a16="http://schemas.microsoft.com/office/drawing/2014/main" id="{5A2A4917-6BB4-BE3B-794B-6B355F840058}"/>
                </a:ext>
              </a:extLst>
            </p:cNvPr>
            <p:cNvGrpSpPr/>
            <p:nvPr/>
          </p:nvGrpSpPr>
          <p:grpSpPr>
            <a:xfrm>
              <a:off x="10107633" y="4411713"/>
              <a:ext cx="2106729" cy="1343188"/>
              <a:chOff x="19732647" y="7703114"/>
              <a:chExt cx="4953742" cy="2686376"/>
            </a:xfrm>
          </p:grpSpPr>
          <p:sp>
            <p:nvSpPr>
              <p:cNvPr id="45" name="TextBox 10">
                <a:extLst>
                  <a:ext uri="{FF2B5EF4-FFF2-40B4-BE49-F238E27FC236}">
                    <a16:creationId xmlns:a16="http://schemas.microsoft.com/office/drawing/2014/main" id="{763AD504-8A20-CA65-61B4-A5501035E069}"/>
                  </a:ext>
                </a:extLst>
              </p:cNvPr>
              <p:cNvSpPr txBox="1"/>
              <p:nvPr/>
            </p:nvSpPr>
            <p:spPr>
              <a:xfrm>
                <a:off x="19732647" y="9269184"/>
                <a:ext cx="4953742" cy="112030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22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900 mil </a:t>
                </a:r>
                <a:r>
                  <a:rPr lang="pt-BR" sz="1600" kern="100" err="1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ton</a:t>
                </a:r>
                <a:r>
                  <a:rPr lang="pt-BR" sz="16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/ano</a:t>
                </a:r>
                <a:endParaRPr lang="pt-BR" sz="2200" kern="100">
                  <a:solidFill>
                    <a:srgbClr val="175FAA"/>
                  </a:solidFill>
                  <a:latin typeface="Montserrat ExtraBold" panose="00000900000000000000" pitchFamily="50" charset="0"/>
                  <a:ea typeface="Segoe UI Black" panose="020B0A02040204020203" pitchFamily="34" charset="0"/>
                  <a:cs typeface="Segoe UI"/>
                  <a:sym typeface="Helvetica Neue"/>
                </a:endParaRPr>
              </a:p>
            </p:txBody>
          </p:sp>
          <p:sp>
            <p:nvSpPr>
              <p:cNvPr id="46" name="TextBox 11">
                <a:extLst>
                  <a:ext uri="{FF2B5EF4-FFF2-40B4-BE49-F238E27FC236}">
                    <a16:creationId xmlns:a16="http://schemas.microsoft.com/office/drawing/2014/main" id="{C0B31F80-596A-2C43-2279-5FD0A0B86CAA}"/>
                  </a:ext>
                </a:extLst>
              </p:cNvPr>
              <p:cNvSpPr txBox="1"/>
              <p:nvPr/>
            </p:nvSpPr>
            <p:spPr>
              <a:xfrm>
                <a:off x="19822097" y="7703114"/>
                <a:ext cx="4388705" cy="156607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emissões de CO</a:t>
                </a:r>
                <a:r>
                  <a:rPr kumimoji="0" lang="pt-BR" sz="1400" b="0" i="0" u="none" strike="noStrike" kern="100" cap="none" spc="0" normalizeH="0" baseline="-2500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2 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evitadas com uso do </a:t>
                </a:r>
                <a:r>
                  <a:rPr lang="pt-BR" sz="1400" kern="100">
                    <a:solidFill>
                      <a:prstClr val="white"/>
                    </a:solidFill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gás natural e biometano</a:t>
                </a:r>
              </a:p>
            </p:txBody>
          </p:sp>
        </p:grp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425CD1C7-A7E7-45A3-8A2D-1CCC46881535}"/>
                </a:ext>
              </a:extLst>
            </p:cNvPr>
            <p:cNvSpPr/>
            <p:nvPr/>
          </p:nvSpPr>
          <p:spPr>
            <a:xfrm>
              <a:off x="10821982" y="3707750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E7AB1857-1A9D-54A3-4190-51D68C38B70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915643" y="3802213"/>
              <a:ext cx="423539" cy="423539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D3AB9C9-F028-B276-667A-C2A986A8E52F}"/>
              </a:ext>
            </a:extLst>
          </p:cNvPr>
          <p:cNvGrpSpPr/>
          <p:nvPr/>
        </p:nvGrpSpPr>
        <p:grpSpPr>
          <a:xfrm>
            <a:off x="5120342" y="2227103"/>
            <a:ext cx="2393568" cy="1165964"/>
            <a:chOff x="8150828" y="2767280"/>
            <a:chExt cx="2393568" cy="1165964"/>
          </a:xfrm>
        </p:grpSpPr>
        <p:grpSp>
          <p:nvGrpSpPr>
            <p:cNvPr id="40" name="Agrupar 24">
              <a:extLst>
                <a:ext uri="{FF2B5EF4-FFF2-40B4-BE49-F238E27FC236}">
                  <a16:creationId xmlns:a16="http://schemas.microsoft.com/office/drawing/2014/main" id="{20BA8731-50C4-12F2-EFC0-21D0841AB5FB}"/>
                </a:ext>
              </a:extLst>
            </p:cNvPr>
            <p:cNvGrpSpPr/>
            <p:nvPr/>
          </p:nvGrpSpPr>
          <p:grpSpPr>
            <a:xfrm>
              <a:off x="8759830" y="2920164"/>
              <a:ext cx="1784566" cy="1013080"/>
              <a:chOff x="22324911" y="7099516"/>
              <a:chExt cx="4196210" cy="2026160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B8EDC5B9-E84D-F1EF-28BD-07B8CCDC3718}"/>
                  </a:ext>
                </a:extLst>
              </p:cNvPr>
              <p:cNvSpPr txBox="1"/>
              <p:nvPr/>
            </p:nvSpPr>
            <p:spPr>
              <a:xfrm>
                <a:off x="22324911" y="7750554"/>
                <a:ext cx="4196210" cy="13751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de rede de distribuição </a:t>
                </a:r>
              </a:p>
              <a:p>
                <a:pPr algn="ctr" defTabSz="609635">
                  <a:lnSpc>
                    <a:spcPct val="80000"/>
                  </a:lnSpc>
                  <a:spcAft>
                    <a:spcPts val="600"/>
                  </a:spcAft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1.</a:t>
                </a:r>
                <a:r>
                  <a:rPr lang="pt-BR" sz="14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10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0 km (total)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CB32D20-6660-D767-418F-5AA7E1523423}"/>
                  </a:ext>
                </a:extLst>
              </p:cNvPr>
              <p:cNvSpPr txBox="1"/>
              <p:nvPr/>
            </p:nvSpPr>
            <p:spPr>
              <a:xfrm>
                <a:off x="22486033" y="7099516"/>
                <a:ext cx="3777712" cy="7263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22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+480 km </a:t>
                </a:r>
              </a:p>
            </p:txBody>
          </p:sp>
        </p:grp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BB0088E-5831-9003-24C5-F03A66A703E8}"/>
                </a:ext>
              </a:extLst>
            </p:cNvPr>
            <p:cNvSpPr/>
            <p:nvPr/>
          </p:nvSpPr>
          <p:spPr>
            <a:xfrm>
              <a:off x="8150828" y="2767280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4" name="Graphic 35">
              <a:extLst>
                <a:ext uri="{FF2B5EF4-FFF2-40B4-BE49-F238E27FC236}">
                  <a16:creationId xmlns:a16="http://schemas.microsoft.com/office/drawing/2014/main" id="{95DF51A2-E1CD-E4B0-CEB6-B1CDE36C1E4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29700" y="2919945"/>
              <a:ext cx="442759" cy="295172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7E29964-C2B1-9FA0-88AC-7BD52C2FC697}"/>
              </a:ext>
            </a:extLst>
          </p:cNvPr>
          <p:cNvGrpSpPr/>
          <p:nvPr/>
        </p:nvGrpSpPr>
        <p:grpSpPr>
          <a:xfrm>
            <a:off x="5745026" y="592588"/>
            <a:ext cx="2152102" cy="1572855"/>
            <a:chOff x="5131560" y="750627"/>
            <a:chExt cx="2152102" cy="1572855"/>
          </a:xfrm>
        </p:grpSpPr>
        <p:grpSp>
          <p:nvGrpSpPr>
            <p:cNvPr id="23" name="Agrupar 15">
              <a:extLst>
                <a:ext uri="{FF2B5EF4-FFF2-40B4-BE49-F238E27FC236}">
                  <a16:creationId xmlns:a16="http://schemas.microsoft.com/office/drawing/2014/main" id="{9882AEA7-9144-6C6E-011B-1E9A166E3F21}"/>
                </a:ext>
              </a:extLst>
            </p:cNvPr>
            <p:cNvGrpSpPr/>
            <p:nvPr/>
          </p:nvGrpSpPr>
          <p:grpSpPr>
            <a:xfrm>
              <a:off x="5497374" y="859354"/>
              <a:ext cx="1786288" cy="1464128"/>
              <a:chOff x="129484" y="8221863"/>
              <a:chExt cx="4200262" cy="292825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FADD1E-F688-E03C-A771-249E832BDDE7}"/>
                  </a:ext>
                </a:extLst>
              </p:cNvPr>
              <p:cNvSpPr txBox="1"/>
              <p:nvPr/>
            </p:nvSpPr>
            <p:spPr>
              <a:xfrm>
                <a:off x="129484" y="8221863"/>
                <a:ext cx="4103987" cy="72635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22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+5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E2F4A174-BDEF-59EE-730F-16E9DE51BA48}"/>
                  </a:ext>
                </a:extLst>
              </p:cNvPr>
              <p:cNvSpPr txBox="1"/>
              <p:nvPr/>
            </p:nvSpPr>
            <p:spPr>
              <a:xfrm>
                <a:off x="225757" y="8777674"/>
                <a:ext cx="4103989" cy="2372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municípios atendidos</a:t>
                </a:r>
              </a:p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19 (total)</a:t>
                </a:r>
              </a:p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400" kern="100">
                    <a:solidFill>
                      <a:prstClr val="white"/>
                    </a:solidFill>
                    <a:latin typeface="Montserrat SemiBold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80% PIB do ES</a:t>
                </a:r>
              </a:p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400" b="0" i="0" u="none" strike="noStrike" kern="1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0"/>
                  <a:ea typeface="Segoe UI Black"/>
                  <a:cs typeface="Segoe UI Light" panose="020B0502040204020203" pitchFamily="34" charset="0"/>
                  <a:sym typeface="Helvetica Neue"/>
                </a:endParaRPr>
              </a:p>
            </p:txBody>
          </p: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D0595188-359F-F7A7-A591-F123FF68D9D1}"/>
                </a:ext>
              </a:extLst>
            </p:cNvPr>
            <p:cNvSpPr/>
            <p:nvPr/>
          </p:nvSpPr>
          <p:spPr>
            <a:xfrm>
              <a:off x="5131560" y="750627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5" name="Graphic 3">
              <a:extLst>
                <a:ext uri="{FF2B5EF4-FFF2-40B4-BE49-F238E27FC236}">
                  <a16:creationId xmlns:a16="http://schemas.microsoft.com/office/drawing/2014/main" id="{AEE78A50-C26C-BA64-5D5A-0758C000B02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79384" y="867133"/>
              <a:ext cx="304363" cy="338179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02D6D2E-4226-7B95-6160-9001FE8C4673}"/>
              </a:ext>
            </a:extLst>
          </p:cNvPr>
          <p:cNvGrpSpPr/>
          <p:nvPr/>
        </p:nvGrpSpPr>
        <p:grpSpPr>
          <a:xfrm>
            <a:off x="4421526" y="3626803"/>
            <a:ext cx="2380127" cy="1666324"/>
            <a:chOff x="3071081" y="4658298"/>
            <a:chExt cx="2380127" cy="1666324"/>
          </a:xfrm>
        </p:grpSpPr>
        <p:grpSp>
          <p:nvGrpSpPr>
            <p:cNvPr id="37" name="Agrupar 23">
              <a:extLst>
                <a:ext uri="{FF2B5EF4-FFF2-40B4-BE49-F238E27FC236}">
                  <a16:creationId xmlns:a16="http://schemas.microsoft.com/office/drawing/2014/main" id="{433A7E95-CADA-0CED-63DE-25E3AC937458}"/>
                </a:ext>
              </a:extLst>
            </p:cNvPr>
            <p:cNvGrpSpPr/>
            <p:nvPr/>
          </p:nvGrpSpPr>
          <p:grpSpPr>
            <a:xfrm>
              <a:off x="3337953" y="5008271"/>
              <a:ext cx="2113255" cy="1316351"/>
              <a:chOff x="14355932" y="8406467"/>
              <a:chExt cx="4969088" cy="2632702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EDB8236-59FC-ED7D-76FE-17CCFEE8E796}"/>
                  </a:ext>
                </a:extLst>
              </p:cNvPr>
              <p:cNvSpPr txBox="1"/>
              <p:nvPr/>
            </p:nvSpPr>
            <p:spPr>
              <a:xfrm>
                <a:off x="15219570" y="8406467"/>
                <a:ext cx="3021238" cy="7263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20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+92 mil 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480F45AD-E778-167D-3443-95C49DD03BB2}"/>
                  </a:ext>
                </a:extLst>
              </p:cNvPr>
              <p:cNvSpPr txBox="1"/>
              <p:nvPr/>
            </p:nvSpPr>
            <p:spPr>
              <a:xfrm>
                <a:off x="14355932" y="8974501"/>
                <a:ext cx="4969088" cy="2064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400" kern="100">
                    <a:solidFill>
                      <a:prstClr val="white"/>
                    </a:solidFill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n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ovos consumidores ligados</a:t>
                </a:r>
              </a:p>
              <a:p>
                <a:pPr algn="ctr" defTabSz="609635">
                  <a:lnSpc>
                    <a:spcPct val="80000"/>
                  </a:lnSpc>
                  <a:spcAft>
                    <a:spcPts val="600"/>
                  </a:spcAft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180 mil consumidores (total)</a:t>
                </a:r>
              </a:p>
            </p:txBody>
          </p:sp>
        </p:grp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581EDC2A-CA61-0F99-002F-047FD8BA57CA}"/>
                </a:ext>
              </a:extLst>
            </p:cNvPr>
            <p:cNvSpPr/>
            <p:nvPr/>
          </p:nvSpPr>
          <p:spPr>
            <a:xfrm>
              <a:off x="3071081" y="4658298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98A029FD-1E88-8B98-FBAE-1B9AFE70013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187435" y="4766263"/>
              <a:ext cx="374750" cy="338483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EDB44F-F7E2-13DF-827E-0C6904AA686F}"/>
              </a:ext>
            </a:extLst>
          </p:cNvPr>
          <p:cNvGrpSpPr/>
          <p:nvPr/>
        </p:nvGrpSpPr>
        <p:grpSpPr>
          <a:xfrm>
            <a:off x="7130443" y="2657509"/>
            <a:ext cx="1784566" cy="1871841"/>
            <a:chOff x="7371857" y="2767280"/>
            <a:chExt cx="1784566" cy="1871841"/>
          </a:xfrm>
        </p:grpSpPr>
        <p:grpSp>
          <p:nvGrpSpPr>
            <p:cNvPr id="10" name="Agrupar 24">
              <a:extLst>
                <a:ext uri="{FF2B5EF4-FFF2-40B4-BE49-F238E27FC236}">
                  <a16:creationId xmlns:a16="http://schemas.microsoft.com/office/drawing/2014/main" id="{AC0C9D91-7506-3EE5-C83F-403EAF7406C0}"/>
                </a:ext>
              </a:extLst>
            </p:cNvPr>
            <p:cNvGrpSpPr/>
            <p:nvPr/>
          </p:nvGrpSpPr>
          <p:grpSpPr>
            <a:xfrm>
              <a:off x="7371857" y="3466749"/>
              <a:ext cx="1784566" cy="1172372"/>
              <a:chOff x="19061245" y="8192686"/>
              <a:chExt cx="4196210" cy="234474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DDE1916-0741-9902-15D7-804EE8D49B1C}"/>
                  </a:ext>
                </a:extLst>
              </p:cNvPr>
              <p:cNvSpPr txBox="1"/>
              <p:nvPr/>
            </p:nvSpPr>
            <p:spPr>
              <a:xfrm>
                <a:off x="19061245" y="8817600"/>
                <a:ext cx="4196210" cy="17198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indústrias abastecidas com gás canalizado</a:t>
                </a:r>
              </a:p>
              <a:p>
                <a:pPr algn="ctr" defTabSz="609635">
                  <a:lnSpc>
                    <a:spcPct val="80000"/>
                  </a:lnSpc>
                  <a:spcAft>
                    <a:spcPts val="600"/>
                  </a:spcAft>
                  <a:defRPr/>
                </a:pPr>
                <a:r>
                  <a:rPr lang="pt-BR" sz="1400" kern="100">
                    <a:solidFill>
                      <a:srgbClr val="175FAA"/>
                    </a:solidFill>
                    <a:latin typeface="Montserrat ExtraBold" panose="00000900000000000000" pitchFamily="50" charset="0"/>
                    <a:cs typeface="Segoe UI" panose="020B0502040204020203" pitchFamily="34" charset="0"/>
                    <a:sym typeface="Helvetica Neue"/>
                  </a:rPr>
                  <a:t>92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 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(total)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A1CD0BA-4556-2979-4164-00F9F6DB6B14}"/>
                  </a:ext>
                </a:extLst>
              </p:cNvPr>
              <p:cNvSpPr txBox="1"/>
              <p:nvPr/>
            </p:nvSpPr>
            <p:spPr>
              <a:xfrm>
                <a:off x="19160937" y="8192686"/>
                <a:ext cx="3777712" cy="7263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2200" kern="100">
                    <a:solidFill>
                      <a:srgbClr val="175FAA"/>
                    </a:solidFill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  <a:sym typeface="Helvetica Neue"/>
                  </a:rPr>
                  <a:t>+ 30</a:t>
                </a:r>
              </a:p>
            </p:txBody>
          </p:sp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03C90E7-160F-9864-7C66-FFD6433B57FA}"/>
                </a:ext>
              </a:extLst>
            </p:cNvPr>
            <p:cNvSpPr/>
            <p:nvPr/>
          </p:nvSpPr>
          <p:spPr>
            <a:xfrm>
              <a:off x="8150828" y="2767280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Graphic 35">
              <a:extLst>
                <a:ext uri="{FF2B5EF4-FFF2-40B4-BE49-F238E27FC236}">
                  <a16:creationId xmlns:a16="http://schemas.microsoft.com/office/drawing/2014/main" id="{ED608BF3-FD9C-8514-1C36-09133880965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8266745" y="2874888"/>
              <a:ext cx="348193" cy="34956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981D7F-B4E1-4AE9-F240-8177E8F5D448}"/>
              </a:ext>
            </a:extLst>
          </p:cNvPr>
          <p:cNvGrpSpPr/>
          <p:nvPr/>
        </p:nvGrpSpPr>
        <p:grpSpPr>
          <a:xfrm>
            <a:off x="3237044" y="5204779"/>
            <a:ext cx="2439548" cy="1504604"/>
            <a:chOff x="8150828" y="2767280"/>
            <a:chExt cx="2439548" cy="1504604"/>
          </a:xfrm>
        </p:grpSpPr>
        <p:grpSp>
          <p:nvGrpSpPr>
            <p:cNvPr id="30" name="Agrupar 24">
              <a:extLst>
                <a:ext uri="{FF2B5EF4-FFF2-40B4-BE49-F238E27FC236}">
                  <a16:creationId xmlns:a16="http://schemas.microsoft.com/office/drawing/2014/main" id="{F7C7732B-138B-2641-1F07-8535EBB16FC5}"/>
                </a:ext>
              </a:extLst>
            </p:cNvPr>
            <p:cNvGrpSpPr/>
            <p:nvPr/>
          </p:nvGrpSpPr>
          <p:grpSpPr>
            <a:xfrm>
              <a:off x="8500669" y="2935565"/>
              <a:ext cx="2089707" cy="1336319"/>
              <a:chOff x="21715521" y="7130318"/>
              <a:chExt cx="4913715" cy="2672638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41F65AB-A4A3-6F66-41F4-191B7898C314}"/>
                  </a:ext>
                </a:extLst>
              </p:cNvPr>
              <p:cNvSpPr txBox="1"/>
              <p:nvPr/>
            </p:nvSpPr>
            <p:spPr>
              <a:xfrm>
                <a:off x="21715521" y="7738288"/>
                <a:ext cx="4913715" cy="2064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63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400" kern="100">
                    <a:solidFill>
                      <a:prstClr val="white"/>
                    </a:solidFill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c</a:t>
                </a:r>
                <a:r>
                  <a:rPr kumimoji="0" lang="pt-BR" sz="1400" b="0" i="0" u="none" strike="noStrike" kern="1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onsumidores</a:t>
                </a: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Segoe UI Black"/>
                    <a:cs typeface="Segoe UI Light" panose="020B0502040204020203" pitchFamily="34" charset="0"/>
                    <a:sym typeface="Helvetica Neue"/>
                  </a:rPr>
                  <a:t> de gás no transporte</a:t>
                </a:r>
              </a:p>
              <a:p>
                <a:pPr algn="ctr" defTabSz="609635">
                  <a:lnSpc>
                    <a:spcPct val="80000"/>
                  </a:lnSpc>
                  <a:spcAft>
                    <a:spcPts val="600"/>
                  </a:spcAft>
                  <a:defRPr/>
                </a:pP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90 mil </a:t>
                </a:r>
                <a:b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</a:br>
                <a:r>
                  <a:rPr kumimoji="0" lang="pt-BR" sz="1400" b="0" i="0" u="none" strike="noStrike" kern="100" cap="none" spc="0" normalizeH="0" baseline="0" noProof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/>
                    <a:cs typeface="Segoe UI" panose="020B0502040204020203" pitchFamily="34" charset="0"/>
                    <a:sym typeface="Helvetica Neue"/>
                  </a:rPr>
                  <a:t>consumidores    (total)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1F5604BB-6BA6-3D10-59D8-79A25E71CD47}"/>
                  </a:ext>
                </a:extLst>
              </p:cNvPr>
              <p:cNvSpPr txBox="1"/>
              <p:nvPr/>
            </p:nvSpPr>
            <p:spPr>
              <a:xfrm>
                <a:off x="22229302" y="7130318"/>
                <a:ext cx="3777712" cy="7399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pt-BR"/>
                </a:defPPr>
                <a:lvl1pPr marR="0" lvl="0" indent="0" algn="ctr" defTabSz="609635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kumimoji="0" sz="2200" i="0" u="none" strike="noStrike" kern="100" cap="none" spc="0" normalizeH="0" baseline="0">
                    <a:ln>
                      <a:noFill/>
                    </a:ln>
                    <a:solidFill>
                      <a:srgbClr val="175FAA"/>
                    </a:solidFill>
                    <a:effectLst/>
                    <a:uLnTx/>
                    <a:uFillTx/>
                    <a:latin typeface="Montserrat ExtraBold" panose="00000900000000000000" pitchFamily="50" charset="0"/>
                    <a:ea typeface="Segoe UI Black" panose="020B0A02040204020203" pitchFamily="34" charset="0"/>
                    <a:cs typeface="Segoe UI"/>
                  </a:defRPr>
                </a:lvl1pPr>
              </a:lstStyle>
              <a:p>
                <a:r>
                  <a:rPr lang="pt-BR">
                    <a:cs typeface="Aldhabi" panose="020F0502020204030204" pitchFamily="2" charset="-78"/>
                    <a:sym typeface="Helvetica Neue"/>
                  </a:rPr>
                  <a:t>+50 mil</a:t>
                </a:r>
              </a:p>
            </p:txBody>
          </p:sp>
        </p:grp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257ADFA-38FD-F856-E48E-BFFB9A3C3CF7}"/>
                </a:ext>
              </a:extLst>
            </p:cNvPr>
            <p:cNvSpPr/>
            <p:nvPr/>
          </p:nvSpPr>
          <p:spPr>
            <a:xfrm>
              <a:off x="8150828" y="2767280"/>
              <a:ext cx="600502" cy="600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Graphic 35">
              <a:extLst>
                <a:ext uri="{FF2B5EF4-FFF2-40B4-BE49-F238E27FC236}">
                  <a16:creationId xmlns:a16="http://schemas.microsoft.com/office/drawing/2014/main" id="{642D71FD-5242-67E9-065C-0B0DDEF2E03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8229700" y="2947105"/>
              <a:ext cx="442759" cy="240852"/>
            </a:xfrm>
            <a:prstGeom prst="rect">
              <a:avLst/>
            </a:prstGeom>
          </p:spPr>
        </p:pic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3CD5AA62-9505-2D08-F925-585C255301B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075521" y="256198"/>
            <a:ext cx="1759155" cy="672058"/>
          </a:xfrm>
          <a:prstGeom prst="rect">
            <a:avLst/>
          </a:prstGeom>
        </p:spPr>
      </p:pic>
      <p:grpSp>
        <p:nvGrpSpPr>
          <p:cNvPr id="4" name="Agrupar 3">
            <a:extLst>
              <a:ext uri="{FF2B5EF4-FFF2-40B4-BE49-F238E27FC236}">
                <a16:creationId xmlns:a16="http://schemas.microsoft.com/office/drawing/2014/main" id="{8A550F63-3F54-4DBF-46D1-50108A504875}"/>
              </a:ext>
            </a:extLst>
          </p:cNvPr>
          <p:cNvGrpSpPr/>
          <p:nvPr/>
        </p:nvGrpSpPr>
        <p:grpSpPr>
          <a:xfrm>
            <a:off x="-63149" y="3474762"/>
            <a:ext cx="3683666" cy="2742898"/>
            <a:chOff x="-63149" y="3474762"/>
            <a:chExt cx="3683666" cy="2742898"/>
          </a:xfrm>
        </p:grpSpPr>
        <p:graphicFrame>
          <p:nvGraphicFramePr>
            <p:cNvPr id="7" name="Gráfico 6">
              <a:extLst>
                <a:ext uri="{FF2B5EF4-FFF2-40B4-BE49-F238E27FC236}">
                  <a16:creationId xmlns:a16="http://schemas.microsoft.com/office/drawing/2014/main" id="{091D92BF-751E-3184-59EE-D74EA4EFA798}"/>
                </a:ext>
              </a:extLst>
            </p:cNvPr>
            <p:cNvGraphicFramePr/>
            <p:nvPr/>
          </p:nvGraphicFramePr>
          <p:xfrm>
            <a:off x="-63149" y="3474762"/>
            <a:ext cx="3683666" cy="27428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8" name="CaixaDeTexto 1">
              <a:extLst>
                <a:ext uri="{FF2B5EF4-FFF2-40B4-BE49-F238E27FC236}">
                  <a16:creationId xmlns:a16="http://schemas.microsoft.com/office/drawing/2014/main" id="{ABF5BED7-1AA3-1040-2E7C-6FBCD58E98A6}"/>
                </a:ext>
              </a:extLst>
            </p:cNvPr>
            <p:cNvSpPr txBox="1"/>
            <p:nvPr/>
          </p:nvSpPr>
          <p:spPr>
            <a:xfrm>
              <a:off x="1819296" y="4470985"/>
              <a:ext cx="1293884" cy="456931"/>
            </a:xfrm>
            <a:prstGeom prst="rect">
              <a:avLst/>
            </a:prstGeom>
          </p:spPr>
          <p:txBody>
            <a:bodyPr wrap="square" lIns="91440" tIns="45720" rIns="91440" bIns="45720" rtlCol="0" anchor="t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700">
                  <a:solidFill>
                    <a:schemeClr val="bg1"/>
                  </a:solidFill>
                  <a:latin typeface="Montserrat"/>
                  <a:cs typeface="Mongolian Baiti"/>
                </a:rPr>
                <a:t>INTERIORIZAÇÃO DO DESENVOLVIMENTO DO ESTADO</a:t>
              </a:r>
            </a:p>
          </p:txBody>
        </p:sp>
        <p:sp>
          <p:nvSpPr>
            <p:cNvPr id="16" name="CaixaDeTexto 1">
              <a:extLst>
                <a:ext uri="{FF2B5EF4-FFF2-40B4-BE49-F238E27FC236}">
                  <a16:creationId xmlns:a16="http://schemas.microsoft.com/office/drawing/2014/main" id="{CFB375B6-6CFD-8D60-F6F6-99BC3830DAE6}"/>
                </a:ext>
              </a:extLst>
            </p:cNvPr>
            <p:cNvSpPr txBox="1"/>
            <p:nvPr/>
          </p:nvSpPr>
          <p:spPr>
            <a:xfrm>
              <a:off x="1688422" y="4207580"/>
              <a:ext cx="1619878" cy="456931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>
                  <a:solidFill>
                    <a:schemeClr val="bg1"/>
                  </a:solidFill>
                  <a:latin typeface="Montserrat ExtraBold" pitchFamily="2" charset="0"/>
                  <a:cs typeface="Mongolian Baiti" panose="03000500000000000000" pitchFamily="66" charset="0"/>
                </a:rPr>
                <a:t>R$ 300 MM</a:t>
              </a:r>
            </a:p>
          </p:txBody>
        </p:sp>
        <p:sp>
          <p:nvSpPr>
            <p:cNvPr id="21" name="CaixaDeTexto 1">
              <a:extLst>
                <a:ext uri="{FF2B5EF4-FFF2-40B4-BE49-F238E27FC236}">
                  <a16:creationId xmlns:a16="http://schemas.microsoft.com/office/drawing/2014/main" id="{487E1172-0A83-E7B5-696F-A0566F6F6256}"/>
                </a:ext>
              </a:extLst>
            </p:cNvPr>
            <p:cNvSpPr txBox="1"/>
            <p:nvPr/>
          </p:nvSpPr>
          <p:spPr>
            <a:xfrm>
              <a:off x="582118" y="4187437"/>
              <a:ext cx="1355445" cy="375581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700">
                  <a:solidFill>
                    <a:schemeClr val="bg1"/>
                  </a:solidFill>
                  <a:latin typeface="Montserrat" pitchFamily="2" charset="0"/>
                  <a:cs typeface="Mongolian Baiti" panose="03000500000000000000" pitchFamily="66" charset="0"/>
                </a:rPr>
                <a:t>OPERAÇÃO SEGURA, CONFIÁVEL E DE QUALIDADE</a:t>
              </a:r>
            </a:p>
          </p:txBody>
        </p:sp>
        <p:sp>
          <p:nvSpPr>
            <p:cNvPr id="24" name="CaixaDeTexto 1">
              <a:extLst>
                <a:ext uri="{FF2B5EF4-FFF2-40B4-BE49-F238E27FC236}">
                  <a16:creationId xmlns:a16="http://schemas.microsoft.com/office/drawing/2014/main" id="{02D5CEBD-FE82-8B33-589F-D6423E9148DC}"/>
                </a:ext>
              </a:extLst>
            </p:cNvPr>
            <p:cNvSpPr txBox="1"/>
            <p:nvPr/>
          </p:nvSpPr>
          <p:spPr>
            <a:xfrm>
              <a:off x="397249" y="3924676"/>
              <a:ext cx="1417459" cy="375581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>
                  <a:solidFill>
                    <a:schemeClr val="bg1"/>
                  </a:solidFill>
                  <a:latin typeface="Montserrat ExtraBold" pitchFamily="2" charset="0"/>
                  <a:cs typeface="Mongolian Baiti" panose="03000500000000000000" pitchFamily="66" charset="0"/>
                </a:rPr>
                <a:t>R$ 230 MM</a:t>
              </a:r>
            </a:p>
          </p:txBody>
        </p:sp>
        <p:sp>
          <p:nvSpPr>
            <p:cNvPr id="25" name="CaixaDeTexto 1">
              <a:extLst>
                <a:ext uri="{FF2B5EF4-FFF2-40B4-BE49-F238E27FC236}">
                  <a16:creationId xmlns:a16="http://schemas.microsoft.com/office/drawing/2014/main" id="{8943ED0F-205E-7CFD-432C-8C85296FB301}"/>
                </a:ext>
              </a:extLst>
            </p:cNvPr>
            <p:cNvSpPr txBox="1"/>
            <p:nvPr/>
          </p:nvSpPr>
          <p:spPr>
            <a:xfrm>
              <a:off x="713173" y="5098644"/>
              <a:ext cx="1653207" cy="390923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600" b="1">
                  <a:solidFill>
                    <a:schemeClr val="bg1"/>
                  </a:solidFill>
                  <a:latin typeface="Montserrat ExtraBold" pitchFamily="2" charset="0"/>
                  <a:cs typeface="Mongolian Baiti" panose="03000500000000000000" pitchFamily="66" charset="0"/>
                </a:rPr>
                <a:t>R$ 470 MM</a:t>
              </a:r>
            </a:p>
          </p:txBody>
        </p:sp>
        <p:sp>
          <p:nvSpPr>
            <p:cNvPr id="28" name="CaixaDeTexto 1">
              <a:extLst>
                <a:ext uri="{FF2B5EF4-FFF2-40B4-BE49-F238E27FC236}">
                  <a16:creationId xmlns:a16="http://schemas.microsoft.com/office/drawing/2014/main" id="{CDA7C9FA-A24A-6C2A-4F54-F2FD59FD1DC2}"/>
                </a:ext>
              </a:extLst>
            </p:cNvPr>
            <p:cNvSpPr txBox="1"/>
            <p:nvPr/>
          </p:nvSpPr>
          <p:spPr>
            <a:xfrm>
              <a:off x="1005878" y="5344505"/>
              <a:ext cx="1110536" cy="390923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700">
                  <a:solidFill>
                    <a:schemeClr val="bg1"/>
                  </a:solidFill>
                  <a:latin typeface="Montserrat" pitchFamily="2" charset="0"/>
                  <a:cs typeface="Mongolian Baiti" panose="03000500000000000000" pitchFamily="66" charset="0"/>
                </a:rPr>
                <a:t>DEMOCRATIZAÇÃO ENERGÉTI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365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flash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38EF7-D48F-4D7E-A15B-45402024A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4">
            <a:extLst>
              <a:ext uri="{FF2B5EF4-FFF2-40B4-BE49-F238E27FC236}">
                <a16:creationId xmlns:a16="http://schemas.microsoft.com/office/drawing/2014/main" id="{CF0C0F66-2244-39C9-A8B7-7C6AD1A87D6B}"/>
              </a:ext>
            </a:extLst>
          </p:cNvPr>
          <p:cNvSpPr/>
          <p:nvPr/>
        </p:nvSpPr>
        <p:spPr>
          <a:xfrm>
            <a:off x="5468394" y="0"/>
            <a:ext cx="6723606" cy="725303"/>
          </a:xfrm>
          <a:prstGeom prst="rect">
            <a:avLst/>
          </a:prstGeom>
          <a:gradFill>
            <a:gsLst>
              <a:gs pos="100000">
                <a:srgbClr val="1F1F4D"/>
              </a:gs>
              <a:gs pos="49000">
                <a:srgbClr val="19193F">
                  <a:alpha val="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0">
              <a:defRPr/>
            </a:pPr>
            <a:endParaRPr lang="pt-BR" sz="1600">
              <a:solidFill>
                <a:prstClr val="white"/>
              </a:solidFill>
              <a:latin typeface="Aptos" panose="020B0004020202020204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66A8FAB-B01B-4E6A-9302-CF484137F418}"/>
              </a:ext>
            </a:extLst>
          </p:cNvPr>
          <p:cNvSpPr txBox="1"/>
          <p:nvPr/>
        </p:nvSpPr>
        <p:spPr>
          <a:xfrm>
            <a:off x="751999" y="453363"/>
            <a:ext cx="89388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>
                <a:solidFill>
                  <a:schemeClr val="bg1"/>
                </a:solidFill>
                <a:latin typeface="DM Sans SemiBold" pitchFamily="2" charset="0"/>
              </a:rPr>
              <a:t>Projeção de Médio Praz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5E1CBD0-577E-8DD4-B8E4-81771C92A6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528" y="176263"/>
            <a:ext cx="965200" cy="379645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FECB9C00-1008-056E-6F12-4F8824AF2D15}"/>
              </a:ext>
            </a:extLst>
          </p:cNvPr>
          <p:cNvSpPr/>
          <p:nvPr/>
        </p:nvSpPr>
        <p:spPr>
          <a:xfrm>
            <a:off x="485299" y="1178666"/>
            <a:ext cx="7916513" cy="5225970"/>
          </a:xfrm>
          <a:prstGeom prst="roundRect">
            <a:avLst>
              <a:gd name="adj" fmla="val 539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85380E76-B94E-E5E9-677F-D8CF0E63A711}"/>
              </a:ext>
            </a:extLst>
          </p:cNvPr>
          <p:cNvSpPr/>
          <p:nvPr/>
        </p:nvSpPr>
        <p:spPr>
          <a:xfrm>
            <a:off x="8485024" y="3092535"/>
            <a:ext cx="1665351" cy="1625494"/>
          </a:xfrm>
          <a:prstGeom prst="roundRect">
            <a:avLst>
              <a:gd name="adj" fmla="val 16424"/>
            </a:avLst>
          </a:prstGeom>
          <a:solidFill>
            <a:srgbClr val="C2CD2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pt-BR" sz="140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CA088DD0-252D-CBA8-46C8-A40485BFB902}"/>
              </a:ext>
            </a:extLst>
          </p:cNvPr>
          <p:cNvSpPr/>
          <p:nvPr/>
        </p:nvSpPr>
        <p:spPr>
          <a:xfrm>
            <a:off x="10227861" y="3092535"/>
            <a:ext cx="1665351" cy="1625494"/>
          </a:xfrm>
          <a:prstGeom prst="roundRect">
            <a:avLst>
              <a:gd name="adj" fmla="val 16424"/>
            </a:avLst>
          </a:prstGeom>
          <a:solidFill>
            <a:srgbClr val="C2CD2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pt-BR" sz="140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88239286-0F68-AC30-69D5-0C1FB1B9A1FB}"/>
              </a:ext>
            </a:extLst>
          </p:cNvPr>
          <p:cNvSpPr/>
          <p:nvPr/>
        </p:nvSpPr>
        <p:spPr>
          <a:xfrm>
            <a:off x="8499306" y="4789149"/>
            <a:ext cx="1665351" cy="1625494"/>
          </a:xfrm>
          <a:prstGeom prst="roundRect">
            <a:avLst>
              <a:gd name="adj" fmla="val 16424"/>
            </a:avLst>
          </a:prstGeom>
          <a:solidFill>
            <a:srgbClr val="C2CD2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pt-BR" sz="140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5C44ACD8-8ABD-28C8-0F05-8DFEFB5BE019}"/>
              </a:ext>
            </a:extLst>
          </p:cNvPr>
          <p:cNvSpPr/>
          <p:nvPr/>
        </p:nvSpPr>
        <p:spPr>
          <a:xfrm>
            <a:off x="10227861" y="4789149"/>
            <a:ext cx="1665351" cy="1625494"/>
          </a:xfrm>
          <a:prstGeom prst="roundRect">
            <a:avLst>
              <a:gd name="adj" fmla="val 16424"/>
            </a:avLst>
          </a:prstGeom>
          <a:solidFill>
            <a:srgbClr val="C2CD2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pt-BR" sz="140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50F792B-A295-C761-E828-78D27108E0B1}"/>
              </a:ext>
            </a:extLst>
          </p:cNvPr>
          <p:cNvSpPr txBox="1"/>
          <p:nvPr/>
        </p:nvSpPr>
        <p:spPr>
          <a:xfrm>
            <a:off x="8532594" y="3791990"/>
            <a:ext cx="167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>
                <a:solidFill>
                  <a:srgbClr val="163E64"/>
                </a:solidFill>
                <a:latin typeface="Montserrat" pitchFamily="2" charset="0"/>
              </a:rPr>
              <a:t>+43%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volume </a:t>
            </a:r>
            <a:r>
              <a:rPr lang="pt-BR" sz="1200" b="1">
                <a:solidFill>
                  <a:srgbClr val="163E64"/>
                </a:solidFill>
                <a:latin typeface="Montserrat" pitchFamily="2" charset="0"/>
              </a:rPr>
              <a:t>industrial 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2026-2030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00371BF2-272C-A6BD-D0B2-FEF6B6AF7853}"/>
              </a:ext>
            </a:extLst>
          </p:cNvPr>
          <p:cNvSpPr txBox="1"/>
          <p:nvPr/>
        </p:nvSpPr>
        <p:spPr>
          <a:xfrm>
            <a:off x="10254251" y="3791989"/>
            <a:ext cx="15308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>
                <a:solidFill>
                  <a:srgbClr val="163E64"/>
                </a:solidFill>
                <a:latin typeface="Montserrat" pitchFamily="2" charset="0"/>
              </a:rPr>
              <a:t>+100%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volume </a:t>
            </a:r>
            <a:r>
              <a:rPr lang="pt-BR" sz="1200" b="1">
                <a:solidFill>
                  <a:srgbClr val="163E64"/>
                </a:solidFill>
                <a:latin typeface="Montserrat" pitchFamily="2" charset="0"/>
              </a:rPr>
              <a:t>GNV</a:t>
            </a:r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 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2026-2030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D8FEDE58-BDB2-223F-52B4-3471A25CA1A3}"/>
              </a:ext>
            </a:extLst>
          </p:cNvPr>
          <p:cNvSpPr txBox="1"/>
          <p:nvPr/>
        </p:nvSpPr>
        <p:spPr>
          <a:xfrm>
            <a:off x="8532594" y="5501436"/>
            <a:ext cx="1604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>
                <a:solidFill>
                  <a:srgbClr val="163E64"/>
                </a:solidFill>
                <a:latin typeface="Montserrat" pitchFamily="2" charset="0"/>
              </a:rPr>
              <a:t>+81%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volume </a:t>
            </a:r>
            <a:r>
              <a:rPr lang="pt-BR" sz="1200" b="1">
                <a:solidFill>
                  <a:srgbClr val="163E64"/>
                </a:solidFill>
                <a:latin typeface="Montserrat" pitchFamily="2" charset="0"/>
              </a:rPr>
              <a:t>comercial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2026-2030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45A9D2A0-F428-83D2-041E-E6F7270700F9}"/>
              </a:ext>
            </a:extLst>
          </p:cNvPr>
          <p:cNvSpPr txBox="1"/>
          <p:nvPr/>
        </p:nvSpPr>
        <p:spPr>
          <a:xfrm>
            <a:off x="10254251" y="5501435"/>
            <a:ext cx="16793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>
                <a:solidFill>
                  <a:srgbClr val="163E64"/>
                </a:solidFill>
                <a:latin typeface="Montserrat" pitchFamily="2" charset="0"/>
              </a:rPr>
              <a:t>+81%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volume </a:t>
            </a:r>
            <a:r>
              <a:rPr lang="pt-BR" sz="1200" b="1">
                <a:solidFill>
                  <a:srgbClr val="163E64"/>
                </a:solidFill>
                <a:latin typeface="Montserrat" pitchFamily="2" charset="0"/>
              </a:rPr>
              <a:t>residencial </a:t>
            </a:r>
          </a:p>
          <a:p>
            <a:r>
              <a:rPr lang="pt-BR" sz="1200">
                <a:solidFill>
                  <a:srgbClr val="163E64"/>
                </a:solidFill>
                <a:latin typeface="Montserrat" pitchFamily="2" charset="0"/>
              </a:rPr>
              <a:t>2026-2030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4930270B-EB40-6A1E-84F5-FEB1106B5F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7543057"/>
              </p:ext>
            </p:extLst>
          </p:nvPr>
        </p:nvGraphicFramePr>
        <p:xfrm>
          <a:off x="485299" y="1188673"/>
          <a:ext cx="7819715" cy="5225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CaixaDeTexto 1">
            <a:extLst>
              <a:ext uri="{FF2B5EF4-FFF2-40B4-BE49-F238E27FC236}">
                <a16:creationId xmlns:a16="http://schemas.microsoft.com/office/drawing/2014/main" id="{DA54F2CC-F6BF-BA73-8CFB-8BA76C79452C}"/>
              </a:ext>
            </a:extLst>
          </p:cNvPr>
          <p:cNvSpPr txBox="1"/>
          <p:nvPr/>
        </p:nvSpPr>
        <p:spPr>
          <a:xfrm>
            <a:off x="2200689" y="1633625"/>
            <a:ext cx="2175635" cy="118735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kern="1200">
                <a:solidFill>
                  <a:srgbClr val="163E64"/>
                </a:solidFill>
                <a:latin typeface="Montserrat" pitchFamily="2" charset="0"/>
              </a:rPr>
              <a:t>+44% </a:t>
            </a:r>
            <a:br>
              <a:rPr lang="pt-BR" sz="1800" b="1" kern="1200">
                <a:solidFill>
                  <a:srgbClr val="163E64"/>
                </a:solidFill>
                <a:latin typeface="Montserrat" pitchFamily="2" charset="0"/>
              </a:rPr>
            </a:br>
            <a:r>
              <a:rPr lang="pt-BR" sz="1400" kern="1200">
                <a:solidFill>
                  <a:srgbClr val="163E64"/>
                </a:solidFill>
                <a:latin typeface="Montserrat" pitchFamily="2" charset="0"/>
              </a:rPr>
              <a:t>volume total</a:t>
            </a:r>
            <a:endParaRPr lang="pt-BR" sz="1800" kern="1200">
              <a:solidFill>
                <a:srgbClr val="163E64"/>
              </a:solidFill>
              <a:latin typeface="Montserrat" pitchFamily="2" charset="0"/>
            </a:endParaRP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4F209502-9CE0-74E7-44EE-89962F80765D}"/>
              </a:ext>
            </a:extLst>
          </p:cNvPr>
          <p:cNvCxnSpPr>
            <a:cxnSpLocks/>
          </p:cNvCxnSpPr>
          <p:nvPr/>
        </p:nvCxnSpPr>
        <p:spPr>
          <a:xfrm flipV="1">
            <a:off x="1977470" y="1365550"/>
            <a:ext cx="5484629" cy="2774002"/>
          </a:xfrm>
          <a:prstGeom prst="bentConnector3">
            <a:avLst>
              <a:gd name="adj1" fmla="val -10033"/>
            </a:avLst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301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43C46-C77C-DD40-3763-F0B6FF8A87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212C81CF-6F77-D152-14E0-1C4C30420C1E}"/>
              </a:ext>
            </a:extLst>
          </p:cNvPr>
          <p:cNvSpPr/>
          <p:nvPr/>
        </p:nvSpPr>
        <p:spPr>
          <a:xfrm>
            <a:off x="0" y="-2325"/>
            <a:ext cx="12192000" cy="6860325"/>
          </a:xfrm>
          <a:prstGeom prst="rect">
            <a:avLst/>
          </a:prstGeom>
          <a:gradFill>
            <a:gsLst>
              <a:gs pos="0">
                <a:srgbClr val="ADC91B"/>
              </a:gs>
              <a:gs pos="38000">
                <a:srgbClr val="54A549"/>
              </a:gs>
              <a:gs pos="83000">
                <a:srgbClr val="215F9A"/>
              </a:gs>
            </a:gsLst>
            <a:lin ang="2700000" scaled="0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DAFAA51-772D-BF26-E617-213DD4B0F4C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062" y="58467"/>
            <a:ext cx="903013" cy="390365"/>
          </a:xfrm>
          <a:prstGeom prst="rect">
            <a:avLst/>
          </a:prstGeom>
        </p:spPr>
      </p:pic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986CF644-D1B1-7C10-FD4C-D7E047A93A62}"/>
              </a:ext>
            </a:extLst>
          </p:cNvPr>
          <p:cNvGraphicFramePr/>
          <p:nvPr/>
        </p:nvGraphicFramePr>
        <p:xfrm>
          <a:off x="124995" y="1101562"/>
          <a:ext cx="881860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4" name="TextBox 52">
            <a:extLst>
              <a:ext uri="{FF2B5EF4-FFF2-40B4-BE49-F238E27FC236}">
                <a16:creationId xmlns:a16="http://schemas.microsoft.com/office/drawing/2014/main" id="{250A8BB4-F669-3B61-FC25-5DFD6F9C5311}"/>
              </a:ext>
            </a:extLst>
          </p:cNvPr>
          <p:cNvSpPr txBox="1"/>
          <p:nvPr/>
        </p:nvSpPr>
        <p:spPr>
          <a:xfrm>
            <a:off x="266333" y="374039"/>
            <a:ext cx="1157260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>
                <a:solidFill>
                  <a:schemeClr val="bg1"/>
                </a:solidFill>
                <a:latin typeface="Montserrat Black" panose="00000A00000000000000" pitchFamily="50" charset="0"/>
              </a:rPr>
              <a:t>Oportunidades &amp; Drivers de Crescimento</a:t>
            </a:r>
            <a:endParaRPr lang="pt-BR" sz="4000"/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030074F5-C23A-BE6A-7CA0-508E109BD5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2387" y="1288671"/>
            <a:ext cx="2595765" cy="1461437"/>
          </a:xfrm>
          <a:prstGeom prst="round2Same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984ED84F-FF0A-931E-60D5-D8995BCC6A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31" y="1373156"/>
            <a:ext cx="2598110" cy="1461437"/>
          </a:xfrm>
          <a:prstGeom prst="round2Same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52AF1C89-6BFA-4B66-DD61-F951A2B74D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21" y="1296103"/>
            <a:ext cx="2719790" cy="1441684"/>
          </a:xfrm>
          <a:prstGeom prst="round2Same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CE751862-828B-6885-8799-7CF3B07218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65" y="4037610"/>
            <a:ext cx="2721600" cy="1443600"/>
          </a:xfrm>
          <a:prstGeom prst="round2SameRect">
            <a:avLst/>
          </a:prstGeom>
        </p:spPr>
      </p:pic>
      <p:sp>
        <p:nvSpPr>
          <p:cNvPr id="27" name="Freeform: Shape 47">
            <a:extLst>
              <a:ext uri="{FF2B5EF4-FFF2-40B4-BE49-F238E27FC236}">
                <a16:creationId xmlns:a16="http://schemas.microsoft.com/office/drawing/2014/main" id="{91973ADC-3815-B476-0B65-B08156582777}"/>
              </a:ext>
            </a:extLst>
          </p:cNvPr>
          <p:cNvSpPr/>
          <p:nvPr/>
        </p:nvSpPr>
        <p:spPr>
          <a:xfrm>
            <a:off x="3229661" y="4020527"/>
            <a:ext cx="2721600" cy="1443600"/>
          </a:xfrm>
          <a:prstGeom prst="roundRect">
            <a:avLst>
              <a:gd name="adj" fmla="val 10008"/>
            </a:avLst>
          </a:prstGeom>
          <a:blipFill dpi="0" rotWithShape="1">
            <a:blip r:embed="rId9"/>
            <a:srcRect/>
            <a:stretch>
              <a:fillRect/>
            </a:stretch>
          </a:blip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0" name="Rectangle: Top Corners Rounded 18">
            <a:extLst>
              <a:ext uri="{FF2B5EF4-FFF2-40B4-BE49-F238E27FC236}">
                <a16:creationId xmlns:a16="http://schemas.microsoft.com/office/drawing/2014/main" id="{E85AD95C-1C0D-90BE-E564-72104A0805AE}"/>
              </a:ext>
            </a:extLst>
          </p:cNvPr>
          <p:cNvSpPr/>
          <p:nvPr/>
        </p:nvSpPr>
        <p:spPr>
          <a:xfrm rot="10800000">
            <a:off x="1729434" y="2750108"/>
            <a:ext cx="2599639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708611C3-FBCA-3222-3AAD-37DAE9257CCC}"/>
              </a:ext>
            </a:extLst>
          </p:cNvPr>
          <p:cNvSpPr txBox="1"/>
          <p:nvPr/>
        </p:nvSpPr>
        <p:spPr>
          <a:xfrm>
            <a:off x="1728513" y="3111916"/>
            <a:ext cx="25996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Fábrica da GWM</a:t>
            </a:r>
          </a:p>
        </p:txBody>
      </p:sp>
      <p:sp>
        <p:nvSpPr>
          <p:cNvPr id="35" name="Rectangle: Top Corners Rounded 18">
            <a:extLst>
              <a:ext uri="{FF2B5EF4-FFF2-40B4-BE49-F238E27FC236}">
                <a16:creationId xmlns:a16="http://schemas.microsoft.com/office/drawing/2014/main" id="{DB323431-B01B-9847-E0B8-62ACC6309EFA}"/>
              </a:ext>
            </a:extLst>
          </p:cNvPr>
          <p:cNvSpPr/>
          <p:nvPr/>
        </p:nvSpPr>
        <p:spPr>
          <a:xfrm rot="10800000">
            <a:off x="4635246" y="2741190"/>
            <a:ext cx="2599639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52BDCA0-10D7-5DD8-546A-ACDDCE5A4C3F}"/>
              </a:ext>
            </a:extLst>
          </p:cNvPr>
          <p:cNvSpPr txBox="1"/>
          <p:nvPr/>
        </p:nvSpPr>
        <p:spPr>
          <a:xfrm>
            <a:off x="4634325" y="3102998"/>
            <a:ext cx="25996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Planta de Silicato</a:t>
            </a:r>
          </a:p>
        </p:txBody>
      </p:sp>
      <p:sp>
        <p:nvSpPr>
          <p:cNvPr id="37" name="Rectangle: Top Corners Rounded 18">
            <a:extLst>
              <a:ext uri="{FF2B5EF4-FFF2-40B4-BE49-F238E27FC236}">
                <a16:creationId xmlns:a16="http://schemas.microsoft.com/office/drawing/2014/main" id="{6CF492C8-7F91-CC98-6911-BE90DEACB9BB}"/>
              </a:ext>
            </a:extLst>
          </p:cNvPr>
          <p:cNvSpPr/>
          <p:nvPr/>
        </p:nvSpPr>
        <p:spPr>
          <a:xfrm rot="10800000">
            <a:off x="7539216" y="2723036"/>
            <a:ext cx="2719790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6A06789F-E544-9875-2DBD-3A51541169A8}"/>
              </a:ext>
            </a:extLst>
          </p:cNvPr>
          <p:cNvSpPr txBox="1"/>
          <p:nvPr/>
        </p:nvSpPr>
        <p:spPr>
          <a:xfrm>
            <a:off x="7538296" y="3084844"/>
            <a:ext cx="2719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Laminador de Tiras a Frio</a:t>
            </a:r>
          </a:p>
        </p:txBody>
      </p:sp>
      <p:sp>
        <p:nvSpPr>
          <p:cNvPr id="39" name="Rectangle: Top Corners Rounded 18">
            <a:extLst>
              <a:ext uri="{FF2B5EF4-FFF2-40B4-BE49-F238E27FC236}">
                <a16:creationId xmlns:a16="http://schemas.microsoft.com/office/drawing/2014/main" id="{A5C6F191-33AE-912A-DBE9-6D7C0C604856}"/>
              </a:ext>
            </a:extLst>
          </p:cNvPr>
          <p:cNvSpPr/>
          <p:nvPr/>
        </p:nvSpPr>
        <p:spPr>
          <a:xfrm rot="10800000">
            <a:off x="267253" y="5423780"/>
            <a:ext cx="2719790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8CF192FD-80ED-740E-AACB-106BFDE5DC2C}"/>
              </a:ext>
            </a:extLst>
          </p:cNvPr>
          <p:cNvSpPr txBox="1"/>
          <p:nvPr/>
        </p:nvSpPr>
        <p:spPr>
          <a:xfrm>
            <a:off x="266333" y="5785588"/>
            <a:ext cx="2719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Samarco</a:t>
            </a:r>
            <a:br>
              <a:rPr lang="pt-BR">
                <a:solidFill>
                  <a:schemeClr val="bg1"/>
                </a:solidFill>
              </a:rPr>
            </a:br>
            <a:r>
              <a:rPr lang="pt-BR">
                <a:solidFill>
                  <a:schemeClr val="bg1"/>
                </a:solidFill>
              </a:rPr>
              <a:t>Usina 1 e 2</a:t>
            </a:r>
          </a:p>
        </p:txBody>
      </p:sp>
      <p:sp>
        <p:nvSpPr>
          <p:cNvPr id="41" name="Rectangle: Top Corners Rounded 18">
            <a:extLst>
              <a:ext uri="{FF2B5EF4-FFF2-40B4-BE49-F238E27FC236}">
                <a16:creationId xmlns:a16="http://schemas.microsoft.com/office/drawing/2014/main" id="{C6F867A5-B6FE-F1BD-C9F7-C837A1486623}"/>
              </a:ext>
            </a:extLst>
          </p:cNvPr>
          <p:cNvSpPr/>
          <p:nvPr/>
        </p:nvSpPr>
        <p:spPr>
          <a:xfrm rot="10800000">
            <a:off x="3231471" y="5425302"/>
            <a:ext cx="2719790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DE270828-41A6-FE41-369A-93A6E7274AB0}"/>
              </a:ext>
            </a:extLst>
          </p:cNvPr>
          <p:cNvSpPr txBox="1"/>
          <p:nvPr/>
        </p:nvSpPr>
        <p:spPr>
          <a:xfrm>
            <a:off x="3230551" y="5787110"/>
            <a:ext cx="2719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+30 Novas Industrias </a:t>
            </a:r>
            <a:br>
              <a:rPr lang="pt-BR">
                <a:solidFill>
                  <a:schemeClr val="bg1"/>
                </a:solidFill>
              </a:rPr>
            </a:br>
            <a:r>
              <a:rPr lang="pt-BR">
                <a:solidFill>
                  <a:schemeClr val="bg1"/>
                </a:solidFill>
              </a:rPr>
              <a:t>no ciclo</a:t>
            </a:r>
          </a:p>
        </p:txBody>
      </p:sp>
      <p:sp>
        <p:nvSpPr>
          <p:cNvPr id="44" name="Rectangle: Top Corners Rounded 18">
            <a:extLst>
              <a:ext uri="{FF2B5EF4-FFF2-40B4-BE49-F238E27FC236}">
                <a16:creationId xmlns:a16="http://schemas.microsoft.com/office/drawing/2014/main" id="{9493A8F3-F7B8-BB07-8F41-607B79F58C35}"/>
              </a:ext>
            </a:extLst>
          </p:cNvPr>
          <p:cNvSpPr/>
          <p:nvPr/>
        </p:nvSpPr>
        <p:spPr>
          <a:xfrm rot="10800000">
            <a:off x="6218638" y="5408956"/>
            <a:ext cx="2719790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CE7FD820-FEC7-8A66-3337-74AD5CBF7ACD}"/>
              </a:ext>
            </a:extLst>
          </p:cNvPr>
          <p:cNvSpPr txBox="1"/>
          <p:nvPr/>
        </p:nvSpPr>
        <p:spPr>
          <a:xfrm>
            <a:off x="6217718" y="5770764"/>
            <a:ext cx="2719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Expansão Frota Pesada</a:t>
            </a:r>
          </a:p>
        </p:txBody>
      </p:sp>
      <p:sp>
        <p:nvSpPr>
          <p:cNvPr id="47" name="Rectangle: Top Corners Rounded 18">
            <a:extLst>
              <a:ext uri="{FF2B5EF4-FFF2-40B4-BE49-F238E27FC236}">
                <a16:creationId xmlns:a16="http://schemas.microsoft.com/office/drawing/2014/main" id="{2E37018A-A4A7-7863-73AE-59AFC25A0213}"/>
              </a:ext>
            </a:extLst>
          </p:cNvPr>
          <p:cNvSpPr/>
          <p:nvPr/>
        </p:nvSpPr>
        <p:spPr>
          <a:xfrm rot="10800000">
            <a:off x="9248855" y="5425302"/>
            <a:ext cx="2719790" cy="1100394"/>
          </a:xfrm>
          <a:prstGeom prst="round2SameRect">
            <a:avLst>
              <a:gd name="adj1" fmla="val 11801"/>
              <a:gd name="adj2" fmla="val 0"/>
            </a:avLst>
          </a:prstGeom>
          <a:solidFill>
            <a:srgbClr val="15366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AAA26BDB-4E89-E50C-ADC0-718125BD7DE9}"/>
              </a:ext>
            </a:extLst>
          </p:cNvPr>
          <p:cNvSpPr txBox="1"/>
          <p:nvPr/>
        </p:nvSpPr>
        <p:spPr>
          <a:xfrm>
            <a:off x="9247935" y="5787110"/>
            <a:ext cx="2719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>
                <a:solidFill>
                  <a:schemeClr val="bg1"/>
                </a:solidFill>
              </a:rPr>
              <a:t>Expansão Residencial e Comercial</a:t>
            </a:r>
          </a:p>
        </p:txBody>
      </p:sp>
      <p:pic>
        <p:nvPicPr>
          <p:cNvPr id="50" name="Imagem 49">
            <a:extLst>
              <a:ext uri="{FF2B5EF4-FFF2-40B4-BE49-F238E27FC236}">
                <a16:creationId xmlns:a16="http://schemas.microsoft.com/office/drawing/2014/main" id="{4C6C9674-DBC4-CC1E-2AF9-89EB67EB5F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63" y="4037609"/>
            <a:ext cx="2719790" cy="1369229"/>
          </a:xfrm>
          <a:prstGeom prst="round2SameRect">
            <a:avLst/>
          </a:prstGeom>
        </p:spPr>
      </p:pic>
      <p:pic>
        <p:nvPicPr>
          <p:cNvPr id="52" name="Imagem 51">
            <a:extLst>
              <a:ext uri="{FF2B5EF4-FFF2-40B4-BE49-F238E27FC236}">
                <a16:creationId xmlns:a16="http://schemas.microsoft.com/office/drawing/2014/main" id="{445CC78E-5F2F-A652-73AE-8FEFECF1121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935" y="4066169"/>
            <a:ext cx="2719790" cy="1386481"/>
          </a:xfrm>
          <a:prstGeom prst="round2SameRect">
            <a:avLst/>
          </a:prstGeom>
        </p:spPr>
      </p:pic>
    </p:spTree>
    <p:extLst>
      <p:ext uri="{BB962C8B-B14F-4D97-AF65-F5344CB8AC3E}">
        <p14:creationId xmlns:p14="http://schemas.microsoft.com/office/powerpoint/2010/main" val="9081511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C94B0-4A45-9537-93A6-F413BF551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3EB66ECA-F444-2D28-9560-5301BF669DC2}"/>
              </a:ext>
            </a:extLst>
          </p:cNvPr>
          <p:cNvSpPr/>
          <p:nvPr/>
        </p:nvSpPr>
        <p:spPr>
          <a:xfrm>
            <a:off x="0" y="0"/>
            <a:ext cx="12191999" cy="7000875"/>
          </a:xfrm>
          <a:prstGeom prst="rect">
            <a:avLst/>
          </a:prstGeom>
          <a:gradFill>
            <a:gsLst>
              <a:gs pos="0">
                <a:srgbClr val="05578E"/>
              </a:gs>
              <a:gs pos="96000">
                <a:srgbClr val="1D245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709"/>
            <a:endParaRPr lang="pt-BR">
              <a:solidFill>
                <a:prstClr val="white"/>
              </a:solidFill>
              <a:latin typeface="Montserrat" pitchFamily="2" charset="0"/>
            </a:endParaRP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2BF40BA1-EE09-0ABE-58F6-DCA53BF5B563}"/>
              </a:ext>
            </a:extLst>
          </p:cNvPr>
          <p:cNvSpPr/>
          <p:nvPr/>
        </p:nvSpPr>
        <p:spPr>
          <a:xfrm>
            <a:off x="5468394" y="0"/>
            <a:ext cx="6723606" cy="725303"/>
          </a:xfrm>
          <a:prstGeom prst="rect">
            <a:avLst/>
          </a:prstGeom>
          <a:gradFill>
            <a:gsLst>
              <a:gs pos="100000">
                <a:srgbClr val="1F1F4D"/>
              </a:gs>
              <a:gs pos="49000">
                <a:srgbClr val="19193F">
                  <a:alpha val="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0">
              <a:defRPr/>
            </a:pPr>
            <a:endParaRPr lang="pt-BR" sz="1600">
              <a:solidFill>
                <a:prstClr val="white"/>
              </a:solidFill>
              <a:latin typeface="Aptos" panose="020B0004020202020204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339E1B7D-3E31-8248-511F-ED695CF6F8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528" y="176263"/>
            <a:ext cx="965200" cy="379645"/>
          </a:xfrm>
          <a:prstGeom prst="rect">
            <a:avLst/>
          </a:prstGeom>
        </p:spPr>
      </p:pic>
      <p:sp>
        <p:nvSpPr>
          <p:cNvPr id="17" name="TextBox 52">
            <a:extLst>
              <a:ext uri="{FF2B5EF4-FFF2-40B4-BE49-F238E27FC236}">
                <a16:creationId xmlns:a16="http://schemas.microsoft.com/office/drawing/2014/main" id="{6B37560F-0D3F-AC62-FF38-061DB1CA9E1E}"/>
              </a:ext>
            </a:extLst>
          </p:cNvPr>
          <p:cNvSpPr txBox="1"/>
          <p:nvPr/>
        </p:nvSpPr>
        <p:spPr>
          <a:xfrm>
            <a:off x="607430" y="1500661"/>
            <a:ext cx="22867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>
                <a:solidFill>
                  <a:schemeClr val="bg1"/>
                </a:solidFill>
                <a:latin typeface="DM Sans SemiBold" pitchFamily="2" charset="0"/>
              </a:rPr>
              <a:t>LRCAP 26</a:t>
            </a:r>
            <a:endParaRPr lang="pt-BR" sz="2400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26" name="Retângulo: Cantos Arredondados 25">
            <a:extLst>
              <a:ext uri="{FF2B5EF4-FFF2-40B4-BE49-F238E27FC236}">
                <a16:creationId xmlns:a16="http://schemas.microsoft.com/office/drawing/2014/main" id="{6ED48F24-147E-C5EF-B9F3-5C1662DE3907}"/>
              </a:ext>
            </a:extLst>
          </p:cNvPr>
          <p:cNvSpPr/>
          <p:nvPr/>
        </p:nvSpPr>
        <p:spPr>
          <a:xfrm>
            <a:off x="432492" y="1954033"/>
            <a:ext cx="2082106" cy="1888022"/>
          </a:xfrm>
          <a:prstGeom prst="roundRect">
            <a:avLst>
              <a:gd name="adj" fmla="val 15994"/>
            </a:avLst>
          </a:prstGeom>
          <a:solidFill>
            <a:srgbClr val="15608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pt-BR">
                <a:solidFill>
                  <a:schemeClr val="tx1"/>
                </a:solidFill>
              </a:rPr>
            </a:br>
            <a:endParaRPr lang="pt-BR" sz="1200"/>
          </a:p>
        </p:txBody>
      </p:sp>
      <p:pic>
        <p:nvPicPr>
          <p:cNvPr id="28" name="Gráfico 27">
            <a:extLst>
              <a:ext uri="{FF2B5EF4-FFF2-40B4-BE49-F238E27FC236}">
                <a16:creationId xmlns:a16="http://schemas.microsoft.com/office/drawing/2014/main" id="{5FCD60F1-0663-4BA9-EBED-65E0EDA6C0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7400"/>
          <a:stretch>
            <a:fillRect/>
          </a:stretch>
        </p:blipFill>
        <p:spPr>
          <a:xfrm>
            <a:off x="1967344" y="2043940"/>
            <a:ext cx="416387" cy="429919"/>
          </a:xfrm>
          <a:prstGeom prst="rect">
            <a:avLst/>
          </a:prstGeom>
        </p:spPr>
      </p:pic>
      <p:grpSp>
        <p:nvGrpSpPr>
          <p:cNvPr id="622" name="Agrupar 621">
            <a:extLst>
              <a:ext uri="{FF2B5EF4-FFF2-40B4-BE49-F238E27FC236}">
                <a16:creationId xmlns:a16="http://schemas.microsoft.com/office/drawing/2014/main" id="{6C75A117-8EB1-9983-0B9A-3ED779512310}"/>
              </a:ext>
            </a:extLst>
          </p:cNvPr>
          <p:cNvGrpSpPr/>
          <p:nvPr/>
        </p:nvGrpSpPr>
        <p:grpSpPr>
          <a:xfrm>
            <a:off x="5053749" y="205158"/>
            <a:ext cx="7009837" cy="6413634"/>
            <a:chOff x="5053749" y="205158"/>
            <a:chExt cx="7009837" cy="6413634"/>
          </a:xfrm>
        </p:grpSpPr>
        <p:grpSp>
          <p:nvGrpSpPr>
            <p:cNvPr id="568" name="Agrupar 567">
              <a:extLst>
                <a:ext uri="{FF2B5EF4-FFF2-40B4-BE49-F238E27FC236}">
                  <a16:creationId xmlns:a16="http://schemas.microsoft.com/office/drawing/2014/main" id="{60A80F19-1BD5-FD07-B2D1-369338E7627B}"/>
                </a:ext>
              </a:extLst>
            </p:cNvPr>
            <p:cNvGrpSpPr/>
            <p:nvPr/>
          </p:nvGrpSpPr>
          <p:grpSpPr>
            <a:xfrm>
              <a:off x="5053749" y="205158"/>
              <a:ext cx="4065305" cy="6413634"/>
              <a:chOff x="-1079004" y="761703"/>
              <a:chExt cx="4065305" cy="6413634"/>
            </a:xfrm>
          </p:grpSpPr>
          <p:grpSp>
            <p:nvGrpSpPr>
              <p:cNvPr id="163" name="Graphic 6">
                <a:extLst>
                  <a:ext uri="{FF2B5EF4-FFF2-40B4-BE49-F238E27FC236}">
                    <a16:creationId xmlns:a16="http://schemas.microsoft.com/office/drawing/2014/main" id="{5F743D96-9692-F70C-DC3F-DC1184E34372}"/>
                  </a:ext>
                </a:extLst>
              </p:cNvPr>
              <p:cNvGrpSpPr/>
              <p:nvPr/>
            </p:nvGrpSpPr>
            <p:grpSpPr>
              <a:xfrm>
                <a:off x="-1079004" y="761703"/>
                <a:ext cx="4065305" cy="6413634"/>
                <a:chOff x="1563708" y="2034051"/>
                <a:chExt cx="2936524" cy="4522118"/>
              </a:xfrm>
              <a:solidFill>
                <a:srgbClr val="D9D9D9"/>
              </a:solidFill>
            </p:grpSpPr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A59F9C3E-6D83-2672-BEFE-03D0DA81D12D}"/>
                    </a:ext>
                  </a:extLst>
                </p:cNvPr>
                <p:cNvSpPr/>
                <p:nvPr/>
              </p:nvSpPr>
              <p:spPr>
                <a:xfrm>
                  <a:off x="1947493" y="6002262"/>
                  <a:ext cx="600744" cy="483188"/>
                </a:xfrm>
                <a:custGeom>
                  <a:avLst/>
                  <a:gdLst>
                    <a:gd name="csX0" fmla="*/ 78371 w 600744"/>
                    <a:gd name="csY0" fmla="*/ 704 h 483188"/>
                    <a:gd name="csX1" fmla="*/ 67838 w 600744"/>
                    <a:gd name="csY1" fmla="*/ 0 h 483188"/>
                    <a:gd name="csX2" fmla="*/ 56601 w 600744"/>
                    <a:gd name="csY2" fmla="*/ 7619 h 483188"/>
                    <a:gd name="csX3" fmla="*/ 39569 w 600744"/>
                    <a:gd name="csY3" fmla="*/ 9412 h 483188"/>
                    <a:gd name="csX4" fmla="*/ 25771 w 600744"/>
                    <a:gd name="csY4" fmla="*/ 24651 h 483188"/>
                    <a:gd name="csX5" fmla="*/ 20681 w 600744"/>
                    <a:gd name="csY5" fmla="*/ 35183 h 483188"/>
                    <a:gd name="csX6" fmla="*/ 11973 w 600744"/>
                    <a:gd name="csY6" fmla="*/ 36976 h 483188"/>
                    <a:gd name="csX7" fmla="*/ 16327 w 600744"/>
                    <a:gd name="csY7" fmla="*/ 50422 h 483188"/>
                    <a:gd name="csX8" fmla="*/ 7651 w 600744"/>
                    <a:gd name="csY8" fmla="*/ 49686 h 483188"/>
                    <a:gd name="csX9" fmla="*/ 7651 w 600744"/>
                    <a:gd name="csY9" fmla="*/ 55864 h 483188"/>
                    <a:gd name="csX10" fmla="*/ 0 w 600744"/>
                    <a:gd name="csY10" fmla="*/ 54776 h 483188"/>
                    <a:gd name="csX11" fmla="*/ 3297 w 600744"/>
                    <a:gd name="csY11" fmla="*/ 70367 h 483188"/>
                    <a:gd name="csX12" fmla="*/ 9444 w 600744"/>
                    <a:gd name="csY12" fmla="*/ 74721 h 483188"/>
                    <a:gd name="csX13" fmla="*/ 9444 w 600744"/>
                    <a:gd name="csY13" fmla="*/ 84133 h 483188"/>
                    <a:gd name="csX14" fmla="*/ 22506 w 600744"/>
                    <a:gd name="csY14" fmla="*/ 86694 h 483188"/>
                    <a:gd name="csX15" fmla="*/ 23947 w 600744"/>
                    <a:gd name="csY15" fmla="*/ 97931 h 483188"/>
                    <a:gd name="csX16" fmla="*/ 59514 w 600744"/>
                    <a:gd name="csY16" fmla="*/ 109904 h 483188"/>
                    <a:gd name="csX17" fmla="*/ 65309 w 600744"/>
                    <a:gd name="csY17" fmla="*/ 108080 h 483188"/>
                    <a:gd name="csX18" fmla="*/ 88519 w 600744"/>
                    <a:gd name="csY18" fmla="*/ 105550 h 483188"/>
                    <a:gd name="csX19" fmla="*/ 92169 w 600744"/>
                    <a:gd name="csY19" fmla="*/ 114995 h 483188"/>
                    <a:gd name="csX20" fmla="*/ 90344 w 600744"/>
                    <a:gd name="csY20" fmla="*/ 129849 h 483188"/>
                    <a:gd name="csX21" fmla="*/ 101581 w 600744"/>
                    <a:gd name="csY21" fmla="*/ 135644 h 483188"/>
                    <a:gd name="csX22" fmla="*/ 106671 w 600744"/>
                    <a:gd name="csY22" fmla="*/ 134939 h 483188"/>
                    <a:gd name="csX23" fmla="*/ 110289 w 600744"/>
                    <a:gd name="csY23" fmla="*/ 141822 h 483188"/>
                    <a:gd name="csX24" fmla="*/ 119733 w 600744"/>
                    <a:gd name="csY24" fmla="*/ 139998 h 483188"/>
                    <a:gd name="csX25" fmla="*/ 124087 w 600744"/>
                    <a:gd name="csY25" fmla="*/ 150530 h 483188"/>
                    <a:gd name="csX26" fmla="*/ 114290 w 600744"/>
                    <a:gd name="csY26" fmla="*/ 158886 h 483188"/>
                    <a:gd name="csX27" fmla="*/ 112850 w 600744"/>
                    <a:gd name="csY27" fmla="*/ 177006 h 483188"/>
                    <a:gd name="csX28" fmla="*/ 104846 w 600744"/>
                    <a:gd name="csY28" fmla="*/ 184625 h 483188"/>
                    <a:gd name="csX29" fmla="*/ 109200 w 600744"/>
                    <a:gd name="csY29" fmla="*/ 217632 h 483188"/>
                    <a:gd name="csX30" fmla="*/ 99052 w 600744"/>
                    <a:gd name="csY30" fmla="*/ 229605 h 483188"/>
                    <a:gd name="csX31" fmla="*/ 99052 w 600744"/>
                    <a:gd name="csY31" fmla="*/ 239754 h 483188"/>
                    <a:gd name="csX32" fmla="*/ 111761 w 600744"/>
                    <a:gd name="csY32" fmla="*/ 247757 h 483188"/>
                    <a:gd name="csX33" fmla="*/ 115379 w 600744"/>
                    <a:gd name="csY33" fmla="*/ 257905 h 483188"/>
                    <a:gd name="csX34" fmla="*/ 103406 w 600744"/>
                    <a:gd name="csY34" fmla="*/ 270967 h 483188"/>
                    <a:gd name="csX35" fmla="*/ 110289 w 600744"/>
                    <a:gd name="csY35" fmla="*/ 278587 h 483188"/>
                    <a:gd name="csX36" fmla="*/ 102317 w 600744"/>
                    <a:gd name="csY36" fmla="*/ 294914 h 483188"/>
                    <a:gd name="csX37" fmla="*/ 110289 w 600744"/>
                    <a:gd name="csY37" fmla="*/ 299268 h 483188"/>
                    <a:gd name="csX38" fmla="*/ 125527 w 600744"/>
                    <a:gd name="csY38" fmla="*/ 298531 h 483188"/>
                    <a:gd name="csX39" fmla="*/ 125527 w 600744"/>
                    <a:gd name="csY39" fmla="*/ 321742 h 483188"/>
                    <a:gd name="csX40" fmla="*/ 111761 w 600744"/>
                    <a:gd name="csY40" fmla="*/ 341334 h 483188"/>
                    <a:gd name="csX41" fmla="*/ 117908 w 600744"/>
                    <a:gd name="csY41" fmla="*/ 347513 h 483188"/>
                    <a:gd name="csX42" fmla="*/ 112850 w 600744"/>
                    <a:gd name="csY42" fmla="*/ 350042 h 483188"/>
                    <a:gd name="csX43" fmla="*/ 89607 w 600744"/>
                    <a:gd name="csY43" fmla="*/ 347513 h 483188"/>
                    <a:gd name="csX44" fmla="*/ 59514 w 600744"/>
                    <a:gd name="csY44" fmla="*/ 350778 h 483188"/>
                    <a:gd name="csX45" fmla="*/ 55160 w 600744"/>
                    <a:gd name="csY45" fmla="*/ 360191 h 483188"/>
                    <a:gd name="csX46" fmla="*/ 48277 w 600744"/>
                    <a:gd name="csY46" fmla="*/ 361279 h 483188"/>
                    <a:gd name="csX47" fmla="*/ 38833 w 600744"/>
                    <a:gd name="csY47" fmla="*/ 369635 h 483188"/>
                    <a:gd name="csX48" fmla="*/ 42099 w 600744"/>
                    <a:gd name="csY48" fmla="*/ 382697 h 483188"/>
                    <a:gd name="csX49" fmla="*/ 50806 w 600744"/>
                    <a:gd name="csY49" fmla="*/ 387050 h 483188"/>
                    <a:gd name="csX50" fmla="*/ 55865 w 600744"/>
                    <a:gd name="csY50" fmla="*/ 396494 h 483188"/>
                    <a:gd name="csX51" fmla="*/ 68926 w 600744"/>
                    <a:gd name="csY51" fmla="*/ 393933 h 483188"/>
                    <a:gd name="csX52" fmla="*/ 79107 w 600744"/>
                    <a:gd name="csY52" fmla="*/ 392141 h 483188"/>
                    <a:gd name="csX53" fmla="*/ 91080 w 600744"/>
                    <a:gd name="csY53" fmla="*/ 401553 h 483188"/>
                    <a:gd name="csX54" fmla="*/ 97227 w 600744"/>
                    <a:gd name="csY54" fmla="*/ 401553 h 483188"/>
                    <a:gd name="csX55" fmla="*/ 103406 w 600744"/>
                    <a:gd name="csY55" fmla="*/ 387050 h 483188"/>
                    <a:gd name="csX56" fmla="*/ 111761 w 600744"/>
                    <a:gd name="csY56" fmla="*/ 387050 h 483188"/>
                    <a:gd name="csX57" fmla="*/ 121173 w 600744"/>
                    <a:gd name="csY57" fmla="*/ 399024 h 483188"/>
                    <a:gd name="csX58" fmla="*/ 134971 w 600744"/>
                    <a:gd name="csY58" fmla="*/ 392845 h 483188"/>
                    <a:gd name="csX59" fmla="*/ 142943 w 600744"/>
                    <a:gd name="csY59" fmla="*/ 397199 h 483188"/>
                    <a:gd name="csX60" fmla="*/ 146208 w 600744"/>
                    <a:gd name="csY60" fmla="*/ 395758 h 483188"/>
                    <a:gd name="csX61" fmla="*/ 146208 w 600744"/>
                    <a:gd name="csY61" fmla="*/ 410997 h 483188"/>
                    <a:gd name="csX62" fmla="*/ 159270 w 600744"/>
                    <a:gd name="csY62" fmla="*/ 422234 h 483188"/>
                    <a:gd name="csX63" fmla="*/ 163624 w 600744"/>
                    <a:gd name="csY63" fmla="*/ 424763 h 483188"/>
                    <a:gd name="csX64" fmla="*/ 171948 w 600744"/>
                    <a:gd name="csY64" fmla="*/ 428412 h 483188"/>
                    <a:gd name="csX65" fmla="*/ 180656 w 600744"/>
                    <a:gd name="csY65" fmla="*/ 429853 h 483188"/>
                    <a:gd name="csX66" fmla="*/ 189363 w 600744"/>
                    <a:gd name="csY66" fmla="*/ 437825 h 483188"/>
                    <a:gd name="csX67" fmla="*/ 204986 w 600744"/>
                    <a:gd name="csY67" fmla="*/ 440386 h 483188"/>
                    <a:gd name="csX68" fmla="*/ 229637 w 600744"/>
                    <a:gd name="csY68" fmla="*/ 418968 h 483188"/>
                    <a:gd name="csX69" fmla="*/ 235080 w 600744"/>
                    <a:gd name="csY69" fmla="*/ 421498 h 483188"/>
                    <a:gd name="csX70" fmla="*/ 238345 w 600744"/>
                    <a:gd name="csY70" fmla="*/ 417880 h 483188"/>
                    <a:gd name="csX71" fmla="*/ 243435 w 600744"/>
                    <a:gd name="csY71" fmla="*/ 422234 h 483188"/>
                    <a:gd name="csX72" fmla="*/ 247789 w 600744"/>
                    <a:gd name="csY72" fmla="*/ 417143 h 483188"/>
                    <a:gd name="csX73" fmla="*/ 259026 w 600744"/>
                    <a:gd name="csY73" fmla="*/ 421498 h 483188"/>
                    <a:gd name="csX74" fmla="*/ 261555 w 600744"/>
                    <a:gd name="csY74" fmla="*/ 422234 h 483188"/>
                    <a:gd name="csX75" fmla="*/ 267734 w 600744"/>
                    <a:gd name="csY75" fmla="*/ 417880 h 483188"/>
                    <a:gd name="csX76" fmla="*/ 276058 w 600744"/>
                    <a:gd name="csY76" fmla="*/ 419705 h 483188"/>
                    <a:gd name="csX77" fmla="*/ 277146 w 600744"/>
                    <a:gd name="csY77" fmla="*/ 414615 h 483188"/>
                    <a:gd name="csX78" fmla="*/ 282236 w 600744"/>
                    <a:gd name="csY78" fmla="*/ 413526 h 483188"/>
                    <a:gd name="csX79" fmla="*/ 282973 w 600744"/>
                    <a:gd name="csY79" fmla="*/ 420409 h 483188"/>
                    <a:gd name="csX80" fmla="*/ 290944 w 600744"/>
                    <a:gd name="csY80" fmla="*/ 424763 h 483188"/>
                    <a:gd name="csX81" fmla="*/ 300388 w 600744"/>
                    <a:gd name="csY81" fmla="*/ 422970 h 483188"/>
                    <a:gd name="csX82" fmla="*/ 326864 w 600744"/>
                    <a:gd name="csY82" fmla="*/ 430942 h 483188"/>
                    <a:gd name="csX83" fmla="*/ 334835 w 600744"/>
                    <a:gd name="csY83" fmla="*/ 428412 h 483188"/>
                    <a:gd name="csX84" fmla="*/ 339926 w 600744"/>
                    <a:gd name="csY84" fmla="*/ 431678 h 483188"/>
                    <a:gd name="csX85" fmla="*/ 341718 w 600744"/>
                    <a:gd name="csY85" fmla="*/ 438561 h 483188"/>
                    <a:gd name="csX86" fmla="*/ 350426 w 600744"/>
                    <a:gd name="csY86" fmla="*/ 443651 h 483188"/>
                    <a:gd name="csX87" fmla="*/ 350426 w 600744"/>
                    <a:gd name="csY87" fmla="*/ 436032 h 483188"/>
                    <a:gd name="csX88" fmla="*/ 362400 w 600744"/>
                    <a:gd name="csY88" fmla="*/ 436736 h 483188"/>
                    <a:gd name="csX89" fmla="*/ 361311 w 600744"/>
                    <a:gd name="csY89" fmla="*/ 447269 h 483188"/>
                    <a:gd name="csX90" fmla="*/ 370019 w 600744"/>
                    <a:gd name="csY90" fmla="*/ 444740 h 483188"/>
                    <a:gd name="csX91" fmla="*/ 388171 w 600744"/>
                    <a:gd name="csY91" fmla="*/ 464300 h 483188"/>
                    <a:gd name="csX92" fmla="*/ 400144 w 600744"/>
                    <a:gd name="csY92" fmla="*/ 464300 h 483188"/>
                    <a:gd name="csX93" fmla="*/ 403762 w 600744"/>
                    <a:gd name="csY93" fmla="*/ 468654 h 483188"/>
                    <a:gd name="csX94" fmla="*/ 406291 w 600744"/>
                    <a:gd name="csY94" fmla="*/ 465389 h 483188"/>
                    <a:gd name="csX95" fmla="*/ 415735 w 600744"/>
                    <a:gd name="csY95" fmla="*/ 472304 h 483188"/>
                    <a:gd name="csX96" fmla="*/ 417560 w 600744"/>
                    <a:gd name="csY96" fmla="*/ 466861 h 483188"/>
                    <a:gd name="csX97" fmla="*/ 422618 w 600744"/>
                    <a:gd name="csY97" fmla="*/ 468654 h 483188"/>
                    <a:gd name="csX98" fmla="*/ 421530 w 600744"/>
                    <a:gd name="csY98" fmla="*/ 463596 h 483188"/>
                    <a:gd name="csX99" fmla="*/ 430237 w 600744"/>
                    <a:gd name="csY99" fmla="*/ 462860 h 483188"/>
                    <a:gd name="csX100" fmla="*/ 435328 w 600744"/>
                    <a:gd name="csY100" fmla="*/ 467950 h 483188"/>
                    <a:gd name="csX101" fmla="*/ 441506 w 600744"/>
                    <a:gd name="csY101" fmla="*/ 453063 h 483188"/>
                    <a:gd name="csX102" fmla="*/ 451655 w 600744"/>
                    <a:gd name="csY102" fmla="*/ 448005 h 483188"/>
                    <a:gd name="csX103" fmla="*/ 455272 w 600744"/>
                    <a:gd name="csY103" fmla="*/ 447269 h 483188"/>
                    <a:gd name="csX104" fmla="*/ 462892 w 600744"/>
                    <a:gd name="csY104" fmla="*/ 447269 h 483188"/>
                    <a:gd name="csX105" fmla="*/ 480308 w 600744"/>
                    <a:gd name="csY105" fmla="*/ 453063 h 483188"/>
                    <a:gd name="csX106" fmla="*/ 481044 w 600744"/>
                    <a:gd name="csY106" fmla="*/ 459947 h 483188"/>
                    <a:gd name="csX107" fmla="*/ 485398 w 600744"/>
                    <a:gd name="csY107" fmla="*/ 454888 h 483188"/>
                    <a:gd name="csX108" fmla="*/ 484661 w 600744"/>
                    <a:gd name="csY108" fmla="*/ 459242 h 483188"/>
                    <a:gd name="csX109" fmla="*/ 490456 w 600744"/>
                    <a:gd name="csY109" fmla="*/ 458506 h 483188"/>
                    <a:gd name="csX110" fmla="*/ 488663 w 600744"/>
                    <a:gd name="csY110" fmla="*/ 463596 h 483188"/>
                    <a:gd name="csX111" fmla="*/ 501725 w 600744"/>
                    <a:gd name="csY111" fmla="*/ 466125 h 483188"/>
                    <a:gd name="csX112" fmla="*/ 511137 w 600744"/>
                    <a:gd name="csY112" fmla="*/ 477362 h 483188"/>
                    <a:gd name="csX113" fmla="*/ 512226 w 600744"/>
                    <a:gd name="csY113" fmla="*/ 472304 h 483188"/>
                    <a:gd name="csX114" fmla="*/ 518020 w 600744"/>
                    <a:gd name="csY114" fmla="*/ 477362 h 483188"/>
                    <a:gd name="csX115" fmla="*/ 526728 w 600744"/>
                    <a:gd name="csY115" fmla="*/ 477362 h 483188"/>
                    <a:gd name="csX116" fmla="*/ 527464 w 600744"/>
                    <a:gd name="csY116" fmla="*/ 474833 h 483188"/>
                    <a:gd name="csX117" fmla="*/ 529993 w 600744"/>
                    <a:gd name="csY117" fmla="*/ 483188 h 483188"/>
                    <a:gd name="csX118" fmla="*/ 533643 w 600744"/>
                    <a:gd name="csY118" fmla="*/ 476274 h 483188"/>
                    <a:gd name="csX119" fmla="*/ 539438 w 600744"/>
                    <a:gd name="csY119" fmla="*/ 478098 h 483188"/>
                    <a:gd name="csX120" fmla="*/ 536172 w 600744"/>
                    <a:gd name="csY120" fmla="*/ 473744 h 483188"/>
                    <a:gd name="csX121" fmla="*/ 540526 w 600744"/>
                    <a:gd name="csY121" fmla="*/ 466861 h 483188"/>
                    <a:gd name="csX122" fmla="*/ 543055 w 600744"/>
                    <a:gd name="csY122" fmla="*/ 472304 h 483188"/>
                    <a:gd name="csX123" fmla="*/ 547409 w 600744"/>
                    <a:gd name="csY123" fmla="*/ 470479 h 483188"/>
                    <a:gd name="csX124" fmla="*/ 543055 w 600744"/>
                    <a:gd name="csY124" fmla="*/ 474833 h 483188"/>
                    <a:gd name="csX125" fmla="*/ 551763 w 600744"/>
                    <a:gd name="csY125" fmla="*/ 473008 h 483188"/>
                    <a:gd name="csX126" fmla="*/ 548145 w 600744"/>
                    <a:gd name="csY126" fmla="*/ 478098 h 483188"/>
                    <a:gd name="csX127" fmla="*/ 565561 w 600744"/>
                    <a:gd name="csY127" fmla="*/ 476274 h 483188"/>
                    <a:gd name="csX128" fmla="*/ 569915 w 600744"/>
                    <a:gd name="csY128" fmla="*/ 479923 h 483188"/>
                    <a:gd name="csX129" fmla="*/ 573180 w 600744"/>
                    <a:gd name="csY129" fmla="*/ 473744 h 483188"/>
                    <a:gd name="csX130" fmla="*/ 576446 w 600744"/>
                    <a:gd name="csY130" fmla="*/ 479187 h 483188"/>
                    <a:gd name="csX131" fmla="*/ 575709 w 600744"/>
                    <a:gd name="csY131" fmla="*/ 472304 h 483188"/>
                    <a:gd name="csX132" fmla="*/ 595654 w 600744"/>
                    <a:gd name="csY132" fmla="*/ 470479 h 483188"/>
                    <a:gd name="csX133" fmla="*/ 600745 w 600744"/>
                    <a:gd name="csY133" fmla="*/ 455976 h 483188"/>
                    <a:gd name="csX134" fmla="*/ 572444 w 600744"/>
                    <a:gd name="csY134" fmla="*/ 459947 h 483188"/>
                    <a:gd name="csX135" fmla="*/ 540526 w 600744"/>
                    <a:gd name="csY135" fmla="*/ 458506 h 483188"/>
                    <a:gd name="csX136" fmla="*/ 533643 w 600744"/>
                    <a:gd name="csY136" fmla="*/ 445444 h 483188"/>
                    <a:gd name="csX137" fmla="*/ 528553 w 600744"/>
                    <a:gd name="csY137" fmla="*/ 412085 h 483188"/>
                    <a:gd name="csX138" fmla="*/ 529289 w 600744"/>
                    <a:gd name="csY138" fmla="*/ 387787 h 483188"/>
                    <a:gd name="csX139" fmla="*/ 510433 w 600744"/>
                    <a:gd name="csY139" fmla="*/ 347513 h 483188"/>
                    <a:gd name="csX140" fmla="*/ 509344 w 600744"/>
                    <a:gd name="csY140" fmla="*/ 343159 h 483188"/>
                    <a:gd name="csX141" fmla="*/ 487191 w 600744"/>
                    <a:gd name="csY141" fmla="*/ 301797 h 483188"/>
                    <a:gd name="csX142" fmla="*/ 490456 w 600744"/>
                    <a:gd name="csY142" fmla="*/ 279291 h 483188"/>
                    <a:gd name="csX143" fmla="*/ 475954 w 600744"/>
                    <a:gd name="csY143" fmla="*/ 266613 h 483188"/>
                    <a:gd name="csX144" fmla="*/ 473425 w 600744"/>
                    <a:gd name="csY144" fmla="*/ 258642 h 483188"/>
                    <a:gd name="csX145" fmla="*/ 478483 w 600744"/>
                    <a:gd name="csY145" fmla="*/ 251727 h 483188"/>
                    <a:gd name="csX146" fmla="*/ 498459 w 600744"/>
                    <a:gd name="csY146" fmla="*/ 240842 h 483188"/>
                    <a:gd name="csX147" fmla="*/ 505342 w 600744"/>
                    <a:gd name="csY147" fmla="*/ 244107 h 483188"/>
                    <a:gd name="csX148" fmla="*/ 526024 w 600744"/>
                    <a:gd name="csY148" fmla="*/ 235400 h 483188"/>
                    <a:gd name="csX149" fmla="*/ 521670 w 600744"/>
                    <a:gd name="csY149" fmla="*/ 221633 h 483188"/>
                    <a:gd name="csX150" fmla="*/ 512962 w 600744"/>
                    <a:gd name="csY150" fmla="*/ 218368 h 483188"/>
                    <a:gd name="csX151" fmla="*/ 487191 w 600744"/>
                    <a:gd name="csY151" fmla="*/ 179535 h 483188"/>
                    <a:gd name="csX152" fmla="*/ 480308 w 600744"/>
                    <a:gd name="csY152" fmla="*/ 162504 h 483188"/>
                    <a:gd name="csX153" fmla="*/ 463980 w 600744"/>
                    <a:gd name="csY153" fmla="*/ 171916 h 483188"/>
                    <a:gd name="csX154" fmla="*/ 457097 w 600744"/>
                    <a:gd name="csY154" fmla="*/ 187538 h 483188"/>
                    <a:gd name="csX155" fmla="*/ 440770 w 600744"/>
                    <a:gd name="csY155" fmla="*/ 188979 h 483188"/>
                    <a:gd name="csX156" fmla="*/ 413206 w 600744"/>
                    <a:gd name="csY156" fmla="*/ 157413 h 483188"/>
                    <a:gd name="csX157" fmla="*/ 396879 w 600744"/>
                    <a:gd name="csY157" fmla="*/ 159974 h 483188"/>
                    <a:gd name="csX158" fmla="*/ 378727 w 600744"/>
                    <a:gd name="csY158" fmla="*/ 151971 h 483188"/>
                    <a:gd name="csX159" fmla="*/ 370019 w 600744"/>
                    <a:gd name="csY159" fmla="*/ 161415 h 483188"/>
                    <a:gd name="csX160" fmla="*/ 358782 w 600744"/>
                    <a:gd name="csY160" fmla="*/ 160679 h 483188"/>
                    <a:gd name="csX161" fmla="*/ 326864 w 600744"/>
                    <a:gd name="csY161" fmla="*/ 142559 h 483188"/>
                    <a:gd name="csX162" fmla="*/ 322862 w 600744"/>
                    <a:gd name="csY162" fmla="*/ 141086 h 483188"/>
                    <a:gd name="csX163" fmla="*/ 317420 w 600744"/>
                    <a:gd name="csY163" fmla="*/ 148705 h 483188"/>
                    <a:gd name="csX164" fmla="*/ 306535 w 600744"/>
                    <a:gd name="csY164" fmla="*/ 148705 h 483188"/>
                    <a:gd name="csX165" fmla="*/ 297827 w 600744"/>
                    <a:gd name="csY165" fmla="*/ 161415 h 483188"/>
                    <a:gd name="csX166" fmla="*/ 282973 w 600744"/>
                    <a:gd name="csY166" fmla="*/ 166857 h 483188"/>
                    <a:gd name="csX167" fmla="*/ 230726 w 600744"/>
                    <a:gd name="csY167" fmla="*/ 164328 h 483188"/>
                    <a:gd name="csX168" fmla="*/ 155653 w 600744"/>
                    <a:gd name="csY168" fmla="*/ 142559 h 483188"/>
                    <a:gd name="csX169" fmla="*/ 175597 w 600744"/>
                    <a:gd name="csY169" fmla="*/ 99756 h 483188"/>
                    <a:gd name="csX170" fmla="*/ 196983 w 600744"/>
                    <a:gd name="csY170" fmla="*/ 52215 h 483188"/>
                    <a:gd name="csX171" fmla="*/ 191925 w 600744"/>
                    <a:gd name="csY171" fmla="*/ 34095 h 483188"/>
                    <a:gd name="csX172" fmla="*/ 178863 w 600744"/>
                    <a:gd name="csY172" fmla="*/ 12677 h 483188"/>
                    <a:gd name="csX173" fmla="*/ 168682 w 600744"/>
                    <a:gd name="csY173" fmla="*/ 14502 h 483188"/>
                    <a:gd name="csX174" fmla="*/ 171243 w 600744"/>
                    <a:gd name="csY174" fmla="*/ 23914 h 483188"/>
                    <a:gd name="csX175" fmla="*/ 158182 w 600744"/>
                    <a:gd name="csY175" fmla="*/ 17031 h 483188"/>
                    <a:gd name="csX176" fmla="*/ 154180 w 600744"/>
                    <a:gd name="csY176" fmla="*/ 0 h 483188"/>
                    <a:gd name="csX177" fmla="*/ 138589 w 600744"/>
                    <a:gd name="csY177" fmla="*/ 1440 h 483188"/>
                    <a:gd name="csX178" fmla="*/ 131706 w 600744"/>
                    <a:gd name="csY178" fmla="*/ 15239 h 483188"/>
                    <a:gd name="csX179" fmla="*/ 121173 w 600744"/>
                    <a:gd name="csY179" fmla="*/ 16327 h 483188"/>
                    <a:gd name="csX180" fmla="*/ 117908 w 600744"/>
                    <a:gd name="csY180" fmla="*/ 32622 h 483188"/>
                    <a:gd name="csX181" fmla="*/ 99052 w 600744"/>
                    <a:gd name="csY181" fmla="*/ 19561 h 483188"/>
                    <a:gd name="csX182" fmla="*/ 100492 w 600744"/>
                    <a:gd name="csY182" fmla="*/ 6883 h 483188"/>
                    <a:gd name="csX183" fmla="*/ 91080 w 600744"/>
                    <a:gd name="csY183" fmla="*/ 0 h 483188"/>
                    <a:gd name="csX184" fmla="*/ 85254 w 600744"/>
                    <a:gd name="csY184" fmla="*/ 3265 h 483188"/>
                    <a:gd name="csX185" fmla="*/ 78371 w 600744"/>
                    <a:gd name="csY185" fmla="*/ 704 h 48318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</a:cxnLst>
                  <a:rect l="l" t="t" r="r" b="b"/>
                  <a:pathLst>
                    <a:path w="600744" h="483188">
                      <a:moveTo>
                        <a:pt x="78371" y="704"/>
                      </a:moveTo>
                      <a:lnTo>
                        <a:pt x="67838" y="0"/>
                      </a:lnTo>
                      <a:lnTo>
                        <a:pt x="56601" y="7619"/>
                      </a:lnTo>
                      <a:lnTo>
                        <a:pt x="39569" y="9412"/>
                      </a:lnTo>
                      <a:lnTo>
                        <a:pt x="25771" y="24651"/>
                      </a:lnTo>
                      <a:lnTo>
                        <a:pt x="20681" y="35183"/>
                      </a:lnTo>
                      <a:lnTo>
                        <a:pt x="11973" y="36976"/>
                      </a:lnTo>
                      <a:lnTo>
                        <a:pt x="16327" y="50422"/>
                      </a:lnTo>
                      <a:lnTo>
                        <a:pt x="7651" y="49686"/>
                      </a:lnTo>
                      <a:lnTo>
                        <a:pt x="7651" y="55864"/>
                      </a:lnTo>
                      <a:lnTo>
                        <a:pt x="0" y="54776"/>
                      </a:lnTo>
                      <a:lnTo>
                        <a:pt x="3297" y="70367"/>
                      </a:lnTo>
                      <a:lnTo>
                        <a:pt x="9444" y="74721"/>
                      </a:lnTo>
                      <a:lnTo>
                        <a:pt x="9444" y="84133"/>
                      </a:lnTo>
                      <a:lnTo>
                        <a:pt x="22506" y="86694"/>
                      </a:lnTo>
                      <a:lnTo>
                        <a:pt x="23947" y="97931"/>
                      </a:lnTo>
                      <a:lnTo>
                        <a:pt x="59514" y="109904"/>
                      </a:lnTo>
                      <a:lnTo>
                        <a:pt x="65309" y="108080"/>
                      </a:lnTo>
                      <a:lnTo>
                        <a:pt x="88519" y="105550"/>
                      </a:lnTo>
                      <a:lnTo>
                        <a:pt x="92169" y="114995"/>
                      </a:lnTo>
                      <a:lnTo>
                        <a:pt x="90344" y="129849"/>
                      </a:lnTo>
                      <a:lnTo>
                        <a:pt x="101581" y="135644"/>
                      </a:lnTo>
                      <a:lnTo>
                        <a:pt x="106671" y="134939"/>
                      </a:lnTo>
                      <a:lnTo>
                        <a:pt x="110289" y="141822"/>
                      </a:lnTo>
                      <a:lnTo>
                        <a:pt x="119733" y="139998"/>
                      </a:lnTo>
                      <a:lnTo>
                        <a:pt x="124087" y="150530"/>
                      </a:lnTo>
                      <a:lnTo>
                        <a:pt x="114290" y="158886"/>
                      </a:lnTo>
                      <a:lnTo>
                        <a:pt x="112850" y="177006"/>
                      </a:lnTo>
                      <a:lnTo>
                        <a:pt x="104846" y="184625"/>
                      </a:lnTo>
                      <a:lnTo>
                        <a:pt x="109200" y="217632"/>
                      </a:lnTo>
                      <a:lnTo>
                        <a:pt x="99052" y="229605"/>
                      </a:lnTo>
                      <a:lnTo>
                        <a:pt x="99052" y="239754"/>
                      </a:lnTo>
                      <a:lnTo>
                        <a:pt x="111761" y="247757"/>
                      </a:lnTo>
                      <a:lnTo>
                        <a:pt x="115379" y="257905"/>
                      </a:lnTo>
                      <a:lnTo>
                        <a:pt x="103406" y="270967"/>
                      </a:lnTo>
                      <a:lnTo>
                        <a:pt x="110289" y="278587"/>
                      </a:lnTo>
                      <a:lnTo>
                        <a:pt x="102317" y="294914"/>
                      </a:lnTo>
                      <a:lnTo>
                        <a:pt x="110289" y="299268"/>
                      </a:lnTo>
                      <a:lnTo>
                        <a:pt x="125527" y="298531"/>
                      </a:lnTo>
                      <a:lnTo>
                        <a:pt x="125527" y="321742"/>
                      </a:lnTo>
                      <a:lnTo>
                        <a:pt x="111761" y="341334"/>
                      </a:lnTo>
                      <a:lnTo>
                        <a:pt x="117908" y="347513"/>
                      </a:lnTo>
                      <a:lnTo>
                        <a:pt x="112850" y="350042"/>
                      </a:lnTo>
                      <a:lnTo>
                        <a:pt x="89607" y="347513"/>
                      </a:lnTo>
                      <a:lnTo>
                        <a:pt x="59514" y="350778"/>
                      </a:lnTo>
                      <a:lnTo>
                        <a:pt x="55160" y="360191"/>
                      </a:lnTo>
                      <a:lnTo>
                        <a:pt x="48277" y="361279"/>
                      </a:lnTo>
                      <a:lnTo>
                        <a:pt x="38833" y="369635"/>
                      </a:lnTo>
                      <a:lnTo>
                        <a:pt x="42099" y="382697"/>
                      </a:lnTo>
                      <a:lnTo>
                        <a:pt x="50806" y="387050"/>
                      </a:lnTo>
                      <a:lnTo>
                        <a:pt x="55865" y="396494"/>
                      </a:lnTo>
                      <a:lnTo>
                        <a:pt x="68926" y="393933"/>
                      </a:lnTo>
                      <a:lnTo>
                        <a:pt x="79107" y="392141"/>
                      </a:lnTo>
                      <a:lnTo>
                        <a:pt x="91080" y="401553"/>
                      </a:lnTo>
                      <a:lnTo>
                        <a:pt x="97227" y="401553"/>
                      </a:lnTo>
                      <a:lnTo>
                        <a:pt x="103406" y="387050"/>
                      </a:lnTo>
                      <a:lnTo>
                        <a:pt x="111761" y="387050"/>
                      </a:lnTo>
                      <a:lnTo>
                        <a:pt x="121173" y="399024"/>
                      </a:lnTo>
                      <a:lnTo>
                        <a:pt x="134971" y="392845"/>
                      </a:lnTo>
                      <a:lnTo>
                        <a:pt x="142943" y="397199"/>
                      </a:lnTo>
                      <a:lnTo>
                        <a:pt x="146208" y="395758"/>
                      </a:lnTo>
                      <a:lnTo>
                        <a:pt x="146208" y="410997"/>
                      </a:lnTo>
                      <a:lnTo>
                        <a:pt x="159270" y="422234"/>
                      </a:lnTo>
                      <a:lnTo>
                        <a:pt x="163624" y="424763"/>
                      </a:lnTo>
                      <a:lnTo>
                        <a:pt x="171948" y="428412"/>
                      </a:lnTo>
                      <a:lnTo>
                        <a:pt x="180656" y="429853"/>
                      </a:lnTo>
                      <a:lnTo>
                        <a:pt x="189363" y="437825"/>
                      </a:lnTo>
                      <a:lnTo>
                        <a:pt x="204986" y="440386"/>
                      </a:lnTo>
                      <a:lnTo>
                        <a:pt x="229637" y="418968"/>
                      </a:lnTo>
                      <a:lnTo>
                        <a:pt x="235080" y="421498"/>
                      </a:lnTo>
                      <a:lnTo>
                        <a:pt x="238345" y="417880"/>
                      </a:lnTo>
                      <a:lnTo>
                        <a:pt x="243435" y="422234"/>
                      </a:lnTo>
                      <a:lnTo>
                        <a:pt x="247789" y="417143"/>
                      </a:lnTo>
                      <a:lnTo>
                        <a:pt x="259026" y="421498"/>
                      </a:lnTo>
                      <a:lnTo>
                        <a:pt x="261555" y="422234"/>
                      </a:lnTo>
                      <a:lnTo>
                        <a:pt x="267734" y="417880"/>
                      </a:lnTo>
                      <a:lnTo>
                        <a:pt x="276058" y="419705"/>
                      </a:lnTo>
                      <a:lnTo>
                        <a:pt x="277146" y="414615"/>
                      </a:lnTo>
                      <a:lnTo>
                        <a:pt x="282236" y="413526"/>
                      </a:lnTo>
                      <a:lnTo>
                        <a:pt x="282973" y="420409"/>
                      </a:lnTo>
                      <a:lnTo>
                        <a:pt x="290944" y="424763"/>
                      </a:lnTo>
                      <a:lnTo>
                        <a:pt x="300388" y="422970"/>
                      </a:lnTo>
                      <a:lnTo>
                        <a:pt x="326864" y="430942"/>
                      </a:lnTo>
                      <a:lnTo>
                        <a:pt x="334835" y="428412"/>
                      </a:lnTo>
                      <a:lnTo>
                        <a:pt x="339926" y="431678"/>
                      </a:lnTo>
                      <a:lnTo>
                        <a:pt x="341718" y="438561"/>
                      </a:lnTo>
                      <a:lnTo>
                        <a:pt x="350426" y="443651"/>
                      </a:lnTo>
                      <a:lnTo>
                        <a:pt x="350426" y="436032"/>
                      </a:lnTo>
                      <a:lnTo>
                        <a:pt x="362400" y="436736"/>
                      </a:lnTo>
                      <a:lnTo>
                        <a:pt x="361311" y="447269"/>
                      </a:lnTo>
                      <a:lnTo>
                        <a:pt x="370019" y="444740"/>
                      </a:lnTo>
                      <a:lnTo>
                        <a:pt x="388171" y="464300"/>
                      </a:lnTo>
                      <a:lnTo>
                        <a:pt x="400144" y="464300"/>
                      </a:lnTo>
                      <a:lnTo>
                        <a:pt x="403762" y="468654"/>
                      </a:lnTo>
                      <a:lnTo>
                        <a:pt x="406291" y="465389"/>
                      </a:lnTo>
                      <a:lnTo>
                        <a:pt x="415735" y="472304"/>
                      </a:lnTo>
                      <a:lnTo>
                        <a:pt x="417560" y="466861"/>
                      </a:lnTo>
                      <a:lnTo>
                        <a:pt x="422618" y="468654"/>
                      </a:lnTo>
                      <a:lnTo>
                        <a:pt x="421530" y="463596"/>
                      </a:lnTo>
                      <a:lnTo>
                        <a:pt x="430237" y="462860"/>
                      </a:lnTo>
                      <a:lnTo>
                        <a:pt x="435328" y="467950"/>
                      </a:lnTo>
                      <a:lnTo>
                        <a:pt x="441506" y="453063"/>
                      </a:lnTo>
                      <a:lnTo>
                        <a:pt x="451655" y="448005"/>
                      </a:lnTo>
                      <a:lnTo>
                        <a:pt x="455272" y="447269"/>
                      </a:lnTo>
                      <a:lnTo>
                        <a:pt x="462892" y="447269"/>
                      </a:lnTo>
                      <a:lnTo>
                        <a:pt x="480308" y="453063"/>
                      </a:lnTo>
                      <a:lnTo>
                        <a:pt x="481044" y="459947"/>
                      </a:lnTo>
                      <a:lnTo>
                        <a:pt x="485398" y="454888"/>
                      </a:lnTo>
                      <a:lnTo>
                        <a:pt x="484661" y="459242"/>
                      </a:lnTo>
                      <a:lnTo>
                        <a:pt x="490456" y="458506"/>
                      </a:lnTo>
                      <a:lnTo>
                        <a:pt x="488663" y="463596"/>
                      </a:lnTo>
                      <a:lnTo>
                        <a:pt x="501725" y="466125"/>
                      </a:lnTo>
                      <a:lnTo>
                        <a:pt x="511137" y="477362"/>
                      </a:lnTo>
                      <a:lnTo>
                        <a:pt x="512226" y="472304"/>
                      </a:lnTo>
                      <a:lnTo>
                        <a:pt x="518020" y="477362"/>
                      </a:lnTo>
                      <a:lnTo>
                        <a:pt x="526728" y="477362"/>
                      </a:lnTo>
                      <a:lnTo>
                        <a:pt x="527464" y="474833"/>
                      </a:lnTo>
                      <a:lnTo>
                        <a:pt x="529993" y="483188"/>
                      </a:lnTo>
                      <a:lnTo>
                        <a:pt x="533643" y="476274"/>
                      </a:lnTo>
                      <a:lnTo>
                        <a:pt x="539438" y="478098"/>
                      </a:lnTo>
                      <a:lnTo>
                        <a:pt x="536172" y="473744"/>
                      </a:lnTo>
                      <a:lnTo>
                        <a:pt x="540526" y="466861"/>
                      </a:lnTo>
                      <a:lnTo>
                        <a:pt x="543055" y="472304"/>
                      </a:lnTo>
                      <a:lnTo>
                        <a:pt x="547409" y="470479"/>
                      </a:lnTo>
                      <a:lnTo>
                        <a:pt x="543055" y="474833"/>
                      </a:lnTo>
                      <a:lnTo>
                        <a:pt x="551763" y="473008"/>
                      </a:lnTo>
                      <a:lnTo>
                        <a:pt x="548145" y="478098"/>
                      </a:lnTo>
                      <a:lnTo>
                        <a:pt x="565561" y="476274"/>
                      </a:lnTo>
                      <a:lnTo>
                        <a:pt x="569915" y="479923"/>
                      </a:lnTo>
                      <a:lnTo>
                        <a:pt x="573180" y="473744"/>
                      </a:lnTo>
                      <a:lnTo>
                        <a:pt x="576446" y="479187"/>
                      </a:lnTo>
                      <a:lnTo>
                        <a:pt x="575709" y="472304"/>
                      </a:lnTo>
                      <a:lnTo>
                        <a:pt x="595654" y="470479"/>
                      </a:lnTo>
                      <a:lnTo>
                        <a:pt x="600745" y="455976"/>
                      </a:lnTo>
                      <a:lnTo>
                        <a:pt x="572444" y="459947"/>
                      </a:lnTo>
                      <a:lnTo>
                        <a:pt x="540526" y="458506"/>
                      </a:lnTo>
                      <a:lnTo>
                        <a:pt x="533643" y="445444"/>
                      </a:lnTo>
                      <a:lnTo>
                        <a:pt x="528553" y="412085"/>
                      </a:lnTo>
                      <a:lnTo>
                        <a:pt x="529289" y="387787"/>
                      </a:lnTo>
                      <a:lnTo>
                        <a:pt x="510433" y="347513"/>
                      </a:lnTo>
                      <a:lnTo>
                        <a:pt x="509344" y="343159"/>
                      </a:lnTo>
                      <a:lnTo>
                        <a:pt x="487191" y="301797"/>
                      </a:lnTo>
                      <a:lnTo>
                        <a:pt x="490456" y="279291"/>
                      </a:lnTo>
                      <a:lnTo>
                        <a:pt x="475954" y="266613"/>
                      </a:lnTo>
                      <a:lnTo>
                        <a:pt x="473425" y="258642"/>
                      </a:lnTo>
                      <a:lnTo>
                        <a:pt x="478483" y="251727"/>
                      </a:lnTo>
                      <a:lnTo>
                        <a:pt x="498459" y="240842"/>
                      </a:lnTo>
                      <a:lnTo>
                        <a:pt x="505342" y="244107"/>
                      </a:lnTo>
                      <a:lnTo>
                        <a:pt x="526024" y="235400"/>
                      </a:lnTo>
                      <a:lnTo>
                        <a:pt x="521670" y="221633"/>
                      </a:lnTo>
                      <a:lnTo>
                        <a:pt x="512962" y="218368"/>
                      </a:lnTo>
                      <a:lnTo>
                        <a:pt x="487191" y="179535"/>
                      </a:lnTo>
                      <a:lnTo>
                        <a:pt x="480308" y="162504"/>
                      </a:lnTo>
                      <a:lnTo>
                        <a:pt x="463980" y="171916"/>
                      </a:lnTo>
                      <a:lnTo>
                        <a:pt x="457097" y="187538"/>
                      </a:lnTo>
                      <a:lnTo>
                        <a:pt x="440770" y="188979"/>
                      </a:lnTo>
                      <a:lnTo>
                        <a:pt x="413206" y="157413"/>
                      </a:lnTo>
                      <a:lnTo>
                        <a:pt x="396879" y="159974"/>
                      </a:lnTo>
                      <a:lnTo>
                        <a:pt x="378727" y="151971"/>
                      </a:lnTo>
                      <a:lnTo>
                        <a:pt x="370019" y="161415"/>
                      </a:lnTo>
                      <a:lnTo>
                        <a:pt x="358782" y="160679"/>
                      </a:lnTo>
                      <a:lnTo>
                        <a:pt x="326864" y="142559"/>
                      </a:lnTo>
                      <a:lnTo>
                        <a:pt x="322862" y="141086"/>
                      </a:lnTo>
                      <a:lnTo>
                        <a:pt x="317420" y="148705"/>
                      </a:lnTo>
                      <a:lnTo>
                        <a:pt x="306535" y="148705"/>
                      </a:lnTo>
                      <a:lnTo>
                        <a:pt x="297827" y="161415"/>
                      </a:lnTo>
                      <a:lnTo>
                        <a:pt x="282973" y="166857"/>
                      </a:lnTo>
                      <a:lnTo>
                        <a:pt x="230726" y="164328"/>
                      </a:lnTo>
                      <a:lnTo>
                        <a:pt x="155653" y="142559"/>
                      </a:lnTo>
                      <a:lnTo>
                        <a:pt x="175597" y="99756"/>
                      </a:lnTo>
                      <a:lnTo>
                        <a:pt x="196983" y="52215"/>
                      </a:lnTo>
                      <a:lnTo>
                        <a:pt x="191925" y="34095"/>
                      </a:lnTo>
                      <a:lnTo>
                        <a:pt x="178863" y="12677"/>
                      </a:lnTo>
                      <a:lnTo>
                        <a:pt x="168682" y="14502"/>
                      </a:lnTo>
                      <a:lnTo>
                        <a:pt x="171243" y="23914"/>
                      </a:lnTo>
                      <a:lnTo>
                        <a:pt x="158182" y="17031"/>
                      </a:lnTo>
                      <a:lnTo>
                        <a:pt x="154180" y="0"/>
                      </a:lnTo>
                      <a:lnTo>
                        <a:pt x="138589" y="1440"/>
                      </a:lnTo>
                      <a:lnTo>
                        <a:pt x="131706" y="15239"/>
                      </a:lnTo>
                      <a:lnTo>
                        <a:pt x="121173" y="16327"/>
                      </a:lnTo>
                      <a:lnTo>
                        <a:pt x="117908" y="32622"/>
                      </a:lnTo>
                      <a:lnTo>
                        <a:pt x="99052" y="19561"/>
                      </a:lnTo>
                      <a:lnTo>
                        <a:pt x="100492" y="6883"/>
                      </a:lnTo>
                      <a:lnTo>
                        <a:pt x="91080" y="0"/>
                      </a:lnTo>
                      <a:lnTo>
                        <a:pt x="85254" y="3265"/>
                      </a:lnTo>
                      <a:lnTo>
                        <a:pt x="78371" y="70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CD47E07A-A6A7-002C-FA10-B520908B0E52}"/>
                    </a:ext>
                  </a:extLst>
                </p:cNvPr>
                <p:cNvSpPr/>
                <p:nvPr/>
              </p:nvSpPr>
              <p:spPr>
                <a:xfrm>
                  <a:off x="1754512" y="5949630"/>
                  <a:ext cx="216927" cy="347545"/>
                </a:xfrm>
                <a:custGeom>
                  <a:avLst/>
                  <a:gdLst>
                    <a:gd name="csX0" fmla="*/ 164713 w 216927"/>
                    <a:gd name="csY0" fmla="*/ 58426 h 347545"/>
                    <a:gd name="csX1" fmla="*/ 142207 w 216927"/>
                    <a:gd name="csY1" fmla="*/ 23947 h 347545"/>
                    <a:gd name="csX2" fmla="*/ 130233 w 216927"/>
                    <a:gd name="csY2" fmla="*/ 0 h 347545"/>
                    <a:gd name="csX3" fmla="*/ 130233 w 216927"/>
                    <a:gd name="csY3" fmla="*/ 8708 h 347545"/>
                    <a:gd name="csX4" fmla="*/ 120821 w 216927"/>
                    <a:gd name="csY4" fmla="*/ 11269 h 347545"/>
                    <a:gd name="csX5" fmla="*/ 120821 w 216927"/>
                    <a:gd name="csY5" fmla="*/ 34479 h 347545"/>
                    <a:gd name="csX6" fmla="*/ 113906 w 216927"/>
                    <a:gd name="csY6" fmla="*/ 43924 h 347545"/>
                    <a:gd name="csX7" fmla="*/ 110289 w 216927"/>
                    <a:gd name="csY7" fmla="*/ 63484 h 347545"/>
                    <a:gd name="csX8" fmla="*/ 100844 w 216927"/>
                    <a:gd name="csY8" fmla="*/ 67838 h 347545"/>
                    <a:gd name="csX9" fmla="*/ 96490 w 216927"/>
                    <a:gd name="csY9" fmla="*/ 58426 h 347545"/>
                    <a:gd name="csX10" fmla="*/ 87783 w 216927"/>
                    <a:gd name="csY10" fmla="*/ 60251 h 347545"/>
                    <a:gd name="csX11" fmla="*/ 81988 w 216927"/>
                    <a:gd name="csY11" fmla="*/ 75842 h 347545"/>
                    <a:gd name="csX12" fmla="*/ 70015 w 216927"/>
                    <a:gd name="csY12" fmla="*/ 86726 h 347545"/>
                    <a:gd name="csX13" fmla="*/ 63132 w 216927"/>
                    <a:gd name="csY13" fmla="*/ 113554 h 347545"/>
                    <a:gd name="csX14" fmla="*/ 58778 w 216927"/>
                    <a:gd name="csY14" fmla="*/ 111761 h 347545"/>
                    <a:gd name="csX15" fmla="*/ 57689 w 216927"/>
                    <a:gd name="csY15" fmla="*/ 103054 h 347545"/>
                    <a:gd name="csX16" fmla="*/ 51895 w 216927"/>
                    <a:gd name="csY16" fmla="*/ 101581 h 347545"/>
                    <a:gd name="csX17" fmla="*/ 46805 w 216927"/>
                    <a:gd name="csY17" fmla="*/ 105935 h 347545"/>
                    <a:gd name="csX18" fmla="*/ 40626 w 216927"/>
                    <a:gd name="csY18" fmla="*/ 102317 h 347545"/>
                    <a:gd name="csX19" fmla="*/ 29389 w 216927"/>
                    <a:gd name="csY19" fmla="*/ 116115 h 347545"/>
                    <a:gd name="csX20" fmla="*/ 26860 w 216927"/>
                    <a:gd name="csY20" fmla="*/ 113554 h 347545"/>
                    <a:gd name="csX21" fmla="*/ 16711 w 216927"/>
                    <a:gd name="csY21" fmla="*/ 120469 h 347545"/>
                    <a:gd name="csX22" fmla="*/ 16711 w 216927"/>
                    <a:gd name="csY22" fmla="*/ 130618 h 347545"/>
                    <a:gd name="csX23" fmla="*/ 8004 w 216927"/>
                    <a:gd name="csY23" fmla="*/ 127352 h 347545"/>
                    <a:gd name="csX24" fmla="*/ 2913 w 216927"/>
                    <a:gd name="csY24" fmla="*/ 131706 h 347545"/>
                    <a:gd name="csX25" fmla="*/ 24299 w 216927"/>
                    <a:gd name="csY25" fmla="*/ 146945 h 347545"/>
                    <a:gd name="csX26" fmla="*/ 26124 w 216927"/>
                    <a:gd name="csY26" fmla="*/ 174509 h 347545"/>
                    <a:gd name="csX27" fmla="*/ 31918 w 216927"/>
                    <a:gd name="csY27" fmla="*/ 181392 h 347545"/>
                    <a:gd name="csX28" fmla="*/ 33007 w 216927"/>
                    <a:gd name="csY28" fmla="*/ 192629 h 347545"/>
                    <a:gd name="csX29" fmla="*/ 26124 w 216927"/>
                    <a:gd name="csY29" fmla="*/ 196279 h 347545"/>
                    <a:gd name="csX30" fmla="*/ 17416 w 216927"/>
                    <a:gd name="csY30" fmla="*/ 220929 h 347545"/>
                    <a:gd name="csX31" fmla="*/ 26860 w 216927"/>
                    <a:gd name="csY31" fmla="*/ 227844 h 347545"/>
                    <a:gd name="csX32" fmla="*/ 26124 w 216927"/>
                    <a:gd name="csY32" fmla="*/ 236520 h 347545"/>
                    <a:gd name="csX33" fmla="*/ 15623 w 216927"/>
                    <a:gd name="csY33" fmla="*/ 240170 h 347545"/>
                    <a:gd name="csX34" fmla="*/ 12357 w 216927"/>
                    <a:gd name="csY34" fmla="*/ 249582 h 347545"/>
                    <a:gd name="csX35" fmla="*/ 19240 w 216927"/>
                    <a:gd name="csY35" fmla="*/ 265909 h 347545"/>
                    <a:gd name="csX36" fmla="*/ 25035 w 216927"/>
                    <a:gd name="csY36" fmla="*/ 268471 h 347545"/>
                    <a:gd name="csX37" fmla="*/ 19977 w 216927"/>
                    <a:gd name="csY37" fmla="*/ 279707 h 347545"/>
                    <a:gd name="csX38" fmla="*/ 14887 w 216927"/>
                    <a:gd name="csY38" fmla="*/ 281148 h 347545"/>
                    <a:gd name="csX39" fmla="*/ 8708 w 216927"/>
                    <a:gd name="csY39" fmla="*/ 272824 h 347545"/>
                    <a:gd name="csX40" fmla="*/ 4354 w 216927"/>
                    <a:gd name="csY40" fmla="*/ 294946 h 347545"/>
                    <a:gd name="csX41" fmla="*/ 16711 w 216927"/>
                    <a:gd name="csY41" fmla="*/ 296035 h 347545"/>
                    <a:gd name="csX42" fmla="*/ 19240 w 216927"/>
                    <a:gd name="csY42" fmla="*/ 303654 h 347545"/>
                    <a:gd name="csX43" fmla="*/ 5442 w 216927"/>
                    <a:gd name="csY43" fmla="*/ 322510 h 347545"/>
                    <a:gd name="csX44" fmla="*/ 1088 w 216927"/>
                    <a:gd name="csY44" fmla="*/ 337397 h 347545"/>
                    <a:gd name="csX45" fmla="*/ 0 w 216927"/>
                    <a:gd name="csY45" fmla="*/ 343191 h 347545"/>
                    <a:gd name="csX46" fmla="*/ 8708 w 216927"/>
                    <a:gd name="csY46" fmla="*/ 347545 h 347545"/>
                    <a:gd name="csX47" fmla="*/ 17416 w 216927"/>
                    <a:gd name="csY47" fmla="*/ 343191 h 347545"/>
                    <a:gd name="csX48" fmla="*/ 25035 w 216927"/>
                    <a:gd name="csY48" fmla="*/ 345720 h 347545"/>
                    <a:gd name="csX49" fmla="*/ 34479 w 216927"/>
                    <a:gd name="csY49" fmla="*/ 327953 h 347545"/>
                    <a:gd name="csX50" fmla="*/ 43891 w 216927"/>
                    <a:gd name="csY50" fmla="*/ 329393 h 347545"/>
                    <a:gd name="csX51" fmla="*/ 56953 w 216927"/>
                    <a:gd name="csY51" fmla="*/ 321774 h 347545"/>
                    <a:gd name="csX52" fmla="*/ 71487 w 216927"/>
                    <a:gd name="csY52" fmla="*/ 327953 h 347545"/>
                    <a:gd name="csX53" fmla="*/ 87078 w 216927"/>
                    <a:gd name="csY53" fmla="*/ 300388 h 347545"/>
                    <a:gd name="csX54" fmla="*/ 108464 w 216927"/>
                    <a:gd name="csY54" fmla="*/ 319981 h 347545"/>
                    <a:gd name="csX55" fmla="*/ 128441 w 216927"/>
                    <a:gd name="csY55" fmla="*/ 304358 h 347545"/>
                    <a:gd name="csX56" fmla="*/ 136028 w 216927"/>
                    <a:gd name="csY56" fmla="*/ 303654 h 347545"/>
                    <a:gd name="csX57" fmla="*/ 140414 w 216927"/>
                    <a:gd name="csY57" fmla="*/ 282236 h 347545"/>
                    <a:gd name="csX58" fmla="*/ 150914 w 216927"/>
                    <a:gd name="csY58" fmla="*/ 279707 h 347545"/>
                    <a:gd name="csX59" fmla="*/ 158534 w 216927"/>
                    <a:gd name="csY59" fmla="*/ 257938 h 347545"/>
                    <a:gd name="csX60" fmla="*/ 156005 w 216927"/>
                    <a:gd name="csY60" fmla="*/ 254672 h 347545"/>
                    <a:gd name="csX61" fmla="*/ 161799 w 216927"/>
                    <a:gd name="csY61" fmla="*/ 250318 h 347545"/>
                    <a:gd name="csX62" fmla="*/ 167978 w 216927"/>
                    <a:gd name="csY62" fmla="*/ 239081 h 347545"/>
                    <a:gd name="csX63" fmla="*/ 170507 w 216927"/>
                    <a:gd name="csY63" fmla="*/ 232198 h 347545"/>
                    <a:gd name="csX64" fmla="*/ 182480 w 216927"/>
                    <a:gd name="csY64" fmla="*/ 233287 h 347545"/>
                    <a:gd name="csX65" fmla="*/ 189363 w 216927"/>
                    <a:gd name="csY65" fmla="*/ 217664 h 347545"/>
                    <a:gd name="csX66" fmla="*/ 203161 w 216927"/>
                    <a:gd name="csY66" fmla="*/ 193717 h 347545"/>
                    <a:gd name="csX67" fmla="*/ 204250 w 216927"/>
                    <a:gd name="csY67" fmla="*/ 178126 h 347545"/>
                    <a:gd name="csX68" fmla="*/ 200600 w 216927"/>
                    <a:gd name="csY68" fmla="*/ 166889 h 347545"/>
                    <a:gd name="csX69" fmla="*/ 205691 w 216927"/>
                    <a:gd name="csY69" fmla="*/ 155653 h 347545"/>
                    <a:gd name="csX70" fmla="*/ 216928 w 216927"/>
                    <a:gd name="csY70" fmla="*/ 150562 h 347545"/>
                    <a:gd name="csX71" fmla="*/ 215487 w 216927"/>
                    <a:gd name="csY71" fmla="*/ 139325 h 347545"/>
                    <a:gd name="csX72" fmla="*/ 202425 w 216927"/>
                    <a:gd name="csY72" fmla="*/ 136764 h 347545"/>
                    <a:gd name="csX73" fmla="*/ 202425 w 216927"/>
                    <a:gd name="csY73" fmla="*/ 127352 h 347545"/>
                    <a:gd name="csX74" fmla="*/ 196246 w 216927"/>
                    <a:gd name="csY74" fmla="*/ 122998 h 347545"/>
                    <a:gd name="csX75" fmla="*/ 193013 w 216927"/>
                    <a:gd name="csY75" fmla="*/ 107407 h 347545"/>
                    <a:gd name="csX76" fmla="*/ 200600 w 216927"/>
                    <a:gd name="csY76" fmla="*/ 108496 h 347545"/>
                    <a:gd name="csX77" fmla="*/ 200600 w 216927"/>
                    <a:gd name="csY77" fmla="*/ 102317 h 347545"/>
                    <a:gd name="csX78" fmla="*/ 209308 w 216927"/>
                    <a:gd name="csY78" fmla="*/ 103054 h 347545"/>
                    <a:gd name="csX79" fmla="*/ 204954 w 216927"/>
                    <a:gd name="csY79" fmla="*/ 89607 h 347545"/>
                    <a:gd name="csX80" fmla="*/ 197335 w 216927"/>
                    <a:gd name="csY80" fmla="*/ 71488 h 347545"/>
                    <a:gd name="csX81" fmla="*/ 181744 w 216927"/>
                    <a:gd name="csY81" fmla="*/ 60251 h 347545"/>
                    <a:gd name="csX82" fmla="*/ 176686 w 216927"/>
                    <a:gd name="csY82" fmla="*/ 74753 h 347545"/>
                    <a:gd name="csX83" fmla="*/ 164713 w 216927"/>
                    <a:gd name="csY83" fmla="*/ 76546 h 347545"/>
                    <a:gd name="csX84" fmla="*/ 158534 w 216927"/>
                    <a:gd name="csY84" fmla="*/ 71488 h 347545"/>
                    <a:gd name="csX85" fmla="*/ 164713 w 216927"/>
                    <a:gd name="csY85" fmla="*/ 58426 h 3475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</a:cxnLst>
                  <a:rect l="l" t="t" r="r" b="b"/>
                  <a:pathLst>
                    <a:path w="216927" h="347545">
                      <a:moveTo>
                        <a:pt x="164713" y="58426"/>
                      </a:moveTo>
                      <a:lnTo>
                        <a:pt x="142207" y="23947"/>
                      </a:lnTo>
                      <a:lnTo>
                        <a:pt x="130233" y="0"/>
                      </a:lnTo>
                      <a:lnTo>
                        <a:pt x="130233" y="8708"/>
                      </a:lnTo>
                      <a:lnTo>
                        <a:pt x="120821" y="11269"/>
                      </a:lnTo>
                      <a:lnTo>
                        <a:pt x="120821" y="34479"/>
                      </a:lnTo>
                      <a:lnTo>
                        <a:pt x="113906" y="43924"/>
                      </a:lnTo>
                      <a:lnTo>
                        <a:pt x="110289" y="63484"/>
                      </a:lnTo>
                      <a:lnTo>
                        <a:pt x="100844" y="67838"/>
                      </a:lnTo>
                      <a:lnTo>
                        <a:pt x="96490" y="58426"/>
                      </a:lnTo>
                      <a:lnTo>
                        <a:pt x="87783" y="60251"/>
                      </a:lnTo>
                      <a:lnTo>
                        <a:pt x="81988" y="75842"/>
                      </a:lnTo>
                      <a:lnTo>
                        <a:pt x="70015" y="86726"/>
                      </a:lnTo>
                      <a:lnTo>
                        <a:pt x="63132" y="113554"/>
                      </a:lnTo>
                      <a:lnTo>
                        <a:pt x="58778" y="111761"/>
                      </a:lnTo>
                      <a:lnTo>
                        <a:pt x="57689" y="103054"/>
                      </a:lnTo>
                      <a:lnTo>
                        <a:pt x="51895" y="101581"/>
                      </a:lnTo>
                      <a:lnTo>
                        <a:pt x="46805" y="105935"/>
                      </a:lnTo>
                      <a:lnTo>
                        <a:pt x="40626" y="102317"/>
                      </a:lnTo>
                      <a:lnTo>
                        <a:pt x="29389" y="116115"/>
                      </a:lnTo>
                      <a:lnTo>
                        <a:pt x="26860" y="113554"/>
                      </a:lnTo>
                      <a:lnTo>
                        <a:pt x="16711" y="120469"/>
                      </a:lnTo>
                      <a:lnTo>
                        <a:pt x="16711" y="130618"/>
                      </a:lnTo>
                      <a:lnTo>
                        <a:pt x="8004" y="127352"/>
                      </a:lnTo>
                      <a:lnTo>
                        <a:pt x="2913" y="131706"/>
                      </a:lnTo>
                      <a:lnTo>
                        <a:pt x="24299" y="146945"/>
                      </a:lnTo>
                      <a:lnTo>
                        <a:pt x="26124" y="174509"/>
                      </a:lnTo>
                      <a:lnTo>
                        <a:pt x="31918" y="181392"/>
                      </a:lnTo>
                      <a:lnTo>
                        <a:pt x="33007" y="192629"/>
                      </a:lnTo>
                      <a:lnTo>
                        <a:pt x="26124" y="196279"/>
                      </a:lnTo>
                      <a:lnTo>
                        <a:pt x="17416" y="220929"/>
                      </a:lnTo>
                      <a:lnTo>
                        <a:pt x="26860" y="227844"/>
                      </a:lnTo>
                      <a:lnTo>
                        <a:pt x="26124" y="236520"/>
                      </a:lnTo>
                      <a:lnTo>
                        <a:pt x="15623" y="240170"/>
                      </a:lnTo>
                      <a:lnTo>
                        <a:pt x="12357" y="249582"/>
                      </a:lnTo>
                      <a:lnTo>
                        <a:pt x="19240" y="265909"/>
                      </a:lnTo>
                      <a:lnTo>
                        <a:pt x="25035" y="268471"/>
                      </a:lnTo>
                      <a:lnTo>
                        <a:pt x="19977" y="279707"/>
                      </a:lnTo>
                      <a:lnTo>
                        <a:pt x="14887" y="281148"/>
                      </a:lnTo>
                      <a:lnTo>
                        <a:pt x="8708" y="272824"/>
                      </a:lnTo>
                      <a:lnTo>
                        <a:pt x="4354" y="294946"/>
                      </a:lnTo>
                      <a:lnTo>
                        <a:pt x="16711" y="296035"/>
                      </a:lnTo>
                      <a:lnTo>
                        <a:pt x="19240" y="303654"/>
                      </a:lnTo>
                      <a:lnTo>
                        <a:pt x="5442" y="322510"/>
                      </a:lnTo>
                      <a:lnTo>
                        <a:pt x="1088" y="337397"/>
                      </a:lnTo>
                      <a:lnTo>
                        <a:pt x="0" y="343191"/>
                      </a:lnTo>
                      <a:lnTo>
                        <a:pt x="8708" y="347545"/>
                      </a:lnTo>
                      <a:lnTo>
                        <a:pt x="17416" y="343191"/>
                      </a:lnTo>
                      <a:lnTo>
                        <a:pt x="25035" y="345720"/>
                      </a:lnTo>
                      <a:lnTo>
                        <a:pt x="34479" y="327953"/>
                      </a:lnTo>
                      <a:lnTo>
                        <a:pt x="43891" y="329393"/>
                      </a:lnTo>
                      <a:lnTo>
                        <a:pt x="56953" y="321774"/>
                      </a:lnTo>
                      <a:lnTo>
                        <a:pt x="71487" y="327953"/>
                      </a:lnTo>
                      <a:lnTo>
                        <a:pt x="87078" y="300388"/>
                      </a:lnTo>
                      <a:lnTo>
                        <a:pt x="108464" y="319981"/>
                      </a:lnTo>
                      <a:lnTo>
                        <a:pt x="128441" y="304358"/>
                      </a:lnTo>
                      <a:lnTo>
                        <a:pt x="136028" y="303654"/>
                      </a:lnTo>
                      <a:lnTo>
                        <a:pt x="140414" y="282236"/>
                      </a:lnTo>
                      <a:lnTo>
                        <a:pt x="150914" y="279707"/>
                      </a:lnTo>
                      <a:lnTo>
                        <a:pt x="158534" y="257938"/>
                      </a:lnTo>
                      <a:lnTo>
                        <a:pt x="156005" y="254672"/>
                      </a:lnTo>
                      <a:lnTo>
                        <a:pt x="161799" y="250318"/>
                      </a:lnTo>
                      <a:lnTo>
                        <a:pt x="167978" y="239081"/>
                      </a:lnTo>
                      <a:lnTo>
                        <a:pt x="170507" y="232198"/>
                      </a:lnTo>
                      <a:lnTo>
                        <a:pt x="182480" y="233287"/>
                      </a:lnTo>
                      <a:lnTo>
                        <a:pt x="189363" y="217664"/>
                      </a:lnTo>
                      <a:lnTo>
                        <a:pt x="203161" y="193717"/>
                      </a:lnTo>
                      <a:lnTo>
                        <a:pt x="204250" y="178126"/>
                      </a:lnTo>
                      <a:lnTo>
                        <a:pt x="200600" y="166889"/>
                      </a:lnTo>
                      <a:lnTo>
                        <a:pt x="205691" y="155653"/>
                      </a:lnTo>
                      <a:lnTo>
                        <a:pt x="216928" y="150562"/>
                      </a:lnTo>
                      <a:lnTo>
                        <a:pt x="215487" y="139325"/>
                      </a:lnTo>
                      <a:lnTo>
                        <a:pt x="202425" y="136764"/>
                      </a:lnTo>
                      <a:lnTo>
                        <a:pt x="202425" y="127352"/>
                      </a:lnTo>
                      <a:lnTo>
                        <a:pt x="196246" y="122998"/>
                      </a:lnTo>
                      <a:lnTo>
                        <a:pt x="193013" y="107407"/>
                      </a:lnTo>
                      <a:lnTo>
                        <a:pt x="200600" y="108496"/>
                      </a:lnTo>
                      <a:lnTo>
                        <a:pt x="200600" y="102317"/>
                      </a:lnTo>
                      <a:lnTo>
                        <a:pt x="209308" y="103054"/>
                      </a:lnTo>
                      <a:lnTo>
                        <a:pt x="204954" y="89607"/>
                      </a:lnTo>
                      <a:lnTo>
                        <a:pt x="197335" y="71488"/>
                      </a:lnTo>
                      <a:lnTo>
                        <a:pt x="181744" y="60251"/>
                      </a:lnTo>
                      <a:lnTo>
                        <a:pt x="176686" y="74753"/>
                      </a:lnTo>
                      <a:lnTo>
                        <a:pt x="164713" y="76546"/>
                      </a:lnTo>
                      <a:lnTo>
                        <a:pt x="158534" y="71488"/>
                      </a:lnTo>
                      <a:lnTo>
                        <a:pt x="164713" y="5842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48A01EEE-4575-F55B-3C91-A56D582D6CE1}"/>
                    </a:ext>
                  </a:extLst>
                </p:cNvPr>
                <p:cNvSpPr/>
                <p:nvPr/>
              </p:nvSpPr>
              <p:spPr>
                <a:xfrm>
                  <a:off x="1754512" y="5949630"/>
                  <a:ext cx="216927" cy="347545"/>
                </a:xfrm>
                <a:custGeom>
                  <a:avLst/>
                  <a:gdLst>
                    <a:gd name="csX0" fmla="*/ 164713 w 216927"/>
                    <a:gd name="csY0" fmla="*/ 58426 h 347545"/>
                    <a:gd name="csX1" fmla="*/ 142207 w 216927"/>
                    <a:gd name="csY1" fmla="*/ 23947 h 347545"/>
                    <a:gd name="csX2" fmla="*/ 130233 w 216927"/>
                    <a:gd name="csY2" fmla="*/ 0 h 347545"/>
                    <a:gd name="csX3" fmla="*/ 130233 w 216927"/>
                    <a:gd name="csY3" fmla="*/ 8708 h 347545"/>
                    <a:gd name="csX4" fmla="*/ 120821 w 216927"/>
                    <a:gd name="csY4" fmla="*/ 11269 h 347545"/>
                    <a:gd name="csX5" fmla="*/ 120821 w 216927"/>
                    <a:gd name="csY5" fmla="*/ 34479 h 347545"/>
                    <a:gd name="csX6" fmla="*/ 113906 w 216927"/>
                    <a:gd name="csY6" fmla="*/ 43924 h 347545"/>
                    <a:gd name="csX7" fmla="*/ 110289 w 216927"/>
                    <a:gd name="csY7" fmla="*/ 63484 h 347545"/>
                    <a:gd name="csX8" fmla="*/ 100844 w 216927"/>
                    <a:gd name="csY8" fmla="*/ 67838 h 347545"/>
                    <a:gd name="csX9" fmla="*/ 96490 w 216927"/>
                    <a:gd name="csY9" fmla="*/ 58426 h 347545"/>
                    <a:gd name="csX10" fmla="*/ 87783 w 216927"/>
                    <a:gd name="csY10" fmla="*/ 60251 h 347545"/>
                    <a:gd name="csX11" fmla="*/ 81988 w 216927"/>
                    <a:gd name="csY11" fmla="*/ 75842 h 347545"/>
                    <a:gd name="csX12" fmla="*/ 70015 w 216927"/>
                    <a:gd name="csY12" fmla="*/ 86726 h 347545"/>
                    <a:gd name="csX13" fmla="*/ 63132 w 216927"/>
                    <a:gd name="csY13" fmla="*/ 113554 h 347545"/>
                    <a:gd name="csX14" fmla="*/ 58778 w 216927"/>
                    <a:gd name="csY14" fmla="*/ 111761 h 347545"/>
                    <a:gd name="csX15" fmla="*/ 57689 w 216927"/>
                    <a:gd name="csY15" fmla="*/ 103054 h 347545"/>
                    <a:gd name="csX16" fmla="*/ 51895 w 216927"/>
                    <a:gd name="csY16" fmla="*/ 101581 h 347545"/>
                    <a:gd name="csX17" fmla="*/ 46805 w 216927"/>
                    <a:gd name="csY17" fmla="*/ 105935 h 347545"/>
                    <a:gd name="csX18" fmla="*/ 40626 w 216927"/>
                    <a:gd name="csY18" fmla="*/ 102317 h 347545"/>
                    <a:gd name="csX19" fmla="*/ 29389 w 216927"/>
                    <a:gd name="csY19" fmla="*/ 116115 h 347545"/>
                    <a:gd name="csX20" fmla="*/ 26860 w 216927"/>
                    <a:gd name="csY20" fmla="*/ 113554 h 347545"/>
                    <a:gd name="csX21" fmla="*/ 16711 w 216927"/>
                    <a:gd name="csY21" fmla="*/ 120469 h 347545"/>
                    <a:gd name="csX22" fmla="*/ 16711 w 216927"/>
                    <a:gd name="csY22" fmla="*/ 130618 h 347545"/>
                    <a:gd name="csX23" fmla="*/ 8004 w 216927"/>
                    <a:gd name="csY23" fmla="*/ 127352 h 347545"/>
                    <a:gd name="csX24" fmla="*/ 2913 w 216927"/>
                    <a:gd name="csY24" fmla="*/ 131706 h 347545"/>
                    <a:gd name="csX25" fmla="*/ 24299 w 216927"/>
                    <a:gd name="csY25" fmla="*/ 146945 h 347545"/>
                    <a:gd name="csX26" fmla="*/ 26124 w 216927"/>
                    <a:gd name="csY26" fmla="*/ 174509 h 347545"/>
                    <a:gd name="csX27" fmla="*/ 31918 w 216927"/>
                    <a:gd name="csY27" fmla="*/ 181392 h 347545"/>
                    <a:gd name="csX28" fmla="*/ 33007 w 216927"/>
                    <a:gd name="csY28" fmla="*/ 192629 h 347545"/>
                    <a:gd name="csX29" fmla="*/ 26124 w 216927"/>
                    <a:gd name="csY29" fmla="*/ 196279 h 347545"/>
                    <a:gd name="csX30" fmla="*/ 17416 w 216927"/>
                    <a:gd name="csY30" fmla="*/ 220929 h 347545"/>
                    <a:gd name="csX31" fmla="*/ 26860 w 216927"/>
                    <a:gd name="csY31" fmla="*/ 227844 h 347545"/>
                    <a:gd name="csX32" fmla="*/ 26124 w 216927"/>
                    <a:gd name="csY32" fmla="*/ 236520 h 347545"/>
                    <a:gd name="csX33" fmla="*/ 15623 w 216927"/>
                    <a:gd name="csY33" fmla="*/ 240170 h 347545"/>
                    <a:gd name="csX34" fmla="*/ 12357 w 216927"/>
                    <a:gd name="csY34" fmla="*/ 249582 h 347545"/>
                    <a:gd name="csX35" fmla="*/ 19240 w 216927"/>
                    <a:gd name="csY35" fmla="*/ 265909 h 347545"/>
                    <a:gd name="csX36" fmla="*/ 25035 w 216927"/>
                    <a:gd name="csY36" fmla="*/ 268471 h 347545"/>
                    <a:gd name="csX37" fmla="*/ 19977 w 216927"/>
                    <a:gd name="csY37" fmla="*/ 279707 h 347545"/>
                    <a:gd name="csX38" fmla="*/ 14887 w 216927"/>
                    <a:gd name="csY38" fmla="*/ 281148 h 347545"/>
                    <a:gd name="csX39" fmla="*/ 8708 w 216927"/>
                    <a:gd name="csY39" fmla="*/ 272824 h 347545"/>
                    <a:gd name="csX40" fmla="*/ 4354 w 216927"/>
                    <a:gd name="csY40" fmla="*/ 294946 h 347545"/>
                    <a:gd name="csX41" fmla="*/ 16711 w 216927"/>
                    <a:gd name="csY41" fmla="*/ 296035 h 347545"/>
                    <a:gd name="csX42" fmla="*/ 19240 w 216927"/>
                    <a:gd name="csY42" fmla="*/ 303654 h 347545"/>
                    <a:gd name="csX43" fmla="*/ 5442 w 216927"/>
                    <a:gd name="csY43" fmla="*/ 322510 h 347545"/>
                    <a:gd name="csX44" fmla="*/ 1088 w 216927"/>
                    <a:gd name="csY44" fmla="*/ 337397 h 347545"/>
                    <a:gd name="csX45" fmla="*/ 0 w 216927"/>
                    <a:gd name="csY45" fmla="*/ 343191 h 347545"/>
                    <a:gd name="csX46" fmla="*/ 8708 w 216927"/>
                    <a:gd name="csY46" fmla="*/ 347545 h 347545"/>
                    <a:gd name="csX47" fmla="*/ 17416 w 216927"/>
                    <a:gd name="csY47" fmla="*/ 343191 h 347545"/>
                    <a:gd name="csX48" fmla="*/ 25035 w 216927"/>
                    <a:gd name="csY48" fmla="*/ 345720 h 347545"/>
                    <a:gd name="csX49" fmla="*/ 34479 w 216927"/>
                    <a:gd name="csY49" fmla="*/ 327953 h 347545"/>
                    <a:gd name="csX50" fmla="*/ 43891 w 216927"/>
                    <a:gd name="csY50" fmla="*/ 329393 h 347545"/>
                    <a:gd name="csX51" fmla="*/ 56953 w 216927"/>
                    <a:gd name="csY51" fmla="*/ 321774 h 347545"/>
                    <a:gd name="csX52" fmla="*/ 71487 w 216927"/>
                    <a:gd name="csY52" fmla="*/ 327953 h 347545"/>
                    <a:gd name="csX53" fmla="*/ 87078 w 216927"/>
                    <a:gd name="csY53" fmla="*/ 300388 h 347545"/>
                    <a:gd name="csX54" fmla="*/ 108464 w 216927"/>
                    <a:gd name="csY54" fmla="*/ 319981 h 347545"/>
                    <a:gd name="csX55" fmla="*/ 128441 w 216927"/>
                    <a:gd name="csY55" fmla="*/ 304358 h 347545"/>
                    <a:gd name="csX56" fmla="*/ 136028 w 216927"/>
                    <a:gd name="csY56" fmla="*/ 303654 h 347545"/>
                    <a:gd name="csX57" fmla="*/ 140414 w 216927"/>
                    <a:gd name="csY57" fmla="*/ 282236 h 347545"/>
                    <a:gd name="csX58" fmla="*/ 150914 w 216927"/>
                    <a:gd name="csY58" fmla="*/ 279707 h 347545"/>
                    <a:gd name="csX59" fmla="*/ 158534 w 216927"/>
                    <a:gd name="csY59" fmla="*/ 257938 h 347545"/>
                    <a:gd name="csX60" fmla="*/ 156005 w 216927"/>
                    <a:gd name="csY60" fmla="*/ 254672 h 347545"/>
                    <a:gd name="csX61" fmla="*/ 161799 w 216927"/>
                    <a:gd name="csY61" fmla="*/ 250318 h 347545"/>
                    <a:gd name="csX62" fmla="*/ 167978 w 216927"/>
                    <a:gd name="csY62" fmla="*/ 239081 h 347545"/>
                    <a:gd name="csX63" fmla="*/ 170507 w 216927"/>
                    <a:gd name="csY63" fmla="*/ 232198 h 347545"/>
                    <a:gd name="csX64" fmla="*/ 182480 w 216927"/>
                    <a:gd name="csY64" fmla="*/ 233287 h 347545"/>
                    <a:gd name="csX65" fmla="*/ 189363 w 216927"/>
                    <a:gd name="csY65" fmla="*/ 217664 h 347545"/>
                    <a:gd name="csX66" fmla="*/ 203161 w 216927"/>
                    <a:gd name="csY66" fmla="*/ 193717 h 347545"/>
                    <a:gd name="csX67" fmla="*/ 204250 w 216927"/>
                    <a:gd name="csY67" fmla="*/ 178126 h 347545"/>
                    <a:gd name="csX68" fmla="*/ 200600 w 216927"/>
                    <a:gd name="csY68" fmla="*/ 166889 h 347545"/>
                    <a:gd name="csX69" fmla="*/ 205691 w 216927"/>
                    <a:gd name="csY69" fmla="*/ 155653 h 347545"/>
                    <a:gd name="csX70" fmla="*/ 216928 w 216927"/>
                    <a:gd name="csY70" fmla="*/ 150562 h 347545"/>
                    <a:gd name="csX71" fmla="*/ 215487 w 216927"/>
                    <a:gd name="csY71" fmla="*/ 139325 h 347545"/>
                    <a:gd name="csX72" fmla="*/ 202425 w 216927"/>
                    <a:gd name="csY72" fmla="*/ 136764 h 347545"/>
                    <a:gd name="csX73" fmla="*/ 202425 w 216927"/>
                    <a:gd name="csY73" fmla="*/ 127352 h 347545"/>
                    <a:gd name="csX74" fmla="*/ 196246 w 216927"/>
                    <a:gd name="csY74" fmla="*/ 122998 h 347545"/>
                    <a:gd name="csX75" fmla="*/ 193013 w 216927"/>
                    <a:gd name="csY75" fmla="*/ 107407 h 347545"/>
                    <a:gd name="csX76" fmla="*/ 200600 w 216927"/>
                    <a:gd name="csY76" fmla="*/ 108496 h 347545"/>
                    <a:gd name="csX77" fmla="*/ 200600 w 216927"/>
                    <a:gd name="csY77" fmla="*/ 102317 h 347545"/>
                    <a:gd name="csX78" fmla="*/ 209308 w 216927"/>
                    <a:gd name="csY78" fmla="*/ 103054 h 347545"/>
                    <a:gd name="csX79" fmla="*/ 204954 w 216927"/>
                    <a:gd name="csY79" fmla="*/ 89607 h 347545"/>
                    <a:gd name="csX80" fmla="*/ 197335 w 216927"/>
                    <a:gd name="csY80" fmla="*/ 71488 h 347545"/>
                    <a:gd name="csX81" fmla="*/ 181744 w 216927"/>
                    <a:gd name="csY81" fmla="*/ 60251 h 347545"/>
                    <a:gd name="csX82" fmla="*/ 176686 w 216927"/>
                    <a:gd name="csY82" fmla="*/ 74753 h 347545"/>
                    <a:gd name="csX83" fmla="*/ 164713 w 216927"/>
                    <a:gd name="csY83" fmla="*/ 76546 h 347545"/>
                    <a:gd name="csX84" fmla="*/ 158534 w 216927"/>
                    <a:gd name="csY84" fmla="*/ 71488 h 347545"/>
                    <a:gd name="csX85" fmla="*/ 164713 w 216927"/>
                    <a:gd name="csY85" fmla="*/ 58426 h 3475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</a:cxnLst>
                  <a:rect l="l" t="t" r="r" b="b"/>
                  <a:pathLst>
                    <a:path w="216927" h="347545">
                      <a:moveTo>
                        <a:pt x="164713" y="58426"/>
                      </a:moveTo>
                      <a:lnTo>
                        <a:pt x="142207" y="23947"/>
                      </a:lnTo>
                      <a:lnTo>
                        <a:pt x="130233" y="0"/>
                      </a:lnTo>
                      <a:lnTo>
                        <a:pt x="130233" y="8708"/>
                      </a:lnTo>
                      <a:lnTo>
                        <a:pt x="120821" y="11269"/>
                      </a:lnTo>
                      <a:lnTo>
                        <a:pt x="120821" y="34479"/>
                      </a:lnTo>
                      <a:lnTo>
                        <a:pt x="113906" y="43924"/>
                      </a:lnTo>
                      <a:lnTo>
                        <a:pt x="110289" y="63484"/>
                      </a:lnTo>
                      <a:lnTo>
                        <a:pt x="100844" y="67838"/>
                      </a:lnTo>
                      <a:lnTo>
                        <a:pt x="96490" y="58426"/>
                      </a:lnTo>
                      <a:lnTo>
                        <a:pt x="87783" y="60251"/>
                      </a:lnTo>
                      <a:lnTo>
                        <a:pt x="81988" y="75842"/>
                      </a:lnTo>
                      <a:lnTo>
                        <a:pt x="70015" y="86726"/>
                      </a:lnTo>
                      <a:lnTo>
                        <a:pt x="63132" y="113554"/>
                      </a:lnTo>
                      <a:lnTo>
                        <a:pt x="58778" y="111761"/>
                      </a:lnTo>
                      <a:lnTo>
                        <a:pt x="57689" y="103054"/>
                      </a:lnTo>
                      <a:lnTo>
                        <a:pt x="51895" y="101581"/>
                      </a:lnTo>
                      <a:lnTo>
                        <a:pt x="46805" y="105935"/>
                      </a:lnTo>
                      <a:lnTo>
                        <a:pt x="40626" y="102317"/>
                      </a:lnTo>
                      <a:lnTo>
                        <a:pt x="29389" y="116115"/>
                      </a:lnTo>
                      <a:lnTo>
                        <a:pt x="26860" y="113554"/>
                      </a:lnTo>
                      <a:lnTo>
                        <a:pt x="16711" y="120469"/>
                      </a:lnTo>
                      <a:lnTo>
                        <a:pt x="16711" y="130618"/>
                      </a:lnTo>
                      <a:lnTo>
                        <a:pt x="8004" y="127352"/>
                      </a:lnTo>
                      <a:lnTo>
                        <a:pt x="2913" y="131706"/>
                      </a:lnTo>
                      <a:lnTo>
                        <a:pt x="24299" y="146945"/>
                      </a:lnTo>
                      <a:lnTo>
                        <a:pt x="26124" y="174509"/>
                      </a:lnTo>
                      <a:lnTo>
                        <a:pt x="31918" y="181392"/>
                      </a:lnTo>
                      <a:lnTo>
                        <a:pt x="33007" y="192629"/>
                      </a:lnTo>
                      <a:lnTo>
                        <a:pt x="26124" y="196279"/>
                      </a:lnTo>
                      <a:lnTo>
                        <a:pt x="17416" y="220929"/>
                      </a:lnTo>
                      <a:lnTo>
                        <a:pt x="26860" y="227844"/>
                      </a:lnTo>
                      <a:lnTo>
                        <a:pt x="26124" y="236520"/>
                      </a:lnTo>
                      <a:lnTo>
                        <a:pt x="15623" y="240170"/>
                      </a:lnTo>
                      <a:lnTo>
                        <a:pt x="12357" y="249582"/>
                      </a:lnTo>
                      <a:lnTo>
                        <a:pt x="19240" y="265909"/>
                      </a:lnTo>
                      <a:lnTo>
                        <a:pt x="25035" y="268471"/>
                      </a:lnTo>
                      <a:lnTo>
                        <a:pt x="19977" y="279707"/>
                      </a:lnTo>
                      <a:lnTo>
                        <a:pt x="14887" y="281148"/>
                      </a:lnTo>
                      <a:lnTo>
                        <a:pt x="8708" y="272824"/>
                      </a:lnTo>
                      <a:lnTo>
                        <a:pt x="4354" y="294946"/>
                      </a:lnTo>
                      <a:lnTo>
                        <a:pt x="16711" y="296035"/>
                      </a:lnTo>
                      <a:lnTo>
                        <a:pt x="19240" y="303654"/>
                      </a:lnTo>
                      <a:lnTo>
                        <a:pt x="5442" y="322510"/>
                      </a:lnTo>
                      <a:lnTo>
                        <a:pt x="1088" y="337397"/>
                      </a:lnTo>
                      <a:lnTo>
                        <a:pt x="0" y="343191"/>
                      </a:lnTo>
                      <a:lnTo>
                        <a:pt x="8708" y="347545"/>
                      </a:lnTo>
                      <a:lnTo>
                        <a:pt x="17416" y="343191"/>
                      </a:lnTo>
                      <a:lnTo>
                        <a:pt x="25035" y="345720"/>
                      </a:lnTo>
                      <a:lnTo>
                        <a:pt x="34479" y="327953"/>
                      </a:lnTo>
                      <a:lnTo>
                        <a:pt x="43891" y="329393"/>
                      </a:lnTo>
                      <a:lnTo>
                        <a:pt x="56953" y="321774"/>
                      </a:lnTo>
                      <a:lnTo>
                        <a:pt x="71487" y="327953"/>
                      </a:lnTo>
                      <a:lnTo>
                        <a:pt x="87078" y="300388"/>
                      </a:lnTo>
                      <a:lnTo>
                        <a:pt x="108464" y="319981"/>
                      </a:lnTo>
                      <a:lnTo>
                        <a:pt x="128441" y="304358"/>
                      </a:lnTo>
                      <a:lnTo>
                        <a:pt x="136028" y="303654"/>
                      </a:lnTo>
                      <a:lnTo>
                        <a:pt x="140414" y="282236"/>
                      </a:lnTo>
                      <a:lnTo>
                        <a:pt x="150914" y="279707"/>
                      </a:lnTo>
                      <a:lnTo>
                        <a:pt x="158534" y="257938"/>
                      </a:lnTo>
                      <a:lnTo>
                        <a:pt x="156005" y="254672"/>
                      </a:lnTo>
                      <a:lnTo>
                        <a:pt x="161799" y="250318"/>
                      </a:lnTo>
                      <a:lnTo>
                        <a:pt x="167978" y="239081"/>
                      </a:lnTo>
                      <a:lnTo>
                        <a:pt x="170507" y="232198"/>
                      </a:lnTo>
                      <a:lnTo>
                        <a:pt x="182480" y="233287"/>
                      </a:lnTo>
                      <a:lnTo>
                        <a:pt x="189363" y="217664"/>
                      </a:lnTo>
                      <a:lnTo>
                        <a:pt x="203161" y="193717"/>
                      </a:lnTo>
                      <a:lnTo>
                        <a:pt x="204250" y="178126"/>
                      </a:lnTo>
                      <a:lnTo>
                        <a:pt x="200600" y="166889"/>
                      </a:lnTo>
                      <a:lnTo>
                        <a:pt x="205691" y="155653"/>
                      </a:lnTo>
                      <a:lnTo>
                        <a:pt x="216928" y="150562"/>
                      </a:lnTo>
                      <a:lnTo>
                        <a:pt x="215487" y="139325"/>
                      </a:lnTo>
                      <a:lnTo>
                        <a:pt x="202425" y="136764"/>
                      </a:lnTo>
                      <a:lnTo>
                        <a:pt x="202425" y="127352"/>
                      </a:lnTo>
                      <a:lnTo>
                        <a:pt x="196246" y="122998"/>
                      </a:lnTo>
                      <a:lnTo>
                        <a:pt x="193013" y="107407"/>
                      </a:lnTo>
                      <a:lnTo>
                        <a:pt x="200600" y="108496"/>
                      </a:lnTo>
                      <a:lnTo>
                        <a:pt x="200600" y="102317"/>
                      </a:lnTo>
                      <a:lnTo>
                        <a:pt x="209308" y="103054"/>
                      </a:lnTo>
                      <a:lnTo>
                        <a:pt x="204954" y="89607"/>
                      </a:lnTo>
                      <a:lnTo>
                        <a:pt x="197335" y="71488"/>
                      </a:lnTo>
                      <a:lnTo>
                        <a:pt x="181744" y="60251"/>
                      </a:lnTo>
                      <a:lnTo>
                        <a:pt x="176686" y="74753"/>
                      </a:lnTo>
                      <a:lnTo>
                        <a:pt x="164713" y="76546"/>
                      </a:lnTo>
                      <a:lnTo>
                        <a:pt x="158534" y="71488"/>
                      </a:lnTo>
                      <a:lnTo>
                        <a:pt x="164713" y="5842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89499CC5-DF87-57F9-9CEF-5A86099AE4F7}"/>
                    </a:ext>
                  </a:extLst>
                </p:cNvPr>
                <p:cNvSpPr/>
                <p:nvPr/>
              </p:nvSpPr>
              <p:spPr>
                <a:xfrm>
                  <a:off x="2103146" y="5945308"/>
                  <a:ext cx="334803" cy="245932"/>
                </a:xfrm>
                <a:custGeom>
                  <a:avLst/>
                  <a:gdLst>
                    <a:gd name="csX0" fmla="*/ 246284 w 334803"/>
                    <a:gd name="csY0" fmla="*/ 11237 h 245932"/>
                    <a:gd name="csX1" fmla="*/ 235047 w 334803"/>
                    <a:gd name="csY1" fmla="*/ 0 h 245932"/>
                    <a:gd name="csX2" fmla="*/ 228901 w 334803"/>
                    <a:gd name="csY2" fmla="*/ 22474 h 245932"/>
                    <a:gd name="csX3" fmla="*/ 219457 w 334803"/>
                    <a:gd name="csY3" fmla="*/ 22474 h 245932"/>
                    <a:gd name="csX4" fmla="*/ 208220 w 334803"/>
                    <a:gd name="csY4" fmla="*/ 13062 h 245932"/>
                    <a:gd name="csX5" fmla="*/ 201305 w 334803"/>
                    <a:gd name="csY5" fmla="*/ 15591 h 245932"/>
                    <a:gd name="csX6" fmla="*/ 198039 w 334803"/>
                    <a:gd name="csY6" fmla="*/ 23210 h 245932"/>
                    <a:gd name="csX7" fmla="*/ 190452 w 334803"/>
                    <a:gd name="csY7" fmla="*/ 22474 h 245932"/>
                    <a:gd name="csX8" fmla="*/ 188627 w 334803"/>
                    <a:gd name="csY8" fmla="*/ 26828 h 245932"/>
                    <a:gd name="csX9" fmla="*/ 179183 w 334803"/>
                    <a:gd name="csY9" fmla="*/ 29357 h 245932"/>
                    <a:gd name="csX10" fmla="*/ 175565 w 334803"/>
                    <a:gd name="csY10" fmla="*/ 43892 h 245932"/>
                    <a:gd name="csX11" fmla="*/ 135292 w 334803"/>
                    <a:gd name="csY11" fmla="*/ 43892 h 245932"/>
                    <a:gd name="csX12" fmla="*/ 112081 w 334803"/>
                    <a:gd name="csY12" fmla="*/ 30093 h 245932"/>
                    <a:gd name="csX13" fmla="*/ 96490 w 334803"/>
                    <a:gd name="csY13" fmla="*/ 20649 h 245932"/>
                    <a:gd name="csX14" fmla="*/ 76546 w 334803"/>
                    <a:gd name="csY14" fmla="*/ 15591 h 245932"/>
                    <a:gd name="csX15" fmla="*/ 75809 w 334803"/>
                    <a:gd name="csY15" fmla="*/ 17032 h 245932"/>
                    <a:gd name="csX16" fmla="*/ 70719 w 334803"/>
                    <a:gd name="csY16" fmla="*/ 27564 h 245932"/>
                    <a:gd name="csX17" fmla="*/ 75809 w 334803"/>
                    <a:gd name="csY17" fmla="*/ 32623 h 245932"/>
                    <a:gd name="csX18" fmla="*/ 66365 w 334803"/>
                    <a:gd name="csY18" fmla="*/ 35183 h 245932"/>
                    <a:gd name="csX19" fmla="*/ 63100 w 334803"/>
                    <a:gd name="csY19" fmla="*/ 42067 h 245932"/>
                    <a:gd name="csX20" fmla="*/ 65629 w 334803"/>
                    <a:gd name="csY20" fmla="*/ 50038 h 245932"/>
                    <a:gd name="csX21" fmla="*/ 57657 w 334803"/>
                    <a:gd name="csY21" fmla="*/ 81604 h 245932"/>
                    <a:gd name="csX22" fmla="*/ 50038 w 334803"/>
                    <a:gd name="csY22" fmla="*/ 88487 h 245932"/>
                    <a:gd name="csX23" fmla="*/ 36272 w 334803"/>
                    <a:gd name="csY23" fmla="*/ 91048 h 245932"/>
                    <a:gd name="csX24" fmla="*/ 41330 w 334803"/>
                    <a:gd name="csY24" fmla="*/ 109168 h 245932"/>
                    <a:gd name="csX25" fmla="*/ 19945 w 334803"/>
                    <a:gd name="csY25" fmla="*/ 156709 h 245932"/>
                    <a:gd name="csX26" fmla="*/ 0 w 334803"/>
                    <a:gd name="csY26" fmla="*/ 199512 h 245932"/>
                    <a:gd name="csX27" fmla="*/ 75073 w 334803"/>
                    <a:gd name="csY27" fmla="*/ 221281 h 245932"/>
                    <a:gd name="csX28" fmla="*/ 127320 w 334803"/>
                    <a:gd name="csY28" fmla="*/ 223811 h 245932"/>
                    <a:gd name="csX29" fmla="*/ 142175 w 334803"/>
                    <a:gd name="csY29" fmla="*/ 218368 h 245932"/>
                    <a:gd name="csX30" fmla="*/ 150882 w 334803"/>
                    <a:gd name="csY30" fmla="*/ 205658 h 245932"/>
                    <a:gd name="csX31" fmla="*/ 161767 w 334803"/>
                    <a:gd name="csY31" fmla="*/ 205658 h 245932"/>
                    <a:gd name="csX32" fmla="*/ 167210 w 334803"/>
                    <a:gd name="csY32" fmla="*/ 198039 h 245932"/>
                    <a:gd name="csX33" fmla="*/ 171211 w 334803"/>
                    <a:gd name="csY33" fmla="*/ 199512 h 245932"/>
                    <a:gd name="csX34" fmla="*/ 203129 w 334803"/>
                    <a:gd name="csY34" fmla="*/ 217632 h 245932"/>
                    <a:gd name="csX35" fmla="*/ 214366 w 334803"/>
                    <a:gd name="csY35" fmla="*/ 218368 h 245932"/>
                    <a:gd name="csX36" fmla="*/ 223074 w 334803"/>
                    <a:gd name="csY36" fmla="*/ 208924 h 245932"/>
                    <a:gd name="csX37" fmla="*/ 241226 w 334803"/>
                    <a:gd name="csY37" fmla="*/ 216928 h 245932"/>
                    <a:gd name="csX38" fmla="*/ 257553 w 334803"/>
                    <a:gd name="csY38" fmla="*/ 214367 h 245932"/>
                    <a:gd name="csX39" fmla="*/ 285118 w 334803"/>
                    <a:gd name="csY39" fmla="*/ 245932 h 245932"/>
                    <a:gd name="csX40" fmla="*/ 301445 w 334803"/>
                    <a:gd name="csY40" fmla="*/ 244492 h 245932"/>
                    <a:gd name="csX41" fmla="*/ 308328 w 334803"/>
                    <a:gd name="csY41" fmla="*/ 228901 h 245932"/>
                    <a:gd name="csX42" fmla="*/ 324655 w 334803"/>
                    <a:gd name="csY42" fmla="*/ 219457 h 245932"/>
                    <a:gd name="csX43" fmla="*/ 334803 w 334803"/>
                    <a:gd name="csY43" fmla="*/ 193685 h 245932"/>
                    <a:gd name="csX44" fmla="*/ 330450 w 334803"/>
                    <a:gd name="csY44" fmla="*/ 191893 h 245932"/>
                    <a:gd name="csX45" fmla="*/ 331538 w 334803"/>
                    <a:gd name="csY45" fmla="*/ 177390 h 245932"/>
                    <a:gd name="csX46" fmla="*/ 324655 w 334803"/>
                    <a:gd name="csY46" fmla="*/ 167946 h 245932"/>
                    <a:gd name="csX47" fmla="*/ 292737 w 334803"/>
                    <a:gd name="csY47" fmla="*/ 156709 h 245932"/>
                    <a:gd name="csX48" fmla="*/ 285854 w 334803"/>
                    <a:gd name="csY48" fmla="*/ 149794 h 245932"/>
                    <a:gd name="csX49" fmla="*/ 269527 w 334803"/>
                    <a:gd name="csY49" fmla="*/ 148001 h 245932"/>
                    <a:gd name="csX50" fmla="*/ 258994 w 334803"/>
                    <a:gd name="csY50" fmla="*/ 154884 h 245932"/>
                    <a:gd name="csX51" fmla="*/ 247021 w 334803"/>
                    <a:gd name="csY51" fmla="*/ 144351 h 245932"/>
                    <a:gd name="csX52" fmla="*/ 260082 w 334803"/>
                    <a:gd name="csY52" fmla="*/ 136028 h 245932"/>
                    <a:gd name="csX53" fmla="*/ 258258 w 334803"/>
                    <a:gd name="csY53" fmla="*/ 121141 h 245932"/>
                    <a:gd name="csX54" fmla="*/ 258994 w 334803"/>
                    <a:gd name="csY54" fmla="*/ 115347 h 245932"/>
                    <a:gd name="csX55" fmla="*/ 265173 w 334803"/>
                    <a:gd name="csY55" fmla="*/ 111729 h 245932"/>
                    <a:gd name="csX56" fmla="*/ 274585 w 334803"/>
                    <a:gd name="csY56" fmla="*/ 82693 h 245932"/>
                    <a:gd name="csX57" fmla="*/ 285118 w 334803"/>
                    <a:gd name="csY57" fmla="*/ 76514 h 245932"/>
                    <a:gd name="csX58" fmla="*/ 276410 w 334803"/>
                    <a:gd name="csY58" fmla="*/ 67806 h 245932"/>
                    <a:gd name="csX59" fmla="*/ 276410 w 334803"/>
                    <a:gd name="csY59" fmla="*/ 60923 h 245932"/>
                    <a:gd name="csX60" fmla="*/ 283293 w 334803"/>
                    <a:gd name="csY60" fmla="*/ 48245 h 245932"/>
                    <a:gd name="csX61" fmla="*/ 302149 w 334803"/>
                    <a:gd name="csY61" fmla="*/ 36272 h 245932"/>
                    <a:gd name="csX62" fmla="*/ 305799 w 334803"/>
                    <a:gd name="csY62" fmla="*/ 25739 h 245932"/>
                    <a:gd name="csX63" fmla="*/ 319565 w 334803"/>
                    <a:gd name="csY63" fmla="*/ 16295 h 245932"/>
                    <a:gd name="csX64" fmla="*/ 311593 w 334803"/>
                    <a:gd name="csY64" fmla="*/ 15591 h 245932"/>
                    <a:gd name="csX65" fmla="*/ 310857 w 334803"/>
                    <a:gd name="csY65" fmla="*/ 9412 h 245932"/>
                    <a:gd name="csX66" fmla="*/ 297091 w 334803"/>
                    <a:gd name="csY66" fmla="*/ 6883 h 245932"/>
                    <a:gd name="csX67" fmla="*/ 288383 w 334803"/>
                    <a:gd name="csY67" fmla="*/ 8708 h 245932"/>
                    <a:gd name="csX68" fmla="*/ 288383 w 334803"/>
                    <a:gd name="csY68" fmla="*/ 13062 h 245932"/>
                    <a:gd name="csX69" fmla="*/ 283293 w 334803"/>
                    <a:gd name="csY69" fmla="*/ 15591 h 245932"/>
                    <a:gd name="csX70" fmla="*/ 270231 w 334803"/>
                    <a:gd name="csY70" fmla="*/ 10149 h 245932"/>
                    <a:gd name="csX71" fmla="*/ 257553 w 334803"/>
                    <a:gd name="csY71" fmla="*/ 18856 h 245932"/>
                    <a:gd name="csX72" fmla="*/ 246284 w 334803"/>
                    <a:gd name="csY72" fmla="*/ 19945 h 245932"/>
                    <a:gd name="csX73" fmla="*/ 246284 w 334803"/>
                    <a:gd name="csY73" fmla="*/ 11237 h 24593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</a:cxnLst>
                  <a:rect l="l" t="t" r="r" b="b"/>
                  <a:pathLst>
                    <a:path w="334803" h="245932">
                      <a:moveTo>
                        <a:pt x="246284" y="11237"/>
                      </a:moveTo>
                      <a:lnTo>
                        <a:pt x="235047" y="0"/>
                      </a:lnTo>
                      <a:lnTo>
                        <a:pt x="228901" y="22474"/>
                      </a:lnTo>
                      <a:lnTo>
                        <a:pt x="219457" y="22474"/>
                      </a:lnTo>
                      <a:lnTo>
                        <a:pt x="208220" y="13062"/>
                      </a:lnTo>
                      <a:lnTo>
                        <a:pt x="201305" y="15591"/>
                      </a:lnTo>
                      <a:lnTo>
                        <a:pt x="198039" y="23210"/>
                      </a:lnTo>
                      <a:lnTo>
                        <a:pt x="190452" y="22474"/>
                      </a:lnTo>
                      <a:lnTo>
                        <a:pt x="188627" y="26828"/>
                      </a:lnTo>
                      <a:lnTo>
                        <a:pt x="179183" y="29357"/>
                      </a:lnTo>
                      <a:lnTo>
                        <a:pt x="175565" y="43892"/>
                      </a:lnTo>
                      <a:lnTo>
                        <a:pt x="135292" y="43892"/>
                      </a:lnTo>
                      <a:lnTo>
                        <a:pt x="112081" y="30093"/>
                      </a:lnTo>
                      <a:lnTo>
                        <a:pt x="96490" y="20649"/>
                      </a:lnTo>
                      <a:lnTo>
                        <a:pt x="76546" y="15591"/>
                      </a:lnTo>
                      <a:lnTo>
                        <a:pt x="75809" y="17032"/>
                      </a:lnTo>
                      <a:lnTo>
                        <a:pt x="70719" y="27564"/>
                      </a:lnTo>
                      <a:lnTo>
                        <a:pt x="75809" y="32623"/>
                      </a:lnTo>
                      <a:lnTo>
                        <a:pt x="66365" y="35183"/>
                      </a:lnTo>
                      <a:lnTo>
                        <a:pt x="63100" y="42067"/>
                      </a:lnTo>
                      <a:lnTo>
                        <a:pt x="65629" y="50038"/>
                      </a:lnTo>
                      <a:lnTo>
                        <a:pt x="57657" y="81604"/>
                      </a:lnTo>
                      <a:lnTo>
                        <a:pt x="50038" y="88487"/>
                      </a:lnTo>
                      <a:lnTo>
                        <a:pt x="36272" y="91048"/>
                      </a:lnTo>
                      <a:lnTo>
                        <a:pt x="41330" y="109168"/>
                      </a:lnTo>
                      <a:lnTo>
                        <a:pt x="19945" y="156709"/>
                      </a:lnTo>
                      <a:lnTo>
                        <a:pt x="0" y="199512"/>
                      </a:lnTo>
                      <a:lnTo>
                        <a:pt x="75073" y="221281"/>
                      </a:lnTo>
                      <a:lnTo>
                        <a:pt x="127320" y="223811"/>
                      </a:lnTo>
                      <a:lnTo>
                        <a:pt x="142175" y="218368"/>
                      </a:lnTo>
                      <a:lnTo>
                        <a:pt x="150882" y="205658"/>
                      </a:lnTo>
                      <a:lnTo>
                        <a:pt x="161767" y="205658"/>
                      </a:lnTo>
                      <a:lnTo>
                        <a:pt x="167210" y="198039"/>
                      </a:lnTo>
                      <a:lnTo>
                        <a:pt x="171211" y="199512"/>
                      </a:lnTo>
                      <a:lnTo>
                        <a:pt x="203129" y="217632"/>
                      </a:lnTo>
                      <a:lnTo>
                        <a:pt x="214366" y="218368"/>
                      </a:lnTo>
                      <a:lnTo>
                        <a:pt x="223074" y="208924"/>
                      </a:lnTo>
                      <a:lnTo>
                        <a:pt x="241226" y="216928"/>
                      </a:lnTo>
                      <a:lnTo>
                        <a:pt x="257553" y="214367"/>
                      </a:lnTo>
                      <a:lnTo>
                        <a:pt x="285118" y="245932"/>
                      </a:lnTo>
                      <a:lnTo>
                        <a:pt x="301445" y="244492"/>
                      </a:lnTo>
                      <a:lnTo>
                        <a:pt x="308328" y="228901"/>
                      </a:lnTo>
                      <a:lnTo>
                        <a:pt x="324655" y="219457"/>
                      </a:lnTo>
                      <a:lnTo>
                        <a:pt x="334803" y="193685"/>
                      </a:lnTo>
                      <a:lnTo>
                        <a:pt x="330450" y="191893"/>
                      </a:lnTo>
                      <a:lnTo>
                        <a:pt x="331538" y="177390"/>
                      </a:lnTo>
                      <a:lnTo>
                        <a:pt x="324655" y="167946"/>
                      </a:lnTo>
                      <a:lnTo>
                        <a:pt x="292737" y="156709"/>
                      </a:lnTo>
                      <a:lnTo>
                        <a:pt x="285854" y="149794"/>
                      </a:lnTo>
                      <a:lnTo>
                        <a:pt x="269527" y="148001"/>
                      </a:lnTo>
                      <a:lnTo>
                        <a:pt x="258994" y="154884"/>
                      </a:lnTo>
                      <a:lnTo>
                        <a:pt x="247021" y="144351"/>
                      </a:lnTo>
                      <a:lnTo>
                        <a:pt x="260082" y="136028"/>
                      </a:lnTo>
                      <a:lnTo>
                        <a:pt x="258258" y="121141"/>
                      </a:lnTo>
                      <a:lnTo>
                        <a:pt x="258994" y="115347"/>
                      </a:lnTo>
                      <a:lnTo>
                        <a:pt x="265173" y="111729"/>
                      </a:lnTo>
                      <a:lnTo>
                        <a:pt x="274585" y="82693"/>
                      </a:lnTo>
                      <a:lnTo>
                        <a:pt x="285118" y="76514"/>
                      </a:lnTo>
                      <a:lnTo>
                        <a:pt x="276410" y="67806"/>
                      </a:lnTo>
                      <a:lnTo>
                        <a:pt x="276410" y="60923"/>
                      </a:lnTo>
                      <a:lnTo>
                        <a:pt x="283293" y="48245"/>
                      </a:lnTo>
                      <a:lnTo>
                        <a:pt x="302149" y="36272"/>
                      </a:lnTo>
                      <a:lnTo>
                        <a:pt x="305799" y="25739"/>
                      </a:lnTo>
                      <a:lnTo>
                        <a:pt x="319565" y="16295"/>
                      </a:lnTo>
                      <a:lnTo>
                        <a:pt x="311593" y="15591"/>
                      </a:lnTo>
                      <a:lnTo>
                        <a:pt x="310857" y="9412"/>
                      </a:lnTo>
                      <a:lnTo>
                        <a:pt x="297091" y="6883"/>
                      </a:lnTo>
                      <a:lnTo>
                        <a:pt x="288383" y="8708"/>
                      </a:lnTo>
                      <a:lnTo>
                        <a:pt x="288383" y="13062"/>
                      </a:lnTo>
                      <a:lnTo>
                        <a:pt x="283293" y="15591"/>
                      </a:lnTo>
                      <a:lnTo>
                        <a:pt x="270231" y="10149"/>
                      </a:lnTo>
                      <a:lnTo>
                        <a:pt x="257553" y="18856"/>
                      </a:lnTo>
                      <a:lnTo>
                        <a:pt x="246284" y="19945"/>
                      </a:lnTo>
                      <a:lnTo>
                        <a:pt x="246284" y="1123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8" name="Forma Livre: Forma 167">
                  <a:extLst>
                    <a:ext uri="{FF2B5EF4-FFF2-40B4-BE49-F238E27FC236}">
                      <a16:creationId xmlns:a16="http://schemas.microsoft.com/office/drawing/2014/main" id="{A0655B39-675E-EB28-53AA-3015D6A832B1}"/>
                    </a:ext>
                  </a:extLst>
                </p:cNvPr>
                <p:cNvSpPr/>
                <p:nvPr/>
              </p:nvSpPr>
              <p:spPr>
                <a:xfrm>
                  <a:off x="2103146" y="5945308"/>
                  <a:ext cx="334803" cy="245932"/>
                </a:xfrm>
                <a:custGeom>
                  <a:avLst/>
                  <a:gdLst>
                    <a:gd name="csX0" fmla="*/ 246284 w 334803"/>
                    <a:gd name="csY0" fmla="*/ 11237 h 245932"/>
                    <a:gd name="csX1" fmla="*/ 235047 w 334803"/>
                    <a:gd name="csY1" fmla="*/ 0 h 245932"/>
                    <a:gd name="csX2" fmla="*/ 228901 w 334803"/>
                    <a:gd name="csY2" fmla="*/ 22474 h 245932"/>
                    <a:gd name="csX3" fmla="*/ 219457 w 334803"/>
                    <a:gd name="csY3" fmla="*/ 22474 h 245932"/>
                    <a:gd name="csX4" fmla="*/ 208220 w 334803"/>
                    <a:gd name="csY4" fmla="*/ 13062 h 245932"/>
                    <a:gd name="csX5" fmla="*/ 201305 w 334803"/>
                    <a:gd name="csY5" fmla="*/ 15591 h 245932"/>
                    <a:gd name="csX6" fmla="*/ 198039 w 334803"/>
                    <a:gd name="csY6" fmla="*/ 23210 h 245932"/>
                    <a:gd name="csX7" fmla="*/ 190452 w 334803"/>
                    <a:gd name="csY7" fmla="*/ 22474 h 245932"/>
                    <a:gd name="csX8" fmla="*/ 188627 w 334803"/>
                    <a:gd name="csY8" fmla="*/ 26828 h 245932"/>
                    <a:gd name="csX9" fmla="*/ 179183 w 334803"/>
                    <a:gd name="csY9" fmla="*/ 29357 h 245932"/>
                    <a:gd name="csX10" fmla="*/ 175565 w 334803"/>
                    <a:gd name="csY10" fmla="*/ 43892 h 245932"/>
                    <a:gd name="csX11" fmla="*/ 135292 w 334803"/>
                    <a:gd name="csY11" fmla="*/ 43892 h 245932"/>
                    <a:gd name="csX12" fmla="*/ 112081 w 334803"/>
                    <a:gd name="csY12" fmla="*/ 30093 h 245932"/>
                    <a:gd name="csX13" fmla="*/ 96490 w 334803"/>
                    <a:gd name="csY13" fmla="*/ 20649 h 245932"/>
                    <a:gd name="csX14" fmla="*/ 76546 w 334803"/>
                    <a:gd name="csY14" fmla="*/ 15591 h 245932"/>
                    <a:gd name="csX15" fmla="*/ 75809 w 334803"/>
                    <a:gd name="csY15" fmla="*/ 17032 h 245932"/>
                    <a:gd name="csX16" fmla="*/ 70719 w 334803"/>
                    <a:gd name="csY16" fmla="*/ 27564 h 245932"/>
                    <a:gd name="csX17" fmla="*/ 75809 w 334803"/>
                    <a:gd name="csY17" fmla="*/ 32623 h 245932"/>
                    <a:gd name="csX18" fmla="*/ 66365 w 334803"/>
                    <a:gd name="csY18" fmla="*/ 35183 h 245932"/>
                    <a:gd name="csX19" fmla="*/ 63100 w 334803"/>
                    <a:gd name="csY19" fmla="*/ 42067 h 245932"/>
                    <a:gd name="csX20" fmla="*/ 65629 w 334803"/>
                    <a:gd name="csY20" fmla="*/ 50038 h 245932"/>
                    <a:gd name="csX21" fmla="*/ 57657 w 334803"/>
                    <a:gd name="csY21" fmla="*/ 81604 h 245932"/>
                    <a:gd name="csX22" fmla="*/ 50038 w 334803"/>
                    <a:gd name="csY22" fmla="*/ 88487 h 245932"/>
                    <a:gd name="csX23" fmla="*/ 36272 w 334803"/>
                    <a:gd name="csY23" fmla="*/ 91048 h 245932"/>
                    <a:gd name="csX24" fmla="*/ 41330 w 334803"/>
                    <a:gd name="csY24" fmla="*/ 109168 h 245932"/>
                    <a:gd name="csX25" fmla="*/ 19945 w 334803"/>
                    <a:gd name="csY25" fmla="*/ 156709 h 245932"/>
                    <a:gd name="csX26" fmla="*/ 0 w 334803"/>
                    <a:gd name="csY26" fmla="*/ 199512 h 245932"/>
                    <a:gd name="csX27" fmla="*/ 75073 w 334803"/>
                    <a:gd name="csY27" fmla="*/ 221281 h 245932"/>
                    <a:gd name="csX28" fmla="*/ 127320 w 334803"/>
                    <a:gd name="csY28" fmla="*/ 223811 h 245932"/>
                    <a:gd name="csX29" fmla="*/ 142175 w 334803"/>
                    <a:gd name="csY29" fmla="*/ 218368 h 245932"/>
                    <a:gd name="csX30" fmla="*/ 150882 w 334803"/>
                    <a:gd name="csY30" fmla="*/ 205658 h 245932"/>
                    <a:gd name="csX31" fmla="*/ 161767 w 334803"/>
                    <a:gd name="csY31" fmla="*/ 205658 h 245932"/>
                    <a:gd name="csX32" fmla="*/ 167210 w 334803"/>
                    <a:gd name="csY32" fmla="*/ 198039 h 245932"/>
                    <a:gd name="csX33" fmla="*/ 171211 w 334803"/>
                    <a:gd name="csY33" fmla="*/ 199512 h 245932"/>
                    <a:gd name="csX34" fmla="*/ 203129 w 334803"/>
                    <a:gd name="csY34" fmla="*/ 217632 h 245932"/>
                    <a:gd name="csX35" fmla="*/ 214366 w 334803"/>
                    <a:gd name="csY35" fmla="*/ 218368 h 245932"/>
                    <a:gd name="csX36" fmla="*/ 223074 w 334803"/>
                    <a:gd name="csY36" fmla="*/ 208924 h 245932"/>
                    <a:gd name="csX37" fmla="*/ 241226 w 334803"/>
                    <a:gd name="csY37" fmla="*/ 216928 h 245932"/>
                    <a:gd name="csX38" fmla="*/ 257553 w 334803"/>
                    <a:gd name="csY38" fmla="*/ 214367 h 245932"/>
                    <a:gd name="csX39" fmla="*/ 285118 w 334803"/>
                    <a:gd name="csY39" fmla="*/ 245932 h 245932"/>
                    <a:gd name="csX40" fmla="*/ 301445 w 334803"/>
                    <a:gd name="csY40" fmla="*/ 244492 h 245932"/>
                    <a:gd name="csX41" fmla="*/ 308328 w 334803"/>
                    <a:gd name="csY41" fmla="*/ 228901 h 245932"/>
                    <a:gd name="csX42" fmla="*/ 324655 w 334803"/>
                    <a:gd name="csY42" fmla="*/ 219457 h 245932"/>
                    <a:gd name="csX43" fmla="*/ 334803 w 334803"/>
                    <a:gd name="csY43" fmla="*/ 193685 h 245932"/>
                    <a:gd name="csX44" fmla="*/ 330450 w 334803"/>
                    <a:gd name="csY44" fmla="*/ 191893 h 245932"/>
                    <a:gd name="csX45" fmla="*/ 331538 w 334803"/>
                    <a:gd name="csY45" fmla="*/ 177390 h 245932"/>
                    <a:gd name="csX46" fmla="*/ 324655 w 334803"/>
                    <a:gd name="csY46" fmla="*/ 167946 h 245932"/>
                    <a:gd name="csX47" fmla="*/ 292737 w 334803"/>
                    <a:gd name="csY47" fmla="*/ 156709 h 245932"/>
                    <a:gd name="csX48" fmla="*/ 285854 w 334803"/>
                    <a:gd name="csY48" fmla="*/ 149794 h 245932"/>
                    <a:gd name="csX49" fmla="*/ 269527 w 334803"/>
                    <a:gd name="csY49" fmla="*/ 148001 h 245932"/>
                    <a:gd name="csX50" fmla="*/ 258994 w 334803"/>
                    <a:gd name="csY50" fmla="*/ 154884 h 245932"/>
                    <a:gd name="csX51" fmla="*/ 247021 w 334803"/>
                    <a:gd name="csY51" fmla="*/ 144351 h 245932"/>
                    <a:gd name="csX52" fmla="*/ 260082 w 334803"/>
                    <a:gd name="csY52" fmla="*/ 136028 h 245932"/>
                    <a:gd name="csX53" fmla="*/ 258258 w 334803"/>
                    <a:gd name="csY53" fmla="*/ 121141 h 245932"/>
                    <a:gd name="csX54" fmla="*/ 258994 w 334803"/>
                    <a:gd name="csY54" fmla="*/ 115347 h 245932"/>
                    <a:gd name="csX55" fmla="*/ 265173 w 334803"/>
                    <a:gd name="csY55" fmla="*/ 111729 h 245932"/>
                    <a:gd name="csX56" fmla="*/ 274585 w 334803"/>
                    <a:gd name="csY56" fmla="*/ 82693 h 245932"/>
                    <a:gd name="csX57" fmla="*/ 285118 w 334803"/>
                    <a:gd name="csY57" fmla="*/ 76514 h 245932"/>
                    <a:gd name="csX58" fmla="*/ 276410 w 334803"/>
                    <a:gd name="csY58" fmla="*/ 67806 h 245932"/>
                    <a:gd name="csX59" fmla="*/ 276410 w 334803"/>
                    <a:gd name="csY59" fmla="*/ 60923 h 245932"/>
                    <a:gd name="csX60" fmla="*/ 283293 w 334803"/>
                    <a:gd name="csY60" fmla="*/ 48245 h 245932"/>
                    <a:gd name="csX61" fmla="*/ 302149 w 334803"/>
                    <a:gd name="csY61" fmla="*/ 36272 h 245932"/>
                    <a:gd name="csX62" fmla="*/ 305799 w 334803"/>
                    <a:gd name="csY62" fmla="*/ 25739 h 245932"/>
                    <a:gd name="csX63" fmla="*/ 319565 w 334803"/>
                    <a:gd name="csY63" fmla="*/ 16295 h 245932"/>
                    <a:gd name="csX64" fmla="*/ 311593 w 334803"/>
                    <a:gd name="csY64" fmla="*/ 15591 h 245932"/>
                    <a:gd name="csX65" fmla="*/ 310857 w 334803"/>
                    <a:gd name="csY65" fmla="*/ 9412 h 245932"/>
                    <a:gd name="csX66" fmla="*/ 297091 w 334803"/>
                    <a:gd name="csY66" fmla="*/ 6883 h 245932"/>
                    <a:gd name="csX67" fmla="*/ 288383 w 334803"/>
                    <a:gd name="csY67" fmla="*/ 8708 h 245932"/>
                    <a:gd name="csX68" fmla="*/ 288383 w 334803"/>
                    <a:gd name="csY68" fmla="*/ 13062 h 245932"/>
                    <a:gd name="csX69" fmla="*/ 283293 w 334803"/>
                    <a:gd name="csY69" fmla="*/ 15591 h 245932"/>
                    <a:gd name="csX70" fmla="*/ 270231 w 334803"/>
                    <a:gd name="csY70" fmla="*/ 10149 h 245932"/>
                    <a:gd name="csX71" fmla="*/ 257553 w 334803"/>
                    <a:gd name="csY71" fmla="*/ 18856 h 245932"/>
                    <a:gd name="csX72" fmla="*/ 246284 w 334803"/>
                    <a:gd name="csY72" fmla="*/ 19945 h 245932"/>
                    <a:gd name="csX73" fmla="*/ 246284 w 334803"/>
                    <a:gd name="csY73" fmla="*/ 11237 h 24593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</a:cxnLst>
                  <a:rect l="l" t="t" r="r" b="b"/>
                  <a:pathLst>
                    <a:path w="334803" h="245932">
                      <a:moveTo>
                        <a:pt x="246284" y="11237"/>
                      </a:moveTo>
                      <a:lnTo>
                        <a:pt x="235047" y="0"/>
                      </a:lnTo>
                      <a:lnTo>
                        <a:pt x="228901" y="22474"/>
                      </a:lnTo>
                      <a:lnTo>
                        <a:pt x="219457" y="22474"/>
                      </a:lnTo>
                      <a:lnTo>
                        <a:pt x="208220" y="13062"/>
                      </a:lnTo>
                      <a:lnTo>
                        <a:pt x="201305" y="15591"/>
                      </a:lnTo>
                      <a:lnTo>
                        <a:pt x="198039" y="23210"/>
                      </a:lnTo>
                      <a:lnTo>
                        <a:pt x="190452" y="22474"/>
                      </a:lnTo>
                      <a:lnTo>
                        <a:pt x="188627" y="26828"/>
                      </a:lnTo>
                      <a:lnTo>
                        <a:pt x="179183" y="29357"/>
                      </a:lnTo>
                      <a:lnTo>
                        <a:pt x="175565" y="43892"/>
                      </a:lnTo>
                      <a:lnTo>
                        <a:pt x="135292" y="43892"/>
                      </a:lnTo>
                      <a:lnTo>
                        <a:pt x="112081" y="30093"/>
                      </a:lnTo>
                      <a:lnTo>
                        <a:pt x="96490" y="20649"/>
                      </a:lnTo>
                      <a:lnTo>
                        <a:pt x="76546" y="15591"/>
                      </a:lnTo>
                      <a:lnTo>
                        <a:pt x="75809" y="17032"/>
                      </a:lnTo>
                      <a:lnTo>
                        <a:pt x="70719" y="27564"/>
                      </a:lnTo>
                      <a:lnTo>
                        <a:pt x="75809" y="32623"/>
                      </a:lnTo>
                      <a:lnTo>
                        <a:pt x="66365" y="35183"/>
                      </a:lnTo>
                      <a:lnTo>
                        <a:pt x="63100" y="42067"/>
                      </a:lnTo>
                      <a:lnTo>
                        <a:pt x="65629" y="50038"/>
                      </a:lnTo>
                      <a:lnTo>
                        <a:pt x="57657" y="81604"/>
                      </a:lnTo>
                      <a:lnTo>
                        <a:pt x="50038" y="88487"/>
                      </a:lnTo>
                      <a:lnTo>
                        <a:pt x="36272" y="91048"/>
                      </a:lnTo>
                      <a:lnTo>
                        <a:pt x="41330" y="109168"/>
                      </a:lnTo>
                      <a:lnTo>
                        <a:pt x="19945" y="156709"/>
                      </a:lnTo>
                      <a:lnTo>
                        <a:pt x="0" y="199512"/>
                      </a:lnTo>
                      <a:lnTo>
                        <a:pt x="75073" y="221281"/>
                      </a:lnTo>
                      <a:lnTo>
                        <a:pt x="127320" y="223811"/>
                      </a:lnTo>
                      <a:lnTo>
                        <a:pt x="142175" y="218368"/>
                      </a:lnTo>
                      <a:lnTo>
                        <a:pt x="150882" y="205658"/>
                      </a:lnTo>
                      <a:lnTo>
                        <a:pt x="161767" y="205658"/>
                      </a:lnTo>
                      <a:lnTo>
                        <a:pt x="167210" y="198039"/>
                      </a:lnTo>
                      <a:lnTo>
                        <a:pt x="171211" y="199512"/>
                      </a:lnTo>
                      <a:lnTo>
                        <a:pt x="203129" y="217632"/>
                      </a:lnTo>
                      <a:lnTo>
                        <a:pt x="214366" y="218368"/>
                      </a:lnTo>
                      <a:lnTo>
                        <a:pt x="223074" y="208924"/>
                      </a:lnTo>
                      <a:lnTo>
                        <a:pt x="241226" y="216928"/>
                      </a:lnTo>
                      <a:lnTo>
                        <a:pt x="257553" y="214367"/>
                      </a:lnTo>
                      <a:lnTo>
                        <a:pt x="285118" y="245932"/>
                      </a:lnTo>
                      <a:lnTo>
                        <a:pt x="301445" y="244492"/>
                      </a:lnTo>
                      <a:lnTo>
                        <a:pt x="308328" y="228901"/>
                      </a:lnTo>
                      <a:lnTo>
                        <a:pt x="324655" y="219457"/>
                      </a:lnTo>
                      <a:lnTo>
                        <a:pt x="334803" y="193685"/>
                      </a:lnTo>
                      <a:lnTo>
                        <a:pt x="330450" y="191893"/>
                      </a:lnTo>
                      <a:lnTo>
                        <a:pt x="331538" y="177390"/>
                      </a:lnTo>
                      <a:lnTo>
                        <a:pt x="324655" y="167946"/>
                      </a:lnTo>
                      <a:lnTo>
                        <a:pt x="292737" y="156709"/>
                      </a:lnTo>
                      <a:lnTo>
                        <a:pt x="285854" y="149794"/>
                      </a:lnTo>
                      <a:lnTo>
                        <a:pt x="269527" y="148001"/>
                      </a:lnTo>
                      <a:lnTo>
                        <a:pt x="258994" y="154884"/>
                      </a:lnTo>
                      <a:lnTo>
                        <a:pt x="247021" y="144351"/>
                      </a:lnTo>
                      <a:lnTo>
                        <a:pt x="260082" y="136028"/>
                      </a:lnTo>
                      <a:lnTo>
                        <a:pt x="258258" y="121141"/>
                      </a:lnTo>
                      <a:lnTo>
                        <a:pt x="258994" y="115347"/>
                      </a:lnTo>
                      <a:lnTo>
                        <a:pt x="265173" y="111729"/>
                      </a:lnTo>
                      <a:lnTo>
                        <a:pt x="274585" y="82693"/>
                      </a:lnTo>
                      <a:lnTo>
                        <a:pt x="285118" y="76514"/>
                      </a:lnTo>
                      <a:lnTo>
                        <a:pt x="276410" y="67806"/>
                      </a:lnTo>
                      <a:lnTo>
                        <a:pt x="276410" y="60923"/>
                      </a:lnTo>
                      <a:lnTo>
                        <a:pt x="283293" y="48245"/>
                      </a:lnTo>
                      <a:lnTo>
                        <a:pt x="302149" y="36272"/>
                      </a:lnTo>
                      <a:lnTo>
                        <a:pt x="305799" y="25739"/>
                      </a:lnTo>
                      <a:lnTo>
                        <a:pt x="319565" y="16295"/>
                      </a:lnTo>
                      <a:lnTo>
                        <a:pt x="311593" y="15591"/>
                      </a:lnTo>
                      <a:lnTo>
                        <a:pt x="310857" y="9412"/>
                      </a:lnTo>
                      <a:lnTo>
                        <a:pt x="297091" y="6883"/>
                      </a:lnTo>
                      <a:lnTo>
                        <a:pt x="288383" y="8708"/>
                      </a:lnTo>
                      <a:lnTo>
                        <a:pt x="288383" y="13062"/>
                      </a:lnTo>
                      <a:lnTo>
                        <a:pt x="283293" y="15591"/>
                      </a:lnTo>
                      <a:lnTo>
                        <a:pt x="270231" y="10149"/>
                      </a:lnTo>
                      <a:lnTo>
                        <a:pt x="257553" y="18856"/>
                      </a:lnTo>
                      <a:lnTo>
                        <a:pt x="246284" y="19945"/>
                      </a:lnTo>
                      <a:lnTo>
                        <a:pt x="246284" y="1123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9" name="Forma Livre: Forma 168">
                  <a:extLst>
                    <a:ext uri="{FF2B5EF4-FFF2-40B4-BE49-F238E27FC236}">
                      <a16:creationId xmlns:a16="http://schemas.microsoft.com/office/drawing/2014/main" id="{A63452CD-C6F7-0C9D-5DA5-552113FED786}"/>
                    </a:ext>
                  </a:extLst>
                </p:cNvPr>
                <p:cNvSpPr/>
                <p:nvPr/>
              </p:nvSpPr>
              <p:spPr>
                <a:xfrm>
                  <a:off x="2440510" y="5203830"/>
                  <a:ext cx="228900" cy="236520"/>
                </a:xfrm>
                <a:custGeom>
                  <a:avLst/>
                  <a:gdLst>
                    <a:gd name="csX0" fmla="*/ 147265 w 228900"/>
                    <a:gd name="csY0" fmla="*/ 27180 h 236520"/>
                    <a:gd name="csX1" fmla="*/ 140382 w 228900"/>
                    <a:gd name="csY1" fmla="*/ 20297 h 236520"/>
                    <a:gd name="csX2" fmla="*/ 118964 w 228900"/>
                    <a:gd name="csY2" fmla="*/ 17768 h 236520"/>
                    <a:gd name="csX3" fmla="*/ 107727 w 228900"/>
                    <a:gd name="csY3" fmla="*/ 8324 h 236520"/>
                    <a:gd name="csX4" fmla="*/ 92137 w 228900"/>
                    <a:gd name="csY4" fmla="*/ 0 h 236520"/>
                    <a:gd name="csX5" fmla="*/ 80163 w 228900"/>
                    <a:gd name="csY5" fmla="*/ 704 h 236520"/>
                    <a:gd name="csX6" fmla="*/ 71455 w 228900"/>
                    <a:gd name="csY6" fmla="*/ 23915 h 236520"/>
                    <a:gd name="csX7" fmla="*/ 61275 w 228900"/>
                    <a:gd name="csY7" fmla="*/ 30830 h 236520"/>
                    <a:gd name="csX8" fmla="*/ 62011 w 228900"/>
                    <a:gd name="csY8" fmla="*/ 37713 h 236520"/>
                    <a:gd name="csX9" fmla="*/ 54392 w 228900"/>
                    <a:gd name="csY9" fmla="*/ 38449 h 236520"/>
                    <a:gd name="csX10" fmla="*/ 50774 w 228900"/>
                    <a:gd name="csY10" fmla="*/ 40242 h 236520"/>
                    <a:gd name="csX11" fmla="*/ 38065 w 228900"/>
                    <a:gd name="csY11" fmla="*/ 33359 h 236520"/>
                    <a:gd name="csX12" fmla="*/ 23210 w 228900"/>
                    <a:gd name="csY12" fmla="*/ 44596 h 236520"/>
                    <a:gd name="csX13" fmla="*/ 14854 w 228900"/>
                    <a:gd name="csY13" fmla="*/ 45332 h 236520"/>
                    <a:gd name="csX14" fmla="*/ 4354 w 228900"/>
                    <a:gd name="csY14" fmla="*/ 59130 h 236520"/>
                    <a:gd name="csX15" fmla="*/ 4354 w 228900"/>
                    <a:gd name="csY15" fmla="*/ 64188 h 236520"/>
                    <a:gd name="csX16" fmla="*/ 10501 w 228900"/>
                    <a:gd name="csY16" fmla="*/ 71103 h 236520"/>
                    <a:gd name="csX17" fmla="*/ 10501 w 228900"/>
                    <a:gd name="csY17" fmla="*/ 79811 h 236520"/>
                    <a:gd name="csX18" fmla="*/ 1088 w 228900"/>
                    <a:gd name="csY18" fmla="*/ 89223 h 236520"/>
                    <a:gd name="csX19" fmla="*/ 0 w 228900"/>
                    <a:gd name="csY19" fmla="*/ 98667 h 236520"/>
                    <a:gd name="csX20" fmla="*/ 20649 w 228900"/>
                    <a:gd name="csY20" fmla="*/ 109168 h 236520"/>
                    <a:gd name="csX21" fmla="*/ 22474 w 228900"/>
                    <a:gd name="csY21" fmla="*/ 135676 h 236520"/>
                    <a:gd name="csX22" fmla="*/ 34447 w 228900"/>
                    <a:gd name="csY22" fmla="*/ 144383 h 236520"/>
                    <a:gd name="csX23" fmla="*/ 53303 w 228900"/>
                    <a:gd name="csY23" fmla="*/ 146176 h 236520"/>
                    <a:gd name="csX24" fmla="*/ 54392 w 228900"/>
                    <a:gd name="csY24" fmla="*/ 158150 h 236520"/>
                    <a:gd name="csX25" fmla="*/ 49334 w 228900"/>
                    <a:gd name="csY25" fmla="*/ 167594 h 236520"/>
                    <a:gd name="csX26" fmla="*/ 34447 w 228900"/>
                    <a:gd name="csY26" fmla="*/ 178831 h 236520"/>
                    <a:gd name="csX27" fmla="*/ 26091 w 228900"/>
                    <a:gd name="csY27" fmla="*/ 178831 h 236520"/>
                    <a:gd name="csX28" fmla="*/ 25003 w 228900"/>
                    <a:gd name="csY28" fmla="*/ 186450 h 236520"/>
                    <a:gd name="csX29" fmla="*/ 31918 w 228900"/>
                    <a:gd name="csY29" fmla="*/ 195158 h 236520"/>
                    <a:gd name="csX30" fmla="*/ 27564 w 228900"/>
                    <a:gd name="csY30" fmla="*/ 210749 h 236520"/>
                    <a:gd name="csX31" fmla="*/ 34447 w 228900"/>
                    <a:gd name="csY31" fmla="*/ 215839 h 236520"/>
                    <a:gd name="csX32" fmla="*/ 62011 w 228900"/>
                    <a:gd name="csY32" fmla="*/ 219105 h 236520"/>
                    <a:gd name="csX33" fmla="*/ 70719 w 228900"/>
                    <a:gd name="csY33" fmla="*/ 215103 h 236520"/>
                    <a:gd name="csX34" fmla="*/ 68926 w 228900"/>
                    <a:gd name="csY34" fmla="*/ 195158 h 236520"/>
                    <a:gd name="csX35" fmla="*/ 75073 w 228900"/>
                    <a:gd name="csY35" fmla="*/ 186450 h 236520"/>
                    <a:gd name="csX36" fmla="*/ 101549 w 228900"/>
                    <a:gd name="csY36" fmla="*/ 197687 h 236520"/>
                    <a:gd name="csX37" fmla="*/ 120789 w 228900"/>
                    <a:gd name="csY37" fmla="*/ 190068 h 236520"/>
                    <a:gd name="csX38" fmla="*/ 130938 w 228900"/>
                    <a:gd name="csY38" fmla="*/ 190068 h 236520"/>
                    <a:gd name="csX39" fmla="*/ 130938 w 228900"/>
                    <a:gd name="csY39" fmla="*/ 185714 h 236520"/>
                    <a:gd name="csX40" fmla="*/ 143999 w 228900"/>
                    <a:gd name="csY40" fmla="*/ 169387 h 236520"/>
                    <a:gd name="csX41" fmla="*/ 142911 w 228900"/>
                    <a:gd name="csY41" fmla="*/ 163240 h 236520"/>
                    <a:gd name="csX42" fmla="*/ 149794 w 228900"/>
                    <a:gd name="csY42" fmla="*/ 160679 h 236520"/>
                    <a:gd name="csX43" fmla="*/ 160327 w 228900"/>
                    <a:gd name="csY43" fmla="*/ 171211 h 236520"/>
                    <a:gd name="csX44" fmla="*/ 152355 w 228900"/>
                    <a:gd name="csY44" fmla="*/ 185714 h 236520"/>
                    <a:gd name="csX45" fmla="*/ 157797 w 228900"/>
                    <a:gd name="csY45" fmla="*/ 191509 h 236520"/>
                    <a:gd name="csX46" fmla="*/ 154884 w 228900"/>
                    <a:gd name="csY46" fmla="*/ 196951 h 236520"/>
                    <a:gd name="csX47" fmla="*/ 172300 w 228900"/>
                    <a:gd name="csY47" fmla="*/ 211485 h 236520"/>
                    <a:gd name="csX48" fmla="*/ 189363 w 228900"/>
                    <a:gd name="csY48" fmla="*/ 215839 h 236520"/>
                    <a:gd name="csX49" fmla="*/ 189363 w 228900"/>
                    <a:gd name="csY49" fmla="*/ 223459 h 236520"/>
                    <a:gd name="csX50" fmla="*/ 195510 w 228900"/>
                    <a:gd name="csY50" fmla="*/ 224547 h 236520"/>
                    <a:gd name="csX51" fmla="*/ 200600 w 228900"/>
                    <a:gd name="csY51" fmla="*/ 236520 h 236520"/>
                    <a:gd name="csX52" fmla="*/ 219457 w 228900"/>
                    <a:gd name="csY52" fmla="*/ 236520 h 236520"/>
                    <a:gd name="csX53" fmla="*/ 228901 w 228900"/>
                    <a:gd name="csY53" fmla="*/ 233959 h 236520"/>
                    <a:gd name="csX54" fmla="*/ 221281 w 228900"/>
                    <a:gd name="csY54" fmla="*/ 227812 h 236520"/>
                    <a:gd name="csX55" fmla="*/ 219457 w 228900"/>
                    <a:gd name="csY55" fmla="*/ 208220 h 236520"/>
                    <a:gd name="csX56" fmla="*/ 210012 w 228900"/>
                    <a:gd name="csY56" fmla="*/ 186450 h 236520"/>
                    <a:gd name="csX57" fmla="*/ 203129 w 228900"/>
                    <a:gd name="csY57" fmla="*/ 185714 h 236520"/>
                    <a:gd name="csX58" fmla="*/ 198776 w 228900"/>
                    <a:gd name="csY58" fmla="*/ 186450 h 236520"/>
                    <a:gd name="csX59" fmla="*/ 204954 w 228900"/>
                    <a:gd name="csY59" fmla="*/ 170123 h 236520"/>
                    <a:gd name="csX60" fmla="*/ 191156 w 228900"/>
                    <a:gd name="csY60" fmla="*/ 162504 h 236520"/>
                    <a:gd name="csX61" fmla="*/ 194774 w 228900"/>
                    <a:gd name="csY61" fmla="*/ 148001 h 236520"/>
                    <a:gd name="csX62" fmla="*/ 199864 w 228900"/>
                    <a:gd name="csY62" fmla="*/ 144383 h 236520"/>
                    <a:gd name="csX63" fmla="*/ 196246 w 228900"/>
                    <a:gd name="csY63" fmla="*/ 134939 h 236520"/>
                    <a:gd name="csX64" fmla="*/ 192981 w 228900"/>
                    <a:gd name="csY64" fmla="*/ 123702 h 236520"/>
                    <a:gd name="csX65" fmla="*/ 169771 w 228900"/>
                    <a:gd name="csY65" fmla="*/ 116083 h 236520"/>
                    <a:gd name="csX66" fmla="*/ 168682 w 228900"/>
                    <a:gd name="csY66" fmla="*/ 114258 h 236520"/>
                    <a:gd name="csX67" fmla="*/ 172300 w 228900"/>
                    <a:gd name="csY67" fmla="*/ 97195 h 236520"/>
                    <a:gd name="csX68" fmla="*/ 174125 w 228900"/>
                    <a:gd name="csY68" fmla="*/ 94314 h 236520"/>
                    <a:gd name="csX69" fmla="*/ 157797 w 228900"/>
                    <a:gd name="csY69" fmla="*/ 81604 h 236520"/>
                    <a:gd name="csX70" fmla="*/ 167946 w 228900"/>
                    <a:gd name="csY70" fmla="*/ 70367 h 236520"/>
                    <a:gd name="csX71" fmla="*/ 159238 w 228900"/>
                    <a:gd name="csY71" fmla="*/ 57305 h 236520"/>
                    <a:gd name="csX72" fmla="*/ 150882 w 228900"/>
                    <a:gd name="csY72" fmla="*/ 54040 h 236520"/>
                    <a:gd name="csX73" fmla="*/ 151619 w 228900"/>
                    <a:gd name="csY73" fmla="*/ 35183 h 236520"/>
                    <a:gd name="csX74" fmla="*/ 147265 w 228900"/>
                    <a:gd name="csY74" fmla="*/ 27180 h 2365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</a:cxnLst>
                  <a:rect l="l" t="t" r="r" b="b"/>
                  <a:pathLst>
                    <a:path w="228900" h="236520">
                      <a:moveTo>
                        <a:pt x="147265" y="27180"/>
                      </a:moveTo>
                      <a:lnTo>
                        <a:pt x="140382" y="20297"/>
                      </a:lnTo>
                      <a:lnTo>
                        <a:pt x="118964" y="17768"/>
                      </a:lnTo>
                      <a:lnTo>
                        <a:pt x="107727" y="8324"/>
                      </a:lnTo>
                      <a:lnTo>
                        <a:pt x="92137" y="0"/>
                      </a:lnTo>
                      <a:lnTo>
                        <a:pt x="80163" y="704"/>
                      </a:lnTo>
                      <a:lnTo>
                        <a:pt x="71455" y="23915"/>
                      </a:lnTo>
                      <a:lnTo>
                        <a:pt x="61275" y="30830"/>
                      </a:lnTo>
                      <a:lnTo>
                        <a:pt x="62011" y="37713"/>
                      </a:lnTo>
                      <a:lnTo>
                        <a:pt x="54392" y="38449"/>
                      </a:lnTo>
                      <a:lnTo>
                        <a:pt x="50774" y="40242"/>
                      </a:lnTo>
                      <a:lnTo>
                        <a:pt x="38065" y="33359"/>
                      </a:lnTo>
                      <a:lnTo>
                        <a:pt x="23210" y="44596"/>
                      </a:lnTo>
                      <a:lnTo>
                        <a:pt x="14854" y="45332"/>
                      </a:lnTo>
                      <a:lnTo>
                        <a:pt x="4354" y="59130"/>
                      </a:lnTo>
                      <a:lnTo>
                        <a:pt x="4354" y="64188"/>
                      </a:lnTo>
                      <a:lnTo>
                        <a:pt x="10501" y="71103"/>
                      </a:lnTo>
                      <a:lnTo>
                        <a:pt x="10501" y="79811"/>
                      </a:lnTo>
                      <a:lnTo>
                        <a:pt x="1088" y="89223"/>
                      </a:lnTo>
                      <a:lnTo>
                        <a:pt x="0" y="98667"/>
                      </a:lnTo>
                      <a:lnTo>
                        <a:pt x="20649" y="109168"/>
                      </a:lnTo>
                      <a:lnTo>
                        <a:pt x="22474" y="135676"/>
                      </a:lnTo>
                      <a:lnTo>
                        <a:pt x="34447" y="144383"/>
                      </a:lnTo>
                      <a:lnTo>
                        <a:pt x="53303" y="146176"/>
                      </a:lnTo>
                      <a:lnTo>
                        <a:pt x="54392" y="158150"/>
                      </a:lnTo>
                      <a:lnTo>
                        <a:pt x="49334" y="167594"/>
                      </a:lnTo>
                      <a:lnTo>
                        <a:pt x="34447" y="178831"/>
                      </a:lnTo>
                      <a:lnTo>
                        <a:pt x="26091" y="178831"/>
                      </a:lnTo>
                      <a:lnTo>
                        <a:pt x="25003" y="186450"/>
                      </a:lnTo>
                      <a:lnTo>
                        <a:pt x="31918" y="195158"/>
                      </a:lnTo>
                      <a:lnTo>
                        <a:pt x="27564" y="210749"/>
                      </a:lnTo>
                      <a:lnTo>
                        <a:pt x="34447" y="215839"/>
                      </a:lnTo>
                      <a:lnTo>
                        <a:pt x="62011" y="219105"/>
                      </a:lnTo>
                      <a:lnTo>
                        <a:pt x="70719" y="215103"/>
                      </a:lnTo>
                      <a:lnTo>
                        <a:pt x="68926" y="195158"/>
                      </a:lnTo>
                      <a:lnTo>
                        <a:pt x="75073" y="186450"/>
                      </a:lnTo>
                      <a:lnTo>
                        <a:pt x="101549" y="197687"/>
                      </a:lnTo>
                      <a:lnTo>
                        <a:pt x="120789" y="190068"/>
                      </a:lnTo>
                      <a:lnTo>
                        <a:pt x="130938" y="190068"/>
                      </a:lnTo>
                      <a:lnTo>
                        <a:pt x="130938" y="185714"/>
                      </a:lnTo>
                      <a:lnTo>
                        <a:pt x="143999" y="169387"/>
                      </a:lnTo>
                      <a:lnTo>
                        <a:pt x="142911" y="163240"/>
                      </a:lnTo>
                      <a:lnTo>
                        <a:pt x="149794" y="160679"/>
                      </a:lnTo>
                      <a:lnTo>
                        <a:pt x="160327" y="171211"/>
                      </a:lnTo>
                      <a:lnTo>
                        <a:pt x="152355" y="185714"/>
                      </a:lnTo>
                      <a:lnTo>
                        <a:pt x="157797" y="191509"/>
                      </a:lnTo>
                      <a:lnTo>
                        <a:pt x="154884" y="196951"/>
                      </a:lnTo>
                      <a:lnTo>
                        <a:pt x="172300" y="211485"/>
                      </a:lnTo>
                      <a:lnTo>
                        <a:pt x="189363" y="215839"/>
                      </a:lnTo>
                      <a:lnTo>
                        <a:pt x="189363" y="223459"/>
                      </a:lnTo>
                      <a:lnTo>
                        <a:pt x="195510" y="224547"/>
                      </a:lnTo>
                      <a:lnTo>
                        <a:pt x="200600" y="236520"/>
                      </a:lnTo>
                      <a:lnTo>
                        <a:pt x="219457" y="236520"/>
                      </a:lnTo>
                      <a:lnTo>
                        <a:pt x="228901" y="233959"/>
                      </a:lnTo>
                      <a:lnTo>
                        <a:pt x="221281" y="227812"/>
                      </a:lnTo>
                      <a:lnTo>
                        <a:pt x="219457" y="208220"/>
                      </a:lnTo>
                      <a:lnTo>
                        <a:pt x="210012" y="186450"/>
                      </a:lnTo>
                      <a:lnTo>
                        <a:pt x="203129" y="185714"/>
                      </a:lnTo>
                      <a:lnTo>
                        <a:pt x="198776" y="186450"/>
                      </a:lnTo>
                      <a:lnTo>
                        <a:pt x="204954" y="170123"/>
                      </a:lnTo>
                      <a:lnTo>
                        <a:pt x="191156" y="162504"/>
                      </a:lnTo>
                      <a:lnTo>
                        <a:pt x="194774" y="148001"/>
                      </a:lnTo>
                      <a:lnTo>
                        <a:pt x="199864" y="144383"/>
                      </a:lnTo>
                      <a:lnTo>
                        <a:pt x="196246" y="134939"/>
                      </a:lnTo>
                      <a:lnTo>
                        <a:pt x="192981" y="123702"/>
                      </a:lnTo>
                      <a:lnTo>
                        <a:pt x="169771" y="116083"/>
                      </a:lnTo>
                      <a:lnTo>
                        <a:pt x="168682" y="114258"/>
                      </a:lnTo>
                      <a:lnTo>
                        <a:pt x="172300" y="97195"/>
                      </a:lnTo>
                      <a:lnTo>
                        <a:pt x="174125" y="94314"/>
                      </a:lnTo>
                      <a:lnTo>
                        <a:pt x="157797" y="81604"/>
                      </a:lnTo>
                      <a:lnTo>
                        <a:pt x="167946" y="70367"/>
                      </a:lnTo>
                      <a:lnTo>
                        <a:pt x="159238" y="57305"/>
                      </a:lnTo>
                      <a:lnTo>
                        <a:pt x="150882" y="54040"/>
                      </a:lnTo>
                      <a:lnTo>
                        <a:pt x="151619" y="35183"/>
                      </a:lnTo>
                      <a:lnTo>
                        <a:pt x="147265" y="2718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0" name="Forma Livre: Forma 169">
                  <a:extLst>
                    <a:ext uri="{FF2B5EF4-FFF2-40B4-BE49-F238E27FC236}">
                      <a16:creationId xmlns:a16="http://schemas.microsoft.com/office/drawing/2014/main" id="{88061F23-ABFC-CAEE-F46D-3E68D1D48407}"/>
                    </a:ext>
                  </a:extLst>
                </p:cNvPr>
                <p:cNvSpPr/>
                <p:nvPr/>
              </p:nvSpPr>
              <p:spPr>
                <a:xfrm>
                  <a:off x="2440510" y="5203830"/>
                  <a:ext cx="228900" cy="236520"/>
                </a:xfrm>
                <a:custGeom>
                  <a:avLst/>
                  <a:gdLst>
                    <a:gd name="csX0" fmla="*/ 147265 w 228900"/>
                    <a:gd name="csY0" fmla="*/ 27180 h 236520"/>
                    <a:gd name="csX1" fmla="*/ 140382 w 228900"/>
                    <a:gd name="csY1" fmla="*/ 20297 h 236520"/>
                    <a:gd name="csX2" fmla="*/ 118964 w 228900"/>
                    <a:gd name="csY2" fmla="*/ 17768 h 236520"/>
                    <a:gd name="csX3" fmla="*/ 107727 w 228900"/>
                    <a:gd name="csY3" fmla="*/ 8324 h 236520"/>
                    <a:gd name="csX4" fmla="*/ 92137 w 228900"/>
                    <a:gd name="csY4" fmla="*/ 0 h 236520"/>
                    <a:gd name="csX5" fmla="*/ 80163 w 228900"/>
                    <a:gd name="csY5" fmla="*/ 704 h 236520"/>
                    <a:gd name="csX6" fmla="*/ 71455 w 228900"/>
                    <a:gd name="csY6" fmla="*/ 23915 h 236520"/>
                    <a:gd name="csX7" fmla="*/ 61275 w 228900"/>
                    <a:gd name="csY7" fmla="*/ 30830 h 236520"/>
                    <a:gd name="csX8" fmla="*/ 62011 w 228900"/>
                    <a:gd name="csY8" fmla="*/ 37713 h 236520"/>
                    <a:gd name="csX9" fmla="*/ 54392 w 228900"/>
                    <a:gd name="csY9" fmla="*/ 38449 h 236520"/>
                    <a:gd name="csX10" fmla="*/ 50774 w 228900"/>
                    <a:gd name="csY10" fmla="*/ 40242 h 236520"/>
                    <a:gd name="csX11" fmla="*/ 38065 w 228900"/>
                    <a:gd name="csY11" fmla="*/ 33359 h 236520"/>
                    <a:gd name="csX12" fmla="*/ 23210 w 228900"/>
                    <a:gd name="csY12" fmla="*/ 44596 h 236520"/>
                    <a:gd name="csX13" fmla="*/ 14854 w 228900"/>
                    <a:gd name="csY13" fmla="*/ 45332 h 236520"/>
                    <a:gd name="csX14" fmla="*/ 4354 w 228900"/>
                    <a:gd name="csY14" fmla="*/ 59130 h 236520"/>
                    <a:gd name="csX15" fmla="*/ 4354 w 228900"/>
                    <a:gd name="csY15" fmla="*/ 64188 h 236520"/>
                    <a:gd name="csX16" fmla="*/ 10501 w 228900"/>
                    <a:gd name="csY16" fmla="*/ 71103 h 236520"/>
                    <a:gd name="csX17" fmla="*/ 10501 w 228900"/>
                    <a:gd name="csY17" fmla="*/ 79811 h 236520"/>
                    <a:gd name="csX18" fmla="*/ 1088 w 228900"/>
                    <a:gd name="csY18" fmla="*/ 89223 h 236520"/>
                    <a:gd name="csX19" fmla="*/ 0 w 228900"/>
                    <a:gd name="csY19" fmla="*/ 98667 h 236520"/>
                    <a:gd name="csX20" fmla="*/ 20649 w 228900"/>
                    <a:gd name="csY20" fmla="*/ 109168 h 236520"/>
                    <a:gd name="csX21" fmla="*/ 22474 w 228900"/>
                    <a:gd name="csY21" fmla="*/ 135676 h 236520"/>
                    <a:gd name="csX22" fmla="*/ 34447 w 228900"/>
                    <a:gd name="csY22" fmla="*/ 144383 h 236520"/>
                    <a:gd name="csX23" fmla="*/ 53303 w 228900"/>
                    <a:gd name="csY23" fmla="*/ 146176 h 236520"/>
                    <a:gd name="csX24" fmla="*/ 54392 w 228900"/>
                    <a:gd name="csY24" fmla="*/ 158150 h 236520"/>
                    <a:gd name="csX25" fmla="*/ 49334 w 228900"/>
                    <a:gd name="csY25" fmla="*/ 167594 h 236520"/>
                    <a:gd name="csX26" fmla="*/ 34447 w 228900"/>
                    <a:gd name="csY26" fmla="*/ 178831 h 236520"/>
                    <a:gd name="csX27" fmla="*/ 26091 w 228900"/>
                    <a:gd name="csY27" fmla="*/ 178831 h 236520"/>
                    <a:gd name="csX28" fmla="*/ 25003 w 228900"/>
                    <a:gd name="csY28" fmla="*/ 186450 h 236520"/>
                    <a:gd name="csX29" fmla="*/ 31918 w 228900"/>
                    <a:gd name="csY29" fmla="*/ 195158 h 236520"/>
                    <a:gd name="csX30" fmla="*/ 27564 w 228900"/>
                    <a:gd name="csY30" fmla="*/ 210749 h 236520"/>
                    <a:gd name="csX31" fmla="*/ 34447 w 228900"/>
                    <a:gd name="csY31" fmla="*/ 215839 h 236520"/>
                    <a:gd name="csX32" fmla="*/ 62011 w 228900"/>
                    <a:gd name="csY32" fmla="*/ 219105 h 236520"/>
                    <a:gd name="csX33" fmla="*/ 70719 w 228900"/>
                    <a:gd name="csY33" fmla="*/ 215103 h 236520"/>
                    <a:gd name="csX34" fmla="*/ 68926 w 228900"/>
                    <a:gd name="csY34" fmla="*/ 195158 h 236520"/>
                    <a:gd name="csX35" fmla="*/ 75073 w 228900"/>
                    <a:gd name="csY35" fmla="*/ 186450 h 236520"/>
                    <a:gd name="csX36" fmla="*/ 101549 w 228900"/>
                    <a:gd name="csY36" fmla="*/ 197687 h 236520"/>
                    <a:gd name="csX37" fmla="*/ 120789 w 228900"/>
                    <a:gd name="csY37" fmla="*/ 190068 h 236520"/>
                    <a:gd name="csX38" fmla="*/ 130938 w 228900"/>
                    <a:gd name="csY38" fmla="*/ 190068 h 236520"/>
                    <a:gd name="csX39" fmla="*/ 130938 w 228900"/>
                    <a:gd name="csY39" fmla="*/ 185714 h 236520"/>
                    <a:gd name="csX40" fmla="*/ 143999 w 228900"/>
                    <a:gd name="csY40" fmla="*/ 169387 h 236520"/>
                    <a:gd name="csX41" fmla="*/ 142911 w 228900"/>
                    <a:gd name="csY41" fmla="*/ 163240 h 236520"/>
                    <a:gd name="csX42" fmla="*/ 149794 w 228900"/>
                    <a:gd name="csY42" fmla="*/ 160679 h 236520"/>
                    <a:gd name="csX43" fmla="*/ 160327 w 228900"/>
                    <a:gd name="csY43" fmla="*/ 171211 h 236520"/>
                    <a:gd name="csX44" fmla="*/ 152355 w 228900"/>
                    <a:gd name="csY44" fmla="*/ 185714 h 236520"/>
                    <a:gd name="csX45" fmla="*/ 157797 w 228900"/>
                    <a:gd name="csY45" fmla="*/ 191509 h 236520"/>
                    <a:gd name="csX46" fmla="*/ 154884 w 228900"/>
                    <a:gd name="csY46" fmla="*/ 196951 h 236520"/>
                    <a:gd name="csX47" fmla="*/ 172300 w 228900"/>
                    <a:gd name="csY47" fmla="*/ 211485 h 236520"/>
                    <a:gd name="csX48" fmla="*/ 189363 w 228900"/>
                    <a:gd name="csY48" fmla="*/ 215839 h 236520"/>
                    <a:gd name="csX49" fmla="*/ 189363 w 228900"/>
                    <a:gd name="csY49" fmla="*/ 223459 h 236520"/>
                    <a:gd name="csX50" fmla="*/ 195510 w 228900"/>
                    <a:gd name="csY50" fmla="*/ 224547 h 236520"/>
                    <a:gd name="csX51" fmla="*/ 200600 w 228900"/>
                    <a:gd name="csY51" fmla="*/ 236520 h 236520"/>
                    <a:gd name="csX52" fmla="*/ 219457 w 228900"/>
                    <a:gd name="csY52" fmla="*/ 236520 h 236520"/>
                    <a:gd name="csX53" fmla="*/ 228901 w 228900"/>
                    <a:gd name="csY53" fmla="*/ 233959 h 236520"/>
                    <a:gd name="csX54" fmla="*/ 221281 w 228900"/>
                    <a:gd name="csY54" fmla="*/ 227812 h 236520"/>
                    <a:gd name="csX55" fmla="*/ 219457 w 228900"/>
                    <a:gd name="csY55" fmla="*/ 208220 h 236520"/>
                    <a:gd name="csX56" fmla="*/ 210012 w 228900"/>
                    <a:gd name="csY56" fmla="*/ 186450 h 236520"/>
                    <a:gd name="csX57" fmla="*/ 203129 w 228900"/>
                    <a:gd name="csY57" fmla="*/ 185714 h 236520"/>
                    <a:gd name="csX58" fmla="*/ 198776 w 228900"/>
                    <a:gd name="csY58" fmla="*/ 186450 h 236520"/>
                    <a:gd name="csX59" fmla="*/ 204954 w 228900"/>
                    <a:gd name="csY59" fmla="*/ 170123 h 236520"/>
                    <a:gd name="csX60" fmla="*/ 191156 w 228900"/>
                    <a:gd name="csY60" fmla="*/ 162504 h 236520"/>
                    <a:gd name="csX61" fmla="*/ 194774 w 228900"/>
                    <a:gd name="csY61" fmla="*/ 148001 h 236520"/>
                    <a:gd name="csX62" fmla="*/ 199864 w 228900"/>
                    <a:gd name="csY62" fmla="*/ 144383 h 236520"/>
                    <a:gd name="csX63" fmla="*/ 196246 w 228900"/>
                    <a:gd name="csY63" fmla="*/ 134939 h 236520"/>
                    <a:gd name="csX64" fmla="*/ 192981 w 228900"/>
                    <a:gd name="csY64" fmla="*/ 123702 h 236520"/>
                    <a:gd name="csX65" fmla="*/ 169771 w 228900"/>
                    <a:gd name="csY65" fmla="*/ 116083 h 236520"/>
                    <a:gd name="csX66" fmla="*/ 168682 w 228900"/>
                    <a:gd name="csY66" fmla="*/ 114258 h 236520"/>
                    <a:gd name="csX67" fmla="*/ 172300 w 228900"/>
                    <a:gd name="csY67" fmla="*/ 97195 h 236520"/>
                    <a:gd name="csX68" fmla="*/ 174125 w 228900"/>
                    <a:gd name="csY68" fmla="*/ 94314 h 236520"/>
                    <a:gd name="csX69" fmla="*/ 157797 w 228900"/>
                    <a:gd name="csY69" fmla="*/ 81604 h 236520"/>
                    <a:gd name="csX70" fmla="*/ 167946 w 228900"/>
                    <a:gd name="csY70" fmla="*/ 70367 h 236520"/>
                    <a:gd name="csX71" fmla="*/ 159238 w 228900"/>
                    <a:gd name="csY71" fmla="*/ 57305 h 236520"/>
                    <a:gd name="csX72" fmla="*/ 150882 w 228900"/>
                    <a:gd name="csY72" fmla="*/ 54040 h 236520"/>
                    <a:gd name="csX73" fmla="*/ 151619 w 228900"/>
                    <a:gd name="csY73" fmla="*/ 35183 h 236520"/>
                    <a:gd name="csX74" fmla="*/ 147265 w 228900"/>
                    <a:gd name="csY74" fmla="*/ 27180 h 2365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</a:cxnLst>
                  <a:rect l="l" t="t" r="r" b="b"/>
                  <a:pathLst>
                    <a:path w="228900" h="236520">
                      <a:moveTo>
                        <a:pt x="147265" y="27180"/>
                      </a:moveTo>
                      <a:lnTo>
                        <a:pt x="140382" y="20297"/>
                      </a:lnTo>
                      <a:lnTo>
                        <a:pt x="118964" y="17768"/>
                      </a:lnTo>
                      <a:lnTo>
                        <a:pt x="107727" y="8324"/>
                      </a:lnTo>
                      <a:lnTo>
                        <a:pt x="92137" y="0"/>
                      </a:lnTo>
                      <a:lnTo>
                        <a:pt x="80163" y="704"/>
                      </a:lnTo>
                      <a:lnTo>
                        <a:pt x="71455" y="23915"/>
                      </a:lnTo>
                      <a:lnTo>
                        <a:pt x="61275" y="30830"/>
                      </a:lnTo>
                      <a:lnTo>
                        <a:pt x="62011" y="37713"/>
                      </a:lnTo>
                      <a:lnTo>
                        <a:pt x="54392" y="38449"/>
                      </a:lnTo>
                      <a:lnTo>
                        <a:pt x="50774" y="40242"/>
                      </a:lnTo>
                      <a:lnTo>
                        <a:pt x="38065" y="33359"/>
                      </a:lnTo>
                      <a:lnTo>
                        <a:pt x="23210" y="44596"/>
                      </a:lnTo>
                      <a:lnTo>
                        <a:pt x="14854" y="45332"/>
                      </a:lnTo>
                      <a:lnTo>
                        <a:pt x="4354" y="59130"/>
                      </a:lnTo>
                      <a:lnTo>
                        <a:pt x="4354" y="64188"/>
                      </a:lnTo>
                      <a:lnTo>
                        <a:pt x="10501" y="71103"/>
                      </a:lnTo>
                      <a:lnTo>
                        <a:pt x="10501" y="79811"/>
                      </a:lnTo>
                      <a:lnTo>
                        <a:pt x="1088" y="89223"/>
                      </a:lnTo>
                      <a:lnTo>
                        <a:pt x="0" y="98667"/>
                      </a:lnTo>
                      <a:lnTo>
                        <a:pt x="20649" y="109168"/>
                      </a:lnTo>
                      <a:lnTo>
                        <a:pt x="22474" y="135676"/>
                      </a:lnTo>
                      <a:lnTo>
                        <a:pt x="34447" y="144383"/>
                      </a:lnTo>
                      <a:lnTo>
                        <a:pt x="53303" y="146176"/>
                      </a:lnTo>
                      <a:lnTo>
                        <a:pt x="54392" y="158150"/>
                      </a:lnTo>
                      <a:lnTo>
                        <a:pt x="49334" y="167594"/>
                      </a:lnTo>
                      <a:lnTo>
                        <a:pt x="34447" y="178831"/>
                      </a:lnTo>
                      <a:lnTo>
                        <a:pt x="26091" y="178831"/>
                      </a:lnTo>
                      <a:lnTo>
                        <a:pt x="25003" y="186450"/>
                      </a:lnTo>
                      <a:lnTo>
                        <a:pt x="31918" y="195158"/>
                      </a:lnTo>
                      <a:lnTo>
                        <a:pt x="27564" y="210749"/>
                      </a:lnTo>
                      <a:lnTo>
                        <a:pt x="34447" y="215839"/>
                      </a:lnTo>
                      <a:lnTo>
                        <a:pt x="62011" y="219105"/>
                      </a:lnTo>
                      <a:lnTo>
                        <a:pt x="70719" y="215103"/>
                      </a:lnTo>
                      <a:lnTo>
                        <a:pt x="68926" y="195158"/>
                      </a:lnTo>
                      <a:lnTo>
                        <a:pt x="75073" y="186450"/>
                      </a:lnTo>
                      <a:lnTo>
                        <a:pt x="101549" y="197687"/>
                      </a:lnTo>
                      <a:lnTo>
                        <a:pt x="120789" y="190068"/>
                      </a:lnTo>
                      <a:lnTo>
                        <a:pt x="130938" y="190068"/>
                      </a:lnTo>
                      <a:lnTo>
                        <a:pt x="130938" y="185714"/>
                      </a:lnTo>
                      <a:lnTo>
                        <a:pt x="143999" y="169387"/>
                      </a:lnTo>
                      <a:lnTo>
                        <a:pt x="142911" y="163240"/>
                      </a:lnTo>
                      <a:lnTo>
                        <a:pt x="149794" y="160679"/>
                      </a:lnTo>
                      <a:lnTo>
                        <a:pt x="160327" y="171211"/>
                      </a:lnTo>
                      <a:lnTo>
                        <a:pt x="152355" y="185714"/>
                      </a:lnTo>
                      <a:lnTo>
                        <a:pt x="157797" y="191509"/>
                      </a:lnTo>
                      <a:lnTo>
                        <a:pt x="154884" y="196951"/>
                      </a:lnTo>
                      <a:lnTo>
                        <a:pt x="172300" y="211485"/>
                      </a:lnTo>
                      <a:lnTo>
                        <a:pt x="189363" y="215839"/>
                      </a:lnTo>
                      <a:lnTo>
                        <a:pt x="189363" y="223459"/>
                      </a:lnTo>
                      <a:lnTo>
                        <a:pt x="195510" y="224547"/>
                      </a:lnTo>
                      <a:lnTo>
                        <a:pt x="200600" y="236520"/>
                      </a:lnTo>
                      <a:lnTo>
                        <a:pt x="219457" y="236520"/>
                      </a:lnTo>
                      <a:lnTo>
                        <a:pt x="228901" y="233959"/>
                      </a:lnTo>
                      <a:lnTo>
                        <a:pt x="221281" y="227812"/>
                      </a:lnTo>
                      <a:lnTo>
                        <a:pt x="219457" y="208220"/>
                      </a:lnTo>
                      <a:lnTo>
                        <a:pt x="210012" y="186450"/>
                      </a:lnTo>
                      <a:lnTo>
                        <a:pt x="203129" y="185714"/>
                      </a:lnTo>
                      <a:lnTo>
                        <a:pt x="198776" y="186450"/>
                      </a:lnTo>
                      <a:lnTo>
                        <a:pt x="204954" y="170123"/>
                      </a:lnTo>
                      <a:lnTo>
                        <a:pt x="191156" y="162504"/>
                      </a:lnTo>
                      <a:lnTo>
                        <a:pt x="194774" y="148001"/>
                      </a:lnTo>
                      <a:lnTo>
                        <a:pt x="199864" y="144383"/>
                      </a:lnTo>
                      <a:lnTo>
                        <a:pt x="196246" y="134939"/>
                      </a:lnTo>
                      <a:lnTo>
                        <a:pt x="192981" y="123702"/>
                      </a:lnTo>
                      <a:lnTo>
                        <a:pt x="169771" y="116083"/>
                      </a:lnTo>
                      <a:lnTo>
                        <a:pt x="168682" y="114258"/>
                      </a:lnTo>
                      <a:lnTo>
                        <a:pt x="172300" y="97195"/>
                      </a:lnTo>
                      <a:lnTo>
                        <a:pt x="174125" y="94314"/>
                      </a:lnTo>
                      <a:lnTo>
                        <a:pt x="157797" y="81604"/>
                      </a:lnTo>
                      <a:lnTo>
                        <a:pt x="167946" y="70367"/>
                      </a:lnTo>
                      <a:lnTo>
                        <a:pt x="159238" y="57305"/>
                      </a:lnTo>
                      <a:lnTo>
                        <a:pt x="150882" y="54040"/>
                      </a:lnTo>
                      <a:lnTo>
                        <a:pt x="151619" y="35183"/>
                      </a:lnTo>
                      <a:lnTo>
                        <a:pt x="147265" y="2718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EECC096B-DDBA-DAE7-5E0F-EB07CB17F7E4}"/>
                    </a:ext>
                  </a:extLst>
                </p:cNvPr>
                <p:cNvSpPr/>
                <p:nvPr/>
              </p:nvSpPr>
              <p:spPr>
                <a:xfrm>
                  <a:off x="2365757" y="4685810"/>
                  <a:ext cx="433887" cy="526343"/>
                </a:xfrm>
                <a:custGeom>
                  <a:avLst/>
                  <a:gdLst>
                    <a:gd name="csX0" fmla="*/ 116083 w 433887"/>
                    <a:gd name="csY0" fmla="*/ 0 h 526343"/>
                    <a:gd name="csX1" fmla="*/ 92873 w 433887"/>
                    <a:gd name="csY1" fmla="*/ 15239 h 526343"/>
                    <a:gd name="csX2" fmla="*/ 84165 w 433887"/>
                    <a:gd name="csY2" fmla="*/ 12678 h 526343"/>
                    <a:gd name="csX3" fmla="*/ 60955 w 433887"/>
                    <a:gd name="csY3" fmla="*/ 18856 h 526343"/>
                    <a:gd name="csX4" fmla="*/ 55865 w 433887"/>
                    <a:gd name="csY4" fmla="*/ 37008 h 526343"/>
                    <a:gd name="csX5" fmla="*/ 42099 w 433887"/>
                    <a:gd name="csY5" fmla="*/ 60218 h 526343"/>
                    <a:gd name="csX6" fmla="*/ 34479 w 433887"/>
                    <a:gd name="csY6" fmla="*/ 62011 h 526343"/>
                    <a:gd name="csX7" fmla="*/ 27596 w 433887"/>
                    <a:gd name="csY7" fmla="*/ 54040 h 526343"/>
                    <a:gd name="csX8" fmla="*/ 5090 w 433887"/>
                    <a:gd name="csY8" fmla="*/ 67102 h 526343"/>
                    <a:gd name="csX9" fmla="*/ 0 w 433887"/>
                    <a:gd name="csY9" fmla="*/ 77250 h 526343"/>
                    <a:gd name="csX10" fmla="*/ 1825 w 433887"/>
                    <a:gd name="csY10" fmla="*/ 85958 h 526343"/>
                    <a:gd name="csX11" fmla="*/ 13798 w 433887"/>
                    <a:gd name="csY11" fmla="*/ 87783 h 526343"/>
                    <a:gd name="csX12" fmla="*/ 16327 w 433887"/>
                    <a:gd name="csY12" fmla="*/ 95402 h 526343"/>
                    <a:gd name="csX13" fmla="*/ 0 w 433887"/>
                    <a:gd name="csY13" fmla="*/ 144384 h 526343"/>
                    <a:gd name="csX14" fmla="*/ 6915 w 433887"/>
                    <a:gd name="csY14" fmla="*/ 152355 h 526343"/>
                    <a:gd name="csX15" fmla="*/ 7619 w 433887"/>
                    <a:gd name="csY15" fmla="*/ 166121 h 526343"/>
                    <a:gd name="csX16" fmla="*/ 30125 w 433887"/>
                    <a:gd name="csY16" fmla="*/ 173741 h 526343"/>
                    <a:gd name="csX17" fmla="*/ 30125 w 433887"/>
                    <a:gd name="csY17" fmla="*/ 181360 h 526343"/>
                    <a:gd name="csX18" fmla="*/ 38833 w 433887"/>
                    <a:gd name="csY18" fmla="*/ 190068 h 526343"/>
                    <a:gd name="csX19" fmla="*/ 46452 w 433887"/>
                    <a:gd name="csY19" fmla="*/ 207131 h 526343"/>
                    <a:gd name="csX20" fmla="*/ 55160 w 433887"/>
                    <a:gd name="csY20" fmla="*/ 213278 h 526343"/>
                    <a:gd name="csX21" fmla="*/ 44628 w 433887"/>
                    <a:gd name="csY21" fmla="*/ 237225 h 526343"/>
                    <a:gd name="csX22" fmla="*/ 30125 w 433887"/>
                    <a:gd name="csY22" fmla="*/ 252111 h 526343"/>
                    <a:gd name="csX23" fmla="*/ 48245 w 433887"/>
                    <a:gd name="csY23" fmla="*/ 294914 h 526343"/>
                    <a:gd name="csX24" fmla="*/ 64572 w 433887"/>
                    <a:gd name="csY24" fmla="*/ 306151 h 526343"/>
                    <a:gd name="csX25" fmla="*/ 66397 w 433887"/>
                    <a:gd name="csY25" fmla="*/ 316683 h 526343"/>
                    <a:gd name="csX26" fmla="*/ 59514 w 433887"/>
                    <a:gd name="csY26" fmla="*/ 318124 h 526343"/>
                    <a:gd name="csX27" fmla="*/ 57689 w 433887"/>
                    <a:gd name="csY27" fmla="*/ 324303 h 526343"/>
                    <a:gd name="csX28" fmla="*/ 60955 w 433887"/>
                    <a:gd name="csY28" fmla="*/ 331922 h 526343"/>
                    <a:gd name="csX29" fmla="*/ 59514 w 433887"/>
                    <a:gd name="csY29" fmla="*/ 357662 h 526343"/>
                    <a:gd name="csX30" fmla="*/ 57689 w 433887"/>
                    <a:gd name="csY30" fmla="*/ 360575 h 526343"/>
                    <a:gd name="csX31" fmla="*/ 44628 w 433887"/>
                    <a:gd name="csY31" fmla="*/ 352603 h 526343"/>
                    <a:gd name="csX32" fmla="*/ 38833 w 433887"/>
                    <a:gd name="csY32" fmla="*/ 358750 h 526343"/>
                    <a:gd name="csX33" fmla="*/ 37745 w 433887"/>
                    <a:gd name="csY33" fmla="*/ 378343 h 526343"/>
                    <a:gd name="csX34" fmla="*/ 30862 w 433887"/>
                    <a:gd name="csY34" fmla="*/ 387787 h 526343"/>
                    <a:gd name="csX35" fmla="*/ 43187 w 433887"/>
                    <a:gd name="csY35" fmla="*/ 407731 h 526343"/>
                    <a:gd name="csX36" fmla="*/ 44628 w 433887"/>
                    <a:gd name="csY36" fmla="*/ 420793 h 526343"/>
                    <a:gd name="csX37" fmla="*/ 27596 w 433887"/>
                    <a:gd name="csY37" fmla="*/ 417880 h 526343"/>
                    <a:gd name="csX38" fmla="*/ 23947 w 433887"/>
                    <a:gd name="csY38" fmla="*/ 426588 h 526343"/>
                    <a:gd name="csX39" fmla="*/ 41362 w 433887"/>
                    <a:gd name="csY39" fmla="*/ 432766 h 526343"/>
                    <a:gd name="csX40" fmla="*/ 51511 w 433887"/>
                    <a:gd name="csY40" fmla="*/ 447269 h 526343"/>
                    <a:gd name="csX41" fmla="*/ 50806 w 433887"/>
                    <a:gd name="csY41" fmla="*/ 464685 h 526343"/>
                    <a:gd name="csX42" fmla="*/ 56953 w 433887"/>
                    <a:gd name="csY42" fmla="*/ 486806 h 526343"/>
                    <a:gd name="csX43" fmla="*/ 43187 w 433887"/>
                    <a:gd name="csY43" fmla="*/ 495514 h 526343"/>
                    <a:gd name="csX44" fmla="*/ 50070 w 433887"/>
                    <a:gd name="csY44" fmla="*/ 511105 h 526343"/>
                    <a:gd name="csX45" fmla="*/ 68926 w 433887"/>
                    <a:gd name="csY45" fmla="*/ 520549 h 526343"/>
                    <a:gd name="csX46" fmla="*/ 77282 w 433887"/>
                    <a:gd name="csY46" fmla="*/ 508224 h 526343"/>
                    <a:gd name="csX47" fmla="*/ 82724 w 433887"/>
                    <a:gd name="csY47" fmla="*/ 509312 h 526343"/>
                    <a:gd name="csX48" fmla="*/ 92873 w 433887"/>
                    <a:gd name="csY48" fmla="*/ 499868 h 526343"/>
                    <a:gd name="csX49" fmla="*/ 108464 w 433887"/>
                    <a:gd name="csY49" fmla="*/ 502397 h 526343"/>
                    <a:gd name="csX50" fmla="*/ 108464 w 433887"/>
                    <a:gd name="csY50" fmla="*/ 496250 h 526343"/>
                    <a:gd name="csX51" fmla="*/ 117908 w 433887"/>
                    <a:gd name="csY51" fmla="*/ 488631 h 526343"/>
                    <a:gd name="csX52" fmla="*/ 140414 w 433887"/>
                    <a:gd name="csY52" fmla="*/ 498043 h 526343"/>
                    <a:gd name="csX53" fmla="*/ 154916 w 433887"/>
                    <a:gd name="csY53" fmla="*/ 518724 h 526343"/>
                    <a:gd name="csX54" fmla="*/ 166890 w 433887"/>
                    <a:gd name="csY54" fmla="*/ 518020 h 526343"/>
                    <a:gd name="csX55" fmla="*/ 182480 w 433887"/>
                    <a:gd name="csY55" fmla="*/ 526344 h 526343"/>
                    <a:gd name="csX56" fmla="*/ 189363 w 433887"/>
                    <a:gd name="csY56" fmla="*/ 520549 h 526343"/>
                    <a:gd name="csX57" fmla="*/ 193717 w 433887"/>
                    <a:gd name="csY57" fmla="*/ 501693 h 526343"/>
                    <a:gd name="csX58" fmla="*/ 198808 w 433887"/>
                    <a:gd name="csY58" fmla="*/ 496250 h 526343"/>
                    <a:gd name="csX59" fmla="*/ 203161 w 433887"/>
                    <a:gd name="csY59" fmla="*/ 500604 h 526343"/>
                    <a:gd name="csX60" fmla="*/ 212606 w 433887"/>
                    <a:gd name="csY60" fmla="*/ 498043 h 526343"/>
                    <a:gd name="csX61" fmla="*/ 229637 w 433887"/>
                    <a:gd name="csY61" fmla="*/ 509312 h 526343"/>
                    <a:gd name="csX62" fmla="*/ 230726 w 433887"/>
                    <a:gd name="csY62" fmla="*/ 497339 h 526343"/>
                    <a:gd name="csX63" fmla="*/ 242699 w 433887"/>
                    <a:gd name="csY63" fmla="*/ 501693 h 526343"/>
                    <a:gd name="csX64" fmla="*/ 259762 w 433887"/>
                    <a:gd name="csY64" fmla="*/ 488631 h 526343"/>
                    <a:gd name="csX65" fmla="*/ 259762 w 433887"/>
                    <a:gd name="csY65" fmla="*/ 481748 h 526343"/>
                    <a:gd name="csX66" fmla="*/ 269527 w 433887"/>
                    <a:gd name="csY66" fmla="*/ 477394 h 526343"/>
                    <a:gd name="csX67" fmla="*/ 270999 w 433887"/>
                    <a:gd name="csY67" fmla="*/ 469775 h 526343"/>
                    <a:gd name="csX68" fmla="*/ 276442 w 433887"/>
                    <a:gd name="csY68" fmla="*/ 455977 h 526343"/>
                    <a:gd name="csX69" fmla="*/ 270263 w 433887"/>
                    <a:gd name="csY69" fmla="*/ 449094 h 526343"/>
                    <a:gd name="csX70" fmla="*/ 277146 w 433887"/>
                    <a:gd name="csY70" fmla="*/ 446532 h 526343"/>
                    <a:gd name="csX71" fmla="*/ 274617 w 433887"/>
                    <a:gd name="csY71" fmla="*/ 437120 h 526343"/>
                    <a:gd name="csX72" fmla="*/ 286590 w 433887"/>
                    <a:gd name="csY72" fmla="*/ 437857 h 526343"/>
                    <a:gd name="csX73" fmla="*/ 289119 w 433887"/>
                    <a:gd name="csY73" fmla="*/ 452359 h 526343"/>
                    <a:gd name="csX74" fmla="*/ 297827 w 433887"/>
                    <a:gd name="csY74" fmla="*/ 457802 h 526343"/>
                    <a:gd name="csX75" fmla="*/ 314891 w 433887"/>
                    <a:gd name="csY75" fmla="*/ 446532 h 526343"/>
                    <a:gd name="csX76" fmla="*/ 326128 w 433887"/>
                    <a:gd name="csY76" fmla="*/ 449798 h 526343"/>
                    <a:gd name="csX77" fmla="*/ 330482 w 433887"/>
                    <a:gd name="csY77" fmla="*/ 449798 h 526343"/>
                    <a:gd name="csX78" fmla="*/ 330482 w 433887"/>
                    <a:gd name="csY78" fmla="*/ 426588 h 526343"/>
                    <a:gd name="csX79" fmla="*/ 362400 w 433887"/>
                    <a:gd name="csY79" fmla="*/ 428413 h 526343"/>
                    <a:gd name="csX80" fmla="*/ 365665 w 433887"/>
                    <a:gd name="csY80" fmla="*/ 418968 h 526343"/>
                    <a:gd name="csX81" fmla="*/ 354428 w 433887"/>
                    <a:gd name="csY81" fmla="*/ 412822 h 526343"/>
                    <a:gd name="csX82" fmla="*/ 357341 w 433887"/>
                    <a:gd name="csY82" fmla="*/ 408468 h 526343"/>
                    <a:gd name="csX83" fmla="*/ 351899 w 433887"/>
                    <a:gd name="csY83" fmla="*/ 402641 h 526343"/>
                    <a:gd name="csX84" fmla="*/ 338101 w 433887"/>
                    <a:gd name="csY84" fmla="*/ 400112 h 526343"/>
                    <a:gd name="csX85" fmla="*/ 344280 w 433887"/>
                    <a:gd name="csY85" fmla="*/ 393933 h 526343"/>
                    <a:gd name="csX86" fmla="*/ 346072 w 433887"/>
                    <a:gd name="csY86" fmla="*/ 376902 h 526343"/>
                    <a:gd name="csX87" fmla="*/ 335572 w 433887"/>
                    <a:gd name="csY87" fmla="*/ 372548 h 526343"/>
                    <a:gd name="csX88" fmla="*/ 339926 w 433887"/>
                    <a:gd name="csY88" fmla="*/ 363840 h 526343"/>
                    <a:gd name="csX89" fmla="*/ 340630 w 433887"/>
                    <a:gd name="csY89" fmla="*/ 343159 h 526343"/>
                    <a:gd name="csX90" fmla="*/ 335572 w 433887"/>
                    <a:gd name="csY90" fmla="*/ 341334 h 526343"/>
                    <a:gd name="csX91" fmla="*/ 333747 w 433887"/>
                    <a:gd name="csY91" fmla="*/ 333715 h 526343"/>
                    <a:gd name="csX92" fmla="*/ 325423 w 433887"/>
                    <a:gd name="csY92" fmla="*/ 333011 h 526343"/>
                    <a:gd name="csX93" fmla="*/ 315979 w 433887"/>
                    <a:gd name="csY93" fmla="*/ 326128 h 526343"/>
                    <a:gd name="csX94" fmla="*/ 315979 w 433887"/>
                    <a:gd name="csY94" fmla="*/ 319949 h 526343"/>
                    <a:gd name="csX95" fmla="*/ 330482 w 433887"/>
                    <a:gd name="csY95" fmla="*/ 302885 h 526343"/>
                    <a:gd name="csX96" fmla="*/ 343543 w 433887"/>
                    <a:gd name="csY96" fmla="*/ 301092 h 526343"/>
                    <a:gd name="csX97" fmla="*/ 344280 w 433887"/>
                    <a:gd name="csY97" fmla="*/ 294914 h 526343"/>
                    <a:gd name="csX98" fmla="*/ 349338 w 433887"/>
                    <a:gd name="csY98" fmla="*/ 294178 h 526343"/>
                    <a:gd name="csX99" fmla="*/ 348634 w 433887"/>
                    <a:gd name="csY99" fmla="*/ 289824 h 526343"/>
                    <a:gd name="csX100" fmla="*/ 352987 w 433887"/>
                    <a:gd name="csY100" fmla="*/ 294178 h 526343"/>
                    <a:gd name="csX101" fmla="*/ 364224 w 433887"/>
                    <a:gd name="csY101" fmla="*/ 289824 h 526343"/>
                    <a:gd name="csX102" fmla="*/ 364961 w 433887"/>
                    <a:gd name="csY102" fmla="*/ 306887 h 526343"/>
                    <a:gd name="csX103" fmla="*/ 369315 w 433887"/>
                    <a:gd name="csY103" fmla="*/ 311241 h 526343"/>
                    <a:gd name="csX104" fmla="*/ 383081 w 433887"/>
                    <a:gd name="csY104" fmla="*/ 305447 h 526343"/>
                    <a:gd name="csX105" fmla="*/ 388875 w 433887"/>
                    <a:gd name="csY105" fmla="*/ 291648 h 526343"/>
                    <a:gd name="csX106" fmla="*/ 399408 w 433887"/>
                    <a:gd name="csY106" fmla="*/ 292385 h 526343"/>
                    <a:gd name="csX107" fmla="*/ 399408 w 433887"/>
                    <a:gd name="csY107" fmla="*/ 282204 h 526343"/>
                    <a:gd name="csX108" fmla="*/ 409556 w 433887"/>
                    <a:gd name="csY108" fmla="*/ 280412 h 526343"/>
                    <a:gd name="csX109" fmla="*/ 413910 w 433887"/>
                    <a:gd name="csY109" fmla="*/ 265877 h 526343"/>
                    <a:gd name="csX110" fmla="*/ 425179 w 433887"/>
                    <a:gd name="csY110" fmla="*/ 263348 h 526343"/>
                    <a:gd name="csX111" fmla="*/ 430237 w 433887"/>
                    <a:gd name="csY111" fmla="*/ 258994 h 526343"/>
                    <a:gd name="csX112" fmla="*/ 433887 w 433887"/>
                    <a:gd name="csY112" fmla="*/ 261555 h 526343"/>
                    <a:gd name="csX113" fmla="*/ 433887 w 433887"/>
                    <a:gd name="csY113" fmla="*/ 243403 h 526343"/>
                    <a:gd name="csX114" fmla="*/ 423354 w 433887"/>
                    <a:gd name="csY114" fmla="*/ 239049 h 526343"/>
                    <a:gd name="csX115" fmla="*/ 426972 w 433887"/>
                    <a:gd name="csY115" fmla="*/ 236520 h 526343"/>
                    <a:gd name="csX116" fmla="*/ 417560 w 433887"/>
                    <a:gd name="csY116" fmla="*/ 229605 h 526343"/>
                    <a:gd name="csX117" fmla="*/ 422618 w 433887"/>
                    <a:gd name="csY117" fmla="*/ 227812 h 526343"/>
                    <a:gd name="csX118" fmla="*/ 420825 w 433887"/>
                    <a:gd name="csY118" fmla="*/ 220897 h 526343"/>
                    <a:gd name="csX119" fmla="*/ 408116 w 433887"/>
                    <a:gd name="csY119" fmla="*/ 205658 h 526343"/>
                    <a:gd name="csX120" fmla="*/ 407027 w 433887"/>
                    <a:gd name="csY120" fmla="*/ 194422 h 526343"/>
                    <a:gd name="csX121" fmla="*/ 411381 w 433887"/>
                    <a:gd name="csY121" fmla="*/ 190804 h 526343"/>
                    <a:gd name="csX122" fmla="*/ 409556 w 433887"/>
                    <a:gd name="csY122" fmla="*/ 183185 h 526343"/>
                    <a:gd name="csX123" fmla="*/ 413910 w 433887"/>
                    <a:gd name="csY123" fmla="*/ 183185 h 526343"/>
                    <a:gd name="csX124" fmla="*/ 409556 w 433887"/>
                    <a:gd name="csY124" fmla="*/ 178094 h 526343"/>
                    <a:gd name="csX125" fmla="*/ 404498 w 433887"/>
                    <a:gd name="csY125" fmla="*/ 174477 h 526343"/>
                    <a:gd name="csX126" fmla="*/ 403762 w 433887"/>
                    <a:gd name="csY126" fmla="*/ 145472 h 526343"/>
                    <a:gd name="csX127" fmla="*/ 404498 w 433887"/>
                    <a:gd name="csY127" fmla="*/ 130585 h 526343"/>
                    <a:gd name="csX128" fmla="*/ 405202 w 433887"/>
                    <a:gd name="csY128" fmla="*/ 112433 h 526343"/>
                    <a:gd name="csX129" fmla="*/ 391436 w 433887"/>
                    <a:gd name="csY129" fmla="*/ 116083 h 526343"/>
                    <a:gd name="csX130" fmla="*/ 385610 w 433887"/>
                    <a:gd name="csY130" fmla="*/ 109168 h 526343"/>
                    <a:gd name="csX131" fmla="*/ 383817 w 433887"/>
                    <a:gd name="csY131" fmla="*/ 107375 h 526343"/>
                    <a:gd name="csX132" fmla="*/ 371844 w 433887"/>
                    <a:gd name="csY132" fmla="*/ 102285 h 526343"/>
                    <a:gd name="csX133" fmla="*/ 371844 w 433887"/>
                    <a:gd name="csY133" fmla="*/ 92137 h 526343"/>
                    <a:gd name="csX134" fmla="*/ 358782 w 433887"/>
                    <a:gd name="csY134" fmla="*/ 92873 h 526343"/>
                    <a:gd name="csX135" fmla="*/ 353692 w 433887"/>
                    <a:gd name="csY135" fmla="*/ 92873 h 526343"/>
                    <a:gd name="csX136" fmla="*/ 346072 w 433887"/>
                    <a:gd name="csY136" fmla="*/ 104814 h 526343"/>
                    <a:gd name="csX137" fmla="*/ 339926 w 433887"/>
                    <a:gd name="csY137" fmla="*/ 105903 h 526343"/>
                    <a:gd name="csX138" fmla="*/ 314891 w 433887"/>
                    <a:gd name="csY138" fmla="*/ 114258 h 526343"/>
                    <a:gd name="csX139" fmla="*/ 303654 w 433887"/>
                    <a:gd name="csY139" fmla="*/ 113522 h 526343"/>
                    <a:gd name="csX140" fmla="*/ 291680 w 433887"/>
                    <a:gd name="csY140" fmla="*/ 126232 h 526343"/>
                    <a:gd name="csX141" fmla="*/ 278971 w 433887"/>
                    <a:gd name="csY141" fmla="*/ 127320 h 526343"/>
                    <a:gd name="csX142" fmla="*/ 265173 w 433887"/>
                    <a:gd name="csY142" fmla="*/ 115347 h 526343"/>
                    <a:gd name="csX143" fmla="*/ 249582 w 433887"/>
                    <a:gd name="csY143" fmla="*/ 105903 h 526343"/>
                    <a:gd name="csX144" fmla="*/ 238345 w 433887"/>
                    <a:gd name="csY144" fmla="*/ 104814 h 526343"/>
                    <a:gd name="csX145" fmla="*/ 228196 w 433887"/>
                    <a:gd name="csY145" fmla="*/ 96106 h 526343"/>
                    <a:gd name="csX146" fmla="*/ 215871 w 433887"/>
                    <a:gd name="csY146" fmla="*/ 108464 h 526343"/>
                    <a:gd name="csX147" fmla="*/ 203866 w 433887"/>
                    <a:gd name="csY147" fmla="*/ 99756 h 526343"/>
                    <a:gd name="csX148" fmla="*/ 211869 w 433887"/>
                    <a:gd name="csY148" fmla="*/ 95402 h 526343"/>
                    <a:gd name="csX149" fmla="*/ 210781 w 433887"/>
                    <a:gd name="csY149" fmla="*/ 89223 h 526343"/>
                    <a:gd name="csX150" fmla="*/ 218752 w 433887"/>
                    <a:gd name="csY150" fmla="*/ 84165 h 526343"/>
                    <a:gd name="csX151" fmla="*/ 215871 w 433887"/>
                    <a:gd name="csY151" fmla="*/ 77250 h 526343"/>
                    <a:gd name="csX152" fmla="*/ 211869 w 433887"/>
                    <a:gd name="csY152" fmla="*/ 67102 h 526343"/>
                    <a:gd name="csX153" fmla="*/ 198808 w 433887"/>
                    <a:gd name="csY153" fmla="*/ 59130 h 526343"/>
                    <a:gd name="csX154" fmla="*/ 196278 w 433887"/>
                    <a:gd name="csY154" fmla="*/ 32654 h 526343"/>
                    <a:gd name="csX155" fmla="*/ 191188 w 433887"/>
                    <a:gd name="csY155" fmla="*/ 23946 h 526343"/>
                    <a:gd name="csX156" fmla="*/ 171948 w 433887"/>
                    <a:gd name="csY156" fmla="*/ 704 h 526343"/>
                    <a:gd name="csX157" fmla="*/ 158182 w 433887"/>
                    <a:gd name="csY157" fmla="*/ 704 h 526343"/>
                    <a:gd name="csX158" fmla="*/ 132410 w 433887"/>
                    <a:gd name="csY158" fmla="*/ 21385 h 526343"/>
                    <a:gd name="csX159" fmla="*/ 116083 w 433887"/>
                    <a:gd name="csY159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</a:cxnLst>
                  <a:rect l="l" t="t" r="r" b="b"/>
                  <a:pathLst>
                    <a:path w="433887" h="526343">
                      <a:moveTo>
                        <a:pt x="116083" y="0"/>
                      </a:moveTo>
                      <a:lnTo>
                        <a:pt x="92873" y="15239"/>
                      </a:lnTo>
                      <a:lnTo>
                        <a:pt x="84165" y="12678"/>
                      </a:lnTo>
                      <a:lnTo>
                        <a:pt x="60955" y="18856"/>
                      </a:lnTo>
                      <a:lnTo>
                        <a:pt x="55865" y="37008"/>
                      </a:lnTo>
                      <a:lnTo>
                        <a:pt x="42099" y="60218"/>
                      </a:lnTo>
                      <a:lnTo>
                        <a:pt x="34479" y="62011"/>
                      </a:lnTo>
                      <a:lnTo>
                        <a:pt x="27596" y="54040"/>
                      </a:lnTo>
                      <a:lnTo>
                        <a:pt x="5090" y="67102"/>
                      </a:lnTo>
                      <a:lnTo>
                        <a:pt x="0" y="77250"/>
                      </a:lnTo>
                      <a:lnTo>
                        <a:pt x="1825" y="85958"/>
                      </a:lnTo>
                      <a:lnTo>
                        <a:pt x="13798" y="87783"/>
                      </a:lnTo>
                      <a:lnTo>
                        <a:pt x="16327" y="95402"/>
                      </a:lnTo>
                      <a:lnTo>
                        <a:pt x="0" y="144384"/>
                      </a:lnTo>
                      <a:lnTo>
                        <a:pt x="6915" y="152355"/>
                      </a:lnTo>
                      <a:lnTo>
                        <a:pt x="7619" y="166121"/>
                      </a:lnTo>
                      <a:lnTo>
                        <a:pt x="30125" y="173741"/>
                      </a:lnTo>
                      <a:lnTo>
                        <a:pt x="30125" y="181360"/>
                      </a:lnTo>
                      <a:lnTo>
                        <a:pt x="38833" y="190068"/>
                      </a:lnTo>
                      <a:lnTo>
                        <a:pt x="46452" y="207131"/>
                      </a:lnTo>
                      <a:lnTo>
                        <a:pt x="55160" y="213278"/>
                      </a:lnTo>
                      <a:lnTo>
                        <a:pt x="44628" y="237225"/>
                      </a:lnTo>
                      <a:lnTo>
                        <a:pt x="30125" y="252111"/>
                      </a:lnTo>
                      <a:lnTo>
                        <a:pt x="48245" y="294914"/>
                      </a:lnTo>
                      <a:lnTo>
                        <a:pt x="64572" y="306151"/>
                      </a:lnTo>
                      <a:lnTo>
                        <a:pt x="66397" y="316683"/>
                      </a:lnTo>
                      <a:lnTo>
                        <a:pt x="59514" y="318124"/>
                      </a:lnTo>
                      <a:lnTo>
                        <a:pt x="57689" y="324303"/>
                      </a:lnTo>
                      <a:lnTo>
                        <a:pt x="60955" y="331922"/>
                      </a:lnTo>
                      <a:lnTo>
                        <a:pt x="59514" y="357662"/>
                      </a:lnTo>
                      <a:lnTo>
                        <a:pt x="57689" y="360575"/>
                      </a:lnTo>
                      <a:lnTo>
                        <a:pt x="44628" y="352603"/>
                      </a:lnTo>
                      <a:lnTo>
                        <a:pt x="38833" y="358750"/>
                      </a:lnTo>
                      <a:lnTo>
                        <a:pt x="37745" y="378343"/>
                      </a:lnTo>
                      <a:lnTo>
                        <a:pt x="30862" y="387787"/>
                      </a:lnTo>
                      <a:lnTo>
                        <a:pt x="43187" y="407731"/>
                      </a:lnTo>
                      <a:lnTo>
                        <a:pt x="44628" y="420793"/>
                      </a:lnTo>
                      <a:lnTo>
                        <a:pt x="27596" y="417880"/>
                      </a:lnTo>
                      <a:lnTo>
                        <a:pt x="23947" y="426588"/>
                      </a:lnTo>
                      <a:lnTo>
                        <a:pt x="41362" y="432766"/>
                      </a:lnTo>
                      <a:lnTo>
                        <a:pt x="51511" y="447269"/>
                      </a:lnTo>
                      <a:lnTo>
                        <a:pt x="50806" y="464685"/>
                      </a:lnTo>
                      <a:lnTo>
                        <a:pt x="56953" y="486806"/>
                      </a:lnTo>
                      <a:lnTo>
                        <a:pt x="43187" y="495514"/>
                      </a:lnTo>
                      <a:lnTo>
                        <a:pt x="50070" y="511105"/>
                      </a:lnTo>
                      <a:lnTo>
                        <a:pt x="68926" y="520549"/>
                      </a:lnTo>
                      <a:lnTo>
                        <a:pt x="77282" y="508224"/>
                      </a:lnTo>
                      <a:lnTo>
                        <a:pt x="82724" y="509312"/>
                      </a:lnTo>
                      <a:lnTo>
                        <a:pt x="92873" y="499868"/>
                      </a:lnTo>
                      <a:lnTo>
                        <a:pt x="108464" y="502397"/>
                      </a:lnTo>
                      <a:lnTo>
                        <a:pt x="108464" y="496250"/>
                      </a:lnTo>
                      <a:lnTo>
                        <a:pt x="117908" y="488631"/>
                      </a:lnTo>
                      <a:lnTo>
                        <a:pt x="140414" y="498043"/>
                      </a:lnTo>
                      <a:lnTo>
                        <a:pt x="154916" y="518724"/>
                      </a:lnTo>
                      <a:lnTo>
                        <a:pt x="166890" y="518020"/>
                      </a:lnTo>
                      <a:lnTo>
                        <a:pt x="182480" y="526344"/>
                      </a:lnTo>
                      <a:lnTo>
                        <a:pt x="189363" y="520549"/>
                      </a:lnTo>
                      <a:lnTo>
                        <a:pt x="193717" y="501693"/>
                      </a:lnTo>
                      <a:lnTo>
                        <a:pt x="198808" y="496250"/>
                      </a:lnTo>
                      <a:lnTo>
                        <a:pt x="203161" y="500604"/>
                      </a:lnTo>
                      <a:lnTo>
                        <a:pt x="212606" y="498043"/>
                      </a:lnTo>
                      <a:lnTo>
                        <a:pt x="229637" y="509312"/>
                      </a:lnTo>
                      <a:lnTo>
                        <a:pt x="230726" y="497339"/>
                      </a:lnTo>
                      <a:lnTo>
                        <a:pt x="242699" y="501693"/>
                      </a:lnTo>
                      <a:lnTo>
                        <a:pt x="259762" y="488631"/>
                      </a:lnTo>
                      <a:lnTo>
                        <a:pt x="259762" y="481748"/>
                      </a:lnTo>
                      <a:lnTo>
                        <a:pt x="269527" y="477394"/>
                      </a:lnTo>
                      <a:lnTo>
                        <a:pt x="270999" y="469775"/>
                      </a:lnTo>
                      <a:lnTo>
                        <a:pt x="276442" y="455977"/>
                      </a:lnTo>
                      <a:lnTo>
                        <a:pt x="270263" y="449094"/>
                      </a:lnTo>
                      <a:lnTo>
                        <a:pt x="277146" y="446532"/>
                      </a:lnTo>
                      <a:lnTo>
                        <a:pt x="274617" y="437120"/>
                      </a:lnTo>
                      <a:lnTo>
                        <a:pt x="286590" y="437857"/>
                      </a:lnTo>
                      <a:lnTo>
                        <a:pt x="289119" y="452359"/>
                      </a:lnTo>
                      <a:lnTo>
                        <a:pt x="297827" y="457802"/>
                      </a:lnTo>
                      <a:lnTo>
                        <a:pt x="314891" y="446532"/>
                      </a:lnTo>
                      <a:lnTo>
                        <a:pt x="326128" y="449798"/>
                      </a:lnTo>
                      <a:lnTo>
                        <a:pt x="330482" y="449798"/>
                      </a:lnTo>
                      <a:lnTo>
                        <a:pt x="330482" y="426588"/>
                      </a:lnTo>
                      <a:lnTo>
                        <a:pt x="362400" y="428413"/>
                      </a:lnTo>
                      <a:lnTo>
                        <a:pt x="365665" y="418968"/>
                      </a:lnTo>
                      <a:lnTo>
                        <a:pt x="354428" y="412822"/>
                      </a:lnTo>
                      <a:lnTo>
                        <a:pt x="357341" y="408468"/>
                      </a:lnTo>
                      <a:lnTo>
                        <a:pt x="351899" y="402641"/>
                      </a:lnTo>
                      <a:lnTo>
                        <a:pt x="338101" y="400112"/>
                      </a:lnTo>
                      <a:lnTo>
                        <a:pt x="344280" y="393933"/>
                      </a:lnTo>
                      <a:lnTo>
                        <a:pt x="346072" y="376902"/>
                      </a:lnTo>
                      <a:lnTo>
                        <a:pt x="335572" y="372548"/>
                      </a:lnTo>
                      <a:lnTo>
                        <a:pt x="339926" y="363840"/>
                      </a:lnTo>
                      <a:lnTo>
                        <a:pt x="340630" y="343159"/>
                      </a:lnTo>
                      <a:lnTo>
                        <a:pt x="335572" y="341334"/>
                      </a:lnTo>
                      <a:lnTo>
                        <a:pt x="333747" y="333715"/>
                      </a:lnTo>
                      <a:lnTo>
                        <a:pt x="325423" y="333011"/>
                      </a:lnTo>
                      <a:lnTo>
                        <a:pt x="315979" y="326128"/>
                      </a:lnTo>
                      <a:lnTo>
                        <a:pt x="315979" y="319949"/>
                      </a:lnTo>
                      <a:lnTo>
                        <a:pt x="330482" y="302885"/>
                      </a:lnTo>
                      <a:lnTo>
                        <a:pt x="343543" y="301092"/>
                      </a:lnTo>
                      <a:lnTo>
                        <a:pt x="344280" y="294914"/>
                      </a:lnTo>
                      <a:lnTo>
                        <a:pt x="349338" y="294178"/>
                      </a:lnTo>
                      <a:lnTo>
                        <a:pt x="348634" y="289824"/>
                      </a:lnTo>
                      <a:lnTo>
                        <a:pt x="352987" y="294178"/>
                      </a:lnTo>
                      <a:lnTo>
                        <a:pt x="364224" y="289824"/>
                      </a:lnTo>
                      <a:lnTo>
                        <a:pt x="364961" y="306887"/>
                      </a:lnTo>
                      <a:lnTo>
                        <a:pt x="369315" y="311241"/>
                      </a:lnTo>
                      <a:lnTo>
                        <a:pt x="383081" y="305447"/>
                      </a:lnTo>
                      <a:lnTo>
                        <a:pt x="388875" y="291648"/>
                      </a:lnTo>
                      <a:lnTo>
                        <a:pt x="399408" y="292385"/>
                      </a:lnTo>
                      <a:lnTo>
                        <a:pt x="399408" y="282204"/>
                      </a:lnTo>
                      <a:lnTo>
                        <a:pt x="409556" y="280412"/>
                      </a:lnTo>
                      <a:lnTo>
                        <a:pt x="413910" y="265877"/>
                      </a:lnTo>
                      <a:lnTo>
                        <a:pt x="425179" y="263348"/>
                      </a:lnTo>
                      <a:lnTo>
                        <a:pt x="430237" y="258994"/>
                      </a:lnTo>
                      <a:lnTo>
                        <a:pt x="433887" y="261555"/>
                      </a:lnTo>
                      <a:lnTo>
                        <a:pt x="433887" y="243403"/>
                      </a:lnTo>
                      <a:lnTo>
                        <a:pt x="423354" y="239049"/>
                      </a:lnTo>
                      <a:lnTo>
                        <a:pt x="426972" y="236520"/>
                      </a:lnTo>
                      <a:lnTo>
                        <a:pt x="417560" y="229605"/>
                      </a:lnTo>
                      <a:lnTo>
                        <a:pt x="422618" y="227812"/>
                      </a:lnTo>
                      <a:lnTo>
                        <a:pt x="420825" y="220897"/>
                      </a:lnTo>
                      <a:lnTo>
                        <a:pt x="408116" y="205658"/>
                      </a:lnTo>
                      <a:lnTo>
                        <a:pt x="407027" y="194422"/>
                      </a:lnTo>
                      <a:lnTo>
                        <a:pt x="411381" y="190804"/>
                      </a:lnTo>
                      <a:lnTo>
                        <a:pt x="409556" y="183185"/>
                      </a:lnTo>
                      <a:lnTo>
                        <a:pt x="413910" y="183185"/>
                      </a:lnTo>
                      <a:lnTo>
                        <a:pt x="409556" y="178094"/>
                      </a:lnTo>
                      <a:lnTo>
                        <a:pt x="404498" y="174477"/>
                      </a:lnTo>
                      <a:lnTo>
                        <a:pt x="403762" y="145472"/>
                      </a:lnTo>
                      <a:lnTo>
                        <a:pt x="404498" y="130585"/>
                      </a:lnTo>
                      <a:lnTo>
                        <a:pt x="405202" y="112433"/>
                      </a:lnTo>
                      <a:lnTo>
                        <a:pt x="391436" y="116083"/>
                      </a:lnTo>
                      <a:lnTo>
                        <a:pt x="385610" y="109168"/>
                      </a:lnTo>
                      <a:lnTo>
                        <a:pt x="383817" y="107375"/>
                      </a:lnTo>
                      <a:lnTo>
                        <a:pt x="371844" y="102285"/>
                      </a:lnTo>
                      <a:lnTo>
                        <a:pt x="371844" y="92137"/>
                      </a:lnTo>
                      <a:lnTo>
                        <a:pt x="358782" y="92873"/>
                      </a:lnTo>
                      <a:lnTo>
                        <a:pt x="353692" y="92873"/>
                      </a:lnTo>
                      <a:lnTo>
                        <a:pt x="346072" y="104814"/>
                      </a:lnTo>
                      <a:lnTo>
                        <a:pt x="339926" y="105903"/>
                      </a:lnTo>
                      <a:lnTo>
                        <a:pt x="314891" y="114258"/>
                      </a:lnTo>
                      <a:lnTo>
                        <a:pt x="303654" y="113522"/>
                      </a:lnTo>
                      <a:lnTo>
                        <a:pt x="291680" y="126232"/>
                      </a:lnTo>
                      <a:lnTo>
                        <a:pt x="278971" y="127320"/>
                      </a:lnTo>
                      <a:lnTo>
                        <a:pt x="265173" y="115347"/>
                      </a:lnTo>
                      <a:lnTo>
                        <a:pt x="249582" y="105903"/>
                      </a:lnTo>
                      <a:lnTo>
                        <a:pt x="238345" y="104814"/>
                      </a:lnTo>
                      <a:lnTo>
                        <a:pt x="228196" y="96106"/>
                      </a:lnTo>
                      <a:lnTo>
                        <a:pt x="215871" y="108464"/>
                      </a:lnTo>
                      <a:lnTo>
                        <a:pt x="203866" y="99756"/>
                      </a:lnTo>
                      <a:lnTo>
                        <a:pt x="211869" y="95402"/>
                      </a:lnTo>
                      <a:lnTo>
                        <a:pt x="210781" y="89223"/>
                      </a:lnTo>
                      <a:lnTo>
                        <a:pt x="218752" y="84165"/>
                      </a:lnTo>
                      <a:lnTo>
                        <a:pt x="215871" y="77250"/>
                      </a:lnTo>
                      <a:lnTo>
                        <a:pt x="211869" y="67102"/>
                      </a:lnTo>
                      <a:lnTo>
                        <a:pt x="198808" y="59130"/>
                      </a:lnTo>
                      <a:lnTo>
                        <a:pt x="196278" y="32654"/>
                      </a:lnTo>
                      <a:lnTo>
                        <a:pt x="191188" y="23946"/>
                      </a:lnTo>
                      <a:lnTo>
                        <a:pt x="171948" y="704"/>
                      </a:lnTo>
                      <a:lnTo>
                        <a:pt x="158182" y="704"/>
                      </a:lnTo>
                      <a:lnTo>
                        <a:pt x="132410" y="21385"/>
                      </a:lnTo>
                      <a:lnTo>
                        <a:pt x="116083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2106DA8B-19F5-9AC5-96C8-34D609C3013A}"/>
                    </a:ext>
                  </a:extLst>
                </p:cNvPr>
                <p:cNvSpPr/>
                <p:nvPr/>
              </p:nvSpPr>
              <p:spPr>
                <a:xfrm>
                  <a:off x="2365757" y="4685810"/>
                  <a:ext cx="433887" cy="526343"/>
                </a:xfrm>
                <a:custGeom>
                  <a:avLst/>
                  <a:gdLst>
                    <a:gd name="csX0" fmla="*/ 116083 w 433887"/>
                    <a:gd name="csY0" fmla="*/ 0 h 526343"/>
                    <a:gd name="csX1" fmla="*/ 92873 w 433887"/>
                    <a:gd name="csY1" fmla="*/ 15239 h 526343"/>
                    <a:gd name="csX2" fmla="*/ 84165 w 433887"/>
                    <a:gd name="csY2" fmla="*/ 12678 h 526343"/>
                    <a:gd name="csX3" fmla="*/ 60955 w 433887"/>
                    <a:gd name="csY3" fmla="*/ 18856 h 526343"/>
                    <a:gd name="csX4" fmla="*/ 55865 w 433887"/>
                    <a:gd name="csY4" fmla="*/ 37008 h 526343"/>
                    <a:gd name="csX5" fmla="*/ 42099 w 433887"/>
                    <a:gd name="csY5" fmla="*/ 60218 h 526343"/>
                    <a:gd name="csX6" fmla="*/ 34479 w 433887"/>
                    <a:gd name="csY6" fmla="*/ 62011 h 526343"/>
                    <a:gd name="csX7" fmla="*/ 27596 w 433887"/>
                    <a:gd name="csY7" fmla="*/ 54040 h 526343"/>
                    <a:gd name="csX8" fmla="*/ 5090 w 433887"/>
                    <a:gd name="csY8" fmla="*/ 67102 h 526343"/>
                    <a:gd name="csX9" fmla="*/ 0 w 433887"/>
                    <a:gd name="csY9" fmla="*/ 77250 h 526343"/>
                    <a:gd name="csX10" fmla="*/ 1825 w 433887"/>
                    <a:gd name="csY10" fmla="*/ 85958 h 526343"/>
                    <a:gd name="csX11" fmla="*/ 13798 w 433887"/>
                    <a:gd name="csY11" fmla="*/ 87783 h 526343"/>
                    <a:gd name="csX12" fmla="*/ 16327 w 433887"/>
                    <a:gd name="csY12" fmla="*/ 95402 h 526343"/>
                    <a:gd name="csX13" fmla="*/ 0 w 433887"/>
                    <a:gd name="csY13" fmla="*/ 144384 h 526343"/>
                    <a:gd name="csX14" fmla="*/ 6915 w 433887"/>
                    <a:gd name="csY14" fmla="*/ 152355 h 526343"/>
                    <a:gd name="csX15" fmla="*/ 7619 w 433887"/>
                    <a:gd name="csY15" fmla="*/ 166121 h 526343"/>
                    <a:gd name="csX16" fmla="*/ 30125 w 433887"/>
                    <a:gd name="csY16" fmla="*/ 173741 h 526343"/>
                    <a:gd name="csX17" fmla="*/ 30125 w 433887"/>
                    <a:gd name="csY17" fmla="*/ 181360 h 526343"/>
                    <a:gd name="csX18" fmla="*/ 38833 w 433887"/>
                    <a:gd name="csY18" fmla="*/ 190068 h 526343"/>
                    <a:gd name="csX19" fmla="*/ 46452 w 433887"/>
                    <a:gd name="csY19" fmla="*/ 207131 h 526343"/>
                    <a:gd name="csX20" fmla="*/ 55160 w 433887"/>
                    <a:gd name="csY20" fmla="*/ 213278 h 526343"/>
                    <a:gd name="csX21" fmla="*/ 44628 w 433887"/>
                    <a:gd name="csY21" fmla="*/ 237225 h 526343"/>
                    <a:gd name="csX22" fmla="*/ 30125 w 433887"/>
                    <a:gd name="csY22" fmla="*/ 252111 h 526343"/>
                    <a:gd name="csX23" fmla="*/ 48245 w 433887"/>
                    <a:gd name="csY23" fmla="*/ 294914 h 526343"/>
                    <a:gd name="csX24" fmla="*/ 64572 w 433887"/>
                    <a:gd name="csY24" fmla="*/ 306151 h 526343"/>
                    <a:gd name="csX25" fmla="*/ 66397 w 433887"/>
                    <a:gd name="csY25" fmla="*/ 316683 h 526343"/>
                    <a:gd name="csX26" fmla="*/ 59514 w 433887"/>
                    <a:gd name="csY26" fmla="*/ 318124 h 526343"/>
                    <a:gd name="csX27" fmla="*/ 57689 w 433887"/>
                    <a:gd name="csY27" fmla="*/ 324303 h 526343"/>
                    <a:gd name="csX28" fmla="*/ 60955 w 433887"/>
                    <a:gd name="csY28" fmla="*/ 331922 h 526343"/>
                    <a:gd name="csX29" fmla="*/ 59514 w 433887"/>
                    <a:gd name="csY29" fmla="*/ 357662 h 526343"/>
                    <a:gd name="csX30" fmla="*/ 57689 w 433887"/>
                    <a:gd name="csY30" fmla="*/ 360575 h 526343"/>
                    <a:gd name="csX31" fmla="*/ 44628 w 433887"/>
                    <a:gd name="csY31" fmla="*/ 352603 h 526343"/>
                    <a:gd name="csX32" fmla="*/ 38833 w 433887"/>
                    <a:gd name="csY32" fmla="*/ 358750 h 526343"/>
                    <a:gd name="csX33" fmla="*/ 37745 w 433887"/>
                    <a:gd name="csY33" fmla="*/ 378343 h 526343"/>
                    <a:gd name="csX34" fmla="*/ 30862 w 433887"/>
                    <a:gd name="csY34" fmla="*/ 387787 h 526343"/>
                    <a:gd name="csX35" fmla="*/ 43187 w 433887"/>
                    <a:gd name="csY35" fmla="*/ 407731 h 526343"/>
                    <a:gd name="csX36" fmla="*/ 44628 w 433887"/>
                    <a:gd name="csY36" fmla="*/ 420793 h 526343"/>
                    <a:gd name="csX37" fmla="*/ 27596 w 433887"/>
                    <a:gd name="csY37" fmla="*/ 417880 h 526343"/>
                    <a:gd name="csX38" fmla="*/ 23947 w 433887"/>
                    <a:gd name="csY38" fmla="*/ 426588 h 526343"/>
                    <a:gd name="csX39" fmla="*/ 41362 w 433887"/>
                    <a:gd name="csY39" fmla="*/ 432766 h 526343"/>
                    <a:gd name="csX40" fmla="*/ 51511 w 433887"/>
                    <a:gd name="csY40" fmla="*/ 447269 h 526343"/>
                    <a:gd name="csX41" fmla="*/ 50806 w 433887"/>
                    <a:gd name="csY41" fmla="*/ 464685 h 526343"/>
                    <a:gd name="csX42" fmla="*/ 56953 w 433887"/>
                    <a:gd name="csY42" fmla="*/ 486806 h 526343"/>
                    <a:gd name="csX43" fmla="*/ 43187 w 433887"/>
                    <a:gd name="csY43" fmla="*/ 495514 h 526343"/>
                    <a:gd name="csX44" fmla="*/ 50070 w 433887"/>
                    <a:gd name="csY44" fmla="*/ 511105 h 526343"/>
                    <a:gd name="csX45" fmla="*/ 68926 w 433887"/>
                    <a:gd name="csY45" fmla="*/ 520549 h 526343"/>
                    <a:gd name="csX46" fmla="*/ 77282 w 433887"/>
                    <a:gd name="csY46" fmla="*/ 508224 h 526343"/>
                    <a:gd name="csX47" fmla="*/ 82724 w 433887"/>
                    <a:gd name="csY47" fmla="*/ 509312 h 526343"/>
                    <a:gd name="csX48" fmla="*/ 92873 w 433887"/>
                    <a:gd name="csY48" fmla="*/ 499868 h 526343"/>
                    <a:gd name="csX49" fmla="*/ 108464 w 433887"/>
                    <a:gd name="csY49" fmla="*/ 502397 h 526343"/>
                    <a:gd name="csX50" fmla="*/ 108464 w 433887"/>
                    <a:gd name="csY50" fmla="*/ 496250 h 526343"/>
                    <a:gd name="csX51" fmla="*/ 117908 w 433887"/>
                    <a:gd name="csY51" fmla="*/ 488631 h 526343"/>
                    <a:gd name="csX52" fmla="*/ 140414 w 433887"/>
                    <a:gd name="csY52" fmla="*/ 498043 h 526343"/>
                    <a:gd name="csX53" fmla="*/ 154916 w 433887"/>
                    <a:gd name="csY53" fmla="*/ 518724 h 526343"/>
                    <a:gd name="csX54" fmla="*/ 166890 w 433887"/>
                    <a:gd name="csY54" fmla="*/ 518020 h 526343"/>
                    <a:gd name="csX55" fmla="*/ 182480 w 433887"/>
                    <a:gd name="csY55" fmla="*/ 526344 h 526343"/>
                    <a:gd name="csX56" fmla="*/ 189363 w 433887"/>
                    <a:gd name="csY56" fmla="*/ 520549 h 526343"/>
                    <a:gd name="csX57" fmla="*/ 193717 w 433887"/>
                    <a:gd name="csY57" fmla="*/ 501693 h 526343"/>
                    <a:gd name="csX58" fmla="*/ 198808 w 433887"/>
                    <a:gd name="csY58" fmla="*/ 496250 h 526343"/>
                    <a:gd name="csX59" fmla="*/ 203161 w 433887"/>
                    <a:gd name="csY59" fmla="*/ 500604 h 526343"/>
                    <a:gd name="csX60" fmla="*/ 212606 w 433887"/>
                    <a:gd name="csY60" fmla="*/ 498043 h 526343"/>
                    <a:gd name="csX61" fmla="*/ 229637 w 433887"/>
                    <a:gd name="csY61" fmla="*/ 509312 h 526343"/>
                    <a:gd name="csX62" fmla="*/ 230726 w 433887"/>
                    <a:gd name="csY62" fmla="*/ 497339 h 526343"/>
                    <a:gd name="csX63" fmla="*/ 242699 w 433887"/>
                    <a:gd name="csY63" fmla="*/ 501693 h 526343"/>
                    <a:gd name="csX64" fmla="*/ 259762 w 433887"/>
                    <a:gd name="csY64" fmla="*/ 488631 h 526343"/>
                    <a:gd name="csX65" fmla="*/ 259762 w 433887"/>
                    <a:gd name="csY65" fmla="*/ 481748 h 526343"/>
                    <a:gd name="csX66" fmla="*/ 269527 w 433887"/>
                    <a:gd name="csY66" fmla="*/ 477394 h 526343"/>
                    <a:gd name="csX67" fmla="*/ 270999 w 433887"/>
                    <a:gd name="csY67" fmla="*/ 469775 h 526343"/>
                    <a:gd name="csX68" fmla="*/ 276442 w 433887"/>
                    <a:gd name="csY68" fmla="*/ 455977 h 526343"/>
                    <a:gd name="csX69" fmla="*/ 270263 w 433887"/>
                    <a:gd name="csY69" fmla="*/ 449094 h 526343"/>
                    <a:gd name="csX70" fmla="*/ 277146 w 433887"/>
                    <a:gd name="csY70" fmla="*/ 446532 h 526343"/>
                    <a:gd name="csX71" fmla="*/ 274617 w 433887"/>
                    <a:gd name="csY71" fmla="*/ 437120 h 526343"/>
                    <a:gd name="csX72" fmla="*/ 286590 w 433887"/>
                    <a:gd name="csY72" fmla="*/ 437857 h 526343"/>
                    <a:gd name="csX73" fmla="*/ 289119 w 433887"/>
                    <a:gd name="csY73" fmla="*/ 452359 h 526343"/>
                    <a:gd name="csX74" fmla="*/ 297827 w 433887"/>
                    <a:gd name="csY74" fmla="*/ 457802 h 526343"/>
                    <a:gd name="csX75" fmla="*/ 314891 w 433887"/>
                    <a:gd name="csY75" fmla="*/ 446532 h 526343"/>
                    <a:gd name="csX76" fmla="*/ 326128 w 433887"/>
                    <a:gd name="csY76" fmla="*/ 449798 h 526343"/>
                    <a:gd name="csX77" fmla="*/ 330482 w 433887"/>
                    <a:gd name="csY77" fmla="*/ 449798 h 526343"/>
                    <a:gd name="csX78" fmla="*/ 330482 w 433887"/>
                    <a:gd name="csY78" fmla="*/ 426588 h 526343"/>
                    <a:gd name="csX79" fmla="*/ 362400 w 433887"/>
                    <a:gd name="csY79" fmla="*/ 428413 h 526343"/>
                    <a:gd name="csX80" fmla="*/ 365665 w 433887"/>
                    <a:gd name="csY80" fmla="*/ 418968 h 526343"/>
                    <a:gd name="csX81" fmla="*/ 354428 w 433887"/>
                    <a:gd name="csY81" fmla="*/ 412822 h 526343"/>
                    <a:gd name="csX82" fmla="*/ 357341 w 433887"/>
                    <a:gd name="csY82" fmla="*/ 408468 h 526343"/>
                    <a:gd name="csX83" fmla="*/ 351899 w 433887"/>
                    <a:gd name="csY83" fmla="*/ 402641 h 526343"/>
                    <a:gd name="csX84" fmla="*/ 338101 w 433887"/>
                    <a:gd name="csY84" fmla="*/ 400112 h 526343"/>
                    <a:gd name="csX85" fmla="*/ 344280 w 433887"/>
                    <a:gd name="csY85" fmla="*/ 393933 h 526343"/>
                    <a:gd name="csX86" fmla="*/ 346072 w 433887"/>
                    <a:gd name="csY86" fmla="*/ 376902 h 526343"/>
                    <a:gd name="csX87" fmla="*/ 335572 w 433887"/>
                    <a:gd name="csY87" fmla="*/ 372548 h 526343"/>
                    <a:gd name="csX88" fmla="*/ 339926 w 433887"/>
                    <a:gd name="csY88" fmla="*/ 363840 h 526343"/>
                    <a:gd name="csX89" fmla="*/ 340630 w 433887"/>
                    <a:gd name="csY89" fmla="*/ 343159 h 526343"/>
                    <a:gd name="csX90" fmla="*/ 335572 w 433887"/>
                    <a:gd name="csY90" fmla="*/ 341334 h 526343"/>
                    <a:gd name="csX91" fmla="*/ 333747 w 433887"/>
                    <a:gd name="csY91" fmla="*/ 333715 h 526343"/>
                    <a:gd name="csX92" fmla="*/ 325423 w 433887"/>
                    <a:gd name="csY92" fmla="*/ 333011 h 526343"/>
                    <a:gd name="csX93" fmla="*/ 315979 w 433887"/>
                    <a:gd name="csY93" fmla="*/ 326128 h 526343"/>
                    <a:gd name="csX94" fmla="*/ 315979 w 433887"/>
                    <a:gd name="csY94" fmla="*/ 319949 h 526343"/>
                    <a:gd name="csX95" fmla="*/ 330482 w 433887"/>
                    <a:gd name="csY95" fmla="*/ 302885 h 526343"/>
                    <a:gd name="csX96" fmla="*/ 343543 w 433887"/>
                    <a:gd name="csY96" fmla="*/ 301092 h 526343"/>
                    <a:gd name="csX97" fmla="*/ 344280 w 433887"/>
                    <a:gd name="csY97" fmla="*/ 294914 h 526343"/>
                    <a:gd name="csX98" fmla="*/ 349338 w 433887"/>
                    <a:gd name="csY98" fmla="*/ 294178 h 526343"/>
                    <a:gd name="csX99" fmla="*/ 348634 w 433887"/>
                    <a:gd name="csY99" fmla="*/ 289824 h 526343"/>
                    <a:gd name="csX100" fmla="*/ 352987 w 433887"/>
                    <a:gd name="csY100" fmla="*/ 294178 h 526343"/>
                    <a:gd name="csX101" fmla="*/ 364224 w 433887"/>
                    <a:gd name="csY101" fmla="*/ 289824 h 526343"/>
                    <a:gd name="csX102" fmla="*/ 364961 w 433887"/>
                    <a:gd name="csY102" fmla="*/ 306887 h 526343"/>
                    <a:gd name="csX103" fmla="*/ 369315 w 433887"/>
                    <a:gd name="csY103" fmla="*/ 311241 h 526343"/>
                    <a:gd name="csX104" fmla="*/ 383081 w 433887"/>
                    <a:gd name="csY104" fmla="*/ 305447 h 526343"/>
                    <a:gd name="csX105" fmla="*/ 388875 w 433887"/>
                    <a:gd name="csY105" fmla="*/ 291648 h 526343"/>
                    <a:gd name="csX106" fmla="*/ 399408 w 433887"/>
                    <a:gd name="csY106" fmla="*/ 292385 h 526343"/>
                    <a:gd name="csX107" fmla="*/ 399408 w 433887"/>
                    <a:gd name="csY107" fmla="*/ 282204 h 526343"/>
                    <a:gd name="csX108" fmla="*/ 409556 w 433887"/>
                    <a:gd name="csY108" fmla="*/ 280412 h 526343"/>
                    <a:gd name="csX109" fmla="*/ 413910 w 433887"/>
                    <a:gd name="csY109" fmla="*/ 265877 h 526343"/>
                    <a:gd name="csX110" fmla="*/ 425179 w 433887"/>
                    <a:gd name="csY110" fmla="*/ 263348 h 526343"/>
                    <a:gd name="csX111" fmla="*/ 430237 w 433887"/>
                    <a:gd name="csY111" fmla="*/ 258994 h 526343"/>
                    <a:gd name="csX112" fmla="*/ 433887 w 433887"/>
                    <a:gd name="csY112" fmla="*/ 261555 h 526343"/>
                    <a:gd name="csX113" fmla="*/ 433887 w 433887"/>
                    <a:gd name="csY113" fmla="*/ 243403 h 526343"/>
                    <a:gd name="csX114" fmla="*/ 423354 w 433887"/>
                    <a:gd name="csY114" fmla="*/ 239049 h 526343"/>
                    <a:gd name="csX115" fmla="*/ 426972 w 433887"/>
                    <a:gd name="csY115" fmla="*/ 236520 h 526343"/>
                    <a:gd name="csX116" fmla="*/ 417560 w 433887"/>
                    <a:gd name="csY116" fmla="*/ 229605 h 526343"/>
                    <a:gd name="csX117" fmla="*/ 422618 w 433887"/>
                    <a:gd name="csY117" fmla="*/ 227812 h 526343"/>
                    <a:gd name="csX118" fmla="*/ 420825 w 433887"/>
                    <a:gd name="csY118" fmla="*/ 220897 h 526343"/>
                    <a:gd name="csX119" fmla="*/ 408116 w 433887"/>
                    <a:gd name="csY119" fmla="*/ 205658 h 526343"/>
                    <a:gd name="csX120" fmla="*/ 407027 w 433887"/>
                    <a:gd name="csY120" fmla="*/ 194422 h 526343"/>
                    <a:gd name="csX121" fmla="*/ 411381 w 433887"/>
                    <a:gd name="csY121" fmla="*/ 190804 h 526343"/>
                    <a:gd name="csX122" fmla="*/ 409556 w 433887"/>
                    <a:gd name="csY122" fmla="*/ 183185 h 526343"/>
                    <a:gd name="csX123" fmla="*/ 413910 w 433887"/>
                    <a:gd name="csY123" fmla="*/ 183185 h 526343"/>
                    <a:gd name="csX124" fmla="*/ 409556 w 433887"/>
                    <a:gd name="csY124" fmla="*/ 178094 h 526343"/>
                    <a:gd name="csX125" fmla="*/ 404498 w 433887"/>
                    <a:gd name="csY125" fmla="*/ 174477 h 526343"/>
                    <a:gd name="csX126" fmla="*/ 403762 w 433887"/>
                    <a:gd name="csY126" fmla="*/ 145472 h 526343"/>
                    <a:gd name="csX127" fmla="*/ 404498 w 433887"/>
                    <a:gd name="csY127" fmla="*/ 130585 h 526343"/>
                    <a:gd name="csX128" fmla="*/ 405202 w 433887"/>
                    <a:gd name="csY128" fmla="*/ 112433 h 526343"/>
                    <a:gd name="csX129" fmla="*/ 391436 w 433887"/>
                    <a:gd name="csY129" fmla="*/ 116083 h 526343"/>
                    <a:gd name="csX130" fmla="*/ 385610 w 433887"/>
                    <a:gd name="csY130" fmla="*/ 109168 h 526343"/>
                    <a:gd name="csX131" fmla="*/ 383817 w 433887"/>
                    <a:gd name="csY131" fmla="*/ 107375 h 526343"/>
                    <a:gd name="csX132" fmla="*/ 371844 w 433887"/>
                    <a:gd name="csY132" fmla="*/ 102285 h 526343"/>
                    <a:gd name="csX133" fmla="*/ 371844 w 433887"/>
                    <a:gd name="csY133" fmla="*/ 92137 h 526343"/>
                    <a:gd name="csX134" fmla="*/ 358782 w 433887"/>
                    <a:gd name="csY134" fmla="*/ 92873 h 526343"/>
                    <a:gd name="csX135" fmla="*/ 353692 w 433887"/>
                    <a:gd name="csY135" fmla="*/ 92873 h 526343"/>
                    <a:gd name="csX136" fmla="*/ 346072 w 433887"/>
                    <a:gd name="csY136" fmla="*/ 104814 h 526343"/>
                    <a:gd name="csX137" fmla="*/ 339926 w 433887"/>
                    <a:gd name="csY137" fmla="*/ 105903 h 526343"/>
                    <a:gd name="csX138" fmla="*/ 314891 w 433887"/>
                    <a:gd name="csY138" fmla="*/ 114258 h 526343"/>
                    <a:gd name="csX139" fmla="*/ 303654 w 433887"/>
                    <a:gd name="csY139" fmla="*/ 113522 h 526343"/>
                    <a:gd name="csX140" fmla="*/ 291680 w 433887"/>
                    <a:gd name="csY140" fmla="*/ 126232 h 526343"/>
                    <a:gd name="csX141" fmla="*/ 278971 w 433887"/>
                    <a:gd name="csY141" fmla="*/ 127320 h 526343"/>
                    <a:gd name="csX142" fmla="*/ 265173 w 433887"/>
                    <a:gd name="csY142" fmla="*/ 115347 h 526343"/>
                    <a:gd name="csX143" fmla="*/ 249582 w 433887"/>
                    <a:gd name="csY143" fmla="*/ 105903 h 526343"/>
                    <a:gd name="csX144" fmla="*/ 238345 w 433887"/>
                    <a:gd name="csY144" fmla="*/ 104814 h 526343"/>
                    <a:gd name="csX145" fmla="*/ 228196 w 433887"/>
                    <a:gd name="csY145" fmla="*/ 96106 h 526343"/>
                    <a:gd name="csX146" fmla="*/ 215871 w 433887"/>
                    <a:gd name="csY146" fmla="*/ 108464 h 526343"/>
                    <a:gd name="csX147" fmla="*/ 203866 w 433887"/>
                    <a:gd name="csY147" fmla="*/ 99756 h 526343"/>
                    <a:gd name="csX148" fmla="*/ 211869 w 433887"/>
                    <a:gd name="csY148" fmla="*/ 95402 h 526343"/>
                    <a:gd name="csX149" fmla="*/ 210781 w 433887"/>
                    <a:gd name="csY149" fmla="*/ 89223 h 526343"/>
                    <a:gd name="csX150" fmla="*/ 218752 w 433887"/>
                    <a:gd name="csY150" fmla="*/ 84165 h 526343"/>
                    <a:gd name="csX151" fmla="*/ 215871 w 433887"/>
                    <a:gd name="csY151" fmla="*/ 77250 h 526343"/>
                    <a:gd name="csX152" fmla="*/ 211869 w 433887"/>
                    <a:gd name="csY152" fmla="*/ 67102 h 526343"/>
                    <a:gd name="csX153" fmla="*/ 198808 w 433887"/>
                    <a:gd name="csY153" fmla="*/ 59130 h 526343"/>
                    <a:gd name="csX154" fmla="*/ 196278 w 433887"/>
                    <a:gd name="csY154" fmla="*/ 32654 h 526343"/>
                    <a:gd name="csX155" fmla="*/ 191188 w 433887"/>
                    <a:gd name="csY155" fmla="*/ 23946 h 526343"/>
                    <a:gd name="csX156" fmla="*/ 171948 w 433887"/>
                    <a:gd name="csY156" fmla="*/ 704 h 526343"/>
                    <a:gd name="csX157" fmla="*/ 158182 w 433887"/>
                    <a:gd name="csY157" fmla="*/ 704 h 526343"/>
                    <a:gd name="csX158" fmla="*/ 132410 w 433887"/>
                    <a:gd name="csY158" fmla="*/ 21385 h 526343"/>
                    <a:gd name="csX159" fmla="*/ 116083 w 433887"/>
                    <a:gd name="csY159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</a:cxnLst>
                  <a:rect l="l" t="t" r="r" b="b"/>
                  <a:pathLst>
                    <a:path w="433887" h="526343">
                      <a:moveTo>
                        <a:pt x="116083" y="0"/>
                      </a:moveTo>
                      <a:lnTo>
                        <a:pt x="92873" y="15239"/>
                      </a:lnTo>
                      <a:lnTo>
                        <a:pt x="84165" y="12678"/>
                      </a:lnTo>
                      <a:lnTo>
                        <a:pt x="60955" y="18856"/>
                      </a:lnTo>
                      <a:lnTo>
                        <a:pt x="55865" y="37008"/>
                      </a:lnTo>
                      <a:lnTo>
                        <a:pt x="42099" y="60218"/>
                      </a:lnTo>
                      <a:lnTo>
                        <a:pt x="34479" y="62011"/>
                      </a:lnTo>
                      <a:lnTo>
                        <a:pt x="27596" y="54040"/>
                      </a:lnTo>
                      <a:lnTo>
                        <a:pt x="5090" y="67102"/>
                      </a:lnTo>
                      <a:lnTo>
                        <a:pt x="0" y="77250"/>
                      </a:lnTo>
                      <a:lnTo>
                        <a:pt x="1825" y="85958"/>
                      </a:lnTo>
                      <a:lnTo>
                        <a:pt x="13798" y="87783"/>
                      </a:lnTo>
                      <a:lnTo>
                        <a:pt x="16327" y="95402"/>
                      </a:lnTo>
                      <a:lnTo>
                        <a:pt x="0" y="144384"/>
                      </a:lnTo>
                      <a:lnTo>
                        <a:pt x="6915" y="152355"/>
                      </a:lnTo>
                      <a:lnTo>
                        <a:pt x="7619" y="166121"/>
                      </a:lnTo>
                      <a:lnTo>
                        <a:pt x="30125" y="173741"/>
                      </a:lnTo>
                      <a:lnTo>
                        <a:pt x="30125" y="181360"/>
                      </a:lnTo>
                      <a:lnTo>
                        <a:pt x="38833" y="190068"/>
                      </a:lnTo>
                      <a:lnTo>
                        <a:pt x="46452" y="207131"/>
                      </a:lnTo>
                      <a:lnTo>
                        <a:pt x="55160" y="213278"/>
                      </a:lnTo>
                      <a:lnTo>
                        <a:pt x="44628" y="237225"/>
                      </a:lnTo>
                      <a:lnTo>
                        <a:pt x="30125" y="252111"/>
                      </a:lnTo>
                      <a:lnTo>
                        <a:pt x="48245" y="294914"/>
                      </a:lnTo>
                      <a:lnTo>
                        <a:pt x="64572" y="306151"/>
                      </a:lnTo>
                      <a:lnTo>
                        <a:pt x="66397" y="316683"/>
                      </a:lnTo>
                      <a:lnTo>
                        <a:pt x="59514" y="318124"/>
                      </a:lnTo>
                      <a:lnTo>
                        <a:pt x="57689" y="324303"/>
                      </a:lnTo>
                      <a:lnTo>
                        <a:pt x="60955" y="331922"/>
                      </a:lnTo>
                      <a:lnTo>
                        <a:pt x="59514" y="357662"/>
                      </a:lnTo>
                      <a:lnTo>
                        <a:pt x="57689" y="360575"/>
                      </a:lnTo>
                      <a:lnTo>
                        <a:pt x="44628" y="352603"/>
                      </a:lnTo>
                      <a:lnTo>
                        <a:pt x="38833" y="358750"/>
                      </a:lnTo>
                      <a:lnTo>
                        <a:pt x="37745" y="378343"/>
                      </a:lnTo>
                      <a:lnTo>
                        <a:pt x="30862" y="387787"/>
                      </a:lnTo>
                      <a:lnTo>
                        <a:pt x="43187" y="407731"/>
                      </a:lnTo>
                      <a:lnTo>
                        <a:pt x="44628" y="420793"/>
                      </a:lnTo>
                      <a:lnTo>
                        <a:pt x="27596" y="417880"/>
                      </a:lnTo>
                      <a:lnTo>
                        <a:pt x="23947" y="426588"/>
                      </a:lnTo>
                      <a:lnTo>
                        <a:pt x="41362" y="432766"/>
                      </a:lnTo>
                      <a:lnTo>
                        <a:pt x="51511" y="447269"/>
                      </a:lnTo>
                      <a:lnTo>
                        <a:pt x="50806" y="464685"/>
                      </a:lnTo>
                      <a:lnTo>
                        <a:pt x="56953" y="486806"/>
                      </a:lnTo>
                      <a:lnTo>
                        <a:pt x="43187" y="495514"/>
                      </a:lnTo>
                      <a:lnTo>
                        <a:pt x="50070" y="511105"/>
                      </a:lnTo>
                      <a:lnTo>
                        <a:pt x="68926" y="520549"/>
                      </a:lnTo>
                      <a:lnTo>
                        <a:pt x="77282" y="508224"/>
                      </a:lnTo>
                      <a:lnTo>
                        <a:pt x="82724" y="509312"/>
                      </a:lnTo>
                      <a:lnTo>
                        <a:pt x="92873" y="499868"/>
                      </a:lnTo>
                      <a:lnTo>
                        <a:pt x="108464" y="502397"/>
                      </a:lnTo>
                      <a:lnTo>
                        <a:pt x="108464" y="496250"/>
                      </a:lnTo>
                      <a:lnTo>
                        <a:pt x="117908" y="488631"/>
                      </a:lnTo>
                      <a:lnTo>
                        <a:pt x="140414" y="498043"/>
                      </a:lnTo>
                      <a:lnTo>
                        <a:pt x="154916" y="518724"/>
                      </a:lnTo>
                      <a:lnTo>
                        <a:pt x="166890" y="518020"/>
                      </a:lnTo>
                      <a:lnTo>
                        <a:pt x="182480" y="526344"/>
                      </a:lnTo>
                      <a:lnTo>
                        <a:pt x="189363" y="520549"/>
                      </a:lnTo>
                      <a:lnTo>
                        <a:pt x="193717" y="501693"/>
                      </a:lnTo>
                      <a:lnTo>
                        <a:pt x="198808" y="496250"/>
                      </a:lnTo>
                      <a:lnTo>
                        <a:pt x="203161" y="500604"/>
                      </a:lnTo>
                      <a:lnTo>
                        <a:pt x="212606" y="498043"/>
                      </a:lnTo>
                      <a:lnTo>
                        <a:pt x="229637" y="509312"/>
                      </a:lnTo>
                      <a:lnTo>
                        <a:pt x="230726" y="497339"/>
                      </a:lnTo>
                      <a:lnTo>
                        <a:pt x="242699" y="501693"/>
                      </a:lnTo>
                      <a:lnTo>
                        <a:pt x="259762" y="488631"/>
                      </a:lnTo>
                      <a:lnTo>
                        <a:pt x="259762" y="481748"/>
                      </a:lnTo>
                      <a:lnTo>
                        <a:pt x="269527" y="477394"/>
                      </a:lnTo>
                      <a:lnTo>
                        <a:pt x="270999" y="469775"/>
                      </a:lnTo>
                      <a:lnTo>
                        <a:pt x="276442" y="455977"/>
                      </a:lnTo>
                      <a:lnTo>
                        <a:pt x="270263" y="449094"/>
                      </a:lnTo>
                      <a:lnTo>
                        <a:pt x="277146" y="446532"/>
                      </a:lnTo>
                      <a:lnTo>
                        <a:pt x="274617" y="437120"/>
                      </a:lnTo>
                      <a:lnTo>
                        <a:pt x="286590" y="437857"/>
                      </a:lnTo>
                      <a:lnTo>
                        <a:pt x="289119" y="452359"/>
                      </a:lnTo>
                      <a:lnTo>
                        <a:pt x="297827" y="457802"/>
                      </a:lnTo>
                      <a:lnTo>
                        <a:pt x="314891" y="446532"/>
                      </a:lnTo>
                      <a:lnTo>
                        <a:pt x="326128" y="449798"/>
                      </a:lnTo>
                      <a:lnTo>
                        <a:pt x="330482" y="449798"/>
                      </a:lnTo>
                      <a:lnTo>
                        <a:pt x="330482" y="426588"/>
                      </a:lnTo>
                      <a:lnTo>
                        <a:pt x="362400" y="428413"/>
                      </a:lnTo>
                      <a:lnTo>
                        <a:pt x="365665" y="418968"/>
                      </a:lnTo>
                      <a:lnTo>
                        <a:pt x="354428" y="412822"/>
                      </a:lnTo>
                      <a:lnTo>
                        <a:pt x="357341" y="408468"/>
                      </a:lnTo>
                      <a:lnTo>
                        <a:pt x="351899" y="402641"/>
                      </a:lnTo>
                      <a:lnTo>
                        <a:pt x="338101" y="400112"/>
                      </a:lnTo>
                      <a:lnTo>
                        <a:pt x="344280" y="393933"/>
                      </a:lnTo>
                      <a:lnTo>
                        <a:pt x="346072" y="376902"/>
                      </a:lnTo>
                      <a:lnTo>
                        <a:pt x="335572" y="372548"/>
                      </a:lnTo>
                      <a:lnTo>
                        <a:pt x="339926" y="363840"/>
                      </a:lnTo>
                      <a:lnTo>
                        <a:pt x="340630" y="343159"/>
                      </a:lnTo>
                      <a:lnTo>
                        <a:pt x="335572" y="341334"/>
                      </a:lnTo>
                      <a:lnTo>
                        <a:pt x="333747" y="333715"/>
                      </a:lnTo>
                      <a:lnTo>
                        <a:pt x="325423" y="333011"/>
                      </a:lnTo>
                      <a:lnTo>
                        <a:pt x="315979" y="326128"/>
                      </a:lnTo>
                      <a:lnTo>
                        <a:pt x="315979" y="319949"/>
                      </a:lnTo>
                      <a:lnTo>
                        <a:pt x="330482" y="302885"/>
                      </a:lnTo>
                      <a:lnTo>
                        <a:pt x="343543" y="301092"/>
                      </a:lnTo>
                      <a:lnTo>
                        <a:pt x="344280" y="294914"/>
                      </a:lnTo>
                      <a:lnTo>
                        <a:pt x="349338" y="294178"/>
                      </a:lnTo>
                      <a:lnTo>
                        <a:pt x="348634" y="289824"/>
                      </a:lnTo>
                      <a:lnTo>
                        <a:pt x="352987" y="294178"/>
                      </a:lnTo>
                      <a:lnTo>
                        <a:pt x="364224" y="289824"/>
                      </a:lnTo>
                      <a:lnTo>
                        <a:pt x="364961" y="306887"/>
                      </a:lnTo>
                      <a:lnTo>
                        <a:pt x="369315" y="311241"/>
                      </a:lnTo>
                      <a:lnTo>
                        <a:pt x="383081" y="305447"/>
                      </a:lnTo>
                      <a:lnTo>
                        <a:pt x="388875" y="291648"/>
                      </a:lnTo>
                      <a:lnTo>
                        <a:pt x="399408" y="292385"/>
                      </a:lnTo>
                      <a:lnTo>
                        <a:pt x="399408" y="282204"/>
                      </a:lnTo>
                      <a:lnTo>
                        <a:pt x="409556" y="280412"/>
                      </a:lnTo>
                      <a:lnTo>
                        <a:pt x="413910" y="265877"/>
                      </a:lnTo>
                      <a:lnTo>
                        <a:pt x="425179" y="263348"/>
                      </a:lnTo>
                      <a:lnTo>
                        <a:pt x="430237" y="258994"/>
                      </a:lnTo>
                      <a:lnTo>
                        <a:pt x="433887" y="261555"/>
                      </a:lnTo>
                      <a:lnTo>
                        <a:pt x="433887" y="243403"/>
                      </a:lnTo>
                      <a:lnTo>
                        <a:pt x="423354" y="239049"/>
                      </a:lnTo>
                      <a:lnTo>
                        <a:pt x="426972" y="236520"/>
                      </a:lnTo>
                      <a:lnTo>
                        <a:pt x="417560" y="229605"/>
                      </a:lnTo>
                      <a:lnTo>
                        <a:pt x="422618" y="227812"/>
                      </a:lnTo>
                      <a:lnTo>
                        <a:pt x="420825" y="220897"/>
                      </a:lnTo>
                      <a:lnTo>
                        <a:pt x="408116" y="205658"/>
                      </a:lnTo>
                      <a:lnTo>
                        <a:pt x="407027" y="194422"/>
                      </a:lnTo>
                      <a:lnTo>
                        <a:pt x="411381" y="190804"/>
                      </a:lnTo>
                      <a:lnTo>
                        <a:pt x="409556" y="183185"/>
                      </a:lnTo>
                      <a:lnTo>
                        <a:pt x="413910" y="183185"/>
                      </a:lnTo>
                      <a:lnTo>
                        <a:pt x="409556" y="178094"/>
                      </a:lnTo>
                      <a:lnTo>
                        <a:pt x="404498" y="174477"/>
                      </a:lnTo>
                      <a:lnTo>
                        <a:pt x="403762" y="145472"/>
                      </a:lnTo>
                      <a:lnTo>
                        <a:pt x="404498" y="130585"/>
                      </a:lnTo>
                      <a:lnTo>
                        <a:pt x="405202" y="112433"/>
                      </a:lnTo>
                      <a:lnTo>
                        <a:pt x="391436" y="116083"/>
                      </a:lnTo>
                      <a:lnTo>
                        <a:pt x="385610" y="109168"/>
                      </a:lnTo>
                      <a:lnTo>
                        <a:pt x="383817" y="107375"/>
                      </a:lnTo>
                      <a:lnTo>
                        <a:pt x="371844" y="102285"/>
                      </a:lnTo>
                      <a:lnTo>
                        <a:pt x="371844" y="92137"/>
                      </a:lnTo>
                      <a:lnTo>
                        <a:pt x="358782" y="92873"/>
                      </a:lnTo>
                      <a:lnTo>
                        <a:pt x="353692" y="92873"/>
                      </a:lnTo>
                      <a:lnTo>
                        <a:pt x="346072" y="104814"/>
                      </a:lnTo>
                      <a:lnTo>
                        <a:pt x="339926" y="105903"/>
                      </a:lnTo>
                      <a:lnTo>
                        <a:pt x="314891" y="114258"/>
                      </a:lnTo>
                      <a:lnTo>
                        <a:pt x="303654" y="113522"/>
                      </a:lnTo>
                      <a:lnTo>
                        <a:pt x="291680" y="126232"/>
                      </a:lnTo>
                      <a:lnTo>
                        <a:pt x="278971" y="127320"/>
                      </a:lnTo>
                      <a:lnTo>
                        <a:pt x="265173" y="115347"/>
                      </a:lnTo>
                      <a:lnTo>
                        <a:pt x="249582" y="105903"/>
                      </a:lnTo>
                      <a:lnTo>
                        <a:pt x="238345" y="104814"/>
                      </a:lnTo>
                      <a:lnTo>
                        <a:pt x="228196" y="96106"/>
                      </a:lnTo>
                      <a:lnTo>
                        <a:pt x="215871" y="108464"/>
                      </a:lnTo>
                      <a:lnTo>
                        <a:pt x="203866" y="99756"/>
                      </a:lnTo>
                      <a:lnTo>
                        <a:pt x="211869" y="95402"/>
                      </a:lnTo>
                      <a:lnTo>
                        <a:pt x="210781" y="89223"/>
                      </a:lnTo>
                      <a:lnTo>
                        <a:pt x="218752" y="84165"/>
                      </a:lnTo>
                      <a:lnTo>
                        <a:pt x="215871" y="77250"/>
                      </a:lnTo>
                      <a:lnTo>
                        <a:pt x="211869" y="67102"/>
                      </a:lnTo>
                      <a:lnTo>
                        <a:pt x="198808" y="59130"/>
                      </a:lnTo>
                      <a:lnTo>
                        <a:pt x="196278" y="32654"/>
                      </a:lnTo>
                      <a:lnTo>
                        <a:pt x="191188" y="23946"/>
                      </a:lnTo>
                      <a:lnTo>
                        <a:pt x="171948" y="704"/>
                      </a:lnTo>
                      <a:lnTo>
                        <a:pt x="158182" y="704"/>
                      </a:lnTo>
                      <a:lnTo>
                        <a:pt x="132410" y="21385"/>
                      </a:lnTo>
                      <a:lnTo>
                        <a:pt x="116083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8937448C-D396-0948-DBD0-445CDE51C0F6}"/>
                    </a:ext>
                  </a:extLst>
                </p:cNvPr>
                <p:cNvSpPr/>
                <p:nvPr/>
              </p:nvSpPr>
              <p:spPr>
                <a:xfrm>
                  <a:off x="2365757" y="4685810"/>
                  <a:ext cx="433887" cy="526343"/>
                </a:xfrm>
                <a:custGeom>
                  <a:avLst/>
                  <a:gdLst>
                    <a:gd name="csX0" fmla="*/ 116083 w 433887"/>
                    <a:gd name="csY0" fmla="*/ 0 h 526343"/>
                    <a:gd name="csX1" fmla="*/ 92873 w 433887"/>
                    <a:gd name="csY1" fmla="*/ 15239 h 526343"/>
                    <a:gd name="csX2" fmla="*/ 84165 w 433887"/>
                    <a:gd name="csY2" fmla="*/ 12678 h 526343"/>
                    <a:gd name="csX3" fmla="*/ 60955 w 433887"/>
                    <a:gd name="csY3" fmla="*/ 18856 h 526343"/>
                    <a:gd name="csX4" fmla="*/ 55865 w 433887"/>
                    <a:gd name="csY4" fmla="*/ 37008 h 526343"/>
                    <a:gd name="csX5" fmla="*/ 42099 w 433887"/>
                    <a:gd name="csY5" fmla="*/ 60218 h 526343"/>
                    <a:gd name="csX6" fmla="*/ 34479 w 433887"/>
                    <a:gd name="csY6" fmla="*/ 62011 h 526343"/>
                    <a:gd name="csX7" fmla="*/ 27596 w 433887"/>
                    <a:gd name="csY7" fmla="*/ 54040 h 526343"/>
                    <a:gd name="csX8" fmla="*/ 5090 w 433887"/>
                    <a:gd name="csY8" fmla="*/ 67102 h 526343"/>
                    <a:gd name="csX9" fmla="*/ 0 w 433887"/>
                    <a:gd name="csY9" fmla="*/ 77250 h 526343"/>
                    <a:gd name="csX10" fmla="*/ 1825 w 433887"/>
                    <a:gd name="csY10" fmla="*/ 85958 h 526343"/>
                    <a:gd name="csX11" fmla="*/ 13798 w 433887"/>
                    <a:gd name="csY11" fmla="*/ 87783 h 526343"/>
                    <a:gd name="csX12" fmla="*/ 16327 w 433887"/>
                    <a:gd name="csY12" fmla="*/ 95402 h 526343"/>
                    <a:gd name="csX13" fmla="*/ 0 w 433887"/>
                    <a:gd name="csY13" fmla="*/ 144384 h 526343"/>
                    <a:gd name="csX14" fmla="*/ 6915 w 433887"/>
                    <a:gd name="csY14" fmla="*/ 152355 h 526343"/>
                    <a:gd name="csX15" fmla="*/ 7619 w 433887"/>
                    <a:gd name="csY15" fmla="*/ 166121 h 526343"/>
                    <a:gd name="csX16" fmla="*/ 30125 w 433887"/>
                    <a:gd name="csY16" fmla="*/ 173741 h 526343"/>
                    <a:gd name="csX17" fmla="*/ 30125 w 433887"/>
                    <a:gd name="csY17" fmla="*/ 181360 h 526343"/>
                    <a:gd name="csX18" fmla="*/ 38833 w 433887"/>
                    <a:gd name="csY18" fmla="*/ 190068 h 526343"/>
                    <a:gd name="csX19" fmla="*/ 46452 w 433887"/>
                    <a:gd name="csY19" fmla="*/ 207131 h 526343"/>
                    <a:gd name="csX20" fmla="*/ 55160 w 433887"/>
                    <a:gd name="csY20" fmla="*/ 213278 h 526343"/>
                    <a:gd name="csX21" fmla="*/ 44628 w 433887"/>
                    <a:gd name="csY21" fmla="*/ 237225 h 526343"/>
                    <a:gd name="csX22" fmla="*/ 30125 w 433887"/>
                    <a:gd name="csY22" fmla="*/ 252111 h 526343"/>
                    <a:gd name="csX23" fmla="*/ 48245 w 433887"/>
                    <a:gd name="csY23" fmla="*/ 294914 h 526343"/>
                    <a:gd name="csX24" fmla="*/ 64572 w 433887"/>
                    <a:gd name="csY24" fmla="*/ 306151 h 526343"/>
                    <a:gd name="csX25" fmla="*/ 66397 w 433887"/>
                    <a:gd name="csY25" fmla="*/ 316683 h 526343"/>
                    <a:gd name="csX26" fmla="*/ 59514 w 433887"/>
                    <a:gd name="csY26" fmla="*/ 318124 h 526343"/>
                    <a:gd name="csX27" fmla="*/ 57689 w 433887"/>
                    <a:gd name="csY27" fmla="*/ 324303 h 526343"/>
                    <a:gd name="csX28" fmla="*/ 60955 w 433887"/>
                    <a:gd name="csY28" fmla="*/ 331922 h 526343"/>
                    <a:gd name="csX29" fmla="*/ 59514 w 433887"/>
                    <a:gd name="csY29" fmla="*/ 357662 h 526343"/>
                    <a:gd name="csX30" fmla="*/ 57689 w 433887"/>
                    <a:gd name="csY30" fmla="*/ 360575 h 526343"/>
                    <a:gd name="csX31" fmla="*/ 44628 w 433887"/>
                    <a:gd name="csY31" fmla="*/ 352603 h 526343"/>
                    <a:gd name="csX32" fmla="*/ 38833 w 433887"/>
                    <a:gd name="csY32" fmla="*/ 358750 h 526343"/>
                    <a:gd name="csX33" fmla="*/ 37745 w 433887"/>
                    <a:gd name="csY33" fmla="*/ 378343 h 526343"/>
                    <a:gd name="csX34" fmla="*/ 30862 w 433887"/>
                    <a:gd name="csY34" fmla="*/ 387787 h 526343"/>
                    <a:gd name="csX35" fmla="*/ 43187 w 433887"/>
                    <a:gd name="csY35" fmla="*/ 407731 h 526343"/>
                    <a:gd name="csX36" fmla="*/ 44628 w 433887"/>
                    <a:gd name="csY36" fmla="*/ 420793 h 526343"/>
                    <a:gd name="csX37" fmla="*/ 27596 w 433887"/>
                    <a:gd name="csY37" fmla="*/ 417880 h 526343"/>
                    <a:gd name="csX38" fmla="*/ 23947 w 433887"/>
                    <a:gd name="csY38" fmla="*/ 426588 h 526343"/>
                    <a:gd name="csX39" fmla="*/ 41362 w 433887"/>
                    <a:gd name="csY39" fmla="*/ 432766 h 526343"/>
                    <a:gd name="csX40" fmla="*/ 51511 w 433887"/>
                    <a:gd name="csY40" fmla="*/ 447269 h 526343"/>
                    <a:gd name="csX41" fmla="*/ 50806 w 433887"/>
                    <a:gd name="csY41" fmla="*/ 464685 h 526343"/>
                    <a:gd name="csX42" fmla="*/ 56953 w 433887"/>
                    <a:gd name="csY42" fmla="*/ 486806 h 526343"/>
                    <a:gd name="csX43" fmla="*/ 43187 w 433887"/>
                    <a:gd name="csY43" fmla="*/ 495514 h 526343"/>
                    <a:gd name="csX44" fmla="*/ 50070 w 433887"/>
                    <a:gd name="csY44" fmla="*/ 511105 h 526343"/>
                    <a:gd name="csX45" fmla="*/ 68926 w 433887"/>
                    <a:gd name="csY45" fmla="*/ 520549 h 526343"/>
                    <a:gd name="csX46" fmla="*/ 77282 w 433887"/>
                    <a:gd name="csY46" fmla="*/ 508224 h 526343"/>
                    <a:gd name="csX47" fmla="*/ 82724 w 433887"/>
                    <a:gd name="csY47" fmla="*/ 509312 h 526343"/>
                    <a:gd name="csX48" fmla="*/ 92873 w 433887"/>
                    <a:gd name="csY48" fmla="*/ 499868 h 526343"/>
                    <a:gd name="csX49" fmla="*/ 108464 w 433887"/>
                    <a:gd name="csY49" fmla="*/ 502397 h 526343"/>
                    <a:gd name="csX50" fmla="*/ 108464 w 433887"/>
                    <a:gd name="csY50" fmla="*/ 496250 h 526343"/>
                    <a:gd name="csX51" fmla="*/ 117908 w 433887"/>
                    <a:gd name="csY51" fmla="*/ 488631 h 526343"/>
                    <a:gd name="csX52" fmla="*/ 140414 w 433887"/>
                    <a:gd name="csY52" fmla="*/ 498043 h 526343"/>
                    <a:gd name="csX53" fmla="*/ 154916 w 433887"/>
                    <a:gd name="csY53" fmla="*/ 518724 h 526343"/>
                    <a:gd name="csX54" fmla="*/ 166890 w 433887"/>
                    <a:gd name="csY54" fmla="*/ 518020 h 526343"/>
                    <a:gd name="csX55" fmla="*/ 182480 w 433887"/>
                    <a:gd name="csY55" fmla="*/ 526344 h 526343"/>
                    <a:gd name="csX56" fmla="*/ 189363 w 433887"/>
                    <a:gd name="csY56" fmla="*/ 520549 h 526343"/>
                    <a:gd name="csX57" fmla="*/ 193717 w 433887"/>
                    <a:gd name="csY57" fmla="*/ 501693 h 526343"/>
                    <a:gd name="csX58" fmla="*/ 198808 w 433887"/>
                    <a:gd name="csY58" fmla="*/ 496250 h 526343"/>
                    <a:gd name="csX59" fmla="*/ 203161 w 433887"/>
                    <a:gd name="csY59" fmla="*/ 500604 h 526343"/>
                    <a:gd name="csX60" fmla="*/ 212606 w 433887"/>
                    <a:gd name="csY60" fmla="*/ 498043 h 526343"/>
                    <a:gd name="csX61" fmla="*/ 229637 w 433887"/>
                    <a:gd name="csY61" fmla="*/ 509312 h 526343"/>
                    <a:gd name="csX62" fmla="*/ 230726 w 433887"/>
                    <a:gd name="csY62" fmla="*/ 497339 h 526343"/>
                    <a:gd name="csX63" fmla="*/ 242699 w 433887"/>
                    <a:gd name="csY63" fmla="*/ 501693 h 526343"/>
                    <a:gd name="csX64" fmla="*/ 259762 w 433887"/>
                    <a:gd name="csY64" fmla="*/ 488631 h 526343"/>
                    <a:gd name="csX65" fmla="*/ 259762 w 433887"/>
                    <a:gd name="csY65" fmla="*/ 481748 h 526343"/>
                    <a:gd name="csX66" fmla="*/ 269527 w 433887"/>
                    <a:gd name="csY66" fmla="*/ 477394 h 526343"/>
                    <a:gd name="csX67" fmla="*/ 270999 w 433887"/>
                    <a:gd name="csY67" fmla="*/ 469775 h 526343"/>
                    <a:gd name="csX68" fmla="*/ 276442 w 433887"/>
                    <a:gd name="csY68" fmla="*/ 455977 h 526343"/>
                    <a:gd name="csX69" fmla="*/ 270263 w 433887"/>
                    <a:gd name="csY69" fmla="*/ 449094 h 526343"/>
                    <a:gd name="csX70" fmla="*/ 277146 w 433887"/>
                    <a:gd name="csY70" fmla="*/ 446532 h 526343"/>
                    <a:gd name="csX71" fmla="*/ 274617 w 433887"/>
                    <a:gd name="csY71" fmla="*/ 437120 h 526343"/>
                    <a:gd name="csX72" fmla="*/ 286590 w 433887"/>
                    <a:gd name="csY72" fmla="*/ 437857 h 526343"/>
                    <a:gd name="csX73" fmla="*/ 289119 w 433887"/>
                    <a:gd name="csY73" fmla="*/ 452359 h 526343"/>
                    <a:gd name="csX74" fmla="*/ 297827 w 433887"/>
                    <a:gd name="csY74" fmla="*/ 457802 h 526343"/>
                    <a:gd name="csX75" fmla="*/ 314891 w 433887"/>
                    <a:gd name="csY75" fmla="*/ 446532 h 526343"/>
                    <a:gd name="csX76" fmla="*/ 326128 w 433887"/>
                    <a:gd name="csY76" fmla="*/ 449798 h 526343"/>
                    <a:gd name="csX77" fmla="*/ 330482 w 433887"/>
                    <a:gd name="csY77" fmla="*/ 449798 h 526343"/>
                    <a:gd name="csX78" fmla="*/ 330482 w 433887"/>
                    <a:gd name="csY78" fmla="*/ 426588 h 526343"/>
                    <a:gd name="csX79" fmla="*/ 362400 w 433887"/>
                    <a:gd name="csY79" fmla="*/ 428413 h 526343"/>
                    <a:gd name="csX80" fmla="*/ 365665 w 433887"/>
                    <a:gd name="csY80" fmla="*/ 418968 h 526343"/>
                    <a:gd name="csX81" fmla="*/ 354428 w 433887"/>
                    <a:gd name="csY81" fmla="*/ 412822 h 526343"/>
                    <a:gd name="csX82" fmla="*/ 357341 w 433887"/>
                    <a:gd name="csY82" fmla="*/ 408468 h 526343"/>
                    <a:gd name="csX83" fmla="*/ 351899 w 433887"/>
                    <a:gd name="csY83" fmla="*/ 402641 h 526343"/>
                    <a:gd name="csX84" fmla="*/ 338101 w 433887"/>
                    <a:gd name="csY84" fmla="*/ 400112 h 526343"/>
                    <a:gd name="csX85" fmla="*/ 344280 w 433887"/>
                    <a:gd name="csY85" fmla="*/ 393933 h 526343"/>
                    <a:gd name="csX86" fmla="*/ 346072 w 433887"/>
                    <a:gd name="csY86" fmla="*/ 376902 h 526343"/>
                    <a:gd name="csX87" fmla="*/ 335572 w 433887"/>
                    <a:gd name="csY87" fmla="*/ 372548 h 526343"/>
                    <a:gd name="csX88" fmla="*/ 339926 w 433887"/>
                    <a:gd name="csY88" fmla="*/ 363840 h 526343"/>
                    <a:gd name="csX89" fmla="*/ 340630 w 433887"/>
                    <a:gd name="csY89" fmla="*/ 343159 h 526343"/>
                    <a:gd name="csX90" fmla="*/ 335572 w 433887"/>
                    <a:gd name="csY90" fmla="*/ 341334 h 526343"/>
                    <a:gd name="csX91" fmla="*/ 333747 w 433887"/>
                    <a:gd name="csY91" fmla="*/ 333715 h 526343"/>
                    <a:gd name="csX92" fmla="*/ 325423 w 433887"/>
                    <a:gd name="csY92" fmla="*/ 333011 h 526343"/>
                    <a:gd name="csX93" fmla="*/ 315979 w 433887"/>
                    <a:gd name="csY93" fmla="*/ 326128 h 526343"/>
                    <a:gd name="csX94" fmla="*/ 315979 w 433887"/>
                    <a:gd name="csY94" fmla="*/ 319949 h 526343"/>
                    <a:gd name="csX95" fmla="*/ 330482 w 433887"/>
                    <a:gd name="csY95" fmla="*/ 302885 h 526343"/>
                    <a:gd name="csX96" fmla="*/ 343543 w 433887"/>
                    <a:gd name="csY96" fmla="*/ 301092 h 526343"/>
                    <a:gd name="csX97" fmla="*/ 344280 w 433887"/>
                    <a:gd name="csY97" fmla="*/ 294914 h 526343"/>
                    <a:gd name="csX98" fmla="*/ 349338 w 433887"/>
                    <a:gd name="csY98" fmla="*/ 294178 h 526343"/>
                    <a:gd name="csX99" fmla="*/ 348634 w 433887"/>
                    <a:gd name="csY99" fmla="*/ 289824 h 526343"/>
                    <a:gd name="csX100" fmla="*/ 352987 w 433887"/>
                    <a:gd name="csY100" fmla="*/ 294178 h 526343"/>
                    <a:gd name="csX101" fmla="*/ 364224 w 433887"/>
                    <a:gd name="csY101" fmla="*/ 289824 h 526343"/>
                    <a:gd name="csX102" fmla="*/ 364961 w 433887"/>
                    <a:gd name="csY102" fmla="*/ 306887 h 526343"/>
                    <a:gd name="csX103" fmla="*/ 369315 w 433887"/>
                    <a:gd name="csY103" fmla="*/ 311241 h 526343"/>
                    <a:gd name="csX104" fmla="*/ 383081 w 433887"/>
                    <a:gd name="csY104" fmla="*/ 305447 h 526343"/>
                    <a:gd name="csX105" fmla="*/ 388875 w 433887"/>
                    <a:gd name="csY105" fmla="*/ 291648 h 526343"/>
                    <a:gd name="csX106" fmla="*/ 399408 w 433887"/>
                    <a:gd name="csY106" fmla="*/ 292385 h 526343"/>
                    <a:gd name="csX107" fmla="*/ 399408 w 433887"/>
                    <a:gd name="csY107" fmla="*/ 282204 h 526343"/>
                    <a:gd name="csX108" fmla="*/ 409556 w 433887"/>
                    <a:gd name="csY108" fmla="*/ 280412 h 526343"/>
                    <a:gd name="csX109" fmla="*/ 413910 w 433887"/>
                    <a:gd name="csY109" fmla="*/ 265877 h 526343"/>
                    <a:gd name="csX110" fmla="*/ 425179 w 433887"/>
                    <a:gd name="csY110" fmla="*/ 263348 h 526343"/>
                    <a:gd name="csX111" fmla="*/ 430237 w 433887"/>
                    <a:gd name="csY111" fmla="*/ 258994 h 526343"/>
                    <a:gd name="csX112" fmla="*/ 433887 w 433887"/>
                    <a:gd name="csY112" fmla="*/ 261555 h 526343"/>
                    <a:gd name="csX113" fmla="*/ 433887 w 433887"/>
                    <a:gd name="csY113" fmla="*/ 243403 h 526343"/>
                    <a:gd name="csX114" fmla="*/ 423354 w 433887"/>
                    <a:gd name="csY114" fmla="*/ 239049 h 526343"/>
                    <a:gd name="csX115" fmla="*/ 426972 w 433887"/>
                    <a:gd name="csY115" fmla="*/ 236520 h 526343"/>
                    <a:gd name="csX116" fmla="*/ 417560 w 433887"/>
                    <a:gd name="csY116" fmla="*/ 229605 h 526343"/>
                    <a:gd name="csX117" fmla="*/ 422618 w 433887"/>
                    <a:gd name="csY117" fmla="*/ 227812 h 526343"/>
                    <a:gd name="csX118" fmla="*/ 420825 w 433887"/>
                    <a:gd name="csY118" fmla="*/ 220897 h 526343"/>
                    <a:gd name="csX119" fmla="*/ 408116 w 433887"/>
                    <a:gd name="csY119" fmla="*/ 205658 h 526343"/>
                    <a:gd name="csX120" fmla="*/ 407027 w 433887"/>
                    <a:gd name="csY120" fmla="*/ 194422 h 526343"/>
                    <a:gd name="csX121" fmla="*/ 411381 w 433887"/>
                    <a:gd name="csY121" fmla="*/ 190804 h 526343"/>
                    <a:gd name="csX122" fmla="*/ 409556 w 433887"/>
                    <a:gd name="csY122" fmla="*/ 183185 h 526343"/>
                    <a:gd name="csX123" fmla="*/ 413910 w 433887"/>
                    <a:gd name="csY123" fmla="*/ 183185 h 526343"/>
                    <a:gd name="csX124" fmla="*/ 409556 w 433887"/>
                    <a:gd name="csY124" fmla="*/ 178094 h 526343"/>
                    <a:gd name="csX125" fmla="*/ 404498 w 433887"/>
                    <a:gd name="csY125" fmla="*/ 174477 h 526343"/>
                    <a:gd name="csX126" fmla="*/ 403762 w 433887"/>
                    <a:gd name="csY126" fmla="*/ 145472 h 526343"/>
                    <a:gd name="csX127" fmla="*/ 404498 w 433887"/>
                    <a:gd name="csY127" fmla="*/ 130585 h 526343"/>
                    <a:gd name="csX128" fmla="*/ 405202 w 433887"/>
                    <a:gd name="csY128" fmla="*/ 112433 h 526343"/>
                    <a:gd name="csX129" fmla="*/ 391436 w 433887"/>
                    <a:gd name="csY129" fmla="*/ 116083 h 526343"/>
                    <a:gd name="csX130" fmla="*/ 385610 w 433887"/>
                    <a:gd name="csY130" fmla="*/ 109168 h 526343"/>
                    <a:gd name="csX131" fmla="*/ 383817 w 433887"/>
                    <a:gd name="csY131" fmla="*/ 107375 h 526343"/>
                    <a:gd name="csX132" fmla="*/ 371844 w 433887"/>
                    <a:gd name="csY132" fmla="*/ 102285 h 526343"/>
                    <a:gd name="csX133" fmla="*/ 371844 w 433887"/>
                    <a:gd name="csY133" fmla="*/ 92137 h 526343"/>
                    <a:gd name="csX134" fmla="*/ 358782 w 433887"/>
                    <a:gd name="csY134" fmla="*/ 92873 h 526343"/>
                    <a:gd name="csX135" fmla="*/ 353692 w 433887"/>
                    <a:gd name="csY135" fmla="*/ 92873 h 526343"/>
                    <a:gd name="csX136" fmla="*/ 346072 w 433887"/>
                    <a:gd name="csY136" fmla="*/ 104814 h 526343"/>
                    <a:gd name="csX137" fmla="*/ 339926 w 433887"/>
                    <a:gd name="csY137" fmla="*/ 105903 h 526343"/>
                    <a:gd name="csX138" fmla="*/ 314891 w 433887"/>
                    <a:gd name="csY138" fmla="*/ 114258 h 526343"/>
                    <a:gd name="csX139" fmla="*/ 303654 w 433887"/>
                    <a:gd name="csY139" fmla="*/ 113522 h 526343"/>
                    <a:gd name="csX140" fmla="*/ 291680 w 433887"/>
                    <a:gd name="csY140" fmla="*/ 126232 h 526343"/>
                    <a:gd name="csX141" fmla="*/ 278971 w 433887"/>
                    <a:gd name="csY141" fmla="*/ 127320 h 526343"/>
                    <a:gd name="csX142" fmla="*/ 265173 w 433887"/>
                    <a:gd name="csY142" fmla="*/ 115347 h 526343"/>
                    <a:gd name="csX143" fmla="*/ 249582 w 433887"/>
                    <a:gd name="csY143" fmla="*/ 105903 h 526343"/>
                    <a:gd name="csX144" fmla="*/ 238345 w 433887"/>
                    <a:gd name="csY144" fmla="*/ 104814 h 526343"/>
                    <a:gd name="csX145" fmla="*/ 228196 w 433887"/>
                    <a:gd name="csY145" fmla="*/ 96106 h 526343"/>
                    <a:gd name="csX146" fmla="*/ 215871 w 433887"/>
                    <a:gd name="csY146" fmla="*/ 108464 h 526343"/>
                    <a:gd name="csX147" fmla="*/ 203866 w 433887"/>
                    <a:gd name="csY147" fmla="*/ 99756 h 526343"/>
                    <a:gd name="csX148" fmla="*/ 211869 w 433887"/>
                    <a:gd name="csY148" fmla="*/ 95402 h 526343"/>
                    <a:gd name="csX149" fmla="*/ 210781 w 433887"/>
                    <a:gd name="csY149" fmla="*/ 89223 h 526343"/>
                    <a:gd name="csX150" fmla="*/ 218752 w 433887"/>
                    <a:gd name="csY150" fmla="*/ 84165 h 526343"/>
                    <a:gd name="csX151" fmla="*/ 215871 w 433887"/>
                    <a:gd name="csY151" fmla="*/ 77250 h 526343"/>
                    <a:gd name="csX152" fmla="*/ 211869 w 433887"/>
                    <a:gd name="csY152" fmla="*/ 67102 h 526343"/>
                    <a:gd name="csX153" fmla="*/ 198808 w 433887"/>
                    <a:gd name="csY153" fmla="*/ 59130 h 526343"/>
                    <a:gd name="csX154" fmla="*/ 196278 w 433887"/>
                    <a:gd name="csY154" fmla="*/ 32654 h 526343"/>
                    <a:gd name="csX155" fmla="*/ 191188 w 433887"/>
                    <a:gd name="csY155" fmla="*/ 23946 h 526343"/>
                    <a:gd name="csX156" fmla="*/ 171948 w 433887"/>
                    <a:gd name="csY156" fmla="*/ 704 h 526343"/>
                    <a:gd name="csX157" fmla="*/ 158182 w 433887"/>
                    <a:gd name="csY157" fmla="*/ 704 h 526343"/>
                    <a:gd name="csX158" fmla="*/ 132410 w 433887"/>
                    <a:gd name="csY158" fmla="*/ 21385 h 526343"/>
                    <a:gd name="csX159" fmla="*/ 116083 w 433887"/>
                    <a:gd name="csY159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</a:cxnLst>
                  <a:rect l="l" t="t" r="r" b="b"/>
                  <a:pathLst>
                    <a:path w="433887" h="526343">
                      <a:moveTo>
                        <a:pt x="116083" y="0"/>
                      </a:moveTo>
                      <a:lnTo>
                        <a:pt x="92873" y="15239"/>
                      </a:lnTo>
                      <a:lnTo>
                        <a:pt x="84165" y="12678"/>
                      </a:lnTo>
                      <a:lnTo>
                        <a:pt x="60955" y="18856"/>
                      </a:lnTo>
                      <a:lnTo>
                        <a:pt x="55865" y="37008"/>
                      </a:lnTo>
                      <a:lnTo>
                        <a:pt x="42099" y="60218"/>
                      </a:lnTo>
                      <a:lnTo>
                        <a:pt x="34479" y="62011"/>
                      </a:lnTo>
                      <a:lnTo>
                        <a:pt x="27596" y="54040"/>
                      </a:lnTo>
                      <a:lnTo>
                        <a:pt x="5090" y="67102"/>
                      </a:lnTo>
                      <a:lnTo>
                        <a:pt x="0" y="77250"/>
                      </a:lnTo>
                      <a:lnTo>
                        <a:pt x="1825" y="85958"/>
                      </a:lnTo>
                      <a:lnTo>
                        <a:pt x="13798" y="87783"/>
                      </a:lnTo>
                      <a:lnTo>
                        <a:pt x="16327" y="95402"/>
                      </a:lnTo>
                      <a:lnTo>
                        <a:pt x="0" y="144384"/>
                      </a:lnTo>
                      <a:lnTo>
                        <a:pt x="6915" y="152355"/>
                      </a:lnTo>
                      <a:lnTo>
                        <a:pt x="7619" y="166121"/>
                      </a:lnTo>
                      <a:lnTo>
                        <a:pt x="30125" y="173741"/>
                      </a:lnTo>
                      <a:lnTo>
                        <a:pt x="30125" y="181360"/>
                      </a:lnTo>
                      <a:lnTo>
                        <a:pt x="38833" y="190068"/>
                      </a:lnTo>
                      <a:lnTo>
                        <a:pt x="46452" y="207131"/>
                      </a:lnTo>
                      <a:lnTo>
                        <a:pt x="55160" y="213278"/>
                      </a:lnTo>
                      <a:lnTo>
                        <a:pt x="44628" y="237225"/>
                      </a:lnTo>
                      <a:lnTo>
                        <a:pt x="30125" y="252111"/>
                      </a:lnTo>
                      <a:lnTo>
                        <a:pt x="48245" y="294914"/>
                      </a:lnTo>
                      <a:lnTo>
                        <a:pt x="64572" y="306151"/>
                      </a:lnTo>
                      <a:lnTo>
                        <a:pt x="66397" y="316683"/>
                      </a:lnTo>
                      <a:lnTo>
                        <a:pt x="59514" y="318124"/>
                      </a:lnTo>
                      <a:lnTo>
                        <a:pt x="57689" y="324303"/>
                      </a:lnTo>
                      <a:lnTo>
                        <a:pt x="60955" y="331922"/>
                      </a:lnTo>
                      <a:lnTo>
                        <a:pt x="59514" y="357662"/>
                      </a:lnTo>
                      <a:lnTo>
                        <a:pt x="57689" y="360575"/>
                      </a:lnTo>
                      <a:lnTo>
                        <a:pt x="44628" y="352603"/>
                      </a:lnTo>
                      <a:lnTo>
                        <a:pt x="38833" y="358750"/>
                      </a:lnTo>
                      <a:lnTo>
                        <a:pt x="37745" y="378343"/>
                      </a:lnTo>
                      <a:lnTo>
                        <a:pt x="30862" y="387787"/>
                      </a:lnTo>
                      <a:lnTo>
                        <a:pt x="43187" y="407731"/>
                      </a:lnTo>
                      <a:lnTo>
                        <a:pt x="44628" y="420793"/>
                      </a:lnTo>
                      <a:lnTo>
                        <a:pt x="27596" y="417880"/>
                      </a:lnTo>
                      <a:lnTo>
                        <a:pt x="23947" y="426588"/>
                      </a:lnTo>
                      <a:lnTo>
                        <a:pt x="41362" y="432766"/>
                      </a:lnTo>
                      <a:lnTo>
                        <a:pt x="51511" y="447269"/>
                      </a:lnTo>
                      <a:lnTo>
                        <a:pt x="50806" y="464685"/>
                      </a:lnTo>
                      <a:lnTo>
                        <a:pt x="56953" y="486806"/>
                      </a:lnTo>
                      <a:lnTo>
                        <a:pt x="43187" y="495514"/>
                      </a:lnTo>
                      <a:lnTo>
                        <a:pt x="50070" y="511105"/>
                      </a:lnTo>
                      <a:lnTo>
                        <a:pt x="68926" y="520549"/>
                      </a:lnTo>
                      <a:lnTo>
                        <a:pt x="77282" y="508224"/>
                      </a:lnTo>
                      <a:lnTo>
                        <a:pt x="82724" y="509312"/>
                      </a:lnTo>
                      <a:lnTo>
                        <a:pt x="92873" y="499868"/>
                      </a:lnTo>
                      <a:lnTo>
                        <a:pt x="108464" y="502397"/>
                      </a:lnTo>
                      <a:lnTo>
                        <a:pt x="108464" y="496250"/>
                      </a:lnTo>
                      <a:lnTo>
                        <a:pt x="117908" y="488631"/>
                      </a:lnTo>
                      <a:lnTo>
                        <a:pt x="140414" y="498043"/>
                      </a:lnTo>
                      <a:lnTo>
                        <a:pt x="154916" y="518724"/>
                      </a:lnTo>
                      <a:lnTo>
                        <a:pt x="166890" y="518020"/>
                      </a:lnTo>
                      <a:lnTo>
                        <a:pt x="182480" y="526344"/>
                      </a:lnTo>
                      <a:lnTo>
                        <a:pt x="189363" y="520549"/>
                      </a:lnTo>
                      <a:lnTo>
                        <a:pt x="193717" y="501693"/>
                      </a:lnTo>
                      <a:lnTo>
                        <a:pt x="198808" y="496250"/>
                      </a:lnTo>
                      <a:lnTo>
                        <a:pt x="203161" y="500604"/>
                      </a:lnTo>
                      <a:lnTo>
                        <a:pt x="212606" y="498043"/>
                      </a:lnTo>
                      <a:lnTo>
                        <a:pt x="229637" y="509312"/>
                      </a:lnTo>
                      <a:lnTo>
                        <a:pt x="230726" y="497339"/>
                      </a:lnTo>
                      <a:lnTo>
                        <a:pt x="242699" y="501693"/>
                      </a:lnTo>
                      <a:lnTo>
                        <a:pt x="259762" y="488631"/>
                      </a:lnTo>
                      <a:lnTo>
                        <a:pt x="259762" y="481748"/>
                      </a:lnTo>
                      <a:lnTo>
                        <a:pt x="269527" y="477394"/>
                      </a:lnTo>
                      <a:lnTo>
                        <a:pt x="270999" y="469775"/>
                      </a:lnTo>
                      <a:lnTo>
                        <a:pt x="276442" y="455977"/>
                      </a:lnTo>
                      <a:lnTo>
                        <a:pt x="270263" y="449094"/>
                      </a:lnTo>
                      <a:lnTo>
                        <a:pt x="277146" y="446532"/>
                      </a:lnTo>
                      <a:lnTo>
                        <a:pt x="274617" y="437120"/>
                      </a:lnTo>
                      <a:lnTo>
                        <a:pt x="286590" y="437857"/>
                      </a:lnTo>
                      <a:lnTo>
                        <a:pt x="289119" y="452359"/>
                      </a:lnTo>
                      <a:lnTo>
                        <a:pt x="297827" y="457802"/>
                      </a:lnTo>
                      <a:lnTo>
                        <a:pt x="314891" y="446532"/>
                      </a:lnTo>
                      <a:lnTo>
                        <a:pt x="326128" y="449798"/>
                      </a:lnTo>
                      <a:lnTo>
                        <a:pt x="330482" y="449798"/>
                      </a:lnTo>
                      <a:lnTo>
                        <a:pt x="330482" y="426588"/>
                      </a:lnTo>
                      <a:lnTo>
                        <a:pt x="362400" y="428413"/>
                      </a:lnTo>
                      <a:lnTo>
                        <a:pt x="365665" y="418968"/>
                      </a:lnTo>
                      <a:lnTo>
                        <a:pt x="354428" y="412822"/>
                      </a:lnTo>
                      <a:lnTo>
                        <a:pt x="357341" y="408468"/>
                      </a:lnTo>
                      <a:lnTo>
                        <a:pt x="351899" y="402641"/>
                      </a:lnTo>
                      <a:lnTo>
                        <a:pt x="338101" y="400112"/>
                      </a:lnTo>
                      <a:lnTo>
                        <a:pt x="344280" y="393933"/>
                      </a:lnTo>
                      <a:lnTo>
                        <a:pt x="346072" y="376902"/>
                      </a:lnTo>
                      <a:lnTo>
                        <a:pt x="335572" y="372548"/>
                      </a:lnTo>
                      <a:lnTo>
                        <a:pt x="339926" y="363840"/>
                      </a:lnTo>
                      <a:lnTo>
                        <a:pt x="340630" y="343159"/>
                      </a:lnTo>
                      <a:lnTo>
                        <a:pt x="335572" y="341334"/>
                      </a:lnTo>
                      <a:lnTo>
                        <a:pt x="333747" y="333715"/>
                      </a:lnTo>
                      <a:lnTo>
                        <a:pt x="325423" y="333011"/>
                      </a:lnTo>
                      <a:lnTo>
                        <a:pt x="315979" y="326128"/>
                      </a:lnTo>
                      <a:lnTo>
                        <a:pt x="315979" y="319949"/>
                      </a:lnTo>
                      <a:lnTo>
                        <a:pt x="330482" y="302885"/>
                      </a:lnTo>
                      <a:lnTo>
                        <a:pt x="343543" y="301092"/>
                      </a:lnTo>
                      <a:lnTo>
                        <a:pt x="344280" y="294914"/>
                      </a:lnTo>
                      <a:lnTo>
                        <a:pt x="349338" y="294178"/>
                      </a:lnTo>
                      <a:lnTo>
                        <a:pt x="348634" y="289824"/>
                      </a:lnTo>
                      <a:lnTo>
                        <a:pt x="352987" y="294178"/>
                      </a:lnTo>
                      <a:lnTo>
                        <a:pt x="364224" y="289824"/>
                      </a:lnTo>
                      <a:lnTo>
                        <a:pt x="364961" y="306887"/>
                      </a:lnTo>
                      <a:lnTo>
                        <a:pt x="369315" y="311241"/>
                      </a:lnTo>
                      <a:lnTo>
                        <a:pt x="383081" y="305447"/>
                      </a:lnTo>
                      <a:lnTo>
                        <a:pt x="388875" y="291648"/>
                      </a:lnTo>
                      <a:lnTo>
                        <a:pt x="399408" y="292385"/>
                      </a:lnTo>
                      <a:lnTo>
                        <a:pt x="399408" y="282204"/>
                      </a:lnTo>
                      <a:lnTo>
                        <a:pt x="409556" y="280412"/>
                      </a:lnTo>
                      <a:lnTo>
                        <a:pt x="413910" y="265877"/>
                      </a:lnTo>
                      <a:lnTo>
                        <a:pt x="425179" y="263348"/>
                      </a:lnTo>
                      <a:lnTo>
                        <a:pt x="430237" y="258994"/>
                      </a:lnTo>
                      <a:lnTo>
                        <a:pt x="433887" y="261555"/>
                      </a:lnTo>
                      <a:lnTo>
                        <a:pt x="433887" y="243403"/>
                      </a:lnTo>
                      <a:lnTo>
                        <a:pt x="423354" y="239049"/>
                      </a:lnTo>
                      <a:lnTo>
                        <a:pt x="426972" y="236520"/>
                      </a:lnTo>
                      <a:lnTo>
                        <a:pt x="417560" y="229605"/>
                      </a:lnTo>
                      <a:lnTo>
                        <a:pt x="422618" y="227812"/>
                      </a:lnTo>
                      <a:lnTo>
                        <a:pt x="420825" y="220897"/>
                      </a:lnTo>
                      <a:lnTo>
                        <a:pt x="408116" y="205658"/>
                      </a:lnTo>
                      <a:lnTo>
                        <a:pt x="407027" y="194422"/>
                      </a:lnTo>
                      <a:lnTo>
                        <a:pt x="411381" y="190804"/>
                      </a:lnTo>
                      <a:lnTo>
                        <a:pt x="409556" y="183185"/>
                      </a:lnTo>
                      <a:lnTo>
                        <a:pt x="413910" y="183185"/>
                      </a:lnTo>
                      <a:lnTo>
                        <a:pt x="409556" y="178094"/>
                      </a:lnTo>
                      <a:lnTo>
                        <a:pt x="404498" y="174477"/>
                      </a:lnTo>
                      <a:lnTo>
                        <a:pt x="403762" y="145472"/>
                      </a:lnTo>
                      <a:lnTo>
                        <a:pt x="404498" y="130585"/>
                      </a:lnTo>
                      <a:lnTo>
                        <a:pt x="405202" y="112433"/>
                      </a:lnTo>
                      <a:lnTo>
                        <a:pt x="391436" y="116083"/>
                      </a:lnTo>
                      <a:lnTo>
                        <a:pt x="385610" y="109168"/>
                      </a:lnTo>
                      <a:lnTo>
                        <a:pt x="383817" y="107375"/>
                      </a:lnTo>
                      <a:lnTo>
                        <a:pt x="371844" y="102285"/>
                      </a:lnTo>
                      <a:lnTo>
                        <a:pt x="371844" y="92137"/>
                      </a:lnTo>
                      <a:lnTo>
                        <a:pt x="358782" y="92873"/>
                      </a:lnTo>
                      <a:lnTo>
                        <a:pt x="353692" y="92873"/>
                      </a:lnTo>
                      <a:lnTo>
                        <a:pt x="346072" y="104814"/>
                      </a:lnTo>
                      <a:lnTo>
                        <a:pt x="339926" y="105903"/>
                      </a:lnTo>
                      <a:lnTo>
                        <a:pt x="314891" y="114258"/>
                      </a:lnTo>
                      <a:lnTo>
                        <a:pt x="303654" y="113522"/>
                      </a:lnTo>
                      <a:lnTo>
                        <a:pt x="291680" y="126232"/>
                      </a:lnTo>
                      <a:lnTo>
                        <a:pt x="278971" y="127320"/>
                      </a:lnTo>
                      <a:lnTo>
                        <a:pt x="265173" y="115347"/>
                      </a:lnTo>
                      <a:lnTo>
                        <a:pt x="249582" y="105903"/>
                      </a:lnTo>
                      <a:lnTo>
                        <a:pt x="238345" y="104814"/>
                      </a:lnTo>
                      <a:lnTo>
                        <a:pt x="228196" y="96106"/>
                      </a:lnTo>
                      <a:lnTo>
                        <a:pt x="215871" y="108464"/>
                      </a:lnTo>
                      <a:lnTo>
                        <a:pt x="203866" y="99756"/>
                      </a:lnTo>
                      <a:lnTo>
                        <a:pt x="211869" y="95402"/>
                      </a:lnTo>
                      <a:lnTo>
                        <a:pt x="210781" y="89223"/>
                      </a:lnTo>
                      <a:lnTo>
                        <a:pt x="218752" y="84165"/>
                      </a:lnTo>
                      <a:lnTo>
                        <a:pt x="215871" y="77250"/>
                      </a:lnTo>
                      <a:lnTo>
                        <a:pt x="211869" y="67102"/>
                      </a:lnTo>
                      <a:lnTo>
                        <a:pt x="198808" y="59130"/>
                      </a:lnTo>
                      <a:lnTo>
                        <a:pt x="196278" y="32654"/>
                      </a:lnTo>
                      <a:lnTo>
                        <a:pt x="191188" y="23946"/>
                      </a:lnTo>
                      <a:lnTo>
                        <a:pt x="171948" y="704"/>
                      </a:lnTo>
                      <a:lnTo>
                        <a:pt x="158182" y="704"/>
                      </a:lnTo>
                      <a:lnTo>
                        <a:pt x="132410" y="21385"/>
                      </a:lnTo>
                      <a:lnTo>
                        <a:pt x="116083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4" name="Forma Livre: Forma 173">
                  <a:extLst>
                    <a:ext uri="{FF2B5EF4-FFF2-40B4-BE49-F238E27FC236}">
                      <a16:creationId xmlns:a16="http://schemas.microsoft.com/office/drawing/2014/main" id="{7D8FA9F4-ACE3-6037-78D4-8742749CA18F}"/>
                    </a:ext>
                  </a:extLst>
                </p:cNvPr>
                <p:cNvSpPr/>
                <p:nvPr/>
              </p:nvSpPr>
              <p:spPr>
                <a:xfrm>
                  <a:off x="2365757" y="4685810"/>
                  <a:ext cx="433887" cy="526343"/>
                </a:xfrm>
                <a:custGeom>
                  <a:avLst/>
                  <a:gdLst>
                    <a:gd name="csX0" fmla="*/ 116083 w 433887"/>
                    <a:gd name="csY0" fmla="*/ 0 h 526343"/>
                    <a:gd name="csX1" fmla="*/ 92873 w 433887"/>
                    <a:gd name="csY1" fmla="*/ 15239 h 526343"/>
                    <a:gd name="csX2" fmla="*/ 84165 w 433887"/>
                    <a:gd name="csY2" fmla="*/ 12678 h 526343"/>
                    <a:gd name="csX3" fmla="*/ 60955 w 433887"/>
                    <a:gd name="csY3" fmla="*/ 18856 h 526343"/>
                    <a:gd name="csX4" fmla="*/ 55865 w 433887"/>
                    <a:gd name="csY4" fmla="*/ 37008 h 526343"/>
                    <a:gd name="csX5" fmla="*/ 42099 w 433887"/>
                    <a:gd name="csY5" fmla="*/ 60218 h 526343"/>
                    <a:gd name="csX6" fmla="*/ 34479 w 433887"/>
                    <a:gd name="csY6" fmla="*/ 62011 h 526343"/>
                    <a:gd name="csX7" fmla="*/ 27596 w 433887"/>
                    <a:gd name="csY7" fmla="*/ 54040 h 526343"/>
                    <a:gd name="csX8" fmla="*/ 5090 w 433887"/>
                    <a:gd name="csY8" fmla="*/ 67102 h 526343"/>
                    <a:gd name="csX9" fmla="*/ 0 w 433887"/>
                    <a:gd name="csY9" fmla="*/ 77250 h 526343"/>
                    <a:gd name="csX10" fmla="*/ 1825 w 433887"/>
                    <a:gd name="csY10" fmla="*/ 85958 h 526343"/>
                    <a:gd name="csX11" fmla="*/ 13798 w 433887"/>
                    <a:gd name="csY11" fmla="*/ 87783 h 526343"/>
                    <a:gd name="csX12" fmla="*/ 16327 w 433887"/>
                    <a:gd name="csY12" fmla="*/ 95402 h 526343"/>
                    <a:gd name="csX13" fmla="*/ 0 w 433887"/>
                    <a:gd name="csY13" fmla="*/ 144384 h 526343"/>
                    <a:gd name="csX14" fmla="*/ 6915 w 433887"/>
                    <a:gd name="csY14" fmla="*/ 152355 h 526343"/>
                    <a:gd name="csX15" fmla="*/ 7619 w 433887"/>
                    <a:gd name="csY15" fmla="*/ 166121 h 526343"/>
                    <a:gd name="csX16" fmla="*/ 30125 w 433887"/>
                    <a:gd name="csY16" fmla="*/ 173741 h 526343"/>
                    <a:gd name="csX17" fmla="*/ 30125 w 433887"/>
                    <a:gd name="csY17" fmla="*/ 181360 h 526343"/>
                    <a:gd name="csX18" fmla="*/ 38833 w 433887"/>
                    <a:gd name="csY18" fmla="*/ 190068 h 526343"/>
                    <a:gd name="csX19" fmla="*/ 46452 w 433887"/>
                    <a:gd name="csY19" fmla="*/ 207131 h 526343"/>
                    <a:gd name="csX20" fmla="*/ 55160 w 433887"/>
                    <a:gd name="csY20" fmla="*/ 213278 h 526343"/>
                    <a:gd name="csX21" fmla="*/ 44628 w 433887"/>
                    <a:gd name="csY21" fmla="*/ 237225 h 526343"/>
                    <a:gd name="csX22" fmla="*/ 30125 w 433887"/>
                    <a:gd name="csY22" fmla="*/ 252111 h 526343"/>
                    <a:gd name="csX23" fmla="*/ 48245 w 433887"/>
                    <a:gd name="csY23" fmla="*/ 294914 h 526343"/>
                    <a:gd name="csX24" fmla="*/ 64572 w 433887"/>
                    <a:gd name="csY24" fmla="*/ 306151 h 526343"/>
                    <a:gd name="csX25" fmla="*/ 66397 w 433887"/>
                    <a:gd name="csY25" fmla="*/ 316683 h 526343"/>
                    <a:gd name="csX26" fmla="*/ 59514 w 433887"/>
                    <a:gd name="csY26" fmla="*/ 318124 h 526343"/>
                    <a:gd name="csX27" fmla="*/ 57689 w 433887"/>
                    <a:gd name="csY27" fmla="*/ 324303 h 526343"/>
                    <a:gd name="csX28" fmla="*/ 60955 w 433887"/>
                    <a:gd name="csY28" fmla="*/ 331922 h 526343"/>
                    <a:gd name="csX29" fmla="*/ 59514 w 433887"/>
                    <a:gd name="csY29" fmla="*/ 357662 h 526343"/>
                    <a:gd name="csX30" fmla="*/ 57689 w 433887"/>
                    <a:gd name="csY30" fmla="*/ 360575 h 526343"/>
                    <a:gd name="csX31" fmla="*/ 44628 w 433887"/>
                    <a:gd name="csY31" fmla="*/ 352603 h 526343"/>
                    <a:gd name="csX32" fmla="*/ 38833 w 433887"/>
                    <a:gd name="csY32" fmla="*/ 358750 h 526343"/>
                    <a:gd name="csX33" fmla="*/ 37745 w 433887"/>
                    <a:gd name="csY33" fmla="*/ 378343 h 526343"/>
                    <a:gd name="csX34" fmla="*/ 30862 w 433887"/>
                    <a:gd name="csY34" fmla="*/ 387787 h 526343"/>
                    <a:gd name="csX35" fmla="*/ 43187 w 433887"/>
                    <a:gd name="csY35" fmla="*/ 407731 h 526343"/>
                    <a:gd name="csX36" fmla="*/ 44628 w 433887"/>
                    <a:gd name="csY36" fmla="*/ 420793 h 526343"/>
                    <a:gd name="csX37" fmla="*/ 27596 w 433887"/>
                    <a:gd name="csY37" fmla="*/ 417880 h 526343"/>
                    <a:gd name="csX38" fmla="*/ 23947 w 433887"/>
                    <a:gd name="csY38" fmla="*/ 426588 h 526343"/>
                    <a:gd name="csX39" fmla="*/ 41362 w 433887"/>
                    <a:gd name="csY39" fmla="*/ 432766 h 526343"/>
                    <a:gd name="csX40" fmla="*/ 51511 w 433887"/>
                    <a:gd name="csY40" fmla="*/ 447269 h 526343"/>
                    <a:gd name="csX41" fmla="*/ 50806 w 433887"/>
                    <a:gd name="csY41" fmla="*/ 464685 h 526343"/>
                    <a:gd name="csX42" fmla="*/ 56953 w 433887"/>
                    <a:gd name="csY42" fmla="*/ 486806 h 526343"/>
                    <a:gd name="csX43" fmla="*/ 43187 w 433887"/>
                    <a:gd name="csY43" fmla="*/ 495514 h 526343"/>
                    <a:gd name="csX44" fmla="*/ 50070 w 433887"/>
                    <a:gd name="csY44" fmla="*/ 511105 h 526343"/>
                    <a:gd name="csX45" fmla="*/ 68926 w 433887"/>
                    <a:gd name="csY45" fmla="*/ 520549 h 526343"/>
                    <a:gd name="csX46" fmla="*/ 77282 w 433887"/>
                    <a:gd name="csY46" fmla="*/ 508224 h 526343"/>
                    <a:gd name="csX47" fmla="*/ 82724 w 433887"/>
                    <a:gd name="csY47" fmla="*/ 509312 h 526343"/>
                    <a:gd name="csX48" fmla="*/ 92873 w 433887"/>
                    <a:gd name="csY48" fmla="*/ 499868 h 526343"/>
                    <a:gd name="csX49" fmla="*/ 108464 w 433887"/>
                    <a:gd name="csY49" fmla="*/ 502397 h 526343"/>
                    <a:gd name="csX50" fmla="*/ 108464 w 433887"/>
                    <a:gd name="csY50" fmla="*/ 496250 h 526343"/>
                    <a:gd name="csX51" fmla="*/ 117908 w 433887"/>
                    <a:gd name="csY51" fmla="*/ 488631 h 526343"/>
                    <a:gd name="csX52" fmla="*/ 140414 w 433887"/>
                    <a:gd name="csY52" fmla="*/ 498043 h 526343"/>
                    <a:gd name="csX53" fmla="*/ 154916 w 433887"/>
                    <a:gd name="csY53" fmla="*/ 518724 h 526343"/>
                    <a:gd name="csX54" fmla="*/ 166890 w 433887"/>
                    <a:gd name="csY54" fmla="*/ 518020 h 526343"/>
                    <a:gd name="csX55" fmla="*/ 182480 w 433887"/>
                    <a:gd name="csY55" fmla="*/ 526344 h 526343"/>
                    <a:gd name="csX56" fmla="*/ 189363 w 433887"/>
                    <a:gd name="csY56" fmla="*/ 520549 h 526343"/>
                    <a:gd name="csX57" fmla="*/ 193717 w 433887"/>
                    <a:gd name="csY57" fmla="*/ 501693 h 526343"/>
                    <a:gd name="csX58" fmla="*/ 198808 w 433887"/>
                    <a:gd name="csY58" fmla="*/ 496250 h 526343"/>
                    <a:gd name="csX59" fmla="*/ 203161 w 433887"/>
                    <a:gd name="csY59" fmla="*/ 500604 h 526343"/>
                    <a:gd name="csX60" fmla="*/ 212606 w 433887"/>
                    <a:gd name="csY60" fmla="*/ 498043 h 526343"/>
                    <a:gd name="csX61" fmla="*/ 229637 w 433887"/>
                    <a:gd name="csY61" fmla="*/ 509312 h 526343"/>
                    <a:gd name="csX62" fmla="*/ 230726 w 433887"/>
                    <a:gd name="csY62" fmla="*/ 497339 h 526343"/>
                    <a:gd name="csX63" fmla="*/ 242699 w 433887"/>
                    <a:gd name="csY63" fmla="*/ 501693 h 526343"/>
                    <a:gd name="csX64" fmla="*/ 259762 w 433887"/>
                    <a:gd name="csY64" fmla="*/ 488631 h 526343"/>
                    <a:gd name="csX65" fmla="*/ 259762 w 433887"/>
                    <a:gd name="csY65" fmla="*/ 481748 h 526343"/>
                    <a:gd name="csX66" fmla="*/ 269527 w 433887"/>
                    <a:gd name="csY66" fmla="*/ 477394 h 526343"/>
                    <a:gd name="csX67" fmla="*/ 270999 w 433887"/>
                    <a:gd name="csY67" fmla="*/ 469775 h 526343"/>
                    <a:gd name="csX68" fmla="*/ 276442 w 433887"/>
                    <a:gd name="csY68" fmla="*/ 455977 h 526343"/>
                    <a:gd name="csX69" fmla="*/ 270263 w 433887"/>
                    <a:gd name="csY69" fmla="*/ 449094 h 526343"/>
                    <a:gd name="csX70" fmla="*/ 277146 w 433887"/>
                    <a:gd name="csY70" fmla="*/ 446532 h 526343"/>
                    <a:gd name="csX71" fmla="*/ 274617 w 433887"/>
                    <a:gd name="csY71" fmla="*/ 437120 h 526343"/>
                    <a:gd name="csX72" fmla="*/ 286590 w 433887"/>
                    <a:gd name="csY72" fmla="*/ 437857 h 526343"/>
                    <a:gd name="csX73" fmla="*/ 289119 w 433887"/>
                    <a:gd name="csY73" fmla="*/ 452359 h 526343"/>
                    <a:gd name="csX74" fmla="*/ 297827 w 433887"/>
                    <a:gd name="csY74" fmla="*/ 457802 h 526343"/>
                    <a:gd name="csX75" fmla="*/ 314891 w 433887"/>
                    <a:gd name="csY75" fmla="*/ 446532 h 526343"/>
                    <a:gd name="csX76" fmla="*/ 326128 w 433887"/>
                    <a:gd name="csY76" fmla="*/ 449798 h 526343"/>
                    <a:gd name="csX77" fmla="*/ 330482 w 433887"/>
                    <a:gd name="csY77" fmla="*/ 449798 h 526343"/>
                    <a:gd name="csX78" fmla="*/ 330482 w 433887"/>
                    <a:gd name="csY78" fmla="*/ 426588 h 526343"/>
                    <a:gd name="csX79" fmla="*/ 362400 w 433887"/>
                    <a:gd name="csY79" fmla="*/ 428413 h 526343"/>
                    <a:gd name="csX80" fmla="*/ 365665 w 433887"/>
                    <a:gd name="csY80" fmla="*/ 418968 h 526343"/>
                    <a:gd name="csX81" fmla="*/ 354428 w 433887"/>
                    <a:gd name="csY81" fmla="*/ 412822 h 526343"/>
                    <a:gd name="csX82" fmla="*/ 357341 w 433887"/>
                    <a:gd name="csY82" fmla="*/ 408468 h 526343"/>
                    <a:gd name="csX83" fmla="*/ 351899 w 433887"/>
                    <a:gd name="csY83" fmla="*/ 402641 h 526343"/>
                    <a:gd name="csX84" fmla="*/ 338101 w 433887"/>
                    <a:gd name="csY84" fmla="*/ 400112 h 526343"/>
                    <a:gd name="csX85" fmla="*/ 344280 w 433887"/>
                    <a:gd name="csY85" fmla="*/ 393933 h 526343"/>
                    <a:gd name="csX86" fmla="*/ 346072 w 433887"/>
                    <a:gd name="csY86" fmla="*/ 376902 h 526343"/>
                    <a:gd name="csX87" fmla="*/ 335572 w 433887"/>
                    <a:gd name="csY87" fmla="*/ 372548 h 526343"/>
                    <a:gd name="csX88" fmla="*/ 339926 w 433887"/>
                    <a:gd name="csY88" fmla="*/ 363840 h 526343"/>
                    <a:gd name="csX89" fmla="*/ 340630 w 433887"/>
                    <a:gd name="csY89" fmla="*/ 343159 h 526343"/>
                    <a:gd name="csX90" fmla="*/ 335572 w 433887"/>
                    <a:gd name="csY90" fmla="*/ 341334 h 526343"/>
                    <a:gd name="csX91" fmla="*/ 333747 w 433887"/>
                    <a:gd name="csY91" fmla="*/ 333715 h 526343"/>
                    <a:gd name="csX92" fmla="*/ 325423 w 433887"/>
                    <a:gd name="csY92" fmla="*/ 333011 h 526343"/>
                    <a:gd name="csX93" fmla="*/ 315979 w 433887"/>
                    <a:gd name="csY93" fmla="*/ 326128 h 526343"/>
                    <a:gd name="csX94" fmla="*/ 315979 w 433887"/>
                    <a:gd name="csY94" fmla="*/ 319949 h 526343"/>
                    <a:gd name="csX95" fmla="*/ 330482 w 433887"/>
                    <a:gd name="csY95" fmla="*/ 302885 h 526343"/>
                    <a:gd name="csX96" fmla="*/ 343543 w 433887"/>
                    <a:gd name="csY96" fmla="*/ 301092 h 526343"/>
                    <a:gd name="csX97" fmla="*/ 344280 w 433887"/>
                    <a:gd name="csY97" fmla="*/ 294914 h 526343"/>
                    <a:gd name="csX98" fmla="*/ 349338 w 433887"/>
                    <a:gd name="csY98" fmla="*/ 294178 h 526343"/>
                    <a:gd name="csX99" fmla="*/ 348634 w 433887"/>
                    <a:gd name="csY99" fmla="*/ 289824 h 526343"/>
                    <a:gd name="csX100" fmla="*/ 352987 w 433887"/>
                    <a:gd name="csY100" fmla="*/ 294178 h 526343"/>
                    <a:gd name="csX101" fmla="*/ 364224 w 433887"/>
                    <a:gd name="csY101" fmla="*/ 289824 h 526343"/>
                    <a:gd name="csX102" fmla="*/ 364961 w 433887"/>
                    <a:gd name="csY102" fmla="*/ 306887 h 526343"/>
                    <a:gd name="csX103" fmla="*/ 369315 w 433887"/>
                    <a:gd name="csY103" fmla="*/ 311241 h 526343"/>
                    <a:gd name="csX104" fmla="*/ 383081 w 433887"/>
                    <a:gd name="csY104" fmla="*/ 305447 h 526343"/>
                    <a:gd name="csX105" fmla="*/ 388875 w 433887"/>
                    <a:gd name="csY105" fmla="*/ 291648 h 526343"/>
                    <a:gd name="csX106" fmla="*/ 399408 w 433887"/>
                    <a:gd name="csY106" fmla="*/ 292385 h 526343"/>
                    <a:gd name="csX107" fmla="*/ 399408 w 433887"/>
                    <a:gd name="csY107" fmla="*/ 282204 h 526343"/>
                    <a:gd name="csX108" fmla="*/ 409556 w 433887"/>
                    <a:gd name="csY108" fmla="*/ 280412 h 526343"/>
                    <a:gd name="csX109" fmla="*/ 413910 w 433887"/>
                    <a:gd name="csY109" fmla="*/ 265877 h 526343"/>
                    <a:gd name="csX110" fmla="*/ 425179 w 433887"/>
                    <a:gd name="csY110" fmla="*/ 263348 h 526343"/>
                    <a:gd name="csX111" fmla="*/ 430237 w 433887"/>
                    <a:gd name="csY111" fmla="*/ 258994 h 526343"/>
                    <a:gd name="csX112" fmla="*/ 433887 w 433887"/>
                    <a:gd name="csY112" fmla="*/ 261555 h 526343"/>
                    <a:gd name="csX113" fmla="*/ 433887 w 433887"/>
                    <a:gd name="csY113" fmla="*/ 243403 h 526343"/>
                    <a:gd name="csX114" fmla="*/ 423354 w 433887"/>
                    <a:gd name="csY114" fmla="*/ 239049 h 526343"/>
                    <a:gd name="csX115" fmla="*/ 426972 w 433887"/>
                    <a:gd name="csY115" fmla="*/ 236520 h 526343"/>
                    <a:gd name="csX116" fmla="*/ 417560 w 433887"/>
                    <a:gd name="csY116" fmla="*/ 229605 h 526343"/>
                    <a:gd name="csX117" fmla="*/ 422618 w 433887"/>
                    <a:gd name="csY117" fmla="*/ 227812 h 526343"/>
                    <a:gd name="csX118" fmla="*/ 420825 w 433887"/>
                    <a:gd name="csY118" fmla="*/ 220897 h 526343"/>
                    <a:gd name="csX119" fmla="*/ 408116 w 433887"/>
                    <a:gd name="csY119" fmla="*/ 205658 h 526343"/>
                    <a:gd name="csX120" fmla="*/ 407027 w 433887"/>
                    <a:gd name="csY120" fmla="*/ 194422 h 526343"/>
                    <a:gd name="csX121" fmla="*/ 411381 w 433887"/>
                    <a:gd name="csY121" fmla="*/ 190804 h 526343"/>
                    <a:gd name="csX122" fmla="*/ 409556 w 433887"/>
                    <a:gd name="csY122" fmla="*/ 183185 h 526343"/>
                    <a:gd name="csX123" fmla="*/ 413910 w 433887"/>
                    <a:gd name="csY123" fmla="*/ 183185 h 526343"/>
                    <a:gd name="csX124" fmla="*/ 409556 w 433887"/>
                    <a:gd name="csY124" fmla="*/ 178094 h 526343"/>
                    <a:gd name="csX125" fmla="*/ 404498 w 433887"/>
                    <a:gd name="csY125" fmla="*/ 174477 h 526343"/>
                    <a:gd name="csX126" fmla="*/ 403762 w 433887"/>
                    <a:gd name="csY126" fmla="*/ 145472 h 526343"/>
                    <a:gd name="csX127" fmla="*/ 404498 w 433887"/>
                    <a:gd name="csY127" fmla="*/ 130585 h 526343"/>
                    <a:gd name="csX128" fmla="*/ 405202 w 433887"/>
                    <a:gd name="csY128" fmla="*/ 112433 h 526343"/>
                    <a:gd name="csX129" fmla="*/ 391436 w 433887"/>
                    <a:gd name="csY129" fmla="*/ 116083 h 526343"/>
                    <a:gd name="csX130" fmla="*/ 385610 w 433887"/>
                    <a:gd name="csY130" fmla="*/ 109168 h 526343"/>
                    <a:gd name="csX131" fmla="*/ 383817 w 433887"/>
                    <a:gd name="csY131" fmla="*/ 107375 h 526343"/>
                    <a:gd name="csX132" fmla="*/ 371844 w 433887"/>
                    <a:gd name="csY132" fmla="*/ 102285 h 526343"/>
                    <a:gd name="csX133" fmla="*/ 371844 w 433887"/>
                    <a:gd name="csY133" fmla="*/ 92137 h 526343"/>
                    <a:gd name="csX134" fmla="*/ 358782 w 433887"/>
                    <a:gd name="csY134" fmla="*/ 92873 h 526343"/>
                    <a:gd name="csX135" fmla="*/ 353692 w 433887"/>
                    <a:gd name="csY135" fmla="*/ 92873 h 526343"/>
                    <a:gd name="csX136" fmla="*/ 346072 w 433887"/>
                    <a:gd name="csY136" fmla="*/ 104814 h 526343"/>
                    <a:gd name="csX137" fmla="*/ 339926 w 433887"/>
                    <a:gd name="csY137" fmla="*/ 105903 h 526343"/>
                    <a:gd name="csX138" fmla="*/ 314891 w 433887"/>
                    <a:gd name="csY138" fmla="*/ 114258 h 526343"/>
                    <a:gd name="csX139" fmla="*/ 303654 w 433887"/>
                    <a:gd name="csY139" fmla="*/ 113522 h 526343"/>
                    <a:gd name="csX140" fmla="*/ 291680 w 433887"/>
                    <a:gd name="csY140" fmla="*/ 126232 h 526343"/>
                    <a:gd name="csX141" fmla="*/ 278971 w 433887"/>
                    <a:gd name="csY141" fmla="*/ 127320 h 526343"/>
                    <a:gd name="csX142" fmla="*/ 265173 w 433887"/>
                    <a:gd name="csY142" fmla="*/ 115347 h 526343"/>
                    <a:gd name="csX143" fmla="*/ 249582 w 433887"/>
                    <a:gd name="csY143" fmla="*/ 105903 h 526343"/>
                    <a:gd name="csX144" fmla="*/ 238345 w 433887"/>
                    <a:gd name="csY144" fmla="*/ 104814 h 526343"/>
                    <a:gd name="csX145" fmla="*/ 228196 w 433887"/>
                    <a:gd name="csY145" fmla="*/ 96106 h 526343"/>
                    <a:gd name="csX146" fmla="*/ 215871 w 433887"/>
                    <a:gd name="csY146" fmla="*/ 108464 h 526343"/>
                    <a:gd name="csX147" fmla="*/ 203866 w 433887"/>
                    <a:gd name="csY147" fmla="*/ 99756 h 526343"/>
                    <a:gd name="csX148" fmla="*/ 211869 w 433887"/>
                    <a:gd name="csY148" fmla="*/ 95402 h 526343"/>
                    <a:gd name="csX149" fmla="*/ 210781 w 433887"/>
                    <a:gd name="csY149" fmla="*/ 89223 h 526343"/>
                    <a:gd name="csX150" fmla="*/ 218752 w 433887"/>
                    <a:gd name="csY150" fmla="*/ 84165 h 526343"/>
                    <a:gd name="csX151" fmla="*/ 215871 w 433887"/>
                    <a:gd name="csY151" fmla="*/ 77250 h 526343"/>
                    <a:gd name="csX152" fmla="*/ 211869 w 433887"/>
                    <a:gd name="csY152" fmla="*/ 67102 h 526343"/>
                    <a:gd name="csX153" fmla="*/ 198808 w 433887"/>
                    <a:gd name="csY153" fmla="*/ 59130 h 526343"/>
                    <a:gd name="csX154" fmla="*/ 196278 w 433887"/>
                    <a:gd name="csY154" fmla="*/ 32654 h 526343"/>
                    <a:gd name="csX155" fmla="*/ 191188 w 433887"/>
                    <a:gd name="csY155" fmla="*/ 23946 h 526343"/>
                    <a:gd name="csX156" fmla="*/ 171948 w 433887"/>
                    <a:gd name="csY156" fmla="*/ 704 h 526343"/>
                    <a:gd name="csX157" fmla="*/ 158182 w 433887"/>
                    <a:gd name="csY157" fmla="*/ 704 h 526343"/>
                    <a:gd name="csX158" fmla="*/ 132410 w 433887"/>
                    <a:gd name="csY158" fmla="*/ 21385 h 526343"/>
                    <a:gd name="csX159" fmla="*/ 116083 w 433887"/>
                    <a:gd name="csY159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</a:cxnLst>
                  <a:rect l="l" t="t" r="r" b="b"/>
                  <a:pathLst>
                    <a:path w="433887" h="526343">
                      <a:moveTo>
                        <a:pt x="116083" y="0"/>
                      </a:moveTo>
                      <a:lnTo>
                        <a:pt x="92873" y="15239"/>
                      </a:lnTo>
                      <a:lnTo>
                        <a:pt x="84165" y="12678"/>
                      </a:lnTo>
                      <a:lnTo>
                        <a:pt x="60955" y="18856"/>
                      </a:lnTo>
                      <a:lnTo>
                        <a:pt x="55865" y="37008"/>
                      </a:lnTo>
                      <a:lnTo>
                        <a:pt x="42099" y="60218"/>
                      </a:lnTo>
                      <a:lnTo>
                        <a:pt x="34479" y="62011"/>
                      </a:lnTo>
                      <a:lnTo>
                        <a:pt x="27596" y="54040"/>
                      </a:lnTo>
                      <a:lnTo>
                        <a:pt x="5090" y="67102"/>
                      </a:lnTo>
                      <a:lnTo>
                        <a:pt x="0" y="77250"/>
                      </a:lnTo>
                      <a:lnTo>
                        <a:pt x="1825" y="85958"/>
                      </a:lnTo>
                      <a:lnTo>
                        <a:pt x="13798" y="87783"/>
                      </a:lnTo>
                      <a:lnTo>
                        <a:pt x="16327" y="95402"/>
                      </a:lnTo>
                      <a:lnTo>
                        <a:pt x="0" y="144384"/>
                      </a:lnTo>
                      <a:lnTo>
                        <a:pt x="6915" y="152355"/>
                      </a:lnTo>
                      <a:lnTo>
                        <a:pt x="7619" y="166121"/>
                      </a:lnTo>
                      <a:lnTo>
                        <a:pt x="30125" y="173741"/>
                      </a:lnTo>
                      <a:lnTo>
                        <a:pt x="30125" y="181360"/>
                      </a:lnTo>
                      <a:lnTo>
                        <a:pt x="38833" y="190068"/>
                      </a:lnTo>
                      <a:lnTo>
                        <a:pt x="46452" y="207131"/>
                      </a:lnTo>
                      <a:lnTo>
                        <a:pt x="55160" y="213278"/>
                      </a:lnTo>
                      <a:lnTo>
                        <a:pt x="44628" y="237225"/>
                      </a:lnTo>
                      <a:lnTo>
                        <a:pt x="30125" y="252111"/>
                      </a:lnTo>
                      <a:lnTo>
                        <a:pt x="48245" y="294914"/>
                      </a:lnTo>
                      <a:lnTo>
                        <a:pt x="64572" y="306151"/>
                      </a:lnTo>
                      <a:lnTo>
                        <a:pt x="66397" y="316683"/>
                      </a:lnTo>
                      <a:lnTo>
                        <a:pt x="59514" y="318124"/>
                      </a:lnTo>
                      <a:lnTo>
                        <a:pt x="57689" y="324303"/>
                      </a:lnTo>
                      <a:lnTo>
                        <a:pt x="60955" y="331922"/>
                      </a:lnTo>
                      <a:lnTo>
                        <a:pt x="59514" y="357662"/>
                      </a:lnTo>
                      <a:lnTo>
                        <a:pt x="57689" y="360575"/>
                      </a:lnTo>
                      <a:lnTo>
                        <a:pt x="44628" y="352603"/>
                      </a:lnTo>
                      <a:lnTo>
                        <a:pt x="38833" y="358750"/>
                      </a:lnTo>
                      <a:lnTo>
                        <a:pt x="37745" y="378343"/>
                      </a:lnTo>
                      <a:lnTo>
                        <a:pt x="30862" y="387787"/>
                      </a:lnTo>
                      <a:lnTo>
                        <a:pt x="43187" y="407731"/>
                      </a:lnTo>
                      <a:lnTo>
                        <a:pt x="44628" y="420793"/>
                      </a:lnTo>
                      <a:lnTo>
                        <a:pt x="27596" y="417880"/>
                      </a:lnTo>
                      <a:lnTo>
                        <a:pt x="23947" y="426588"/>
                      </a:lnTo>
                      <a:lnTo>
                        <a:pt x="41362" y="432766"/>
                      </a:lnTo>
                      <a:lnTo>
                        <a:pt x="51511" y="447269"/>
                      </a:lnTo>
                      <a:lnTo>
                        <a:pt x="50806" y="464685"/>
                      </a:lnTo>
                      <a:lnTo>
                        <a:pt x="56953" y="486806"/>
                      </a:lnTo>
                      <a:lnTo>
                        <a:pt x="43187" y="495514"/>
                      </a:lnTo>
                      <a:lnTo>
                        <a:pt x="50070" y="511105"/>
                      </a:lnTo>
                      <a:lnTo>
                        <a:pt x="68926" y="520549"/>
                      </a:lnTo>
                      <a:lnTo>
                        <a:pt x="77282" y="508224"/>
                      </a:lnTo>
                      <a:lnTo>
                        <a:pt x="82724" y="509312"/>
                      </a:lnTo>
                      <a:lnTo>
                        <a:pt x="92873" y="499868"/>
                      </a:lnTo>
                      <a:lnTo>
                        <a:pt x="108464" y="502397"/>
                      </a:lnTo>
                      <a:lnTo>
                        <a:pt x="108464" y="496250"/>
                      </a:lnTo>
                      <a:lnTo>
                        <a:pt x="117908" y="488631"/>
                      </a:lnTo>
                      <a:lnTo>
                        <a:pt x="140414" y="498043"/>
                      </a:lnTo>
                      <a:lnTo>
                        <a:pt x="154916" y="518724"/>
                      </a:lnTo>
                      <a:lnTo>
                        <a:pt x="166890" y="518020"/>
                      </a:lnTo>
                      <a:lnTo>
                        <a:pt x="182480" y="526344"/>
                      </a:lnTo>
                      <a:lnTo>
                        <a:pt x="189363" y="520549"/>
                      </a:lnTo>
                      <a:lnTo>
                        <a:pt x="193717" y="501693"/>
                      </a:lnTo>
                      <a:lnTo>
                        <a:pt x="198808" y="496250"/>
                      </a:lnTo>
                      <a:lnTo>
                        <a:pt x="203161" y="500604"/>
                      </a:lnTo>
                      <a:lnTo>
                        <a:pt x="212606" y="498043"/>
                      </a:lnTo>
                      <a:lnTo>
                        <a:pt x="229637" y="509312"/>
                      </a:lnTo>
                      <a:lnTo>
                        <a:pt x="230726" y="497339"/>
                      </a:lnTo>
                      <a:lnTo>
                        <a:pt x="242699" y="501693"/>
                      </a:lnTo>
                      <a:lnTo>
                        <a:pt x="259762" y="488631"/>
                      </a:lnTo>
                      <a:lnTo>
                        <a:pt x="259762" y="481748"/>
                      </a:lnTo>
                      <a:lnTo>
                        <a:pt x="269527" y="477394"/>
                      </a:lnTo>
                      <a:lnTo>
                        <a:pt x="270999" y="469775"/>
                      </a:lnTo>
                      <a:lnTo>
                        <a:pt x="276442" y="455977"/>
                      </a:lnTo>
                      <a:lnTo>
                        <a:pt x="270263" y="449094"/>
                      </a:lnTo>
                      <a:lnTo>
                        <a:pt x="277146" y="446532"/>
                      </a:lnTo>
                      <a:lnTo>
                        <a:pt x="274617" y="437120"/>
                      </a:lnTo>
                      <a:lnTo>
                        <a:pt x="286590" y="437857"/>
                      </a:lnTo>
                      <a:lnTo>
                        <a:pt x="289119" y="452359"/>
                      </a:lnTo>
                      <a:lnTo>
                        <a:pt x="297827" y="457802"/>
                      </a:lnTo>
                      <a:lnTo>
                        <a:pt x="314891" y="446532"/>
                      </a:lnTo>
                      <a:lnTo>
                        <a:pt x="326128" y="449798"/>
                      </a:lnTo>
                      <a:lnTo>
                        <a:pt x="330482" y="449798"/>
                      </a:lnTo>
                      <a:lnTo>
                        <a:pt x="330482" y="426588"/>
                      </a:lnTo>
                      <a:lnTo>
                        <a:pt x="362400" y="428413"/>
                      </a:lnTo>
                      <a:lnTo>
                        <a:pt x="365665" y="418968"/>
                      </a:lnTo>
                      <a:lnTo>
                        <a:pt x="354428" y="412822"/>
                      </a:lnTo>
                      <a:lnTo>
                        <a:pt x="357341" y="408468"/>
                      </a:lnTo>
                      <a:lnTo>
                        <a:pt x="351899" y="402641"/>
                      </a:lnTo>
                      <a:lnTo>
                        <a:pt x="338101" y="400112"/>
                      </a:lnTo>
                      <a:lnTo>
                        <a:pt x="344280" y="393933"/>
                      </a:lnTo>
                      <a:lnTo>
                        <a:pt x="346072" y="376902"/>
                      </a:lnTo>
                      <a:lnTo>
                        <a:pt x="335572" y="372548"/>
                      </a:lnTo>
                      <a:lnTo>
                        <a:pt x="339926" y="363840"/>
                      </a:lnTo>
                      <a:lnTo>
                        <a:pt x="340630" y="343159"/>
                      </a:lnTo>
                      <a:lnTo>
                        <a:pt x="335572" y="341334"/>
                      </a:lnTo>
                      <a:lnTo>
                        <a:pt x="333747" y="333715"/>
                      </a:lnTo>
                      <a:lnTo>
                        <a:pt x="325423" y="333011"/>
                      </a:lnTo>
                      <a:lnTo>
                        <a:pt x="315979" y="326128"/>
                      </a:lnTo>
                      <a:lnTo>
                        <a:pt x="315979" y="319949"/>
                      </a:lnTo>
                      <a:lnTo>
                        <a:pt x="330482" y="302885"/>
                      </a:lnTo>
                      <a:lnTo>
                        <a:pt x="343543" y="301092"/>
                      </a:lnTo>
                      <a:lnTo>
                        <a:pt x="344280" y="294914"/>
                      </a:lnTo>
                      <a:lnTo>
                        <a:pt x="349338" y="294178"/>
                      </a:lnTo>
                      <a:lnTo>
                        <a:pt x="348634" y="289824"/>
                      </a:lnTo>
                      <a:lnTo>
                        <a:pt x="352987" y="294178"/>
                      </a:lnTo>
                      <a:lnTo>
                        <a:pt x="364224" y="289824"/>
                      </a:lnTo>
                      <a:lnTo>
                        <a:pt x="364961" y="306887"/>
                      </a:lnTo>
                      <a:lnTo>
                        <a:pt x="369315" y="311241"/>
                      </a:lnTo>
                      <a:lnTo>
                        <a:pt x="383081" y="305447"/>
                      </a:lnTo>
                      <a:lnTo>
                        <a:pt x="388875" y="291648"/>
                      </a:lnTo>
                      <a:lnTo>
                        <a:pt x="399408" y="292385"/>
                      </a:lnTo>
                      <a:lnTo>
                        <a:pt x="399408" y="282204"/>
                      </a:lnTo>
                      <a:lnTo>
                        <a:pt x="409556" y="280412"/>
                      </a:lnTo>
                      <a:lnTo>
                        <a:pt x="413910" y="265877"/>
                      </a:lnTo>
                      <a:lnTo>
                        <a:pt x="425179" y="263348"/>
                      </a:lnTo>
                      <a:lnTo>
                        <a:pt x="430237" y="258994"/>
                      </a:lnTo>
                      <a:lnTo>
                        <a:pt x="433887" y="261555"/>
                      </a:lnTo>
                      <a:lnTo>
                        <a:pt x="433887" y="243403"/>
                      </a:lnTo>
                      <a:lnTo>
                        <a:pt x="423354" y="239049"/>
                      </a:lnTo>
                      <a:lnTo>
                        <a:pt x="426972" y="236520"/>
                      </a:lnTo>
                      <a:lnTo>
                        <a:pt x="417560" y="229605"/>
                      </a:lnTo>
                      <a:lnTo>
                        <a:pt x="422618" y="227812"/>
                      </a:lnTo>
                      <a:lnTo>
                        <a:pt x="420825" y="220897"/>
                      </a:lnTo>
                      <a:lnTo>
                        <a:pt x="408116" y="205658"/>
                      </a:lnTo>
                      <a:lnTo>
                        <a:pt x="407027" y="194422"/>
                      </a:lnTo>
                      <a:lnTo>
                        <a:pt x="411381" y="190804"/>
                      </a:lnTo>
                      <a:lnTo>
                        <a:pt x="409556" y="183185"/>
                      </a:lnTo>
                      <a:lnTo>
                        <a:pt x="413910" y="183185"/>
                      </a:lnTo>
                      <a:lnTo>
                        <a:pt x="409556" y="178094"/>
                      </a:lnTo>
                      <a:lnTo>
                        <a:pt x="404498" y="174477"/>
                      </a:lnTo>
                      <a:lnTo>
                        <a:pt x="403762" y="145472"/>
                      </a:lnTo>
                      <a:lnTo>
                        <a:pt x="404498" y="130585"/>
                      </a:lnTo>
                      <a:lnTo>
                        <a:pt x="405202" y="112433"/>
                      </a:lnTo>
                      <a:lnTo>
                        <a:pt x="391436" y="116083"/>
                      </a:lnTo>
                      <a:lnTo>
                        <a:pt x="385610" y="109168"/>
                      </a:lnTo>
                      <a:lnTo>
                        <a:pt x="383817" y="107375"/>
                      </a:lnTo>
                      <a:lnTo>
                        <a:pt x="371844" y="102285"/>
                      </a:lnTo>
                      <a:lnTo>
                        <a:pt x="371844" y="92137"/>
                      </a:lnTo>
                      <a:lnTo>
                        <a:pt x="358782" y="92873"/>
                      </a:lnTo>
                      <a:lnTo>
                        <a:pt x="353692" y="92873"/>
                      </a:lnTo>
                      <a:lnTo>
                        <a:pt x="346072" y="104814"/>
                      </a:lnTo>
                      <a:lnTo>
                        <a:pt x="339926" y="105903"/>
                      </a:lnTo>
                      <a:lnTo>
                        <a:pt x="314891" y="114258"/>
                      </a:lnTo>
                      <a:lnTo>
                        <a:pt x="303654" y="113522"/>
                      </a:lnTo>
                      <a:lnTo>
                        <a:pt x="291680" y="126232"/>
                      </a:lnTo>
                      <a:lnTo>
                        <a:pt x="278971" y="127320"/>
                      </a:lnTo>
                      <a:lnTo>
                        <a:pt x="265173" y="115347"/>
                      </a:lnTo>
                      <a:lnTo>
                        <a:pt x="249582" y="105903"/>
                      </a:lnTo>
                      <a:lnTo>
                        <a:pt x="238345" y="104814"/>
                      </a:lnTo>
                      <a:lnTo>
                        <a:pt x="228196" y="96106"/>
                      </a:lnTo>
                      <a:lnTo>
                        <a:pt x="215871" y="108464"/>
                      </a:lnTo>
                      <a:lnTo>
                        <a:pt x="203866" y="99756"/>
                      </a:lnTo>
                      <a:lnTo>
                        <a:pt x="211869" y="95402"/>
                      </a:lnTo>
                      <a:lnTo>
                        <a:pt x="210781" y="89223"/>
                      </a:lnTo>
                      <a:lnTo>
                        <a:pt x="218752" y="84165"/>
                      </a:lnTo>
                      <a:lnTo>
                        <a:pt x="215871" y="77250"/>
                      </a:lnTo>
                      <a:lnTo>
                        <a:pt x="211869" y="67102"/>
                      </a:lnTo>
                      <a:lnTo>
                        <a:pt x="198808" y="59130"/>
                      </a:lnTo>
                      <a:lnTo>
                        <a:pt x="196278" y="32654"/>
                      </a:lnTo>
                      <a:lnTo>
                        <a:pt x="191188" y="23946"/>
                      </a:lnTo>
                      <a:lnTo>
                        <a:pt x="171948" y="704"/>
                      </a:lnTo>
                      <a:lnTo>
                        <a:pt x="158182" y="704"/>
                      </a:lnTo>
                      <a:lnTo>
                        <a:pt x="132410" y="21385"/>
                      </a:lnTo>
                      <a:lnTo>
                        <a:pt x="116083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BAFEA05E-2992-82F5-9E70-4EE061C45928}"/>
                    </a:ext>
                  </a:extLst>
                </p:cNvPr>
                <p:cNvSpPr/>
                <p:nvPr/>
              </p:nvSpPr>
              <p:spPr>
                <a:xfrm>
                  <a:off x="2857302" y="3294638"/>
                  <a:ext cx="462155" cy="406995"/>
                </a:xfrm>
                <a:custGeom>
                  <a:avLst/>
                  <a:gdLst>
                    <a:gd name="csX0" fmla="*/ 132410 w 462155"/>
                    <a:gd name="csY0" fmla="*/ 4354 h 406995"/>
                    <a:gd name="csX1" fmla="*/ 121173 w 462155"/>
                    <a:gd name="csY1" fmla="*/ 0 h 406995"/>
                    <a:gd name="csX2" fmla="*/ 105582 w 462155"/>
                    <a:gd name="csY2" fmla="*/ 6883 h 406995"/>
                    <a:gd name="csX3" fmla="*/ 94698 w 462155"/>
                    <a:gd name="csY3" fmla="*/ 19593 h 406995"/>
                    <a:gd name="csX4" fmla="*/ 63484 w 462155"/>
                    <a:gd name="csY4" fmla="*/ 22122 h 406995"/>
                    <a:gd name="csX5" fmla="*/ 56601 w 462155"/>
                    <a:gd name="csY5" fmla="*/ 26476 h 406995"/>
                    <a:gd name="csX6" fmla="*/ 64572 w 462155"/>
                    <a:gd name="csY6" fmla="*/ 43891 h 406995"/>
                    <a:gd name="csX7" fmla="*/ 58394 w 462155"/>
                    <a:gd name="csY7" fmla="*/ 71455 h 406995"/>
                    <a:gd name="csX8" fmla="*/ 31566 w 462155"/>
                    <a:gd name="csY8" fmla="*/ 67102 h 406995"/>
                    <a:gd name="csX9" fmla="*/ 27564 w 462155"/>
                    <a:gd name="csY9" fmla="*/ 70367 h 406995"/>
                    <a:gd name="csX10" fmla="*/ 14502 w 462155"/>
                    <a:gd name="csY10" fmla="*/ 77250 h 406995"/>
                    <a:gd name="csX11" fmla="*/ 9444 w 462155"/>
                    <a:gd name="csY11" fmla="*/ 71455 h 406995"/>
                    <a:gd name="csX12" fmla="*/ 8356 w 462155"/>
                    <a:gd name="csY12" fmla="*/ 77250 h 406995"/>
                    <a:gd name="csX13" fmla="*/ 0 w 462155"/>
                    <a:gd name="csY13" fmla="*/ 128761 h 406995"/>
                    <a:gd name="csX14" fmla="*/ 17768 w 462155"/>
                    <a:gd name="csY14" fmla="*/ 128761 h 406995"/>
                    <a:gd name="csX15" fmla="*/ 62748 w 462155"/>
                    <a:gd name="csY15" fmla="*/ 129849 h 406995"/>
                    <a:gd name="csX16" fmla="*/ 62748 w 462155"/>
                    <a:gd name="csY16" fmla="*/ 156325 h 406995"/>
                    <a:gd name="csX17" fmla="*/ 62748 w 462155"/>
                    <a:gd name="csY17" fmla="*/ 157413 h 406995"/>
                    <a:gd name="csX18" fmla="*/ 60955 w 462155"/>
                    <a:gd name="csY18" fmla="*/ 233959 h 406995"/>
                    <a:gd name="csX19" fmla="*/ 69663 w 462155"/>
                    <a:gd name="csY19" fmla="*/ 239049 h 406995"/>
                    <a:gd name="csX20" fmla="*/ 92137 w 462155"/>
                    <a:gd name="csY20" fmla="*/ 241578 h 406995"/>
                    <a:gd name="csX21" fmla="*/ 103021 w 462155"/>
                    <a:gd name="csY21" fmla="*/ 232166 h 406995"/>
                    <a:gd name="csX22" fmla="*/ 116819 w 462155"/>
                    <a:gd name="csY22" fmla="*/ 232166 h 406995"/>
                    <a:gd name="csX23" fmla="*/ 144384 w 462155"/>
                    <a:gd name="csY23" fmla="*/ 243403 h 406995"/>
                    <a:gd name="csX24" fmla="*/ 152355 w 462155"/>
                    <a:gd name="csY24" fmla="*/ 244139 h 406995"/>
                    <a:gd name="csX25" fmla="*/ 159238 w 462155"/>
                    <a:gd name="csY25" fmla="*/ 237224 h 406995"/>
                    <a:gd name="csX26" fmla="*/ 159974 w 462155"/>
                    <a:gd name="csY26" fmla="*/ 222722 h 406995"/>
                    <a:gd name="csX27" fmla="*/ 177038 w 462155"/>
                    <a:gd name="csY27" fmla="*/ 202777 h 406995"/>
                    <a:gd name="csX28" fmla="*/ 189363 w 462155"/>
                    <a:gd name="csY28" fmla="*/ 203866 h 406995"/>
                    <a:gd name="csX29" fmla="*/ 196246 w 462155"/>
                    <a:gd name="csY29" fmla="*/ 208924 h 406995"/>
                    <a:gd name="csX30" fmla="*/ 203161 w 462155"/>
                    <a:gd name="csY30" fmla="*/ 225251 h 406995"/>
                    <a:gd name="csX31" fmla="*/ 217664 w 462155"/>
                    <a:gd name="csY31" fmla="*/ 240874 h 406995"/>
                    <a:gd name="csX32" fmla="*/ 215839 w 462155"/>
                    <a:gd name="csY32" fmla="*/ 249198 h 406995"/>
                    <a:gd name="csX33" fmla="*/ 225283 w 462155"/>
                    <a:gd name="csY33" fmla="*/ 251023 h 406995"/>
                    <a:gd name="csX34" fmla="*/ 233255 w 462155"/>
                    <a:gd name="csY34" fmla="*/ 261523 h 406995"/>
                    <a:gd name="csX35" fmla="*/ 233255 w 462155"/>
                    <a:gd name="csY35" fmla="*/ 262259 h 406995"/>
                    <a:gd name="csX36" fmla="*/ 237256 w 462155"/>
                    <a:gd name="csY36" fmla="*/ 276762 h 406995"/>
                    <a:gd name="csX37" fmla="*/ 245964 w 462155"/>
                    <a:gd name="csY37" fmla="*/ 284765 h 406995"/>
                    <a:gd name="csX38" fmla="*/ 259026 w 462155"/>
                    <a:gd name="csY38" fmla="*/ 285470 h 406995"/>
                    <a:gd name="csX39" fmla="*/ 269174 w 462155"/>
                    <a:gd name="csY39" fmla="*/ 294914 h 406995"/>
                    <a:gd name="csX40" fmla="*/ 269174 w 462155"/>
                    <a:gd name="csY40" fmla="*/ 298531 h 406995"/>
                    <a:gd name="csX41" fmla="*/ 269174 w 462155"/>
                    <a:gd name="csY41" fmla="*/ 313770 h 406995"/>
                    <a:gd name="csX42" fmla="*/ 260819 w 462155"/>
                    <a:gd name="csY42" fmla="*/ 306151 h 406995"/>
                    <a:gd name="csX43" fmla="*/ 251022 w 462155"/>
                    <a:gd name="csY43" fmla="*/ 315595 h 406995"/>
                    <a:gd name="csX44" fmla="*/ 247757 w 462155"/>
                    <a:gd name="csY44" fmla="*/ 338069 h 406995"/>
                    <a:gd name="csX45" fmla="*/ 259026 w 462155"/>
                    <a:gd name="csY45" fmla="*/ 353307 h 406995"/>
                    <a:gd name="csX46" fmla="*/ 291648 w 462155"/>
                    <a:gd name="csY46" fmla="*/ 354396 h 406995"/>
                    <a:gd name="csX47" fmla="*/ 285502 w 462155"/>
                    <a:gd name="csY47" fmla="*/ 378343 h 406995"/>
                    <a:gd name="csX48" fmla="*/ 270999 w 462155"/>
                    <a:gd name="csY48" fmla="*/ 390316 h 406995"/>
                    <a:gd name="csX49" fmla="*/ 282973 w 462155"/>
                    <a:gd name="csY49" fmla="*/ 393229 h 406995"/>
                    <a:gd name="csX50" fmla="*/ 284765 w 462155"/>
                    <a:gd name="csY50" fmla="*/ 406995 h 406995"/>
                    <a:gd name="csX51" fmla="*/ 285502 w 462155"/>
                    <a:gd name="csY51" fmla="*/ 383433 h 406995"/>
                    <a:gd name="csX52" fmla="*/ 298563 w 462155"/>
                    <a:gd name="csY52" fmla="*/ 375077 h 406995"/>
                    <a:gd name="csX53" fmla="*/ 292385 w 462155"/>
                    <a:gd name="csY53" fmla="*/ 347513 h 406995"/>
                    <a:gd name="csX54" fmla="*/ 307271 w 462155"/>
                    <a:gd name="csY54" fmla="*/ 338805 h 406995"/>
                    <a:gd name="csX55" fmla="*/ 325039 w 462155"/>
                    <a:gd name="csY55" fmla="*/ 341334 h 406995"/>
                    <a:gd name="csX56" fmla="*/ 331186 w 462155"/>
                    <a:gd name="csY56" fmla="*/ 329361 h 406995"/>
                    <a:gd name="csX57" fmla="*/ 339894 w 462155"/>
                    <a:gd name="csY57" fmla="*/ 326832 h 406995"/>
                    <a:gd name="csX58" fmla="*/ 345720 w 462155"/>
                    <a:gd name="csY58" fmla="*/ 321742 h 406995"/>
                    <a:gd name="csX59" fmla="*/ 351867 w 462155"/>
                    <a:gd name="csY59" fmla="*/ 324303 h 406995"/>
                    <a:gd name="csX60" fmla="*/ 381992 w 462155"/>
                    <a:gd name="csY60" fmla="*/ 317388 h 406995"/>
                    <a:gd name="csX61" fmla="*/ 407027 w 462155"/>
                    <a:gd name="csY61" fmla="*/ 292385 h 406995"/>
                    <a:gd name="csX62" fmla="*/ 433503 w 462155"/>
                    <a:gd name="csY62" fmla="*/ 299268 h 406995"/>
                    <a:gd name="csX63" fmla="*/ 456009 w 462155"/>
                    <a:gd name="csY63" fmla="*/ 272792 h 406995"/>
                    <a:gd name="csX64" fmla="*/ 462155 w 462155"/>
                    <a:gd name="csY64" fmla="*/ 269879 h 406995"/>
                    <a:gd name="csX65" fmla="*/ 454184 w 462155"/>
                    <a:gd name="csY65" fmla="*/ 264084 h 406995"/>
                    <a:gd name="csX66" fmla="*/ 439650 w 462155"/>
                    <a:gd name="csY66" fmla="*/ 279323 h 406995"/>
                    <a:gd name="csX67" fmla="*/ 425147 w 462155"/>
                    <a:gd name="csY67" fmla="*/ 272792 h 406995"/>
                    <a:gd name="csX68" fmla="*/ 400848 w 462155"/>
                    <a:gd name="csY68" fmla="*/ 272792 h 406995"/>
                    <a:gd name="csX69" fmla="*/ 391436 w 462155"/>
                    <a:gd name="csY69" fmla="*/ 262259 h 406995"/>
                    <a:gd name="csX70" fmla="*/ 382728 w 462155"/>
                    <a:gd name="csY70" fmla="*/ 264084 h 406995"/>
                    <a:gd name="csX71" fmla="*/ 378727 w 462155"/>
                    <a:gd name="csY71" fmla="*/ 252815 h 406995"/>
                    <a:gd name="csX72" fmla="*/ 375109 w 462155"/>
                    <a:gd name="csY72" fmla="*/ 237224 h 406995"/>
                    <a:gd name="csX73" fmla="*/ 361311 w 462155"/>
                    <a:gd name="csY73" fmla="*/ 239049 h 406995"/>
                    <a:gd name="csX74" fmla="*/ 356957 w 462155"/>
                    <a:gd name="csY74" fmla="*/ 246669 h 406995"/>
                    <a:gd name="csX75" fmla="*/ 352603 w 462155"/>
                    <a:gd name="csY75" fmla="*/ 230341 h 406995"/>
                    <a:gd name="csX76" fmla="*/ 343159 w 462155"/>
                    <a:gd name="csY76" fmla="*/ 225987 h 406995"/>
                    <a:gd name="csX77" fmla="*/ 358782 w 462155"/>
                    <a:gd name="csY77" fmla="*/ 192629 h 406995"/>
                    <a:gd name="csX78" fmla="*/ 358046 w 462155"/>
                    <a:gd name="csY78" fmla="*/ 192629 h 406995"/>
                    <a:gd name="csX79" fmla="*/ 349338 w 462155"/>
                    <a:gd name="csY79" fmla="*/ 191892 h 406995"/>
                    <a:gd name="csX80" fmla="*/ 348602 w 462155"/>
                    <a:gd name="csY80" fmla="*/ 183921 h 406995"/>
                    <a:gd name="csX81" fmla="*/ 333747 w 462155"/>
                    <a:gd name="csY81" fmla="*/ 187539 h 406995"/>
                    <a:gd name="csX82" fmla="*/ 344984 w 462155"/>
                    <a:gd name="csY82" fmla="*/ 163240 h 406995"/>
                    <a:gd name="csX83" fmla="*/ 328657 w 462155"/>
                    <a:gd name="csY83" fmla="*/ 138557 h 406995"/>
                    <a:gd name="csX84" fmla="*/ 313066 w 462155"/>
                    <a:gd name="csY84" fmla="*/ 140030 h 406995"/>
                    <a:gd name="csX85" fmla="*/ 305446 w 462155"/>
                    <a:gd name="csY85" fmla="*/ 135676 h 406995"/>
                    <a:gd name="csX86" fmla="*/ 307271 w 462155"/>
                    <a:gd name="csY86" fmla="*/ 126232 h 406995"/>
                    <a:gd name="csX87" fmla="*/ 301093 w 462155"/>
                    <a:gd name="csY87" fmla="*/ 121878 h 406995"/>
                    <a:gd name="csX88" fmla="*/ 272792 w 462155"/>
                    <a:gd name="csY88" fmla="*/ 116787 h 406995"/>
                    <a:gd name="csX89" fmla="*/ 268438 w 462155"/>
                    <a:gd name="csY89" fmla="*/ 131674 h 406995"/>
                    <a:gd name="csX90" fmla="*/ 256465 w 462155"/>
                    <a:gd name="csY90" fmla="*/ 130586 h 406995"/>
                    <a:gd name="csX91" fmla="*/ 245228 w 462155"/>
                    <a:gd name="csY91" fmla="*/ 121878 h 406995"/>
                    <a:gd name="csX92" fmla="*/ 225283 w 462155"/>
                    <a:gd name="csY92" fmla="*/ 126232 h 406995"/>
                    <a:gd name="csX93" fmla="*/ 217664 w 462155"/>
                    <a:gd name="csY93" fmla="*/ 122966 h 406995"/>
                    <a:gd name="csX94" fmla="*/ 215839 w 462155"/>
                    <a:gd name="csY94" fmla="*/ 114995 h 406995"/>
                    <a:gd name="csX95" fmla="*/ 219457 w 462155"/>
                    <a:gd name="csY95" fmla="*/ 109904 h 406995"/>
                    <a:gd name="csX96" fmla="*/ 215135 w 462155"/>
                    <a:gd name="csY96" fmla="*/ 102285 h 406995"/>
                    <a:gd name="csX97" fmla="*/ 220929 w 462155"/>
                    <a:gd name="csY97" fmla="*/ 94666 h 406995"/>
                    <a:gd name="csX98" fmla="*/ 219457 w 462155"/>
                    <a:gd name="csY98" fmla="*/ 85958 h 406995"/>
                    <a:gd name="csX99" fmla="*/ 219457 w 462155"/>
                    <a:gd name="csY99" fmla="*/ 72896 h 406995"/>
                    <a:gd name="csX100" fmla="*/ 222018 w 462155"/>
                    <a:gd name="csY100" fmla="*/ 48950 h 406995"/>
                    <a:gd name="csX101" fmla="*/ 236520 w 462155"/>
                    <a:gd name="csY101" fmla="*/ 50774 h 406995"/>
                    <a:gd name="csX102" fmla="*/ 240874 w 462155"/>
                    <a:gd name="csY102" fmla="*/ 44596 h 406995"/>
                    <a:gd name="csX103" fmla="*/ 252111 w 462155"/>
                    <a:gd name="csY103" fmla="*/ 42066 h 406995"/>
                    <a:gd name="csX104" fmla="*/ 254672 w 462155"/>
                    <a:gd name="csY104" fmla="*/ 35888 h 406995"/>
                    <a:gd name="csX105" fmla="*/ 247053 w 462155"/>
                    <a:gd name="csY105" fmla="*/ 19593 h 406995"/>
                    <a:gd name="csX106" fmla="*/ 233255 w 462155"/>
                    <a:gd name="csY106" fmla="*/ 23210 h 406995"/>
                    <a:gd name="csX107" fmla="*/ 227812 w 462155"/>
                    <a:gd name="csY107" fmla="*/ 16327 h 406995"/>
                    <a:gd name="csX108" fmla="*/ 220193 w 462155"/>
                    <a:gd name="csY108" fmla="*/ 17032 h 406995"/>
                    <a:gd name="csX109" fmla="*/ 211485 w 462155"/>
                    <a:gd name="csY109" fmla="*/ 704 h 406995"/>
                    <a:gd name="csX110" fmla="*/ 205691 w 462155"/>
                    <a:gd name="csY110" fmla="*/ 4354 h 406995"/>
                    <a:gd name="csX111" fmla="*/ 200248 w 462155"/>
                    <a:gd name="csY111" fmla="*/ 1441 h 406995"/>
                    <a:gd name="csX112" fmla="*/ 187539 w 462155"/>
                    <a:gd name="csY112" fmla="*/ 10148 h 406995"/>
                    <a:gd name="csX113" fmla="*/ 169419 w 462155"/>
                    <a:gd name="csY113" fmla="*/ 22122 h 406995"/>
                    <a:gd name="csX114" fmla="*/ 151267 w 462155"/>
                    <a:gd name="csY114" fmla="*/ 22122 h 406995"/>
                    <a:gd name="csX115" fmla="*/ 132410 w 462155"/>
                    <a:gd name="csY115" fmla="*/ 4354 h 4069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462155" h="406995">
                      <a:moveTo>
                        <a:pt x="132410" y="4354"/>
                      </a:moveTo>
                      <a:lnTo>
                        <a:pt x="121173" y="0"/>
                      </a:lnTo>
                      <a:lnTo>
                        <a:pt x="105582" y="6883"/>
                      </a:lnTo>
                      <a:lnTo>
                        <a:pt x="94698" y="19593"/>
                      </a:lnTo>
                      <a:lnTo>
                        <a:pt x="63484" y="22122"/>
                      </a:lnTo>
                      <a:lnTo>
                        <a:pt x="56601" y="26476"/>
                      </a:lnTo>
                      <a:lnTo>
                        <a:pt x="64572" y="43891"/>
                      </a:lnTo>
                      <a:lnTo>
                        <a:pt x="58394" y="71455"/>
                      </a:lnTo>
                      <a:lnTo>
                        <a:pt x="31566" y="67102"/>
                      </a:lnTo>
                      <a:lnTo>
                        <a:pt x="27564" y="70367"/>
                      </a:lnTo>
                      <a:lnTo>
                        <a:pt x="14502" y="77250"/>
                      </a:lnTo>
                      <a:lnTo>
                        <a:pt x="9444" y="71455"/>
                      </a:lnTo>
                      <a:lnTo>
                        <a:pt x="8356" y="77250"/>
                      </a:lnTo>
                      <a:lnTo>
                        <a:pt x="0" y="128761"/>
                      </a:lnTo>
                      <a:lnTo>
                        <a:pt x="17768" y="128761"/>
                      </a:lnTo>
                      <a:lnTo>
                        <a:pt x="62748" y="129849"/>
                      </a:lnTo>
                      <a:lnTo>
                        <a:pt x="62748" y="156325"/>
                      </a:lnTo>
                      <a:lnTo>
                        <a:pt x="62748" y="157413"/>
                      </a:lnTo>
                      <a:lnTo>
                        <a:pt x="60955" y="233959"/>
                      </a:lnTo>
                      <a:lnTo>
                        <a:pt x="69663" y="239049"/>
                      </a:lnTo>
                      <a:lnTo>
                        <a:pt x="92137" y="241578"/>
                      </a:lnTo>
                      <a:lnTo>
                        <a:pt x="103021" y="232166"/>
                      </a:lnTo>
                      <a:lnTo>
                        <a:pt x="116819" y="232166"/>
                      </a:lnTo>
                      <a:lnTo>
                        <a:pt x="144384" y="243403"/>
                      </a:lnTo>
                      <a:lnTo>
                        <a:pt x="152355" y="244139"/>
                      </a:lnTo>
                      <a:lnTo>
                        <a:pt x="159238" y="237224"/>
                      </a:lnTo>
                      <a:lnTo>
                        <a:pt x="159974" y="222722"/>
                      </a:lnTo>
                      <a:lnTo>
                        <a:pt x="177038" y="202777"/>
                      </a:lnTo>
                      <a:lnTo>
                        <a:pt x="189363" y="203866"/>
                      </a:lnTo>
                      <a:lnTo>
                        <a:pt x="196246" y="208924"/>
                      </a:lnTo>
                      <a:lnTo>
                        <a:pt x="203161" y="225251"/>
                      </a:lnTo>
                      <a:lnTo>
                        <a:pt x="217664" y="240874"/>
                      </a:lnTo>
                      <a:lnTo>
                        <a:pt x="215839" y="249198"/>
                      </a:lnTo>
                      <a:lnTo>
                        <a:pt x="225283" y="251023"/>
                      </a:lnTo>
                      <a:lnTo>
                        <a:pt x="233255" y="261523"/>
                      </a:lnTo>
                      <a:lnTo>
                        <a:pt x="233255" y="262259"/>
                      </a:lnTo>
                      <a:lnTo>
                        <a:pt x="237256" y="276762"/>
                      </a:lnTo>
                      <a:lnTo>
                        <a:pt x="245964" y="284765"/>
                      </a:lnTo>
                      <a:lnTo>
                        <a:pt x="259026" y="285470"/>
                      </a:lnTo>
                      <a:lnTo>
                        <a:pt x="269174" y="294914"/>
                      </a:lnTo>
                      <a:lnTo>
                        <a:pt x="269174" y="298531"/>
                      </a:lnTo>
                      <a:lnTo>
                        <a:pt x="269174" y="313770"/>
                      </a:lnTo>
                      <a:lnTo>
                        <a:pt x="260819" y="306151"/>
                      </a:lnTo>
                      <a:lnTo>
                        <a:pt x="251022" y="315595"/>
                      </a:lnTo>
                      <a:lnTo>
                        <a:pt x="247757" y="338069"/>
                      </a:lnTo>
                      <a:lnTo>
                        <a:pt x="259026" y="353307"/>
                      </a:lnTo>
                      <a:lnTo>
                        <a:pt x="291648" y="354396"/>
                      </a:lnTo>
                      <a:lnTo>
                        <a:pt x="285502" y="378343"/>
                      </a:lnTo>
                      <a:lnTo>
                        <a:pt x="270999" y="390316"/>
                      </a:lnTo>
                      <a:lnTo>
                        <a:pt x="282973" y="393229"/>
                      </a:lnTo>
                      <a:lnTo>
                        <a:pt x="284765" y="406995"/>
                      </a:lnTo>
                      <a:lnTo>
                        <a:pt x="285502" y="383433"/>
                      </a:lnTo>
                      <a:lnTo>
                        <a:pt x="298563" y="375077"/>
                      </a:lnTo>
                      <a:lnTo>
                        <a:pt x="292385" y="347513"/>
                      </a:lnTo>
                      <a:lnTo>
                        <a:pt x="307271" y="338805"/>
                      </a:lnTo>
                      <a:lnTo>
                        <a:pt x="325039" y="341334"/>
                      </a:lnTo>
                      <a:lnTo>
                        <a:pt x="331186" y="329361"/>
                      </a:lnTo>
                      <a:lnTo>
                        <a:pt x="339894" y="326832"/>
                      </a:lnTo>
                      <a:lnTo>
                        <a:pt x="345720" y="321742"/>
                      </a:lnTo>
                      <a:lnTo>
                        <a:pt x="351867" y="324303"/>
                      </a:lnTo>
                      <a:lnTo>
                        <a:pt x="381992" y="317388"/>
                      </a:lnTo>
                      <a:lnTo>
                        <a:pt x="407027" y="292385"/>
                      </a:lnTo>
                      <a:lnTo>
                        <a:pt x="433503" y="299268"/>
                      </a:lnTo>
                      <a:lnTo>
                        <a:pt x="456009" y="272792"/>
                      </a:lnTo>
                      <a:lnTo>
                        <a:pt x="462155" y="269879"/>
                      </a:lnTo>
                      <a:lnTo>
                        <a:pt x="454184" y="264084"/>
                      </a:lnTo>
                      <a:lnTo>
                        <a:pt x="439650" y="279323"/>
                      </a:lnTo>
                      <a:lnTo>
                        <a:pt x="425147" y="272792"/>
                      </a:lnTo>
                      <a:lnTo>
                        <a:pt x="400848" y="272792"/>
                      </a:lnTo>
                      <a:lnTo>
                        <a:pt x="391436" y="262259"/>
                      </a:lnTo>
                      <a:lnTo>
                        <a:pt x="382728" y="264084"/>
                      </a:lnTo>
                      <a:lnTo>
                        <a:pt x="378727" y="252815"/>
                      </a:lnTo>
                      <a:lnTo>
                        <a:pt x="375109" y="237224"/>
                      </a:lnTo>
                      <a:lnTo>
                        <a:pt x="361311" y="239049"/>
                      </a:lnTo>
                      <a:lnTo>
                        <a:pt x="356957" y="246669"/>
                      </a:lnTo>
                      <a:lnTo>
                        <a:pt x="352603" y="230341"/>
                      </a:lnTo>
                      <a:lnTo>
                        <a:pt x="343159" y="225987"/>
                      </a:lnTo>
                      <a:lnTo>
                        <a:pt x="358782" y="192629"/>
                      </a:lnTo>
                      <a:lnTo>
                        <a:pt x="358046" y="192629"/>
                      </a:lnTo>
                      <a:lnTo>
                        <a:pt x="349338" y="191892"/>
                      </a:lnTo>
                      <a:lnTo>
                        <a:pt x="348602" y="183921"/>
                      </a:lnTo>
                      <a:lnTo>
                        <a:pt x="333747" y="187539"/>
                      </a:lnTo>
                      <a:lnTo>
                        <a:pt x="344984" y="163240"/>
                      </a:lnTo>
                      <a:lnTo>
                        <a:pt x="328657" y="138557"/>
                      </a:lnTo>
                      <a:lnTo>
                        <a:pt x="313066" y="140030"/>
                      </a:lnTo>
                      <a:lnTo>
                        <a:pt x="305446" y="135676"/>
                      </a:lnTo>
                      <a:lnTo>
                        <a:pt x="307271" y="126232"/>
                      </a:lnTo>
                      <a:lnTo>
                        <a:pt x="301093" y="121878"/>
                      </a:lnTo>
                      <a:lnTo>
                        <a:pt x="272792" y="116787"/>
                      </a:lnTo>
                      <a:lnTo>
                        <a:pt x="268438" y="131674"/>
                      </a:lnTo>
                      <a:lnTo>
                        <a:pt x="256465" y="130586"/>
                      </a:lnTo>
                      <a:lnTo>
                        <a:pt x="245228" y="121878"/>
                      </a:lnTo>
                      <a:lnTo>
                        <a:pt x="225283" y="126232"/>
                      </a:lnTo>
                      <a:lnTo>
                        <a:pt x="217664" y="122966"/>
                      </a:lnTo>
                      <a:lnTo>
                        <a:pt x="215839" y="114995"/>
                      </a:lnTo>
                      <a:lnTo>
                        <a:pt x="219457" y="109904"/>
                      </a:lnTo>
                      <a:lnTo>
                        <a:pt x="215135" y="102285"/>
                      </a:lnTo>
                      <a:lnTo>
                        <a:pt x="220929" y="94666"/>
                      </a:lnTo>
                      <a:lnTo>
                        <a:pt x="219457" y="85958"/>
                      </a:lnTo>
                      <a:lnTo>
                        <a:pt x="219457" y="72896"/>
                      </a:lnTo>
                      <a:lnTo>
                        <a:pt x="222018" y="48950"/>
                      </a:lnTo>
                      <a:lnTo>
                        <a:pt x="236520" y="50774"/>
                      </a:lnTo>
                      <a:lnTo>
                        <a:pt x="240874" y="44596"/>
                      </a:lnTo>
                      <a:lnTo>
                        <a:pt x="252111" y="42066"/>
                      </a:lnTo>
                      <a:lnTo>
                        <a:pt x="254672" y="35888"/>
                      </a:lnTo>
                      <a:lnTo>
                        <a:pt x="247053" y="19593"/>
                      </a:lnTo>
                      <a:lnTo>
                        <a:pt x="233255" y="23210"/>
                      </a:lnTo>
                      <a:lnTo>
                        <a:pt x="227812" y="16327"/>
                      </a:lnTo>
                      <a:lnTo>
                        <a:pt x="220193" y="17032"/>
                      </a:lnTo>
                      <a:lnTo>
                        <a:pt x="211485" y="704"/>
                      </a:lnTo>
                      <a:lnTo>
                        <a:pt x="205691" y="4354"/>
                      </a:lnTo>
                      <a:lnTo>
                        <a:pt x="200248" y="1441"/>
                      </a:lnTo>
                      <a:lnTo>
                        <a:pt x="187539" y="10148"/>
                      </a:lnTo>
                      <a:lnTo>
                        <a:pt x="169419" y="22122"/>
                      </a:lnTo>
                      <a:lnTo>
                        <a:pt x="151267" y="22122"/>
                      </a:lnTo>
                      <a:lnTo>
                        <a:pt x="132410" y="435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6" name="Forma Livre: Forma 175">
                  <a:extLst>
                    <a:ext uri="{FF2B5EF4-FFF2-40B4-BE49-F238E27FC236}">
                      <a16:creationId xmlns:a16="http://schemas.microsoft.com/office/drawing/2014/main" id="{068DFB7E-F4CF-F90D-70E4-34CC7F37B1D8}"/>
                    </a:ext>
                  </a:extLst>
                </p:cNvPr>
                <p:cNvSpPr/>
                <p:nvPr/>
              </p:nvSpPr>
              <p:spPr>
                <a:xfrm>
                  <a:off x="2857302" y="3294638"/>
                  <a:ext cx="462155" cy="406995"/>
                </a:xfrm>
                <a:custGeom>
                  <a:avLst/>
                  <a:gdLst>
                    <a:gd name="csX0" fmla="*/ 132410 w 462155"/>
                    <a:gd name="csY0" fmla="*/ 4354 h 406995"/>
                    <a:gd name="csX1" fmla="*/ 121173 w 462155"/>
                    <a:gd name="csY1" fmla="*/ 0 h 406995"/>
                    <a:gd name="csX2" fmla="*/ 105582 w 462155"/>
                    <a:gd name="csY2" fmla="*/ 6883 h 406995"/>
                    <a:gd name="csX3" fmla="*/ 94698 w 462155"/>
                    <a:gd name="csY3" fmla="*/ 19593 h 406995"/>
                    <a:gd name="csX4" fmla="*/ 63484 w 462155"/>
                    <a:gd name="csY4" fmla="*/ 22122 h 406995"/>
                    <a:gd name="csX5" fmla="*/ 56601 w 462155"/>
                    <a:gd name="csY5" fmla="*/ 26476 h 406995"/>
                    <a:gd name="csX6" fmla="*/ 64572 w 462155"/>
                    <a:gd name="csY6" fmla="*/ 43891 h 406995"/>
                    <a:gd name="csX7" fmla="*/ 58394 w 462155"/>
                    <a:gd name="csY7" fmla="*/ 71455 h 406995"/>
                    <a:gd name="csX8" fmla="*/ 31566 w 462155"/>
                    <a:gd name="csY8" fmla="*/ 67102 h 406995"/>
                    <a:gd name="csX9" fmla="*/ 27564 w 462155"/>
                    <a:gd name="csY9" fmla="*/ 70367 h 406995"/>
                    <a:gd name="csX10" fmla="*/ 14502 w 462155"/>
                    <a:gd name="csY10" fmla="*/ 77250 h 406995"/>
                    <a:gd name="csX11" fmla="*/ 9444 w 462155"/>
                    <a:gd name="csY11" fmla="*/ 71455 h 406995"/>
                    <a:gd name="csX12" fmla="*/ 8356 w 462155"/>
                    <a:gd name="csY12" fmla="*/ 77250 h 406995"/>
                    <a:gd name="csX13" fmla="*/ 0 w 462155"/>
                    <a:gd name="csY13" fmla="*/ 128761 h 406995"/>
                    <a:gd name="csX14" fmla="*/ 17768 w 462155"/>
                    <a:gd name="csY14" fmla="*/ 128761 h 406995"/>
                    <a:gd name="csX15" fmla="*/ 62748 w 462155"/>
                    <a:gd name="csY15" fmla="*/ 129849 h 406995"/>
                    <a:gd name="csX16" fmla="*/ 62748 w 462155"/>
                    <a:gd name="csY16" fmla="*/ 156325 h 406995"/>
                    <a:gd name="csX17" fmla="*/ 62748 w 462155"/>
                    <a:gd name="csY17" fmla="*/ 157413 h 406995"/>
                    <a:gd name="csX18" fmla="*/ 60955 w 462155"/>
                    <a:gd name="csY18" fmla="*/ 233959 h 406995"/>
                    <a:gd name="csX19" fmla="*/ 69663 w 462155"/>
                    <a:gd name="csY19" fmla="*/ 239049 h 406995"/>
                    <a:gd name="csX20" fmla="*/ 92137 w 462155"/>
                    <a:gd name="csY20" fmla="*/ 241578 h 406995"/>
                    <a:gd name="csX21" fmla="*/ 103021 w 462155"/>
                    <a:gd name="csY21" fmla="*/ 232166 h 406995"/>
                    <a:gd name="csX22" fmla="*/ 116819 w 462155"/>
                    <a:gd name="csY22" fmla="*/ 232166 h 406995"/>
                    <a:gd name="csX23" fmla="*/ 144384 w 462155"/>
                    <a:gd name="csY23" fmla="*/ 243403 h 406995"/>
                    <a:gd name="csX24" fmla="*/ 152355 w 462155"/>
                    <a:gd name="csY24" fmla="*/ 244139 h 406995"/>
                    <a:gd name="csX25" fmla="*/ 159238 w 462155"/>
                    <a:gd name="csY25" fmla="*/ 237224 h 406995"/>
                    <a:gd name="csX26" fmla="*/ 159974 w 462155"/>
                    <a:gd name="csY26" fmla="*/ 222722 h 406995"/>
                    <a:gd name="csX27" fmla="*/ 177038 w 462155"/>
                    <a:gd name="csY27" fmla="*/ 202777 h 406995"/>
                    <a:gd name="csX28" fmla="*/ 189363 w 462155"/>
                    <a:gd name="csY28" fmla="*/ 203866 h 406995"/>
                    <a:gd name="csX29" fmla="*/ 196246 w 462155"/>
                    <a:gd name="csY29" fmla="*/ 208924 h 406995"/>
                    <a:gd name="csX30" fmla="*/ 203161 w 462155"/>
                    <a:gd name="csY30" fmla="*/ 225251 h 406995"/>
                    <a:gd name="csX31" fmla="*/ 217664 w 462155"/>
                    <a:gd name="csY31" fmla="*/ 240874 h 406995"/>
                    <a:gd name="csX32" fmla="*/ 215839 w 462155"/>
                    <a:gd name="csY32" fmla="*/ 249198 h 406995"/>
                    <a:gd name="csX33" fmla="*/ 225283 w 462155"/>
                    <a:gd name="csY33" fmla="*/ 251023 h 406995"/>
                    <a:gd name="csX34" fmla="*/ 233255 w 462155"/>
                    <a:gd name="csY34" fmla="*/ 261523 h 406995"/>
                    <a:gd name="csX35" fmla="*/ 233255 w 462155"/>
                    <a:gd name="csY35" fmla="*/ 262259 h 406995"/>
                    <a:gd name="csX36" fmla="*/ 237256 w 462155"/>
                    <a:gd name="csY36" fmla="*/ 276762 h 406995"/>
                    <a:gd name="csX37" fmla="*/ 245964 w 462155"/>
                    <a:gd name="csY37" fmla="*/ 284765 h 406995"/>
                    <a:gd name="csX38" fmla="*/ 259026 w 462155"/>
                    <a:gd name="csY38" fmla="*/ 285470 h 406995"/>
                    <a:gd name="csX39" fmla="*/ 269174 w 462155"/>
                    <a:gd name="csY39" fmla="*/ 294914 h 406995"/>
                    <a:gd name="csX40" fmla="*/ 269174 w 462155"/>
                    <a:gd name="csY40" fmla="*/ 298531 h 406995"/>
                    <a:gd name="csX41" fmla="*/ 269174 w 462155"/>
                    <a:gd name="csY41" fmla="*/ 313770 h 406995"/>
                    <a:gd name="csX42" fmla="*/ 260819 w 462155"/>
                    <a:gd name="csY42" fmla="*/ 306151 h 406995"/>
                    <a:gd name="csX43" fmla="*/ 251022 w 462155"/>
                    <a:gd name="csY43" fmla="*/ 315595 h 406995"/>
                    <a:gd name="csX44" fmla="*/ 247757 w 462155"/>
                    <a:gd name="csY44" fmla="*/ 338069 h 406995"/>
                    <a:gd name="csX45" fmla="*/ 259026 w 462155"/>
                    <a:gd name="csY45" fmla="*/ 353307 h 406995"/>
                    <a:gd name="csX46" fmla="*/ 291648 w 462155"/>
                    <a:gd name="csY46" fmla="*/ 354396 h 406995"/>
                    <a:gd name="csX47" fmla="*/ 285502 w 462155"/>
                    <a:gd name="csY47" fmla="*/ 378343 h 406995"/>
                    <a:gd name="csX48" fmla="*/ 270999 w 462155"/>
                    <a:gd name="csY48" fmla="*/ 390316 h 406995"/>
                    <a:gd name="csX49" fmla="*/ 282973 w 462155"/>
                    <a:gd name="csY49" fmla="*/ 393229 h 406995"/>
                    <a:gd name="csX50" fmla="*/ 284765 w 462155"/>
                    <a:gd name="csY50" fmla="*/ 406995 h 406995"/>
                    <a:gd name="csX51" fmla="*/ 285502 w 462155"/>
                    <a:gd name="csY51" fmla="*/ 383433 h 406995"/>
                    <a:gd name="csX52" fmla="*/ 298563 w 462155"/>
                    <a:gd name="csY52" fmla="*/ 375077 h 406995"/>
                    <a:gd name="csX53" fmla="*/ 292385 w 462155"/>
                    <a:gd name="csY53" fmla="*/ 347513 h 406995"/>
                    <a:gd name="csX54" fmla="*/ 307271 w 462155"/>
                    <a:gd name="csY54" fmla="*/ 338805 h 406995"/>
                    <a:gd name="csX55" fmla="*/ 325039 w 462155"/>
                    <a:gd name="csY55" fmla="*/ 341334 h 406995"/>
                    <a:gd name="csX56" fmla="*/ 331186 w 462155"/>
                    <a:gd name="csY56" fmla="*/ 329361 h 406995"/>
                    <a:gd name="csX57" fmla="*/ 339894 w 462155"/>
                    <a:gd name="csY57" fmla="*/ 326832 h 406995"/>
                    <a:gd name="csX58" fmla="*/ 345720 w 462155"/>
                    <a:gd name="csY58" fmla="*/ 321742 h 406995"/>
                    <a:gd name="csX59" fmla="*/ 351867 w 462155"/>
                    <a:gd name="csY59" fmla="*/ 324303 h 406995"/>
                    <a:gd name="csX60" fmla="*/ 381992 w 462155"/>
                    <a:gd name="csY60" fmla="*/ 317388 h 406995"/>
                    <a:gd name="csX61" fmla="*/ 407027 w 462155"/>
                    <a:gd name="csY61" fmla="*/ 292385 h 406995"/>
                    <a:gd name="csX62" fmla="*/ 433503 w 462155"/>
                    <a:gd name="csY62" fmla="*/ 299268 h 406995"/>
                    <a:gd name="csX63" fmla="*/ 456009 w 462155"/>
                    <a:gd name="csY63" fmla="*/ 272792 h 406995"/>
                    <a:gd name="csX64" fmla="*/ 462155 w 462155"/>
                    <a:gd name="csY64" fmla="*/ 269879 h 406995"/>
                    <a:gd name="csX65" fmla="*/ 454184 w 462155"/>
                    <a:gd name="csY65" fmla="*/ 264084 h 406995"/>
                    <a:gd name="csX66" fmla="*/ 439650 w 462155"/>
                    <a:gd name="csY66" fmla="*/ 279323 h 406995"/>
                    <a:gd name="csX67" fmla="*/ 425147 w 462155"/>
                    <a:gd name="csY67" fmla="*/ 272792 h 406995"/>
                    <a:gd name="csX68" fmla="*/ 400848 w 462155"/>
                    <a:gd name="csY68" fmla="*/ 272792 h 406995"/>
                    <a:gd name="csX69" fmla="*/ 391436 w 462155"/>
                    <a:gd name="csY69" fmla="*/ 262259 h 406995"/>
                    <a:gd name="csX70" fmla="*/ 382728 w 462155"/>
                    <a:gd name="csY70" fmla="*/ 264084 h 406995"/>
                    <a:gd name="csX71" fmla="*/ 378727 w 462155"/>
                    <a:gd name="csY71" fmla="*/ 252815 h 406995"/>
                    <a:gd name="csX72" fmla="*/ 375109 w 462155"/>
                    <a:gd name="csY72" fmla="*/ 237224 h 406995"/>
                    <a:gd name="csX73" fmla="*/ 361311 w 462155"/>
                    <a:gd name="csY73" fmla="*/ 239049 h 406995"/>
                    <a:gd name="csX74" fmla="*/ 356957 w 462155"/>
                    <a:gd name="csY74" fmla="*/ 246669 h 406995"/>
                    <a:gd name="csX75" fmla="*/ 352603 w 462155"/>
                    <a:gd name="csY75" fmla="*/ 230341 h 406995"/>
                    <a:gd name="csX76" fmla="*/ 343159 w 462155"/>
                    <a:gd name="csY76" fmla="*/ 225987 h 406995"/>
                    <a:gd name="csX77" fmla="*/ 358782 w 462155"/>
                    <a:gd name="csY77" fmla="*/ 192629 h 406995"/>
                    <a:gd name="csX78" fmla="*/ 358046 w 462155"/>
                    <a:gd name="csY78" fmla="*/ 192629 h 406995"/>
                    <a:gd name="csX79" fmla="*/ 349338 w 462155"/>
                    <a:gd name="csY79" fmla="*/ 191892 h 406995"/>
                    <a:gd name="csX80" fmla="*/ 348602 w 462155"/>
                    <a:gd name="csY80" fmla="*/ 183921 h 406995"/>
                    <a:gd name="csX81" fmla="*/ 333747 w 462155"/>
                    <a:gd name="csY81" fmla="*/ 187539 h 406995"/>
                    <a:gd name="csX82" fmla="*/ 344984 w 462155"/>
                    <a:gd name="csY82" fmla="*/ 163240 h 406995"/>
                    <a:gd name="csX83" fmla="*/ 328657 w 462155"/>
                    <a:gd name="csY83" fmla="*/ 138557 h 406995"/>
                    <a:gd name="csX84" fmla="*/ 313066 w 462155"/>
                    <a:gd name="csY84" fmla="*/ 140030 h 406995"/>
                    <a:gd name="csX85" fmla="*/ 305446 w 462155"/>
                    <a:gd name="csY85" fmla="*/ 135676 h 406995"/>
                    <a:gd name="csX86" fmla="*/ 307271 w 462155"/>
                    <a:gd name="csY86" fmla="*/ 126232 h 406995"/>
                    <a:gd name="csX87" fmla="*/ 301093 w 462155"/>
                    <a:gd name="csY87" fmla="*/ 121878 h 406995"/>
                    <a:gd name="csX88" fmla="*/ 272792 w 462155"/>
                    <a:gd name="csY88" fmla="*/ 116787 h 406995"/>
                    <a:gd name="csX89" fmla="*/ 268438 w 462155"/>
                    <a:gd name="csY89" fmla="*/ 131674 h 406995"/>
                    <a:gd name="csX90" fmla="*/ 256465 w 462155"/>
                    <a:gd name="csY90" fmla="*/ 130586 h 406995"/>
                    <a:gd name="csX91" fmla="*/ 245228 w 462155"/>
                    <a:gd name="csY91" fmla="*/ 121878 h 406995"/>
                    <a:gd name="csX92" fmla="*/ 225283 w 462155"/>
                    <a:gd name="csY92" fmla="*/ 126232 h 406995"/>
                    <a:gd name="csX93" fmla="*/ 217664 w 462155"/>
                    <a:gd name="csY93" fmla="*/ 122966 h 406995"/>
                    <a:gd name="csX94" fmla="*/ 215839 w 462155"/>
                    <a:gd name="csY94" fmla="*/ 114995 h 406995"/>
                    <a:gd name="csX95" fmla="*/ 219457 w 462155"/>
                    <a:gd name="csY95" fmla="*/ 109904 h 406995"/>
                    <a:gd name="csX96" fmla="*/ 215135 w 462155"/>
                    <a:gd name="csY96" fmla="*/ 102285 h 406995"/>
                    <a:gd name="csX97" fmla="*/ 220929 w 462155"/>
                    <a:gd name="csY97" fmla="*/ 94666 h 406995"/>
                    <a:gd name="csX98" fmla="*/ 219457 w 462155"/>
                    <a:gd name="csY98" fmla="*/ 85958 h 406995"/>
                    <a:gd name="csX99" fmla="*/ 219457 w 462155"/>
                    <a:gd name="csY99" fmla="*/ 72896 h 406995"/>
                    <a:gd name="csX100" fmla="*/ 222018 w 462155"/>
                    <a:gd name="csY100" fmla="*/ 48950 h 406995"/>
                    <a:gd name="csX101" fmla="*/ 236520 w 462155"/>
                    <a:gd name="csY101" fmla="*/ 50774 h 406995"/>
                    <a:gd name="csX102" fmla="*/ 240874 w 462155"/>
                    <a:gd name="csY102" fmla="*/ 44596 h 406995"/>
                    <a:gd name="csX103" fmla="*/ 252111 w 462155"/>
                    <a:gd name="csY103" fmla="*/ 42066 h 406995"/>
                    <a:gd name="csX104" fmla="*/ 254672 w 462155"/>
                    <a:gd name="csY104" fmla="*/ 35888 h 406995"/>
                    <a:gd name="csX105" fmla="*/ 247053 w 462155"/>
                    <a:gd name="csY105" fmla="*/ 19593 h 406995"/>
                    <a:gd name="csX106" fmla="*/ 233255 w 462155"/>
                    <a:gd name="csY106" fmla="*/ 23210 h 406995"/>
                    <a:gd name="csX107" fmla="*/ 227812 w 462155"/>
                    <a:gd name="csY107" fmla="*/ 16327 h 406995"/>
                    <a:gd name="csX108" fmla="*/ 220193 w 462155"/>
                    <a:gd name="csY108" fmla="*/ 17032 h 406995"/>
                    <a:gd name="csX109" fmla="*/ 211485 w 462155"/>
                    <a:gd name="csY109" fmla="*/ 704 h 406995"/>
                    <a:gd name="csX110" fmla="*/ 205691 w 462155"/>
                    <a:gd name="csY110" fmla="*/ 4354 h 406995"/>
                    <a:gd name="csX111" fmla="*/ 200248 w 462155"/>
                    <a:gd name="csY111" fmla="*/ 1441 h 406995"/>
                    <a:gd name="csX112" fmla="*/ 187539 w 462155"/>
                    <a:gd name="csY112" fmla="*/ 10148 h 406995"/>
                    <a:gd name="csX113" fmla="*/ 169419 w 462155"/>
                    <a:gd name="csY113" fmla="*/ 22122 h 406995"/>
                    <a:gd name="csX114" fmla="*/ 151267 w 462155"/>
                    <a:gd name="csY114" fmla="*/ 22122 h 406995"/>
                    <a:gd name="csX115" fmla="*/ 132410 w 462155"/>
                    <a:gd name="csY115" fmla="*/ 4354 h 4069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462155" h="406995">
                      <a:moveTo>
                        <a:pt x="132410" y="4354"/>
                      </a:moveTo>
                      <a:lnTo>
                        <a:pt x="121173" y="0"/>
                      </a:lnTo>
                      <a:lnTo>
                        <a:pt x="105582" y="6883"/>
                      </a:lnTo>
                      <a:lnTo>
                        <a:pt x="94698" y="19593"/>
                      </a:lnTo>
                      <a:lnTo>
                        <a:pt x="63484" y="22122"/>
                      </a:lnTo>
                      <a:lnTo>
                        <a:pt x="56601" y="26476"/>
                      </a:lnTo>
                      <a:lnTo>
                        <a:pt x="64572" y="43891"/>
                      </a:lnTo>
                      <a:lnTo>
                        <a:pt x="58394" y="71455"/>
                      </a:lnTo>
                      <a:lnTo>
                        <a:pt x="31566" y="67102"/>
                      </a:lnTo>
                      <a:lnTo>
                        <a:pt x="27564" y="70367"/>
                      </a:lnTo>
                      <a:lnTo>
                        <a:pt x="14502" y="77250"/>
                      </a:lnTo>
                      <a:lnTo>
                        <a:pt x="9444" y="71455"/>
                      </a:lnTo>
                      <a:lnTo>
                        <a:pt x="8356" y="77250"/>
                      </a:lnTo>
                      <a:lnTo>
                        <a:pt x="0" y="128761"/>
                      </a:lnTo>
                      <a:lnTo>
                        <a:pt x="17768" y="128761"/>
                      </a:lnTo>
                      <a:lnTo>
                        <a:pt x="62748" y="129849"/>
                      </a:lnTo>
                      <a:lnTo>
                        <a:pt x="62748" y="156325"/>
                      </a:lnTo>
                      <a:lnTo>
                        <a:pt x="62748" y="157413"/>
                      </a:lnTo>
                      <a:lnTo>
                        <a:pt x="60955" y="233959"/>
                      </a:lnTo>
                      <a:lnTo>
                        <a:pt x="69663" y="239049"/>
                      </a:lnTo>
                      <a:lnTo>
                        <a:pt x="92137" y="241578"/>
                      </a:lnTo>
                      <a:lnTo>
                        <a:pt x="103021" y="232166"/>
                      </a:lnTo>
                      <a:lnTo>
                        <a:pt x="116819" y="232166"/>
                      </a:lnTo>
                      <a:lnTo>
                        <a:pt x="144384" y="243403"/>
                      </a:lnTo>
                      <a:lnTo>
                        <a:pt x="152355" y="244139"/>
                      </a:lnTo>
                      <a:lnTo>
                        <a:pt x="159238" y="237224"/>
                      </a:lnTo>
                      <a:lnTo>
                        <a:pt x="159974" y="222722"/>
                      </a:lnTo>
                      <a:lnTo>
                        <a:pt x="177038" y="202777"/>
                      </a:lnTo>
                      <a:lnTo>
                        <a:pt x="189363" y="203866"/>
                      </a:lnTo>
                      <a:lnTo>
                        <a:pt x="196246" y="208924"/>
                      </a:lnTo>
                      <a:lnTo>
                        <a:pt x="203161" y="225251"/>
                      </a:lnTo>
                      <a:lnTo>
                        <a:pt x="217664" y="240874"/>
                      </a:lnTo>
                      <a:lnTo>
                        <a:pt x="215839" y="249198"/>
                      </a:lnTo>
                      <a:lnTo>
                        <a:pt x="225283" y="251023"/>
                      </a:lnTo>
                      <a:lnTo>
                        <a:pt x="233255" y="261523"/>
                      </a:lnTo>
                      <a:lnTo>
                        <a:pt x="233255" y="262259"/>
                      </a:lnTo>
                      <a:lnTo>
                        <a:pt x="237256" y="276762"/>
                      </a:lnTo>
                      <a:lnTo>
                        <a:pt x="245964" y="284765"/>
                      </a:lnTo>
                      <a:lnTo>
                        <a:pt x="259026" y="285470"/>
                      </a:lnTo>
                      <a:lnTo>
                        <a:pt x="269174" y="294914"/>
                      </a:lnTo>
                      <a:lnTo>
                        <a:pt x="269174" y="298531"/>
                      </a:lnTo>
                      <a:lnTo>
                        <a:pt x="269174" y="313770"/>
                      </a:lnTo>
                      <a:lnTo>
                        <a:pt x="260819" y="306151"/>
                      </a:lnTo>
                      <a:lnTo>
                        <a:pt x="251022" y="315595"/>
                      </a:lnTo>
                      <a:lnTo>
                        <a:pt x="247757" y="338069"/>
                      </a:lnTo>
                      <a:lnTo>
                        <a:pt x="259026" y="353307"/>
                      </a:lnTo>
                      <a:lnTo>
                        <a:pt x="291648" y="354396"/>
                      </a:lnTo>
                      <a:lnTo>
                        <a:pt x="285502" y="378343"/>
                      </a:lnTo>
                      <a:lnTo>
                        <a:pt x="270999" y="390316"/>
                      </a:lnTo>
                      <a:lnTo>
                        <a:pt x="282973" y="393229"/>
                      </a:lnTo>
                      <a:lnTo>
                        <a:pt x="284765" y="406995"/>
                      </a:lnTo>
                      <a:lnTo>
                        <a:pt x="285502" y="383433"/>
                      </a:lnTo>
                      <a:lnTo>
                        <a:pt x="298563" y="375077"/>
                      </a:lnTo>
                      <a:lnTo>
                        <a:pt x="292385" y="347513"/>
                      </a:lnTo>
                      <a:lnTo>
                        <a:pt x="307271" y="338805"/>
                      </a:lnTo>
                      <a:lnTo>
                        <a:pt x="325039" y="341334"/>
                      </a:lnTo>
                      <a:lnTo>
                        <a:pt x="331186" y="329361"/>
                      </a:lnTo>
                      <a:lnTo>
                        <a:pt x="339894" y="326832"/>
                      </a:lnTo>
                      <a:lnTo>
                        <a:pt x="345720" y="321742"/>
                      </a:lnTo>
                      <a:lnTo>
                        <a:pt x="351867" y="324303"/>
                      </a:lnTo>
                      <a:lnTo>
                        <a:pt x="381992" y="317388"/>
                      </a:lnTo>
                      <a:lnTo>
                        <a:pt x="407027" y="292385"/>
                      </a:lnTo>
                      <a:lnTo>
                        <a:pt x="433503" y="299268"/>
                      </a:lnTo>
                      <a:lnTo>
                        <a:pt x="456009" y="272792"/>
                      </a:lnTo>
                      <a:lnTo>
                        <a:pt x="462155" y="269879"/>
                      </a:lnTo>
                      <a:lnTo>
                        <a:pt x="454184" y="264084"/>
                      </a:lnTo>
                      <a:lnTo>
                        <a:pt x="439650" y="279323"/>
                      </a:lnTo>
                      <a:lnTo>
                        <a:pt x="425147" y="272792"/>
                      </a:lnTo>
                      <a:lnTo>
                        <a:pt x="400848" y="272792"/>
                      </a:lnTo>
                      <a:lnTo>
                        <a:pt x="391436" y="262259"/>
                      </a:lnTo>
                      <a:lnTo>
                        <a:pt x="382728" y="264084"/>
                      </a:lnTo>
                      <a:lnTo>
                        <a:pt x="378727" y="252815"/>
                      </a:lnTo>
                      <a:lnTo>
                        <a:pt x="375109" y="237224"/>
                      </a:lnTo>
                      <a:lnTo>
                        <a:pt x="361311" y="239049"/>
                      </a:lnTo>
                      <a:lnTo>
                        <a:pt x="356957" y="246669"/>
                      </a:lnTo>
                      <a:lnTo>
                        <a:pt x="352603" y="230341"/>
                      </a:lnTo>
                      <a:lnTo>
                        <a:pt x="343159" y="225987"/>
                      </a:lnTo>
                      <a:lnTo>
                        <a:pt x="358782" y="192629"/>
                      </a:lnTo>
                      <a:lnTo>
                        <a:pt x="358046" y="192629"/>
                      </a:lnTo>
                      <a:lnTo>
                        <a:pt x="349338" y="191892"/>
                      </a:lnTo>
                      <a:lnTo>
                        <a:pt x="348602" y="183921"/>
                      </a:lnTo>
                      <a:lnTo>
                        <a:pt x="333747" y="187539"/>
                      </a:lnTo>
                      <a:lnTo>
                        <a:pt x="344984" y="163240"/>
                      </a:lnTo>
                      <a:lnTo>
                        <a:pt x="328657" y="138557"/>
                      </a:lnTo>
                      <a:lnTo>
                        <a:pt x="313066" y="140030"/>
                      </a:lnTo>
                      <a:lnTo>
                        <a:pt x="305446" y="135676"/>
                      </a:lnTo>
                      <a:lnTo>
                        <a:pt x="307271" y="126232"/>
                      </a:lnTo>
                      <a:lnTo>
                        <a:pt x="301093" y="121878"/>
                      </a:lnTo>
                      <a:lnTo>
                        <a:pt x="272792" y="116787"/>
                      </a:lnTo>
                      <a:lnTo>
                        <a:pt x="268438" y="131674"/>
                      </a:lnTo>
                      <a:lnTo>
                        <a:pt x="256465" y="130586"/>
                      </a:lnTo>
                      <a:lnTo>
                        <a:pt x="245228" y="121878"/>
                      </a:lnTo>
                      <a:lnTo>
                        <a:pt x="225283" y="126232"/>
                      </a:lnTo>
                      <a:lnTo>
                        <a:pt x="217664" y="122966"/>
                      </a:lnTo>
                      <a:lnTo>
                        <a:pt x="215839" y="114995"/>
                      </a:lnTo>
                      <a:lnTo>
                        <a:pt x="219457" y="109904"/>
                      </a:lnTo>
                      <a:lnTo>
                        <a:pt x="215135" y="102285"/>
                      </a:lnTo>
                      <a:lnTo>
                        <a:pt x="220929" y="94666"/>
                      </a:lnTo>
                      <a:lnTo>
                        <a:pt x="219457" y="85958"/>
                      </a:lnTo>
                      <a:lnTo>
                        <a:pt x="219457" y="72896"/>
                      </a:lnTo>
                      <a:lnTo>
                        <a:pt x="222018" y="48950"/>
                      </a:lnTo>
                      <a:lnTo>
                        <a:pt x="236520" y="50774"/>
                      </a:lnTo>
                      <a:lnTo>
                        <a:pt x="240874" y="44596"/>
                      </a:lnTo>
                      <a:lnTo>
                        <a:pt x="252111" y="42066"/>
                      </a:lnTo>
                      <a:lnTo>
                        <a:pt x="254672" y="35888"/>
                      </a:lnTo>
                      <a:lnTo>
                        <a:pt x="247053" y="19593"/>
                      </a:lnTo>
                      <a:lnTo>
                        <a:pt x="233255" y="23210"/>
                      </a:lnTo>
                      <a:lnTo>
                        <a:pt x="227812" y="16327"/>
                      </a:lnTo>
                      <a:lnTo>
                        <a:pt x="220193" y="17032"/>
                      </a:lnTo>
                      <a:lnTo>
                        <a:pt x="211485" y="704"/>
                      </a:lnTo>
                      <a:lnTo>
                        <a:pt x="205691" y="4354"/>
                      </a:lnTo>
                      <a:lnTo>
                        <a:pt x="200248" y="1441"/>
                      </a:lnTo>
                      <a:lnTo>
                        <a:pt x="187539" y="10148"/>
                      </a:lnTo>
                      <a:lnTo>
                        <a:pt x="169419" y="22122"/>
                      </a:lnTo>
                      <a:lnTo>
                        <a:pt x="151267" y="22122"/>
                      </a:lnTo>
                      <a:lnTo>
                        <a:pt x="132410" y="435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7" name="Forma Livre: Forma 176">
                  <a:extLst>
                    <a:ext uri="{FF2B5EF4-FFF2-40B4-BE49-F238E27FC236}">
                      <a16:creationId xmlns:a16="http://schemas.microsoft.com/office/drawing/2014/main" id="{8770FDF3-411F-52A5-0EC3-DB566BE71963}"/>
                    </a:ext>
                  </a:extLst>
                </p:cNvPr>
                <p:cNvSpPr/>
                <p:nvPr/>
              </p:nvSpPr>
              <p:spPr>
                <a:xfrm>
                  <a:off x="2857302" y="3294638"/>
                  <a:ext cx="462155" cy="406995"/>
                </a:xfrm>
                <a:custGeom>
                  <a:avLst/>
                  <a:gdLst>
                    <a:gd name="csX0" fmla="*/ 132410 w 462155"/>
                    <a:gd name="csY0" fmla="*/ 4354 h 406995"/>
                    <a:gd name="csX1" fmla="*/ 121173 w 462155"/>
                    <a:gd name="csY1" fmla="*/ 0 h 406995"/>
                    <a:gd name="csX2" fmla="*/ 105582 w 462155"/>
                    <a:gd name="csY2" fmla="*/ 6883 h 406995"/>
                    <a:gd name="csX3" fmla="*/ 94698 w 462155"/>
                    <a:gd name="csY3" fmla="*/ 19593 h 406995"/>
                    <a:gd name="csX4" fmla="*/ 63484 w 462155"/>
                    <a:gd name="csY4" fmla="*/ 22122 h 406995"/>
                    <a:gd name="csX5" fmla="*/ 56601 w 462155"/>
                    <a:gd name="csY5" fmla="*/ 26476 h 406995"/>
                    <a:gd name="csX6" fmla="*/ 64572 w 462155"/>
                    <a:gd name="csY6" fmla="*/ 43891 h 406995"/>
                    <a:gd name="csX7" fmla="*/ 58394 w 462155"/>
                    <a:gd name="csY7" fmla="*/ 71455 h 406995"/>
                    <a:gd name="csX8" fmla="*/ 31566 w 462155"/>
                    <a:gd name="csY8" fmla="*/ 67102 h 406995"/>
                    <a:gd name="csX9" fmla="*/ 27564 w 462155"/>
                    <a:gd name="csY9" fmla="*/ 70367 h 406995"/>
                    <a:gd name="csX10" fmla="*/ 14502 w 462155"/>
                    <a:gd name="csY10" fmla="*/ 77250 h 406995"/>
                    <a:gd name="csX11" fmla="*/ 9444 w 462155"/>
                    <a:gd name="csY11" fmla="*/ 71455 h 406995"/>
                    <a:gd name="csX12" fmla="*/ 8356 w 462155"/>
                    <a:gd name="csY12" fmla="*/ 77250 h 406995"/>
                    <a:gd name="csX13" fmla="*/ 0 w 462155"/>
                    <a:gd name="csY13" fmla="*/ 128761 h 406995"/>
                    <a:gd name="csX14" fmla="*/ 17768 w 462155"/>
                    <a:gd name="csY14" fmla="*/ 128761 h 406995"/>
                    <a:gd name="csX15" fmla="*/ 62748 w 462155"/>
                    <a:gd name="csY15" fmla="*/ 129849 h 406995"/>
                    <a:gd name="csX16" fmla="*/ 62748 w 462155"/>
                    <a:gd name="csY16" fmla="*/ 156325 h 406995"/>
                    <a:gd name="csX17" fmla="*/ 62748 w 462155"/>
                    <a:gd name="csY17" fmla="*/ 157413 h 406995"/>
                    <a:gd name="csX18" fmla="*/ 60955 w 462155"/>
                    <a:gd name="csY18" fmla="*/ 233959 h 406995"/>
                    <a:gd name="csX19" fmla="*/ 69663 w 462155"/>
                    <a:gd name="csY19" fmla="*/ 239049 h 406995"/>
                    <a:gd name="csX20" fmla="*/ 92137 w 462155"/>
                    <a:gd name="csY20" fmla="*/ 241578 h 406995"/>
                    <a:gd name="csX21" fmla="*/ 103021 w 462155"/>
                    <a:gd name="csY21" fmla="*/ 232166 h 406995"/>
                    <a:gd name="csX22" fmla="*/ 116819 w 462155"/>
                    <a:gd name="csY22" fmla="*/ 232166 h 406995"/>
                    <a:gd name="csX23" fmla="*/ 144384 w 462155"/>
                    <a:gd name="csY23" fmla="*/ 243403 h 406995"/>
                    <a:gd name="csX24" fmla="*/ 152355 w 462155"/>
                    <a:gd name="csY24" fmla="*/ 244139 h 406995"/>
                    <a:gd name="csX25" fmla="*/ 159238 w 462155"/>
                    <a:gd name="csY25" fmla="*/ 237224 h 406995"/>
                    <a:gd name="csX26" fmla="*/ 159974 w 462155"/>
                    <a:gd name="csY26" fmla="*/ 222722 h 406995"/>
                    <a:gd name="csX27" fmla="*/ 177038 w 462155"/>
                    <a:gd name="csY27" fmla="*/ 202777 h 406995"/>
                    <a:gd name="csX28" fmla="*/ 189363 w 462155"/>
                    <a:gd name="csY28" fmla="*/ 203866 h 406995"/>
                    <a:gd name="csX29" fmla="*/ 196246 w 462155"/>
                    <a:gd name="csY29" fmla="*/ 208924 h 406995"/>
                    <a:gd name="csX30" fmla="*/ 203161 w 462155"/>
                    <a:gd name="csY30" fmla="*/ 225251 h 406995"/>
                    <a:gd name="csX31" fmla="*/ 217664 w 462155"/>
                    <a:gd name="csY31" fmla="*/ 240874 h 406995"/>
                    <a:gd name="csX32" fmla="*/ 215839 w 462155"/>
                    <a:gd name="csY32" fmla="*/ 249198 h 406995"/>
                    <a:gd name="csX33" fmla="*/ 225283 w 462155"/>
                    <a:gd name="csY33" fmla="*/ 251023 h 406995"/>
                    <a:gd name="csX34" fmla="*/ 233255 w 462155"/>
                    <a:gd name="csY34" fmla="*/ 261523 h 406995"/>
                    <a:gd name="csX35" fmla="*/ 233255 w 462155"/>
                    <a:gd name="csY35" fmla="*/ 262259 h 406995"/>
                    <a:gd name="csX36" fmla="*/ 237256 w 462155"/>
                    <a:gd name="csY36" fmla="*/ 276762 h 406995"/>
                    <a:gd name="csX37" fmla="*/ 245964 w 462155"/>
                    <a:gd name="csY37" fmla="*/ 284765 h 406995"/>
                    <a:gd name="csX38" fmla="*/ 259026 w 462155"/>
                    <a:gd name="csY38" fmla="*/ 285470 h 406995"/>
                    <a:gd name="csX39" fmla="*/ 269174 w 462155"/>
                    <a:gd name="csY39" fmla="*/ 294914 h 406995"/>
                    <a:gd name="csX40" fmla="*/ 269174 w 462155"/>
                    <a:gd name="csY40" fmla="*/ 298531 h 406995"/>
                    <a:gd name="csX41" fmla="*/ 269174 w 462155"/>
                    <a:gd name="csY41" fmla="*/ 313770 h 406995"/>
                    <a:gd name="csX42" fmla="*/ 260819 w 462155"/>
                    <a:gd name="csY42" fmla="*/ 306151 h 406995"/>
                    <a:gd name="csX43" fmla="*/ 251022 w 462155"/>
                    <a:gd name="csY43" fmla="*/ 315595 h 406995"/>
                    <a:gd name="csX44" fmla="*/ 247757 w 462155"/>
                    <a:gd name="csY44" fmla="*/ 338069 h 406995"/>
                    <a:gd name="csX45" fmla="*/ 259026 w 462155"/>
                    <a:gd name="csY45" fmla="*/ 353307 h 406995"/>
                    <a:gd name="csX46" fmla="*/ 291648 w 462155"/>
                    <a:gd name="csY46" fmla="*/ 354396 h 406995"/>
                    <a:gd name="csX47" fmla="*/ 285502 w 462155"/>
                    <a:gd name="csY47" fmla="*/ 378343 h 406995"/>
                    <a:gd name="csX48" fmla="*/ 270999 w 462155"/>
                    <a:gd name="csY48" fmla="*/ 390316 h 406995"/>
                    <a:gd name="csX49" fmla="*/ 282973 w 462155"/>
                    <a:gd name="csY49" fmla="*/ 393229 h 406995"/>
                    <a:gd name="csX50" fmla="*/ 284765 w 462155"/>
                    <a:gd name="csY50" fmla="*/ 406995 h 406995"/>
                    <a:gd name="csX51" fmla="*/ 285502 w 462155"/>
                    <a:gd name="csY51" fmla="*/ 383433 h 406995"/>
                    <a:gd name="csX52" fmla="*/ 298563 w 462155"/>
                    <a:gd name="csY52" fmla="*/ 375077 h 406995"/>
                    <a:gd name="csX53" fmla="*/ 292385 w 462155"/>
                    <a:gd name="csY53" fmla="*/ 347513 h 406995"/>
                    <a:gd name="csX54" fmla="*/ 307271 w 462155"/>
                    <a:gd name="csY54" fmla="*/ 338805 h 406995"/>
                    <a:gd name="csX55" fmla="*/ 325039 w 462155"/>
                    <a:gd name="csY55" fmla="*/ 341334 h 406995"/>
                    <a:gd name="csX56" fmla="*/ 331186 w 462155"/>
                    <a:gd name="csY56" fmla="*/ 329361 h 406995"/>
                    <a:gd name="csX57" fmla="*/ 339894 w 462155"/>
                    <a:gd name="csY57" fmla="*/ 326832 h 406995"/>
                    <a:gd name="csX58" fmla="*/ 345720 w 462155"/>
                    <a:gd name="csY58" fmla="*/ 321742 h 406995"/>
                    <a:gd name="csX59" fmla="*/ 351867 w 462155"/>
                    <a:gd name="csY59" fmla="*/ 324303 h 406995"/>
                    <a:gd name="csX60" fmla="*/ 381992 w 462155"/>
                    <a:gd name="csY60" fmla="*/ 317388 h 406995"/>
                    <a:gd name="csX61" fmla="*/ 407027 w 462155"/>
                    <a:gd name="csY61" fmla="*/ 292385 h 406995"/>
                    <a:gd name="csX62" fmla="*/ 433503 w 462155"/>
                    <a:gd name="csY62" fmla="*/ 299268 h 406995"/>
                    <a:gd name="csX63" fmla="*/ 456009 w 462155"/>
                    <a:gd name="csY63" fmla="*/ 272792 h 406995"/>
                    <a:gd name="csX64" fmla="*/ 462155 w 462155"/>
                    <a:gd name="csY64" fmla="*/ 269879 h 406995"/>
                    <a:gd name="csX65" fmla="*/ 454184 w 462155"/>
                    <a:gd name="csY65" fmla="*/ 264084 h 406995"/>
                    <a:gd name="csX66" fmla="*/ 439650 w 462155"/>
                    <a:gd name="csY66" fmla="*/ 279323 h 406995"/>
                    <a:gd name="csX67" fmla="*/ 425147 w 462155"/>
                    <a:gd name="csY67" fmla="*/ 272792 h 406995"/>
                    <a:gd name="csX68" fmla="*/ 400848 w 462155"/>
                    <a:gd name="csY68" fmla="*/ 272792 h 406995"/>
                    <a:gd name="csX69" fmla="*/ 391436 w 462155"/>
                    <a:gd name="csY69" fmla="*/ 262259 h 406995"/>
                    <a:gd name="csX70" fmla="*/ 382728 w 462155"/>
                    <a:gd name="csY70" fmla="*/ 264084 h 406995"/>
                    <a:gd name="csX71" fmla="*/ 378727 w 462155"/>
                    <a:gd name="csY71" fmla="*/ 252815 h 406995"/>
                    <a:gd name="csX72" fmla="*/ 375109 w 462155"/>
                    <a:gd name="csY72" fmla="*/ 237224 h 406995"/>
                    <a:gd name="csX73" fmla="*/ 361311 w 462155"/>
                    <a:gd name="csY73" fmla="*/ 239049 h 406995"/>
                    <a:gd name="csX74" fmla="*/ 356957 w 462155"/>
                    <a:gd name="csY74" fmla="*/ 246669 h 406995"/>
                    <a:gd name="csX75" fmla="*/ 352603 w 462155"/>
                    <a:gd name="csY75" fmla="*/ 230341 h 406995"/>
                    <a:gd name="csX76" fmla="*/ 343159 w 462155"/>
                    <a:gd name="csY76" fmla="*/ 225987 h 406995"/>
                    <a:gd name="csX77" fmla="*/ 358782 w 462155"/>
                    <a:gd name="csY77" fmla="*/ 192629 h 406995"/>
                    <a:gd name="csX78" fmla="*/ 358046 w 462155"/>
                    <a:gd name="csY78" fmla="*/ 192629 h 406995"/>
                    <a:gd name="csX79" fmla="*/ 349338 w 462155"/>
                    <a:gd name="csY79" fmla="*/ 191892 h 406995"/>
                    <a:gd name="csX80" fmla="*/ 348602 w 462155"/>
                    <a:gd name="csY80" fmla="*/ 183921 h 406995"/>
                    <a:gd name="csX81" fmla="*/ 333747 w 462155"/>
                    <a:gd name="csY81" fmla="*/ 187539 h 406995"/>
                    <a:gd name="csX82" fmla="*/ 344984 w 462155"/>
                    <a:gd name="csY82" fmla="*/ 163240 h 406995"/>
                    <a:gd name="csX83" fmla="*/ 328657 w 462155"/>
                    <a:gd name="csY83" fmla="*/ 138557 h 406995"/>
                    <a:gd name="csX84" fmla="*/ 313066 w 462155"/>
                    <a:gd name="csY84" fmla="*/ 140030 h 406995"/>
                    <a:gd name="csX85" fmla="*/ 305446 w 462155"/>
                    <a:gd name="csY85" fmla="*/ 135676 h 406995"/>
                    <a:gd name="csX86" fmla="*/ 307271 w 462155"/>
                    <a:gd name="csY86" fmla="*/ 126232 h 406995"/>
                    <a:gd name="csX87" fmla="*/ 301093 w 462155"/>
                    <a:gd name="csY87" fmla="*/ 121878 h 406995"/>
                    <a:gd name="csX88" fmla="*/ 272792 w 462155"/>
                    <a:gd name="csY88" fmla="*/ 116787 h 406995"/>
                    <a:gd name="csX89" fmla="*/ 268438 w 462155"/>
                    <a:gd name="csY89" fmla="*/ 131674 h 406995"/>
                    <a:gd name="csX90" fmla="*/ 256465 w 462155"/>
                    <a:gd name="csY90" fmla="*/ 130586 h 406995"/>
                    <a:gd name="csX91" fmla="*/ 245228 w 462155"/>
                    <a:gd name="csY91" fmla="*/ 121878 h 406995"/>
                    <a:gd name="csX92" fmla="*/ 225283 w 462155"/>
                    <a:gd name="csY92" fmla="*/ 126232 h 406995"/>
                    <a:gd name="csX93" fmla="*/ 217664 w 462155"/>
                    <a:gd name="csY93" fmla="*/ 122966 h 406995"/>
                    <a:gd name="csX94" fmla="*/ 215839 w 462155"/>
                    <a:gd name="csY94" fmla="*/ 114995 h 406995"/>
                    <a:gd name="csX95" fmla="*/ 219457 w 462155"/>
                    <a:gd name="csY95" fmla="*/ 109904 h 406995"/>
                    <a:gd name="csX96" fmla="*/ 215135 w 462155"/>
                    <a:gd name="csY96" fmla="*/ 102285 h 406995"/>
                    <a:gd name="csX97" fmla="*/ 220929 w 462155"/>
                    <a:gd name="csY97" fmla="*/ 94666 h 406995"/>
                    <a:gd name="csX98" fmla="*/ 219457 w 462155"/>
                    <a:gd name="csY98" fmla="*/ 85958 h 406995"/>
                    <a:gd name="csX99" fmla="*/ 219457 w 462155"/>
                    <a:gd name="csY99" fmla="*/ 72896 h 406995"/>
                    <a:gd name="csX100" fmla="*/ 222018 w 462155"/>
                    <a:gd name="csY100" fmla="*/ 48950 h 406995"/>
                    <a:gd name="csX101" fmla="*/ 236520 w 462155"/>
                    <a:gd name="csY101" fmla="*/ 50774 h 406995"/>
                    <a:gd name="csX102" fmla="*/ 240874 w 462155"/>
                    <a:gd name="csY102" fmla="*/ 44596 h 406995"/>
                    <a:gd name="csX103" fmla="*/ 252111 w 462155"/>
                    <a:gd name="csY103" fmla="*/ 42066 h 406995"/>
                    <a:gd name="csX104" fmla="*/ 254672 w 462155"/>
                    <a:gd name="csY104" fmla="*/ 35888 h 406995"/>
                    <a:gd name="csX105" fmla="*/ 247053 w 462155"/>
                    <a:gd name="csY105" fmla="*/ 19593 h 406995"/>
                    <a:gd name="csX106" fmla="*/ 233255 w 462155"/>
                    <a:gd name="csY106" fmla="*/ 23210 h 406995"/>
                    <a:gd name="csX107" fmla="*/ 227812 w 462155"/>
                    <a:gd name="csY107" fmla="*/ 16327 h 406995"/>
                    <a:gd name="csX108" fmla="*/ 220193 w 462155"/>
                    <a:gd name="csY108" fmla="*/ 17032 h 406995"/>
                    <a:gd name="csX109" fmla="*/ 211485 w 462155"/>
                    <a:gd name="csY109" fmla="*/ 704 h 406995"/>
                    <a:gd name="csX110" fmla="*/ 205691 w 462155"/>
                    <a:gd name="csY110" fmla="*/ 4354 h 406995"/>
                    <a:gd name="csX111" fmla="*/ 200248 w 462155"/>
                    <a:gd name="csY111" fmla="*/ 1441 h 406995"/>
                    <a:gd name="csX112" fmla="*/ 187539 w 462155"/>
                    <a:gd name="csY112" fmla="*/ 10148 h 406995"/>
                    <a:gd name="csX113" fmla="*/ 169419 w 462155"/>
                    <a:gd name="csY113" fmla="*/ 22122 h 406995"/>
                    <a:gd name="csX114" fmla="*/ 151267 w 462155"/>
                    <a:gd name="csY114" fmla="*/ 22122 h 406995"/>
                    <a:gd name="csX115" fmla="*/ 132410 w 462155"/>
                    <a:gd name="csY115" fmla="*/ 4354 h 4069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462155" h="406995">
                      <a:moveTo>
                        <a:pt x="132410" y="4354"/>
                      </a:moveTo>
                      <a:lnTo>
                        <a:pt x="121173" y="0"/>
                      </a:lnTo>
                      <a:lnTo>
                        <a:pt x="105582" y="6883"/>
                      </a:lnTo>
                      <a:lnTo>
                        <a:pt x="94698" y="19593"/>
                      </a:lnTo>
                      <a:lnTo>
                        <a:pt x="63484" y="22122"/>
                      </a:lnTo>
                      <a:lnTo>
                        <a:pt x="56601" y="26476"/>
                      </a:lnTo>
                      <a:lnTo>
                        <a:pt x="64572" y="43891"/>
                      </a:lnTo>
                      <a:lnTo>
                        <a:pt x="58394" y="71455"/>
                      </a:lnTo>
                      <a:lnTo>
                        <a:pt x="31566" y="67102"/>
                      </a:lnTo>
                      <a:lnTo>
                        <a:pt x="27564" y="70367"/>
                      </a:lnTo>
                      <a:lnTo>
                        <a:pt x="14502" y="77250"/>
                      </a:lnTo>
                      <a:lnTo>
                        <a:pt x="9444" y="71455"/>
                      </a:lnTo>
                      <a:lnTo>
                        <a:pt x="8356" y="77250"/>
                      </a:lnTo>
                      <a:lnTo>
                        <a:pt x="0" y="128761"/>
                      </a:lnTo>
                      <a:lnTo>
                        <a:pt x="17768" y="128761"/>
                      </a:lnTo>
                      <a:lnTo>
                        <a:pt x="62748" y="129849"/>
                      </a:lnTo>
                      <a:lnTo>
                        <a:pt x="62748" y="156325"/>
                      </a:lnTo>
                      <a:lnTo>
                        <a:pt x="62748" y="157413"/>
                      </a:lnTo>
                      <a:lnTo>
                        <a:pt x="60955" y="233959"/>
                      </a:lnTo>
                      <a:lnTo>
                        <a:pt x="69663" y="239049"/>
                      </a:lnTo>
                      <a:lnTo>
                        <a:pt x="92137" y="241578"/>
                      </a:lnTo>
                      <a:lnTo>
                        <a:pt x="103021" y="232166"/>
                      </a:lnTo>
                      <a:lnTo>
                        <a:pt x="116819" y="232166"/>
                      </a:lnTo>
                      <a:lnTo>
                        <a:pt x="144384" y="243403"/>
                      </a:lnTo>
                      <a:lnTo>
                        <a:pt x="152355" y="244139"/>
                      </a:lnTo>
                      <a:lnTo>
                        <a:pt x="159238" y="237224"/>
                      </a:lnTo>
                      <a:lnTo>
                        <a:pt x="159974" y="222722"/>
                      </a:lnTo>
                      <a:lnTo>
                        <a:pt x="177038" y="202777"/>
                      </a:lnTo>
                      <a:lnTo>
                        <a:pt x="189363" y="203866"/>
                      </a:lnTo>
                      <a:lnTo>
                        <a:pt x="196246" y="208924"/>
                      </a:lnTo>
                      <a:lnTo>
                        <a:pt x="203161" y="225251"/>
                      </a:lnTo>
                      <a:lnTo>
                        <a:pt x="217664" y="240874"/>
                      </a:lnTo>
                      <a:lnTo>
                        <a:pt x="215839" y="249198"/>
                      </a:lnTo>
                      <a:lnTo>
                        <a:pt x="225283" y="251023"/>
                      </a:lnTo>
                      <a:lnTo>
                        <a:pt x="233255" y="261523"/>
                      </a:lnTo>
                      <a:lnTo>
                        <a:pt x="233255" y="262259"/>
                      </a:lnTo>
                      <a:lnTo>
                        <a:pt x="237256" y="276762"/>
                      </a:lnTo>
                      <a:lnTo>
                        <a:pt x="245964" y="284765"/>
                      </a:lnTo>
                      <a:lnTo>
                        <a:pt x="259026" y="285470"/>
                      </a:lnTo>
                      <a:lnTo>
                        <a:pt x="269174" y="294914"/>
                      </a:lnTo>
                      <a:lnTo>
                        <a:pt x="269174" y="298531"/>
                      </a:lnTo>
                      <a:lnTo>
                        <a:pt x="269174" y="313770"/>
                      </a:lnTo>
                      <a:lnTo>
                        <a:pt x="260819" y="306151"/>
                      </a:lnTo>
                      <a:lnTo>
                        <a:pt x="251022" y="315595"/>
                      </a:lnTo>
                      <a:lnTo>
                        <a:pt x="247757" y="338069"/>
                      </a:lnTo>
                      <a:lnTo>
                        <a:pt x="259026" y="353307"/>
                      </a:lnTo>
                      <a:lnTo>
                        <a:pt x="291648" y="354396"/>
                      </a:lnTo>
                      <a:lnTo>
                        <a:pt x="285502" y="378343"/>
                      </a:lnTo>
                      <a:lnTo>
                        <a:pt x="270999" y="390316"/>
                      </a:lnTo>
                      <a:lnTo>
                        <a:pt x="282973" y="393229"/>
                      </a:lnTo>
                      <a:lnTo>
                        <a:pt x="284765" y="406995"/>
                      </a:lnTo>
                      <a:lnTo>
                        <a:pt x="285502" y="383433"/>
                      </a:lnTo>
                      <a:lnTo>
                        <a:pt x="298563" y="375077"/>
                      </a:lnTo>
                      <a:lnTo>
                        <a:pt x="292385" y="347513"/>
                      </a:lnTo>
                      <a:lnTo>
                        <a:pt x="307271" y="338805"/>
                      </a:lnTo>
                      <a:lnTo>
                        <a:pt x="325039" y="341334"/>
                      </a:lnTo>
                      <a:lnTo>
                        <a:pt x="331186" y="329361"/>
                      </a:lnTo>
                      <a:lnTo>
                        <a:pt x="339894" y="326832"/>
                      </a:lnTo>
                      <a:lnTo>
                        <a:pt x="345720" y="321742"/>
                      </a:lnTo>
                      <a:lnTo>
                        <a:pt x="351867" y="324303"/>
                      </a:lnTo>
                      <a:lnTo>
                        <a:pt x="381992" y="317388"/>
                      </a:lnTo>
                      <a:lnTo>
                        <a:pt x="407027" y="292385"/>
                      </a:lnTo>
                      <a:lnTo>
                        <a:pt x="433503" y="299268"/>
                      </a:lnTo>
                      <a:lnTo>
                        <a:pt x="456009" y="272792"/>
                      </a:lnTo>
                      <a:lnTo>
                        <a:pt x="462155" y="269879"/>
                      </a:lnTo>
                      <a:lnTo>
                        <a:pt x="454184" y="264084"/>
                      </a:lnTo>
                      <a:lnTo>
                        <a:pt x="439650" y="279323"/>
                      </a:lnTo>
                      <a:lnTo>
                        <a:pt x="425147" y="272792"/>
                      </a:lnTo>
                      <a:lnTo>
                        <a:pt x="400848" y="272792"/>
                      </a:lnTo>
                      <a:lnTo>
                        <a:pt x="391436" y="262259"/>
                      </a:lnTo>
                      <a:lnTo>
                        <a:pt x="382728" y="264084"/>
                      </a:lnTo>
                      <a:lnTo>
                        <a:pt x="378727" y="252815"/>
                      </a:lnTo>
                      <a:lnTo>
                        <a:pt x="375109" y="237224"/>
                      </a:lnTo>
                      <a:lnTo>
                        <a:pt x="361311" y="239049"/>
                      </a:lnTo>
                      <a:lnTo>
                        <a:pt x="356957" y="246669"/>
                      </a:lnTo>
                      <a:lnTo>
                        <a:pt x="352603" y="230341"/>
                      </a:lnTo>
                      <a:lnTo>
                        <a:pt x="343159" y="225987"/>
                      </a:lnTo>
                      <a:lnTo>
                        <a:pt x="358782" y="192629"/>
                      </a:lnTo>
                      <a:lnTo>
                        <a:pt x="358046" y="192629"/>
                      </a:lnTo>
                      <a:lnTo>
                        <a:pt x="349338" y="191892"/>
                      </a:lnTo>
                      <a:lnTo>
                        <a:pt x="348602" y="183921"/>
                      </a:lnTo>
                      <a:lnTo>
                        <a:pt x="333747" y="187539"/>
                      </a:lnTo>
                      <a:lnTo>
                        <a:pt x="344984" y="163240"/>
                      </a:lnTo>
                      <a:lnTo>
                        <a:pt x="328657" y="138557"/>
                      </a:lnTo>
                      <a:lnTo>
                        <a:pt x="313066" y="140030"/>
                      </a:lnTo>
                      <a:lnTo>
                        <a:pt x="305446" y="135676"/>
                      </a:lnTo>
                      <a:lnTo>
                        <a:pt x="307271" y="126232"/>
                      </a:lnTo>
                      <a:lnTo>
                        <a:pt x="301093" y="121878"/>
                      </a:lnTo>
                      <a:lnTo>
                        <a:pt x="272792" y="116787"/>
                      </a:lnTo>
                      <a:lnTo>
                        <a:pt x="268438" y="131674"/>
                      </a:lnTo>
                      <a:lnTo>
                        <a:pt x="256465" y="130586"/>
                      </a:lnTo>
                      <a:lnTo>
                        <a:pt x="245228" y="121878"/>
                      </a:lnTo>
                      <a:lnTo>
                        <a:pt x="225283" y="126232"/>
                      </a:lnTo>
                      <a:lnTo>
                        <a:pt x="217664" y="122966"/>
                      </a:lnTo>
                      <a:lnTo>
                        <a:pt x="215839" y="114995"/>
                      </a:lnTo>
                      <a:lnTo>
                        <a:pt x="219457" y="109904"/>
                      </a:lnTo>
                      <a:lnTo>
                        <a:pt x="215135" y="102285"/>
                      </a:lnTo>
                      <a:lnTo>
                        <a:pt x="220929" y="94666"/>
                      </a:lnTo>
                      <a:lnTo>
                        <a:pt x="219457" y="85958"/>
                      </a:lnTo>
                      <a:lnTo>
                        <a:pt x="219457" y="72896"/>
                      </a:lnTo>
                      <a:lnTo>
                        <a:pt x="222018" y="48950"/>
                      </a:lnTo>
                      <a:lnTo>
                        <a:pt x="236520" y="50774"/>
                      </a:lnTo>
                      <a:lnTo>
                        <a:pt x="240874" y="44596"/>
                      </a:lnTo>
                      <a:lnTo>
                        <a:pt x="252111" y="42066"/>
                      </a:lnTo>
                      <a:lnTo>
                        <a:pt x="254672" y="35888"/>
                      </a:lnTo>
                      <a:lnTo>
                        <a:pt x="247053" y="19593"/>
                      </a:lnTo>
                      <a:lnTo>
                        <a:pt x="233255" y="23210"/>
                      </a:lnTo>
                      <a:lnTo>
                        <a:pt x="227812" y="16327"/>
                      </a:lnTo>
                      <a:lnTo>
                        <a:pt x="220193" y="17032"/>
                      </a:lnTo>
                      <a:lnTo>
                        <a:pt x="211485" y="704"/>
                      </a:lnTo>
                      <a:lnTo>
                        <a:pt x="205691" y="4354"/>
                      </a:lnTo>
                      <a:lnTo>
                        <a:pt x="200248" y="1441"/>
                      </a:lnTo>
                      <a:lnTo>
                        <a:pt x="187539" y="10148"/>
                      </a:lnTo>
                      <a:lnTo>
                        <a:pt x="169419" y="22122"/>
                      </a:lnTo>
                      <a:lnTo>
                        <a:pt x="151267" y="22122"/>
                      </a:lnTo>
                      <a:lnTo>
                        <a:pt x="132410" y="435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8" name="Forma Livre: Forma 177">
                  <a:extLst>
                    <a:ext uri="{FF2B5EF4-FFF2-40B4-BE49-F238E27FC236}">
                      <a16:creationId xmlns:a16="http://schemas.microsoft.com/office/drawing/2014/main" id="{BC6CE341-706B-FECA-D75C-7B398137F787}"/>
                    </a:ext>
                  </a:extLst>
                </p:cNvPr>
                <p:cNvSpPr/>
                <p:nvPr/>
              </p:nvSpPr>
              <p:spPr>
                <a:xfrm>
                  <a:off x="2857302" y="3294638"/>
                  <a:ext cx="462155" cy="406995"/>
                </a:xfrm>
                <a:custGeom>
                  <a:avLst/>
                  <a:gdLst>
                    <a:gd name="csX0" fmla="*/ 132410 w 462155"/>
                    <a:gd name="csY0" fmla="*/ 4354 h 406995"/>
                    <a:gd name="csX1" fmla="*/ 121173 w 462155"/>
                    <a:gd name="csY1" fmla="*/ 0 h 406995"/>
                    <a:gd name="csX2" fmla="*/ 105582 w 462155"/>
                    <a:gd name="csY2" fmla="*/ 6883 h 406995"/>
                    <a:gd name="csX3" fmla="*/ 94698 w 462155"/>
                    <a:gd name="csY3" fmla="*/ 19593 h 406995"/>
                    <a:gd name="csX4" fmla="*/ 63484 w 462155"/>
                    <a:gd name="csY4" fmla="*/ 22122 h 406995"/>
                    <a:gd name="csX5" fmla="*/ 56601 w 462155"/>
                    <a:gd name="csY5" fmla="*/ 26476 h 406995"/>
                    <a:gd name="csX6" fmla="*/ 64572 w 462155"/>
                    <a:gd name="csY6" fmla="*/ 43891 h 406995"/>
                    <a:gd name="csX7" fmla="*/ 58394 w 462155"/>
                    <a:gd name="csY7" fmla="*/ 71455 h 406995"/>
                    <a:gd name="csX8" fmla="*/ 31566 w 462155"/>
                    <a:gd name="csY8" fmla="*/ 67102 h 406995"/>
                    <a:gd name="csX9" fmla="*/ 27564 w 462155"/>
                    <a:gd name="csY9" fmla="*/ 70367 h 406995"/>
                    <a:gd name="csX10" fmla="*/ 14502 w 462155"/>
                    <a:gd name="csY10" fmla="*/ 77250 h 406995"/>
                    <a:gd name="csX11" fmla="*/ 9444 w 462155"/>
                    <a:gd name="csY11" fmla="*/ 71455 h 406995"/>
                    <a:gd name="csX12" fmla="*/ 8356 w 462155"/>
                    <a:gd name="csY12" fmla="*/ 77250 h 406995"/>
                    <a:gd name="csX13" fmla="*/ 0 w 462155"/>
                    <a:gd name="csY13" fmla="*/ 128761 h 406995"/>
                    <a:gd name="csX14" fmla="*/ 17768 w 462155"/>
                    <a:gd name="csY14" fmla="*/ 128761 h 406995"/>
                    <a:gd name="csX15" fmla="*/ 62748 w 462155"/>
                    <a:gd name="csY15" fmla="*/ 129849 h 406995"/>
                    <a:gd name="csX16" fmla="*/ 62748 w 462155"/>
                    <a:gd name="csY16" fmla="*/ 156325 h 406995"/>
                    <a:gd name="csX17" fmla="*/ 62748 w 462155"/>
                    <a:gd name="csY17" fmla="*/ 157413 h 406995"/>
                    <a:gd name="csX18" fmla="*/ 60955 w 462155"/>
                    <a:gd name="csY18" fmla="*/ 233959 h 406995"/>
                    <a:gd name="csX19" fmla="*/ 69663 w 462155"/>
                    <a:gd name="csY19" fmla="*/ 239049 h 406995"/>
                    <a:gd name="csX20" fmla="*/ 92137 w 462155"/>
                    <a:gd name="csY20" fmla="*/ 241578 h 406995"/>
                    <a:gd name="csX21" fmla="*/ 103021 w 462155"/>
                    <a:gd name="csY21" fmla="*/ 232166 h 406995"/>
                    <a:gd name="csX22" fmla="*/ 116819 w 462155"/>
                    <a:gd name="csY22" fmla="*/ 232166 h 406995"/>
                    <a:gd name="csX23" fmla="*/ 144384 w 462155"/>
                    <a:gd name="csY23" fmla="*/ 243403 h 406995"/>
                    <a:gd name="csX24" fmla="*/ 152355 w 462155"/>
                    <a:gd name="csY24" fmla="*/ 244139 h 406995"/>
                    <a:gd name="csX25" fmla="*/ 159238 w 462155"/>
                    <a:gd name="csY25" fmla="*/ 237224 h 406995"/>
                    <a:gd name="csX26" fmla="*/ 159974 w 462155"/>
                    <a:gd name="csY26" fmla="*/ 222722 h 406995"/>
                    <a:gd name="csX27" fmla="*/ 177038 w 462155"/>
                    <a:gd name="csY27" fmla="*/ 202777 h 406995"/>
                    <a:gd name="csX28" fmla="*/ 189363 w 462155"/>
                    <a:gd name="csY28" fmla="*/ 203866 h 406995"/>
                    <a:gd name="csX29" fmla="*/ 196246 w 462155"/>
                    <a:gd name="csY29" fmla="*/ 208924 h 406995"/>
                    <a:gd name="csX30" fmla="*/ 203161 w 462155"/>
                    <a:gd name="csY30" fmla="*/ 225251 h 406995"/>
                    <a:gd name="csX31" fmla="*/ 217664 w 462155"/>
                    <a:gd name="csY31" fmla="*/ 240874 h 406995"/>
                    <a:gd name="csX32" fmla="*/ 215839 w 462155"/>
                    <a:gd name="csY32" fmla="*/ 249198 h 406995"/>
                    <a:gd name="csX33" fmla="*/ 225283 w 462155"/>
                    <a:gd name="csY33" fmla="*/ 251023 h 406995"/>
                    <a:gd name="csX34" fmla="*/ 233255 w 462155"/>
                    <a:gd name="csY34" fmla="*/ 261523 h 406995"/>
                    <a:gd name="csX35" fmla="*/ 233255 w 462155"/>
                    <a:gd name="csY35" fmla="*/ 262259 h 406995"/>
                    <a:gd name="csX36" fmla="*/ 237256 w 462155"/>
                    <a:gd name="csY36" fmla="*/ 276762 h 406995"/>
                    <a:gd name="csX37" fmla="*/ 245964 w 462155"/>
                    <a:gd name="csY37" fmla="*/ 284765 h 406995"/>
                    <a:gd name="csX38" fmla="*/ 259026 w 462155"/>
                    <a:gd name="csY38" fmla="*/ 285470 h 406995"/>
                    <a:gd name="csX39" fmla="*/ 269174 w 462155"/>
                    <a:gd name="csY39" fmla="*/ 294914 h 406995"/>
                    <a:gd name="csX40" fmla="*/ 269174 w 462155"/>
                    <a:gd name="csY40" fmla="*/ 298531 h 406995"/>
                    <a:gd name="csX41" fmla="*/ 269174 w 462155"/>
                    <a:gd name="csY41" fmla="*/ 313770 h 406995"/>
                    <a:gd name="csX42" fmla="*/ 260819 w 462155"/>
                    <a:gd name="csY42" fmla="*/ 306151 h 406995"/>
                    <a:gd name="csX43" fmla="*/ 251022 w 462155"/>
                    <a:gd name="csY43" fmla="*/ 315595 h 406995"/>
                    <a:gd name="csX44" fmla="*/ 247757 w 462155"/>
                    <a:gd name="csY44" fmla="*/ 338069 h 406995"/>
                    <a:gd name="csX45" fmla="*/ 259026 w 462155"/>
                    <a:gd name="csY45" fmla="*/ 353307 h 406995"/>
                    <a:gd name="csX46" fmla="*/ 291648 w 462155"/>
                    <a:gd name="csY46" fmla="*/ 354396 h 406995"/>
                    <a:gd name="csX47" fmla="*/ 285502 w 462155"/>
                    <a:gd name="csY47" fmla="*/ 378343 h 406995"/>
                    <a:gd name="csX48" fmla="*/ 270999 w 462155"/>
                    <a:gd name="csY48" fmla="*/ 390316 h 406995"/>
                    <a:gd name="csX49" fmla="*/ 282973 w 462155"/>
                    <a:gd name="csY49" fmla="*/ 393229 h 406995"/>
                    <a:gd name="csX50" fmla="*/ 284765 w 462155"/>
                    <a:gd name="csY50" fmla="*/ 406995 h 406995"/>
                    <a:gd name="csX51" fmla="*/ 285502 w 462155"/>
                    <a:gd name="csY51" fmla="*/ 383433 h 406995"/>
                    <a:gd name="csX52" fmla="*/ 298563 w 462155"/>
                    <a:gd name="csY52" fmla="*/ 375077 h 406995"/>
                    <a:gd name="csX53" fmla="*/ 292385 w 462155"/>
                    <a:gd name="csY53" fmla="*/ 347513 h 406995"/>
                    <a:gd name="csX54" fmla="*/ 307271 w 462155"/>
                    <a:gd name="csY54" fmla="*/ 338805 h 406995"/>
                    <a:gd name="csX55" fmla="*/ 325039 w 462155"/>
                    <a:gd name="csY55" fmla="*/ 341334 h 406995"/>
                    <a:gd name="csX56" fmla="*/ 331186 w 462155"/>
                    <a:gd name="csY56" fmla="*/ 329361 h 406995"/>
                    <a:gd name="csX57" fmla="*/ 339894 w 462155"/>
                    <a:gd name="csY57" fmla="*/ 326832 h 406995"/>
                    <a:gd name="csX58" fmla="*/ 345720 w 462155"/>
                    <a:gd name="csY58" fmla="*/ 321742 h 406995"/>
                    <a:gd name="csX59" fmla="*/ 351867 w 462155"/>
                    <a:gd name="csY59" fmla="*/ 324303 h 406995"/>
                    <a:gd name="csX60" fmla="*/ 381992 w 462155"/>
                    <a:gd name="csY60" fmla="*/ 317388 h 406995"/>
                    <a:gd name="csX61" fmla="*/ 407027 w 462155"/>
                    <a:gd name="csY61" fmla="*/ 292385 h 406995"/>
                    <a:gd name="csX62" fmla="*/ 433503 w 462155"/>
                    <a:gd name="csY62" fmla="*/ 299268 h 406995"/>
                    <a:gd name="csX63" fmla="*/ 456009 w 462155"/>
                    <a:gd name="csY63" fmla="*/ 272792 h 406995"/>
                    <a:gd name="csX64" fmla="*/ 462155 w 462155"/>
                    <a:gd name="csY64" fmla="*/ 269879 h 406995"/>
                    <a:gd name="csX65" fmla="*/ 454184 w 462155"/>
                    <a:gd name="csY65" fmla="*/ 264084 h 406995"/>
                    <a:gd name="csX66" fmla="*/ 439650 w 462155"/>
                    <a:gd name="csY66" fmla="*/ 279323 h 406995"/>
                    <a:gd name="csX67" fmla="*/ 425147 w 462155"/>
                    <a:gd name="csY67" fmla="*/ 272792 h 406995"/>
                    <a:gd name="csX68" fmla="*/ 400848 w 462155"/>
                    <a:gd name="csY68" fmla="*/ 272792 h 406995"/>
                    <a:gd name="csX69" fmla="*/ 391436 w 462155"/>
                    <a:gd name="csY69" fmla="*/ 262259 h 406995"/>
                    <a:gd name="csX70" fmla="*/ 382728 w 462155"/>
                    <a:gd name="csY70" fmla="*/ 264084 h 406995"/>
                    <a:gd name="csX71" fmla="*/ 378727 w 462155"/>
                    <a:gd name="csY71" fmla="*/ 252815 h 406995"/>
                    <a:gd name="csX72" fmla="*/ 375109 w 462155"/>
                    <a:gd name="csY72" fmla="*/ 237224 h 406995"/>
                    <a:gd name="csX73" fmla="*/ 361311 w 462155"/>
                    <a:gd name="csY73" fmla="*/ 239049 h 406995"/>
                    <a:gd name="csX74" fmla="*/ 356957 w 462155"/>
                    <a:gd name="csY74" fmla="*/ 246669 h 406995"/>
                    <a:gd name="csX75" fmla="*/ 352603 w 462155"/>
                    <a:gd name="csY75" fmla="*/ 230341 h 406995"/>
                    <a:gd name="csX76" fmla="*/ 343159 w 462155"/>
                    <a:gd name="csY76" fmla="*/ 225987 h 406995"/>
                    <a:gd name="csX77" fmla="*/ 358782 w 462155"/>
                    <a:gd name="csY77" fmla="*/ 192629 h 406995"/>
                    <a:gd name="csX78" fmla="*/ 358046 w 462155"/>
                    <a:gd name="csY78" fmla="*/ 192629 h 406995"/>
                    <a:gd name="csX79" fmla="*/ 349338 w 462155"/>
                    <a:gd name="csY79" fmla="*/ 191892 h 406995"/>
                    <a:gd name="csX80" fmla="*/ 348602 w 462155"/>
                    <a:gd name="csY80" fmla="*/ 183921 h 406995"/>
                    <a:gd name="csX81" fmla="*/ 333747 w 462155"/>
                    <a:gd name="csY81" fmla="*/ 187539 h 406995"/>
                    <a:gd name="csX82" fmla="*/ 344984 w 462155"/>
                    <a:gd name="csY82" fmla="*/ 163240 h 406995"/>
                    <a:gd name="csX83" fmla="*/ 328657 w 462155"/>
                    <a:gd name="csY83" fmla="*/ 138557 h 406995"/>
                    <a:gd name="csX84" fmla="*/ 313066 w 462155"/>
                    <a:gd name="csY84" fmla="*/ 140030 h 406995"/>
                    <a:gd name="csX85" fmla="*/ 305446 w 462155"/>
                    <a:gd name="csY85" fmla="*/ 135676 h 406995"/>
                    <a:gd name="csX86" fmla="*/ 307271 w 462155"/>
                    <a:gd name="csY86" fmla="*/ 126232 h 406995"/>
                    <a:gd name="csX87" fmla="*/ 301093 w 462155"/>
                    <a:gd name="csY87" fmla="*/ 121878 h 406995"/>
                    <a:gd name="csX88" fmla="*/ 272792 w 462155"/>
                    <a:gd name="csY88" fmla="*/ 116787 h 406995"/>
                    <a:gd name="csX89" fmla="*/ 268438 w 462155"/>
                    <a:gd name="csY89" fmla="*/ 131674 h 406995"/>
                    <a:gd name="csX90" fmla="*/ 256465 w 462155"/>
                    <a:gd name="csY90" fmla="*/ 130586 h 406995"/>
                    <a:gd name="csX91" fmla="*/ 245228 w 462155"/>
                    <a:gd name="csY91" fmla="*/ 121878 h 406995"/>
                    <a:gd name="csX92" fmla="*/ 225283 w 462155"/>
                    <a:gd name="csY92" fmla="*/ 126232 h 406995"/>
                    <a:gd name="csX93" fmla="*/ 217664 w 462155"/>
                    <a:gd name="csY93" fmla="*/ 122966 h 406995"/>
                    <a:gd name="csX94" fmla="*/ 215839 w 462155"/>
                    <a:gd name="csY94" fmla="*/ 114995 h 406995"/>
                    <a:gd name="csX95" fmla="*/ 219457 w 462155"/>
                    <a:gd name="csY95" fmla="*/ 109904 h 406995"/>
                    <a:gd name="csX96" fmla="*/ 215135 w 462155"/>
                    <a:gd name="csY96" fmla="*/ 102285 h 406995"/>
                    <a:gd name="csX97" fmla="*/ 220929 w 462155"/>
                    <a:gd name="csY97" fmla="*/ 94666 h 406995"/>
                    <a:gd name="csX98" fmla="*/ 219457 w 462155"/>
                    <a:gd name="csY98" fmla="*/ 85958 h 406995"/>
                    <a:gd name="csX99" fmla="*/ 219457 w 462155"/>
                    <a:gd name="csY99" fmla="*/ 72896 h 406995"/>
                    <a:gd name="csX100" fmla="*/ 222018 w 462155"/>
                    <a:gd name="csY100" fmla="*/ 48950 h 406995"/>
                    <a:gd name="csX101" fmla="*/ 236520 w 462155"/>
                    <a:gd name="csY101" fmla="*/ 50774 h 406995"/>
                    <a:gd name="csX102" fmla="*/ 240874 w 462155"/>
                    <a:gd name="csY102" fmla="*/ 44596 h 406995"/>
                    <a:gd name="csX103" fmla="*/ 252111 w 462155"/>
                    <a:gd name="csY103" fmla="*/ 42066 h 406995"/>
                    <a:gd name="csX104" fmla="*/ 254672 w 462155"/>
                    <a:gd name="csY104" fmla="*/ 35888 h 406995"/>
                    <a:gd name="csX105" fmla="*/ 247053 w 462155"/>
                    <a:gd name="csY105" fmla="*/ 19593 h 406995"/>
                    <a:gd name="csX106" fmla="*/ 233255 w 462155"/>
                    <a:gd name="csY106" fmla="*/ 23210 h 406995"/>
                    <a:gd name="csX107" fmla="*/ 227812 w 462155"/>
                    <a:gd name="csY107" fmla="*/ 16327 h 406995"/>
                    <a:gd name="csX108" fmla="*/ 220193 w 462155"/>
                    <a:gd name="csY108" fmla="*/ 17032 h 406995"/>
                    <a:gd name="csX109" fmla="*/ 211485 w 462155"/>
                    <a:gd name="csY109" fmla="*/ 704 h 406995"/>
                    <a:gd name="csX110" fmla="*/ 205691 w 462155"/>
                    <a:gd name="csY110" fmla="*/ 4354 h 406995"/>
                    <a:gd name="csX111" fmla="*/ 200248 w 462155"/>
                    <a:gd name="csY111" fmla="*/ 1441 h 406995"/>
                    <a:gd name="csX112" fmla="*/ 187539 w 462155"/>
                    <a:gd name="csY112" fmla="*/ 10148 h 406995"/>
                    <a:gd name="csX113" fmla="*/ 169419 w 462155"/>
                    <a:gd name="csY113" fmla="*/ 22122 h 406995"/>
                    <a:gd name="csX114" fmla="*/ 151267 w 462155"/>
                    <a:gd name="csY114" fmla="*/ 22122 h 406995"/>
                    <a:gd name="csX115" fmla="*/ 132410 w 462155"/>
                    <a:gd name="csY115" fmla="*/ 4354 h 4069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462155" h="406995">
                      <a:moveTo>
                        <a:pt x="132410" y="4354"/>
                      </a:moveTo>
                      <a:lnTo>
                        <a:pt x="121173" y="0"/>
                      </a:lnTo>
                      <a:lnTo>
                        <a:pt x="105582" y="6883"/>
                      </a:lnTo>
                      <a:lnTo>
                        <a:pt x="94698" y="19593"/>
                      </a:lnTo>
                      <a:lnTo>
                        <a:pt x="63484" y="22122"/>
                      </a:lnTo>
                      <a:lnTo>
                        <a:pt x="56601" y="26476"/>
                      </a:lnTo>
                      <a:lnTo>
                        <a:pt x="64572" y="43891"/>
                      </a:lnTo>
                      <a:lnTo>
                        <a:pt x="58394" y="71455"/>
                      </a:lnTo>
                      <a:lnTo>
                        <a:pt x="31566" y="67102"/>
                      </a:lnTo>
                      <a:lnTo>
                        <a:pt x="27564" y="70367"/>
                      </a:lnTo>
                      <a:lnTo>
                        <a:pt x="14502" y="77250"/>
                      </a:lnTo>
                      <a:lnTo>
                        <a:pt x="9444" y="71455"/>
                      </a:lnTo>
                      <a:lnTo>
                        <a:pt x="8356" y="77250"/>
                      </a:lnTo>
                      <a:lnTo>
                        <a:pt x="0" y="128761"/>
                      </a:lnTo>
                      <a:lnTo>
                        <a:pt x="17768" y="128761"/>
                      </a:lnTo>
                      <a:lnTo>
                        <a:pt x="62748" y="129849"/>
                      </a:lnTo>
                      <a:lnTo>
                        <a:pt x="62748" y="156325"/>
                      </a:lnTo>
                      <a:lnTo>
                        <a:pt x="62748" y="157413"/>
                      </a:lnTo>
                      <a:lnTo>
                        <a:pt x="60955" y="233959"/>
                      </a:lnTo>
                      <a:lnTo>
                        <a:pt x="69663" y="239049"/>
                      </a:lnTo>
                      <a:lnTo>
                        <a:pt x="92137" y="241578"/>
                      </a:lnTo>
                      <a:lnTo>
                        <a:pt x="103021" y="232166"/>
                      </a:lnTo>
                      <a:lnTo>
                        <a:pt x="116819" y="232166"/>
                      </a:lnTo>
                      <a:lnTo>
                        <a:pt x="144384" y="243403"/>
                      </a:lnTo>
                      <a:lnTo>
                        <a:pt x="152355" y="244139"/>
                      </a:lnTo>
                      <a:lnTo>
                        <a:pt x="159238" y="237224"/>
                      </a:lnTo>
                      <a:lnTo>
                        <a:pt x="159974" y="222722"/>
                      </a:lnTo>
                      <a:lnTo>
                        <a:pt x="177038" y="202777"/>
                      </a:lnTo>
                      <a:lnTo>
                        <a:pt x="189363" y="203866"/>
                      </a:lnTo>
                      <a:lnTo>
                        <a:pt x="196246" y="208924"/>
                      </a:lnTo>
                      <a:lnTo>
                        <a:pt x="203161" y="225251"/>
                      </a:lnTo>
                      <a:lnTo>
                        <a:pt x="217664" y="240874"/>
                      </a:lnTo>
                      <a:lnTo>
                        <a:pt x="215839" y="249198"/>
                      </a:lnTo>
                      <a:lnTo>
                        <a:pt x="225283" y="251023"/>
                      </a:lnTo>
                      <a:lnTo>
                        <a:pt x="233255" y="261523"/>
                      </a:lnTo>
                      <a:lnTo>
                        <a:pt x="233255" y="262259"/>
                      </a:lnTo>
                      <a:lnTo>
                        <a:pt x="237256" y="276762"/>
                      </a:lnTo>
                      <a:lnTo>
                        <a:pt x="245964" y="284765"/>
                      </a:lnTo>
                      <a:lnTo>
                        <a:pt x="259026" y="285470"/>
                      </a:lnTo>
                      <a:lnTo>
                        <a:pt x="269174" y="294914"/>
                      </a:lnTo>
                      <a:lnTo>
                        <a:pt x="269174" y="298531"/>
                      </a:lnTo>
                      <a:lnTo>
                        <a:pt x="269174" y="313770"/>
                      </a:lnTo>
                      <a:lnTo>
                        <a:pt x="260819" y="306151"/>
                      </a:lnTo>
                      <a:lnTo>
                        <a:pt x="251022" y="315595"/>
                      </a:lnTo>
                      <a:lnTo>
                        <a:pt x="247757" y="338069"/>
                      </a:lnTo>
                      <a:lnTo>
                        <a:pt x="259026" y="353307"/>
                      </a:lnTo>
                      <a:lnTo>
                        <a:pt x="291648" y="354396"/>
                      </a:lnTo>
                      <a:lnTo>
                        <a:pt x="285502" y="378343"/>
                      </a:lnTo>
                      <a:lnTo>
                        <a:pt x="270999" y="390316"/>
                      </a:lnTo>
                      <a:lnTo>
                        <a:pt x="282973" y="393229"/>
                      </a:lnTo>
                      <a:lnTo>
                        <a:pt x="284765" y="406995"/>
                      </a:lnTo>
                      <a:lnTo>
                        <a:pt x="285502" y="383433"/>
                      </a:lnTo>
                      <a:lnTo>
                        <a:pt x="298563" y="375077"/>
                      </a:lnTo>
                      <a:lnTo>
                        <a:pt x="292385" y="347513"/>
                      </a:lnTo>
                      <a:lnTo>
                        <a:pt x="307271" y="338805"/>
                      </a:lnTo>
                      <a:lnTo>
                        <a:pt x="325039" y="341334"/>
                      </a:lnTo>
                      <a:lnTo>
                        <a:pt x="331186" y="329361"/>
                      </a:lnTo>
                      <a:lnTo>
                        <a:pt x="339894" y="326832"/>
                      </a:lnTo>
                      <a:lnTo>
                        <a:pt x="345720" y="321742"/>
                      </a:lnTo>
                      <a:lnTo>
                        <a:pt x="351867" y="324303"/>
                      </a:lnTo>
                      <a:lnTo>
                        <a:pt x="381992" y="317388"/>
                      </a:lnTo>
                      <a:lnTo>
                        <a:pt x="407027" y="292385"/>
                      </a:lnTo>
                      <a:lnTo>
                        <a:pt x="433503" y="299268"/>
                      </a:lnTo>
                      <a:lnTo>
                        <a:pt x="456009" y="272792"/>
                      </a:lnTo>
                      <a:lnTo>
                        <a:pt x="462155" y="269879"/>
                      </a:lnTo>
                      <a:lnTo>
                        <a:pt x="454184" y="264084"/>
                      </a:lnTo>
                      <a:lnTo>
                        <a:pt x="439650" y="279323"/>
                      </a:lnTo>
                      <a:lnTo>
                        <a:pt x="425147" y="272792"/>
                      </a:lnTo>
                      <a:lnTo>
                        <a:pt x="400848" y="272792"/>
                      </a:lnTo>
                      <a:lnTo>
                        <a:pt x="391436" y="262259"/>
                      </a:lnTo>
                      <a:lnTo>
                        <a:pt x="382728" y="264084"/>
                      </a:lnTo>
                      <a:lnTo>
                        <a:pt x="378727" y="252815"/>
                      </a:lnTo>
                      <a:lnTo>
                        <a:pt x="375109" y="237224"/>
                      </a:lnTo>
                      <a:lnTo>
                        <a:pt x="361311" y="239049"/>
                      </a:lnTo>
                      <a:lnTo>
                        <a:pt x="356957" y="246669"/>
                      </a:lnTo>
                      <a:lnTo>
                        <a:pt x="352603" y="230341"/>
                      </a:lnTo>
                      <a:lnTo>
                        <a:pt x="343159" y="225987"/>
                      </a:lnTo>
                      <a:lnTo>
                        <a:pt x="358782" y="192629"/>
                      </a:lnTo>
                      <a:lnTo>
                        <a:pt x="358046" y="192629"/>
                      </a:lnTo>
                      <a:lnTo>
                        <a:pt x="349338" y="191892"/>
                      </a:lnTo>
                      <a:lnTo>
                        <a:pt x="348602" y="183921"/>
                      </a:lnTo>
                      <a:lnTo>
                        <a:pt x="333747" y="187539"/>
                      </a:lnTo>
                      <a:lnTo>
                        <a:pt x="344984" y="163240"/>
                      </a:lnTo>
                      <a:lnTo>
                        <a:pt x="328657" y="138557"/>
                      </a:lnTo>
                      <a:lnTo>
                        <a:pt x="313066" y="140030"/>
                      </a:lnTo>
                      <a:lnTo>
                        <a:pt x="305446" y="135676"/>
                      </a:lnTo>
                      <a:lnTo>
                        <a:pt x="307271" y="126232"/>
                      </a:lnTo>
                      <a:lnTo>
                        <a:pt x="301093" y="121878"/>
                      </a:lnTo>
                      <a:lnTo>
                        <a:pt x="272792" y="116787"/>
                      </a:lnTo>
                      <a:lnTo>
                        <a:pt x="268438" y="131674"/>
                      </a:lnTo>
                      <a:lnTo>
                        <a:pt x="256465" y="130586"/>
                      </a:lnTo>
                      <a:lnTo>
                        <a:pt x="245228" y="121878"/>
                      </a:lnTo>
                      <a:lnTo>
                        <a:pt x="225283" y="126232"/>
                      </a:lnTo>
                      <a:lnTo>
                        <a:pt x="217664" y="122966"/>
                      </a:lnTo>
                      <a:lnTo>
                        <a:pt x="215839" y="114995"/>
                      </a:lnTo>
                      <a:lnTo>
                        <a:pt x="219457" y="109904"/>
                      </a:lnTo>
                      <a:lnTo>
                        <a:pt x="215135" y="102285"/>
                      </a:lnTo>
                      <a:lnTo>
                        <a:pt x="220929" y="94666"/>
                      </a:lnTo>
                      <a:lnTo>
                        <a:pt x="219457" y="85958"/>
                      </a:lnTo>
                      <a:lnTo>
                        <a:pt x="219457" y="72896"/>
                      </a:lnTo>
                      <a:lnTo>
                        <a:pt x="222018" y="48950"/>
                      </a:lnTo>
                      <a:lnTo>
                        <a:pt x="236520" y="50774"/>
                      </a:lnTo>
                      <a:lnTo>
                        <a:pt x="240874" y="44596"/>
                      </a:lnTo>
                      <a:lnTo>
                        <a:pt x="252111" y="42066"/>
                      </a:lnTo>
                      <a:lnTo>
                        <a:pt x="254672" y="35888"/>
                      </a:lnTo>
                      <a:lnTo>
                        <a:pt x="247053" y="19593"/>
                      </a:lnTo>
                      <a:lnTo>
                        <a:pt x="233255" y="23210"/>
                      </a:lnTo>
                      <a:lnTo>
                        <a:pt x="227812" y="16327"/>
                      </a:lnTo>
                      <a:lnTo>
                        <a:pt x="220193" y="17032"/>
                      </a:lnTo>
                      <a:lnTo>
                        <a:pt x="211485" y="704"/>
                      </a:lnTo>
                      <a:lnTo>
                        <a:pt x="205691" y="4354"/>
                      </a:lnTo>
                      <a:lnTo>
                        <a:pt x="200248" y="1441"/>
                      </a:lnTo>
                      <a:lnTo>
                        <a:pt x="187539" y="10148"/>
                      </a:lnTo>
                      <a:lnTo>
                        <a:pt x="169419" y="22122"/>
                      </a:lnTo>
                      <a:lnTo>
                        <a:pt x="151267" y="22122"/>
                      </a:lnTo>
                      <a:lnTo>
                        <a:pt x="132410" y="435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79" name="Forma Livre: Forma 178">
                  <a:extLst>
                    <a:ext uri="{FF2B5EF4-FFF2-40B4-BE49-F238E27FC236}">
                      <a16:creationId xmlns:a16="http://schemas.microsoft.com/office/drawing/2014/main" id="{C8D61C1E-2F51-2C10-EA32-50278C080C00}"/>
                    </a:ext>
                  </a:extLst>
                </p:cNvPr>
                <p:cNvSpPr/>
                <p:nvPr/>
              </p:nvSpPr>
              <p:spPr>
                <a:xfrm>
                  <a:off x="2488755" y="2632971"/>
                  <a:ext cx="379783" cy="519460"/>
                </a:xfrm>
                <a:custGeom>
                  <a:avLst/>
                  <a:gdLst>
                    <a:gd name="csX0" fmla="*/ 170475 w 379783"/>
                    <a:gd name="csY0" fmla="*/ 0 h 519460"/>
                    <a:gd name="csX1" fmla="*/ 166858 w 379783"/>
                    <a:gd name="csY1" fmla="*/ 13766 h 519460"/>
                    <a:gd name="csX2" fmla="*/ 159238 w 379783"/>
                    <a:gd name="csY2" fmla="*/ 11973 h 519460"/>
                    <a:gd name="csX3" fmla="*/ 151619 w 379783"/>
                    <a:gd name="csY3" fmla="*/ 17032 h 519460"/>
                    <a:gd name="csX4" fmla="*/ 151619 w 379783"/>
                    <a:gd name="csY4" fmla="*/ 28300 h 519460"/>
                    <a:gd name="csX5" fmla="*/ 138557 w 379783"/>
                    <a:gd name="csY5" fmla="*/ 40242 h 519460"/>
                    <a:gd name="csX6" fmla="*/ 126584 w 379783"/>
                    <a:gd name="csY6" fmla="*/ 41330 h 519460"/>
                    <a:gd name="csX7" fmla="*/ 126584 w 379783"/>
                    <a:gd name="csY7" fmla="*/ 50774 h 519460"/>
                    <a:gd name="csX8" fmla="*/ 122966 w 379783"/>
                    <a:gd name="csY8" fmla="*/ 59130 h 519460"/>
                    <a:gd name="csX9" fmla="*/ 114611 w 379783"/>
                    <a:gd name="csY9" fmla="*/ 62011 h 519460"/>
                    <a:gd name="csX10" fmla="*/ 110257 w 379783"/>
                    <a:gd name="csY10" fmla="*/ 75809 h 519460"/>
                    <a:gd name="csX11" fmla="*/ 90312 w 379783"/>
                    <a:gd name="csY11" fmla="*/ 78338 h 519460"/>
                    <a:gd name="csX12" fmla="*/ 87783 w 379783"/>
                    <a:gd name="csY12" fmla="*/ 85958 h 519460"/>
                    <a:gd name="csX13" fmla="*/ 79075 w 379783"/>
                    <a:gd name="csY13" fmla="*/ 86694 h 519460"/>
                    <a:gd name="csX14" fmla="*/ 54392 w 379783"/>
                    <a:gd name="csY14" fmla="*/ 77250 h 519460"/>
                    <a:gd name="csX15" fmla="*/ 50774 w 379783"/>
                    <a:gd name="csY15" fmla="*/ 81604 h 519460"/>
                    <a:gd name="csX16" fmla="*/ 46420 w 379783"/>
                    <a:gd name="csY16" fmla="*/ 90312 h 519460"/>
                    <a:gd name="csX17" fmla="*/ 36272 w 379783"/>
                    <a:gd name="csY17" fmla="*/ 93577 h 519460"/>
                    <a:gd name="csX18" fmla="*/ 20681 w 379783"/>
                    <a:gd name="csY18" fmla="*/ 95402 h 519460"/>
                    <a:gd name="csX19" fmla="*/ 1793 w 379783"/>
                    <a:gd name="csY19" fmla="*/ 122230 h 519460"/>
                    <a:gd name="csX20" fmla="*/ 0 w 379783"/>
                    <a:gd name="csY20" fmla="*/ 127320 h 519460"/>
                    <a:gd name="csX21" fmla="*/ 10501 w 379783"/>
                    <a:gd name="csY21" fmla="*/ 134203 h 519460"/>
                    <a:gd name="csX22" fmla="*/ 124055 w 379783"/>
                    <a:gd name="csY22" fmla="*/ 142911 h 519460"/>
                    <a:gd name="csX23" fmla="*/ 157413 w 379783"/>
                    <a:gd name="csY23" fmla="*/ 145440 h 519460"/>
                    <a:gd name="csX24" fmla="*/ 210012 w 379783"/>
                    <a:gd name="csY24" fmla="*/ 150530 h 519460"/>
                    <a:gd name="csX25" fmla="*/ 215103 w 379783"/>
                    <a:gd name="csY25" fmla="*/ 153059 h 519460"/>
                    <a:gd name="csX26" fmla="*/ 215103 w 379783"/>
                    <a:gd name="csY26" fmla="*/ 153796 h 519460"/>
                    <a:gd name="csX27" fmla="*/ 221282 w 379783"/>
                    <a:gd name="csY27" fmla="*/ 171211 h 519460"/>
                    <a:gd name="csX28" fmla="*/ 221282 w 379783"/>
                    <a:gd name="csY28" fmla="*/ 173036 h 519460"/>
                    <a:gd name="csX29" fmla="*/ 220545 w 379783"/>
                    <a:gd name="csY29" fmla="*/ 176302 h 519460"/>
                    <a:gd name="csX30" fmla="*/ 218720 w 379783"/>
                    <a:gd name="csY30" fmla="*/ 186450 h 519460"/>
                    <a:gd name="csX31" fmla="*/ 207483 w 379783"/>
                    <a:gd name="csY31" fmla="*/ 245228 h 519460"/>
                    <a:gd name="csX32" fmla="*/ 202393 w 379783"/>
                    <a:gd name="csY32" fmla="*/ 270967 h 519460"/>
                    <a:gd name="csX33" fmla="*/ 201305 w 379783"/>
                    <a:gd name="csY33" fmla="*/ 273496 h 519460"/>
                    <a:gd name="csX34" fmla="*/ 186098 w 379783"/>
                    <a:gd name="csY34" fmla="*/ 347513 h 519460"/>
                    <a:gd name="csX35" fmla="*/ 197335 w 379783"/>
                    <a:gd name="csY35" fmla="*/ 349338 h 519460"/>
                    <a:gd name="csX36" fmla="*/ 198039 w 379783"/>
                    <a:gd name="csY36" fmla="*/ 360575 h 519460"/>
                    <a:gd name="csX37" fmla="*/ 198039 w 379783"/>
                    <a:gd name="csY37" fmla="*/ 364544 h 519460"/>
                    <a:gd name="csX38" fmla="*/ 189331 w 379783"/>
                    <a:gd name="csY38" fmla="*/ 366369 h 519460"/>
                    <a:gd name="csX39" fmla="*/ 183537 w 379783"/>
                    <a:gd name="csY39" fmla="*/ 375813 h 519460"/>
                    <a:gd name="csX40" fmla="*/ 171211 w 379783"/>
                    <a:gd name="csY40" fmla="*/ 378343 h 519460"/>
                    <a:gd name="csX41" fmla="*/ 173741 w 379783"/>
                    <a:gd name="csY41" fmla="*/ 385226 h 519460"/>
                    <a:gd name="csX42" fmla="*/ 186802 w 379783"/>
                    <a:gd name="csY42" fmla="*/ 393229 h 519460"/>
                    <a:gd name="csX43" fmla="*/ 182448 w 379783"/>
                    <a:gd name="csY43" fmla="*/ 404466 h 519460"/>
                    <a:gd name="csX44" fmla="*/ 198776 w 379783"/>
                    <a:gd name="csY44" fmla="*/ 399024 h 519460"/>
                    <a:gd name="csX45" fmla="*/ 204218 w 379783"/>
                    <a:gd name="csY45" fmla="*/ 401553 h 519460"/>
                    <a:gd name="csX46" fmla="*/ 198776 w 379783"/>
                    <a:gd name="csY46" fmla="*/ 410261 h 519460"/>
                    <a:gd name="csX47" fmla="*/ 215103 w 379783"/>
                    <a:gd name="csY47" fmla="*/ 412822 h 519460"/>
                    <a:gd name="csX48" fmla="*/ 235048 w 379783"/>
                    <a:gd name="csY48" fmla="*/ 429117 h 519460"/>
                    <a:gd name="csX49" fmla="*/ 249582 w 379783"/>
                    <a:gd name="csY49" fmla="*/ 434559 h 519460"/>
                    <a:gd name="csX50" fmla="*/ 256465 w 379783"/>
                    <a:gd name="csY50" fmla="*/ 437120 h 519460"/>
                    <a:gd name="csX51" fmla="*/ 258258 w 379783"/>
                    <a:gd name="csY51" fmla="*/ 444003 h 519460"/>
                    <a:gd name="csX52" fmla="*/ 305447 w 379783"/>
                    <a:gd name="csY52" fmla="*/ 447269 h 519460"/>
                    <a:gd name="csX53" fmla="*/ 319213 w 379783"/>
                    <a:gd name="csY53" fmla="*/ 458506 h 519460"/>
                    <a:gd name="csX54" fmla="*/ 321037 w 379783"/>
                    <a:gd name="csY54" fmla="*/ 519461 h 519460"/>
                    <a:gd name="csX55" fmla="*/ 322830 w 379783"/>
                    <a:gd name="csY55" fmla="*/ 516932 h 519460"/>
                    <a:gd name="csX56" fmla="*/ 329745 w 379783"/>
                    <a:gd name="csY56" fmla="*/ 502397 h 519460"/>
                    <a:gd name="csX57" fmla="*/ 338453 w 379783"/>
                    <a:gd name="csY57" fmla="*/ 495514 h 519460"/>
                    <a:gd name="csX58" fmla="*/ 341719 w 379783"/>
                    <a:gd name="csY58" fmla="*/ 461771 h 519460"/>
                    <a:gd name="csX59" fmla="*/ 353692 w 379783"/>
                    <a:gd name="csY59" fmla="*/ 452359 h 519460"/>
                    <a:gd name="csX60" fmla="*/ 366017 w 379783"/>
                    <a:gd name="csY60" fmla="*/ 459242 h 519460"/>
                    <a:gd name="csX61" fmla="*/ 376166 w 379783"/>
                    <a:gd name="csY61" fmla="*/ 458506 h 519460"/>
                    <a:gd name="csX62" fmla="*/ 369987 w 379783"/>
                    <a:gd name="csY62" fmla="*/ 442915 h 519460"/>
                    <a:gd name="csX63" fmla="*/ 366722 w 379783"/>
                    <a:gd name="csY63" fmla="*/ 439650 h 519460"/>
                    <a:gd name="csX64" fmla="*/ 369283 w 379783"/>
                    <a:gd name="csY64" fmla="*/ 433471 h 519460"/>
                    <a:gd name="csX65" fmla="*/ 362368 w 379783"/>
                    <a:gd name="csY65" fmla="*/ 429117 h 519460"/>
                    <a:gd name="csX66" fmla="*/ 367458 w 379783"/>
                    <a:gd name="csY66" fmla="*/ 354396 h 519460"/>
                    <a:gd name="csX67" fmla="*/ 358046 w 379783"/>
                    <a:gd name="csY67" fmla="*/ 338805 h 519460"/>
                    <a:gd name="csX68" fmla="*/ 339894 w 379783"/>
                    <a:gd name="csY68" fmla="*/ 330450 h 519460"/>
                    <a:gd name="csX69" fmla="*/ 334099 w 379783"/>
                    <a:gd name="csY69" fmla="*/ 313034 h 519460"/>
                    <a:gd name="csX70" fmla="*/ 348602 w 379783"/>
                    <a:gd name="csY70" fmla="*/ 291648 h 519460"/>
                    <a:gd name="csX71" fmla="*/ 348602 w 379783"/>
                    <a:gd name="csY71" fmla="*/ 289824 h 519460"/>
                    <a:gd name="csX72" fmla="*/ 347865 w 379783"/>
                    <a:gd name="csY72" fmla="*/ 285470 h 519460"/>
                    <a:gd name="csX73" fmla="*/ 355485 w 379783"/>
                    <a:gd name="csY73" fmla="*/ 281116 h 519460"/>
                    <a:gd name="csX74" fmla="*/ 361663 w 379783"/>
                    <a:gd name="csY74" fmla="*/ 270967 h 519460"/>
                    <a:gd name="csX75" fmla="*/ 373637 w 379783"/>
                    <a:gd name="csY75" fmla="*/ 276058 h 519460"/>
                    <a:gd name="csX76" fmla="*/ 379783 w 379783"/>
                    <a:gd name="csY76" fmla="*/ 258994 h 519460"/>
                    <a:gd name="csX77" fmla="*/ 367458 w 379783"/>
                    <a:gd name="csY77" fmla="*/ 257906 h 519460"/>
                    <a:gd name="csX78" fmla="*/ 366722 w 379783"/>
                    <a:gd name="csY78" fmla="*/ 251022 h 519460"/>
                    <a:gd name="csX79" fmla="*/ 371812 w 379783"/>
                    <a:gd name="csY79" fmla="*/ 247757 h 519460"/>
                    <a:gd name="csX80" fmla="*/ 369283 w 379783"/>
                    <a:gd name="csY80" fmla="*/ 239049 h 519460"/>
                    <a:gd name="csX81" fmla="*/ 351131 w 379783"/>
                    <a:gd name="csY81" fmla="*/ 237224 h 519460"/>
                    <a:gd name="csX82" fmla="*/ 348602 w 379783"/>
                    <a:gd name="csY82" fmla="*/ 227076 h 519460"/>
                    <a:gd name="csX83" fmla="*/ 354780 w 379783"/>
                    <a:gd name="csY83" fmla="*/ 215839 h 519460"/>
                    <a:gd name="csX84" fmla="*/ 353692 w 379783"/>
                    <a:gd name="csY84" fmla="*/ 197687 h 519460"/>
                    <a:gd name="csX85" fmla="*/ 343511 w 379783"/>
                    <a:gd name="csY85" fmla="*/ 185009 h 519460"/>
                    <a:gd name="csX86" fmla="*/ 339894 w 379783"/>
                    <a:gd name="csY86" fmla="*/ 163240 h 519460"/>
                    <a:gd name="csX87" fmla="*/ 348602 w 379783"/>
                    <a:gd name="csY87" fmla="*/ 148705 h 519460"/>
                    <a:gd name="csX88" fmla="*/ 341719 w 379783"/>
                    <a:gd name="csY88" fmla="*/ 126232 h 519460"/>
                    <a:gd name="csX89" fmla="*/ 334803 w 379783"/>
                    <a:gd name="csY89" fmla="*/ 117876 h 519460"/>
                    <a:gd name="csX90" fmla="*/ 338453 w 379783"/>
                    <a:gd name="csY90" fmla="*/ 113522 h 519460"/>
                    <a:gd name="csX91" fmla="*/ 327184 w 379783"/>
                    <a:gd name="csY91" fmla="*/ 105903 h 519460"/>
                    <a:gd name="csX92" fmla="*/ 327920 w 379783"/>
                    <a:gd name="csY92" fmla="*/ 100460 h 519460"/>
                    <a:gd name="csX93" fmla="*/ 341719 w 379783"/>
                    <a:gd name="csY93" fmla="*/ 96106 h 519460"/>
                    <a:gd name="csX94" fmla="*/ 336628 w 379783"/>
                    <a:gd name="csY94" fmla="*/ 85222 h 519460"/>
                    <a:gd name="csX95" fmla="*/ 329745 w 379783"/>
                    <a:gd name="csY95" fmla="*/ 70367 h 519460"/>
                    <a:gd name="csX96" fmla="*/ 317772 w 379783"/>
                    <a:gd name="csY96" fmla="*/ 81604 h 519460"/>
                    <a:gd name="csX97" fmla="*/ 307239 w 379783"/>
                    <a:gd name="csY97" fmla="*/ 76514 h 519460"/>
                    <a:gd name="csX98" fmla="*/ 305447 w 379783"/>
                    <a:gd name="csY98" fmla="*/ 69631 h 519460"/>
                    <a:gd name="csX99" fmla="*/ 316683 w 379783"/>
                    <a:gd name="csY99" fmla="*/ 62748 h 519460"/>
                    <a:gd name="csX100" fmla="*/ 304710 w 379783"/>
                    <a:gd name="csY100" fmla="*/ 57657 h 519460"/>
                    <a:gd name="csX101" fmla="*/ 297827 w 379783"/>
                    <a:gd name="csY101" fmla="*/ 52215 h 519460"/>
                    <a:gd name="csX102" fmla="*/ 285854 w 379783"/>
                    <a:gd name="csY102" fmla="*/ 63484 h 519460"/>
                    <a:gd name="csX103" fmla="*/ 264436 w 379783"/>
                    <a:gd name="csY103" fmla="*/ 64572 h 519460"/>
                    <a:gd name="csX104" fmla="*/ 272792 w 379783"/>
                    <a:gd name="csY104" fmla="*/ 72192 h 519460"/>
                    <a:gd name="csX105" fmla="*/ 261523 w 379783"/>
                    <a:gd name="csY105" fmla="*/ 90312 h 519460"/>
                    <a:gd name="csX106" fmla="*/ 243755 w 379783"/>
                    <a:gd name="csY106" fmla="*/ 64572 h 519460"/>
                    <a:gd name="csX107" fmla="*/ 235784 w 379783"/>
                    <a:gd name="csY107" fmla="*/ 70367 h 519460"/>
                    <a:gd name="csX108" fmla="*/ 228165 w 379783"/>
                    <a:gd name="csY108" fmla="*/ 48245 h 519460"/>
                    <a:gd name="csX109" fmla="*/ 213662 w 379783"/>
                    <a:gd name="csY109" fmla="*/ 62748 h 519460"/>
                    <a:gd name="csX110" fmla="*/ 207483 w 379783"/>
                    <a:gd name="csY110" fmla="*/ 62748 h 519460"/>
                    <a:gd name="csX111" fmla="*/ 205691 w 379783"/>
                    <a:gd name="csY111" fmla="*/ 57657 h 519460"/>
                    <a:gd name="csX112" fmla="*/ 196246 w 379783"/>
                    <a:gd name="csY112" fmla="*/ 60923 h 519460"/>
                    <a:gd name="csX113" fmla="*/ 187539 w 379783"/>
                    <a:gd name="csY113" fmla="*/ 51511 h 519460"/>
                    <a:gd name="csX114" fmla="*/ 193685 w 379783"/>
                    <a:gd name="csY114" fmla="*/ 48950 h 519460"/>
                    <a:gd name="csX115" fmla="*/ 189331 w 379783"/>
                    <a:gd name="csY115" fmla="*/ 39537 h 519460"/>
                    <a:gd name="csX116" fmla="*/ 198039 w 379783"/>
                    <a:gd name="csY116" fmla="*/ 30093 h 519460"/>
                    <a:gd name="csX117" fmla="*/ 186802 w 379783"/>
                    <a:gd name="csY117" fmla="*/ 23210 h 519460"/>
                    <a:gd name="csX118" fmla="*/ 170475 w 379783"/>
                    <a:gd name="csY118" fmla="*/ 0 h 51946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</a:cxnLst>
                  <a:rect l="l" t="t" r="r" b="b"/>
                  <a:pathLst>
                    <a:path w="379783" h="519460">
                      <a:moveTo>
                        <a:pt x="170475" y="0"/>
                      </a:moveTo>
                      <a:lnTo>
                        <a:pt x="166858" y="13766"/>
                      </a:lnTo>
                      <a:lnTo>
                        <a:pt x="159238" y="11973"/>
                      </a:lnTo>
                      <a:lnTo>
                        <a:pt x="151619" y="17032"/>
                      </a:lnTo>
                      <a:lnTo>
                        <a:pt x="151619" y="28300"/>
                      </a:lnTo>
                      <a:lnTo>
                        <a:pt x="138557" y="40242"/>
                      </a:lnTo>
                      <a:lnTo>
                        <a:pt x="126584" y="41330"/>
                      </a:lnTo>
                      <a:lnTo>
                        <a:pt x="126584" y="50774"/>
                      </a:lnTo>
                      <a:lnTo>
                        <a:pt x="122966" y="59130"/>
                      </a:lnTo>
                      <a:lnTo>
                        <a:pt x="114611" y="62011"/>
                      </a:lnTo>
                      <a:lnTo>
                        <a:pt x="110257" y="75809"/>
                      </a:lnTo>
                      <a:lnTo>
                        <a:pt x="90312" y="78338"/>
                      </a:lnTo>
                      <a:lnTo>
                        <a:pt x="87783" y="85958"/>
                      </a:lnTo>
                      <a:lnTo>
                        <a:pt x="79075" y="86694"/>
                      </a:lnTo>
                      <a:lnTo>
                        <a:pt x="54392" y="77250"/>
                      </a:lnTo>
                      <a:lnTo>
                        <a:pt x="50774" y="81604"/>
                      </a:lnTo>
                      <a:lnTo>
                        <a:pt x="46420" y="90312"/>
                      </a:lnTo>
                      <a:lnTo>
                        <a:pt x="36272" y="93577"/>
                      </a:lnTo>
                      <a:lnTo>
                        <a:pt x="20681" y="95402"/>
                      </a:lnTo>
                      <a:lnTo>
                        <a:pt x="1793" y="122230"/>
                      </a:lnTo>
                      <a:lnTo>
                        <a:pt x="0" y="127320"/>
                      </a:lnTo>
                      <a:lnTo>
                        <a:pt x="10501" y="134203"/>
                      </a:lnTo>
                      <a:lnTo>
                        <a:pt x="124055" y="142911"/>
                      </a:lnTo>
                      <a:lnTo>
                        <a:pt x="157413" y="145440"/>
                      </a:lnTo>
                      <a:lnTo>
                        <a:pt x="210012" y="150530"/>
                      </a:lnTo>
                      <a:lnTo>
                        <a:pt x="215103" y="153059"/>
                      </a:lnTo>
                      <a:lnTo>
                        <a:pt x="215103" y="153796"/>
                      </a:lnTo>
                      <a:lnTo>
                        <a:pt x="221282" y="171211"/>
                      </a:lnTo>
                      <a:lnTo>
                        <a:pt x="221282" y="173036"/>
                      </a:lnTo>
                      <a:lnTo>
                        <a:pt x="220545" y="176302"/>
                      </a:lnTo>
                      <a:lnTo>
                        <a:pt x="218720" y="186450"/>
                      </a:lnTo>
                      <a:lnTo>
                        <a:pt x="207483" y="245228"/>
                      </a:lnTo>
                      <a:lnTo>
                        <a:pt x="202393" y="270967"/>
                      </a:lnTo>
                      <a:lnTo>
                        <a:pt x="201305" y="273496"/>
                      </a:lnTo>
                      <a:lnTo>
                        <a:pt x="186098" y="347513"/>
                      </a:lnTo>
                      <a:lnTo>
                        <a:pt x="197335" y="349338"/>
                      </a:lnTo>
                      <a:lnTo>
                        <a:pt x="198039" y="360575"/>
                      </a:lnTo>
                      <a:lnTo>
                        <a:pt x="198039" y="364544"/>
                      </a:lnTo>
                      <a:lnTo>
                        <a:pt x="189331" y="366369"/>
                      </a:lnTo>
                      <a:lnTo>
                        <a:pt x="183537" y="375813"/>
                      </a:lnTo>
                      <a:lnTo>
                        <a:pt x="171211" y="378343"/>
                      </a:lnTo>
                      <a:lnTo>
                        <a:pt x="173741" y="385226"/>
                      </a:lnTo>
                      <a:lnTo>
                        <a:pt x="186802" y="393229"/>
                      </a:lnTo>
                      <a:lnTo>
                        <a:pt x="182448" y="404466"/>
                      </a:lnTo>
                      <a:lnTo>
                        <a:pt x="198776" y="399024"/>
                      </a:lnTo>
                      <a:lnTo>
                        <a:pt x="204218" y="401553"/>
                      </a:lnTo>
                      <a:lnTo>
                        <a:pt x="198776" y="410261"/>
                      </a:lnTo>
                      <a:lnTo>
                        <a:pt x="215103" y="412822"/>
                      </a:lnTo>
                      <a:lnTo>
                        <a:pt x="235048" y="429117"/>
                      </a:lnTo>
                      <a:lnTo>
                        <a:pt x="249582" y="434559"/>
                      </a:lnTo>
                      <a:lnTo>
                        <a:pt x="256465" y="437120"/>
                      </a:lnTo>
                      <a:lnTo>
                        <a:pt x="258258" y="444003"/>
                      </a:lnTo>
                      <a:lnTo>
                        <a:pt x="305447" y="447269"/>
                      </a:lnTo>
                      <a:lnTo>
                        <a:pt x="319213" y="458506"/>
                      </a:lnTo>
                      <a:lnTo>
                        <a:pt x="321037" y="519461"/>
                      </a:lnTo>
                      <a:lnTo>
                        <a:pt x="322830" y="516932"/>
                      </a:lnTo>
                      <a:lnTo>
                        <a:pt x="329745" y="502397"/>
                      </a:lnTo>
                      <a:lnTo>
                        <a:pt x="338453" y="495514"/>
                      </a:lnTo>
                      <a:lnTo>
                        <a:pt x="341719" y="461771"/>
                      </a:lnTo>
                      <a:lnTo>
                        <a:pt x="353692" y="452359"/>
                      </a:lnTo>
                      <a:lnTo>
                        <a:pt x="366017" y="459242"/>
                      </a:lnTo>
                      <a:lnTo>
                        <a:pt x="376166" y="458506"/>
                      </a:lnTo>
                      <a:lnTo>
                        <a:pt x="369987" y="442915"/>
                      </a:lnTo>
                      <a:lnTo>
                        <a:pt x="366722" y="439650"/>
                      </a:lnTo>
                      <a:lnTo>
                        <a:pt x="369283" y="433471"/>
                      </a:lnTo>
                      <a:lnTo>
                        <a:pt x="362368" y="429117"/>
                      </a:lnTo>
                      <a:lnTo>
                        <a:pt x="367458" y="354396"/>
                      </a:lnTo>
                      <a:lnTo>
                        <a:pt x="358046" y="338805"/>
                      </a:lnTo>
                      <a:lnTo>
                        <a:pt x="339894" y="330450"/>
                      </a:lnTo>
                      <a:lnTo>
                        <a:pt x="334099" y="313034"/>
                      </a:lnTo>
                      <a:lnTo>
                        <a:pt x="348602" y="291648"/>
                      </a:lnTo>
                      <a:lnTo>
                        <a:pt x="348602" y="289824"/>
                      </a:lnTo>
                      <a:lnTo>
                        <a:pt x="347865" y="285470"/>
                      </a:lnTo>
                      <a:lnTo>
                        <a:pt x="355485" y="281116"/>
                      </a:lnTo>
                      <a:lnTo>
                        <a:pt x="361663" y="270967"/>
                      </a:lnTo>
                      <a:lnTo>
                        <a:pt x="373637" y="276058"/>
                      </a:lnTo>
                      <a:lnTo>
                        <a:pt x="379783" y="258994"/>
                      </a:lnTo>
                      <a:lnTo>
                        <a:pt x="367458" y="257906"/>
                      </a:lnTo>
                      <a:lnTo>
                        <a:pt x="366722" y="251022"/>
                      </a:lnTo>
                      <a:lnTo>
                        <a:pt x="371812" y="247757"/>
                      </a:lnTo>
                      <a:lnTo>
                        <a:pt x="369283" y="239049"/>
                      </a:lnTo>
                      <a:lnTo>
                        <a:pt x="351131" y="237224"/>
                      </a:lnTo>
                      <a:lnTo>
                        <a:pt x="348602" y="227076"/>
                      </a:lnTo>
                      <a:lnTo>
                        <a:pt x="354780" y="215839"/>
                      </a:lnTo>
                      <a:lnTo>
                        <a:pt x="353692" y="197687"/>
                      </a:lnTo>
                      <a:lnTo>
                        <a:pt x="343511" y="185009"/>
                      </a:lnTo>
                      <a:lnTo>
                        <a:pt x="339894" y="163240"/>
                      </a:lnTo>
                      <a:lnTo>
                        <a:pt x="348602" y="148705"/>
                      </a:lnTo>
                      <a:lnTo>
                        <a:pt x="341719" y="126232"/>
                      </a:lnTo>
                      <a:lnTo>
                        <a:pt x="334803" y="117876"/>
                      </a:lnTo>
                      <a:lnTo>
                        <a:pt x="338453" y="113522"/>
                      </a:lnTo>
                      <a:lnTo>
                        <a:pt x="327184" y="105903"/>
                      </a:lnTo>
                      <a:lnTo>
                        <a:pt x="327920" y="100460"/>
                      </a:lnTo>
                      <a:lnTo>
                        <a:pt x="341719" y="96106"/>
                      </a:lnTo>
                      <a:lnTo>
                        <a:pt x="336628" y="85222"/>
                      </a:lnTo>
                      <a:lnTo>
                        <a:pt x="329745" y="70367"/>
                      </a:lnTo>
                      <a:lnTo>
                        <a:pt x="317772" y="81604"/>
                      </a:lnTo>
                      <a:lnTo>
                        <a:pt x="307239" y="76514"/>
                      </a:lnTo>
                      <a:lnTo>
                        <a:pt x="305447" y="69631"/>
                      </a:lnTo>
                      <a:lnTo>
                        <a:pt x="316683" y="62748"/>
                      </a:lnTo>
                      <a:lnTo>
                        <a:pt x="304710" y="57657"/>
                      </a:lnTo>
                      <a:lnTo>
                        <a:pt x="297827" y="52215"/>
                      </a:lnTo>
                      <a:lnTo>
                        <a:pt x="285854" y="63484"/>
                      </a:lnTo>
                      <a:lnTo>
                        <a:pt x="264436" y="64572"/>
                      </a:lnTo>
                      <a:lnTo>
                        <a:pt x="272792" y="72192"/>
                      </a:lnTo>
                      <a:lnTo>
                        <a:pt x="261523" y="90312"/>
                      </a:lnTo>
                      <a:lnTo>
                        <a:pt x="243755" y="64572"/>
                      </a:lnTo>
                      <a:lnTo>
                        <a:pt x="235784" y="70367"/>
                      </a:lnTo>
                      <a:lnTo>
                        <a:pt x="228165" y="48245"/>
                      </a:lnTo>
                      <a:lnTo>
                        <a:pt x="213662" y="62748"/>
                      </a:lnTo>
                      <a:lnTo>
                        <a:pt x="207483" y="62748"/>
                      </a:lnTo>
                      <a:lnTo>
                        <a:pt x="205691" y="57657"/>
                      </a:lnTo>
                      <a:lnTo>
                        <a:pt x="196246" y="60923"/>
                      </a:lnTo>
                      <a:lnTo>
                        <a:pt x="187539" y="51511"/>
                      </a:lnTo>
                      <a:lnTo>
                        <a:pt x="193685" y="48950"/>
                      </a:lnTo>
                      <a:lnTo>
                        <a:pt x="189331" y="39537"/>
                      </a:lnTo>
                      <a:lnTo>
                        <a:pt x="198039" y="30093"/>
                      </a:lnTo>
                      <a:lnTo>
                        <a:pt x="186802" y="23210"/>
                      </a:lnTo>
                      <a:lnTo>
                        <a:pt x="170475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0" name="Forma Livre: Forma 179">
                  <a:extLst>
                    <a:ext uri="{FF2B5EF4-FFF2-40B4-BE49-F238E27FC236}">
                      <a16:creationId xmlns:a16="http://schemas.microsoft.com/office/drawing/2014/main" id="{0F0BF708-EA5E-12ED-1F83-DFFDAA03ABC7}"/>
                    </a:ext>
                  </a:extLst>
                </p:cNvPr>
                <p:cNvSpPr/>
                <p:nvPr/>
              </p:nvSpPr>
              <p:spPr>
                <a:xfrm>
                  <a:off x="2488755" y="2632971"/>
                  <a:ext cx="379783" cy="519460"/>
                </a:xfrm>
                <a:custGeom>
                  <a:avLst/>
                  <a:gdLst>
                    <a:gd name="csX0" fmla="*/ 170475 w 379783"/>
                    <a:gd name="csY0" fmla="*/ 0 h 519460"/>
                    <a:gd name="csX1" fmla="*/ 166858 w 379783"/>
                    <a:gd name="csY1" fmla="*/ 13766 h 519460"/>
                    <a:gd name="csX2" fmla="*/ 159238 w 379783"/>
                    <a:gd name="csY2" fmla="*/ 11973 h 519460"/>
                    <a:gd name="csX3" fmla="*/ 151619 w 379783"/>
                    <a:gd name="csY3" fmla="*/ 17032 h 519460"/>
                    <a:gd name="csX4" fmla="*/ 151619 w 379783"/>
                    <a:gd name="csY4" fmla="*/ 28300 h 519460"/>
                    <a:gd name="csX5" fmla="*/ 138557 w 379783"/>
                    <a:gd name="csY5" fmla="*/ 40242 h 519460"/>
                    <a:gd name="csX6" fmla="*/ 126584 w 379783"/>
                    <a:gd name="csY6" fmla="*/ 41330 h 519460"/>
                    <a:gd name="csX7" fmla="*/ 126584 w 379783"/>
                    <a:gd name="csY7" fmla="*/ 50774 h 519460"/>
                    <a:gd name="csX8" fmla="*/ 122966 w 379783"/>
                    <a:gd name="csY8" fmla="*/ 59130 h 519460"/>
                    <a:gd name="csX9" fmla="*/ 114611 w 379783"/>
                    <a:gd name="csY9" fmla="*/ 62011 h 519460"/>
                    <a:gd name="csX10" fmla="*/ 110257 w 379783"/>
                    <a:gd name="csY10" fmla="*/ 75809 h 519460"/>
                    <a:gd name="csX11" fmla="*/ 90312 w 379783"/>
                    <a:gd name="csY11" fmla="*/ 78338 h 519460"/>
                    <a:gd name="csX12" fmla="*/ 87783 w 379783"/>
                    <a:gd name="csY12" fmla="*/ 85958 h 519460"/>
                    <a:gd name="csX13" fmla="*/ 79075 w 379783"/>
                    <a:gd name="csY13" fmla="*/ 86694 h 519460"/>
                    <a:gd name="csX14" fmla="*/ 54392 w 379783"/>
                    <a:gd name="csY14" fmla="*/ 77250 h 519460"/>
                    <a:gd name="csX15" fmla="*/ 50774 w 379783"/>
                    <a:gd name="csY15" fmla="*/ 81604 h 519460"/>
                    <a:gd name="csX16" fmla="*/ 46420 w 379783"/>
                    <a:gd name="csY16" fmla="*/ 90312 h 519460"/>
                    <a:gd name="csX17" fmla="*/ 36272 w 379783"/>
                    <a:gd name="csY17" fmla="*/ 93577 h 519460"/>
                    <a:gd name="csX18" fmla="*/ 20681 w 379783"/>
                    <a:gd name="csY18" fmla="*/ 95402 h 519460"/>
                    <a:gd name="csX19" fmla="*/ 1793 w 379783"/>
                    <a:gd name="csY19" fmla="*/ 122230 h 519460"/>
                    <a:gd name="csX20" fmla="*/ 0 w 379783"/>
                    <a:gd name="csY20" fmla="*/ 127320 h 519460"/>
                    <a:gd name="csX21" fmla="*/ 10501 w 379783"/>
                    <a:gd name="csY21" fmla="*/ 134203 h 519460"/>
                    <a:gd name="csX22" fmla="*/ 124055 w 379783"/>
                    <a:gd name="csY22" fmla="*/ 142911 h 519460"/>
                    <a:gd name="csX23" fmla="*/ 157413 w 379783"/>
                    <a:gd name="csY23" fmla="*/ 145440 h 519460"/>
                    <a:gd name="csX24" fmla="*/ 210012 w 379783"/>
                    <a:gd name="csY24" fmla="*/ 150530 h 519460"/>
                    <a:gd name="csX25" fmla="*/ 215103 w 379783"/>
                    <a:gd name="csY25" fmla="*/ 153059 h 519460"/>
                    <a:gd name="csX26" fmla="*/ 215103 w 379783"/>
                    <a:gd name="csY26" fmla="*/ 153796 h 519460"/>
                    <a:gd name="csX27" fmla="*/ 221282 w 379783"/>
                    <a:gd name="csY27" fmla="*/ 171211 h 519460"/>
                    <a:gd name="csX28" fmla="*/ 221282 w 379783"/>
                    <a:gd name="csY28" fmla="*/ 173036 h 519460"/>
                    <a:gd name="csX29" fmla="*/ 220545 w 379783"/>
                    <a:gd name="csY29" fmla="*/ 176302 h 519460"/>
                    <a:gd name="csX30" fmla="*/ 218720 w 379783"/>
                    <a:gd name="csY30" fmla="*/ 186450 h 519460"/>
                    <a:gd name="csX31" fmla="*/ 207483 w 379783"/>
                    <a:gd name="csY31" fmla="*/ 245228 h 519460"/>
                    <a:gd name="csX32" fmla="*/ 202393 w 379783"/>
                    <a:gd name="csY32" fmla="*/ 270967 h 519460"/>
                    <a:gd name="csX33" fmla="*/ 201305 w 379783"/>
                    <a:gd name="csY33" fmla="*/ 273496 h 519460"/>
                    <a:gd name="csX34" fmla="*/ 186098 w 379783"/>
                    <a:gd name="csY34" fmla="*/ 347513 h 519460"/>
                    <a:gd name="csX35" fmla="*/ 197335 w 379783"/>
                    <a:gd name="csY35" fmla="*/ 349338 h 519460"/>
                    <a:gd name="csX36" fmla="*/ 198039 w 379783"/>
                    <a:gd name="csY36" fmla="*/ 360575 h 519460"/>
                    <a:gd name="csX37" fmla="*/ 198039 w 379783"/>
                    <a:gd name="csY37" fmla="*/ 364544 h 519460"/>
                    <a:gd name="csX38" fmla="*/ 189331 w 379783"/>
                    <a:gd name="csY38" fmla="*/ 366369 h 519460"/>
                    <a:gd name="csX39" fmla="*/ 183537 w 379783"/>
                    <a:gd name="csY39" fmla="*/ 375813 h 519460"/>
                    <a:gd name="csX40" fmla="*/ 171211 w 379783"/>
                    <a:gd name="csY40" fmla="*/ 378343 h 519460"/>
                    <a:gd name="csX41" fmla="*/ 173741 w 379783"/>
                    <a:gd name="csY41" fmla="*/ 385226 h 519460"/>
                    <a:gd name="csX42" fmla="*/ 186802 w 379783"/>
                    <a:gd name="csY42" fmla="*/ 393229 h 519460"/>
                    <a:gd name="csX43" fmla="*/ 182448 w 379783"/>
                    <a:gd name="csY43" fmla="*/ 404466 h 519460"/>
                    <a:gd name="csX44" fmla="*/ 198776 w 379783"/>
                    <a:gd name="csY44" fmla="*/ 399024 h 519460"/>
                    <a:gd name="csX45" fmla="*/ 204218 w 379783"/>
                    <a:gd name="csY45" fmla="*/ 401553 h 519460"/>
                    <a:gd name="csX46" fmla="*/ 198776 w 379783"/>
                    <a:gd name="csY46" fmla="*/ 410261 h 519460"/>
                    <a:gd name="csX47" fmla="*/ 215103 w 379783"/>
                    <a:gd name="csY47" fmla="*/ 412822 h 519460"/>
                    <a:gd name="csX48" fmla="*/ 235048 w 379783"/>
                    <a:gd name="csY48" fmla="*/ 429117 h 519460"/>
                    <a:gd name="csX49" fmla="*/ 249582 w 379783"/>
                    <a:gd name="csY49" fmla="*/ 434559 h 519460"/>
                    <a:gd name="csX50" fmla="*/ 256465 w 379783"/>
                    <a:gd name="csY50" fmla="*/ 437120 h 519460"/>
                    <a:gd name="csX51" fmla="*/ 258258 w 379783"/>
                    <a:gd name="csY51" fmla="*/ 444003 h 519460"/>
                    <a:gd name="csX52" fmla="*/ 305447 w 379783"/>
                    <a:gd name="csY52" fmla="*/ 447269 h 519460"/>
                    <a:gd name="csX53" fmla="*/ 319213 w 379783"/>
                    <a:gd name="csY53" fmla="*/ 458506 h 519460"/>
                    <a:gd name="csX54" fmla="*/ 321037 w 379783"/>
                    <a:gd name="csY54" fmla="*/ 519461 h 519460"/>
                    <a:gd name="csX55" fmla="*/ 322830 w 379783"/>
                    <a:gd name="csY55" fmla="*/ 516932 h 519460"/>
                    <a:gd name="csX56" fmla="*/ 329745 w 379783"/>
                    <a:gd name="csY56" fmla="*/ 502397 h 519460"/>
                    <a:gd name="csX57" fmla="*/ 338453 w 379783"/>
                    <a:gd name="csY57" fmla="*/ 495514 h 519460"/>
                    <a:gd name="csX58" fmla="*/ 341719 w 379783"/>
                    <a:gd name="csY58" fmla="*/ 461771 h 519460"/>
                    <a:gd name="csX59" fmla="*/ 353692 w 379783"/>
                    <a:gd name="csY59" fmla="*/ 452359 h 519460"/>
                    <a:gd name="csX60" fmla="*/ 366017 w 379783"/>
                    <a:gd name="csY60" fmla="*/ 459242 h 519460"/>
                    <a:gd name="csX61" fmla="*/ 376166 w 379783"/>
                    <a:gd name="csY61" fmla="*/ 458506 h 519460"/>
                    <a:gd name="csX62" fmla="*/ 369987 w 379783"/>
                    <a:gd name="csY62" fmla="*/ 442915 h 519460"/>
                    <a:gd name="csX63" fmla="*/ 366722 w 379783"/>
                    <a:gd name="csY63" fmla="*/ 439650 h 519460"/>
                    <a:gd name="csX64" fmla="*/ 369283 w 379783"/>
                    <a:gd name="csY64" fmla="*/ 433471 h 519460"/>
                    <a:gd name="csX65" fmla="*/ 362368 w 379783"/>
                    <a:gd name="csY65" fmla="*/ 429117 h 519460"/>
                    <a:gd name="csX66" fmla="*/ 367458 w 379783"/>
                    <a:gd name="csY66" fmla="*/ 354396 h 519460"/>
                    <a:gd name="csX67" fmla="*/ 358046 w 379783"/>
                    <a:gd name="csY67" fmla="*/ 338805 h 519460"/>
                    <a:gd name="csX68" fmla="*/ 339894 w 379783"/>
                    <a:gd name="csY68" fmla="*/ 330450 h 519460"/>
                    <a:gd name="csX69" fmla="*/ 334099 w 379783"/>
                    <a:gd name="csY69" fmla="*/ 313034 h 519460"/>
                    <a:gd name="csX70" fmla="*/ 348602 w 379783"/>
                    <a:gd name="csY70" fmla="*/ 291648 h 519460"/>
                    <a:gd name="csX71" fmla="*/ 348602 w 379783"/>
                    <a:gd name="csY71" fmla="*/ 289824 h 519460"/>
                    <a:gd name="csX72" fmla="*/ 347865 w 379783"/>
                    <a:gd name="csY72" fmla="*/ 285470 h 519460"/>
                    <a:gd name="csX73" fmla="*/ 355485 w 379783"/>
                    <a:gd name="csY73" fmla="*/ 281116 h 519460"/>
                    <a:gd name="csX74" fmla="*/ 361663 w 379783"/>
                    <a:gd name="csY74" fmla="*/ 270967 h 519460"/>
                    <a:gd name="csX75" fmla="*/ 373637 w 379783"/>
                    <a:gd name="csY75" fmla="*/ 276058 h 519460"/>
                    <a:gd name="csX76" fmla="*/ 379783 w 379783"/>
                    <a:gd name="csY76" fmla="*/ 258994 h 519460"/>
                    <a:gd name="csX77" fmla="*/ 367458 w 379783"/>
                    <a:gd name="csY77" fmla="*/ 257906 h 519460"/>
                    <a:gd name="csX78" fmla="*/ 366722 w 379783"/>
                    <a:gd name="csY78" fmla="*/ 251022 h 519460"/>
                    <a:gd name="csX79" fmla="*/ 371812 w 379783"/>
                    <a:gd name="csY79" fmla="*/ 247757 h 519460"/>
                    <a:gd name="csX80" fmla="*/ 369283 w 379783"/>
                    <a:gd name="csY80" fmla="*/ 239049 h 519460"/>
                    <a:gd name="csX81" fmla="*/ 351131 w 379783"/>
                    <a:gd name="csY81" fmla="*/ 237224 h 519460"/>
                    <a:gd name="csX82" fmla="*/ 348602 w 379783"/>
                    <a:gd name="csY82" fmla="*/ 227076 h 519460"/>
                    <a:gd name="csX83" fmla="*/ 354780 w 379783"/>
                    <a:gd name="csY83" fmla="*/ 215839 h 519460"/>
                    <a:gd name="csX84" fmla="*/ 353692 w 379783"/>
                    <a:gd name="csY84" fmla="*/ 197687 h 519460"/>
                    <a:gd name="csX85" fmla="*/ 343511 w 379783"/>
                    <a:gd name="csY85" fmla="*/ 185009 h 519460"/>
                    <a:gd name="csX86" fmla="*/ 339894 w 379783"/>
                    <a:gd name="csY86" fmla="*/ 163240 h 519460"/>
                    <a:gd name="csX87" fmla="*/ 348602 w 379783"/>
                    <a:gd name="csY87" fmla="*/ 148705 h 519460"/>
                    <a:gd name="csX88" fmla="*/ 341719 w 379783"/>
                    <a:gd name="csY88" fmla="*/ 126232 h 519460"/>
                    <a:gd name="csX89" fmla="*/ 334803 w 379783"/>
                    <a:gd name="csY89" fmla="*/ 117876 h 519460"/>
                    <a:gd name="csX90" fmla="*/ 338453 w 379783"/>
                    <a:gd name="csY90" fmla="*/ 113522 h 519460"/>
                    <a:gd name="csX91" fmla="*/ 327184 w 379783"/>
                    <a:gd name="csY91" fmla="*/ 105903 h 519460"/>
                    <a:gd name="csX92" fmla="*/ 327920 w 379783"/>
                    <a:gd name="csY92" fmla="*/ 100460 h 519460"/>
                    <a:gd name="csX93" fmla="*/ 341719 w 379783"/>
                    <a:gd name="csY93" fmla="*/ 96106 h 519460"/>
                    <a:gd name="csX94" fmla="*/ 336628 w 379783"/>
                    <a:gd name="csY94" fmla="*/ 85222 h 519460"/>
                    <a:gd name="csX95" fmla="*/ 329745 w 379783"/>
                    <a:gd name="csY95" fmla="*/ 70367 h 519460"/>
                    <a:gd name="csX96" fmla="*/ 317772 w 379783"/>
                    <a:gd name="csY96" fmla="*/ 81604 h 519460"/>
                    <a:gd name="csX97" fmla="*/ 307239 w 379783"/>
                    <a:gd name="csY97" fmla="*/ 76514 h 519460"/>
                    <a:gd name="csX98" fmla="*/ 305447 w 379783"/>
                    <a:gd name="csY98" fmla="*/ 69631 h 519460"/>
                    <a:gd name="csX99" fmla="*/ 316683 w 379783"/>
                    <a:gd name="csY99" fmla="*/ 62748 h 519460"/>
                    <a:gd name="csX100" fmla="*/ 304710 w 379783"/>
                    <a:gd name="csY100" fmla="*/ 57657 h 519460"/>
                    <a:gd name="csX101" fmla="*/ 297827 w 379783"/>
                    <a:gd name="csY101" fmla="*/ 52215 h 519460"/>
                    <a:gd name="csX102" fmla="*/ 285854 w 379783"/>
                    <a:gd name="csY102" fmla="*/ 63484 h 519460"/>
                    <a:gd name="csX103" fmla="*/ 264436 w 379783"/>
                    <a:gd name="csY103" fmla="*/ 64572 h 519460"/>
                    <a:gd name="csX104" fmla="*/ 272792 w 379783"/>
                    <a:gd name="csY104" fmla="*/ 72192 h 519460"/>
                    <a:gd name="csX105" fmla="*/ 261523 w 379783"/>
                    <a:gd name="csY105" fmla="*/ 90312 h 519460"/>
                    <a:gd name="csX106" fmla="*/ 243755 w 379783"/>
                    <a:gd name="csY106" fmla="*/ 64572 h 519460"/>
                    <a:gd name="csX107" fmla="*/ 235784 w 379783"/>
                    <a:gd name="csY107" fmla="*/ 70367 h 519460"/>
                    <a:gd name="csX108" fmla="*/ 228165 w 379783"/>
                    <a:gd name="csY108" fmla="*/ 48245 h 519460"/>
                    <a:gd name="csX109" fmla="*/ 213662 w 379783"/>
                    <a:gd name="csY109" fmla="*/ 62748 h 519460"/>
                    <a:gd name="csX110" fmla="*/ 207483 w 379783"/>
                    <a:gd name="csY110" fmla="*/ 62748 h 519460"/>
                    <a:gd name="csX111" fmla="*/ 205691 w 379783"/>
                    <a:gd name="csY111" fmla="*/ 57657 h 519460"/>
                    <a:gd name="csX112" fmla="*/ 196246 w 379783"/>
                    <a:gd name="csY112" fmla="*/ 60923 h 519460"/>
                    <a:gd name="csX113" fmla="*/ 187539 w 379783"/>
                    <a:gd name="csY113" fmla="*/ 51511 h 519460"/>
                    <a:gd name="csX114" fmla="*/ 193685 w 379783"/>
                    <a:gd name="csY114" fmla="*/ 48950 h 519460"/>
                    <a:gd name="csX115" fmla="*/ 189331 w 379783"/>
                    <a:gd name="csY115" fmla="*/ 39537 h 519460"/>
                    <a:gd name="csX116" fmla="*/ 198039 w 379783"/>
                    <a:gd name="csY116" fmla="*/ 30093 h 519460"/>
                    <a:gd name="csX117" fmla="*/ 186802 w 379783"/>
                    <a:gd name="csY117" fmla="*/ 23210 h 519460"/>
                    <a:gd name="csX118" fmla="*/ 170475 w 379783"/>
                    <a:gd name="csY118" fmla="*/ 0 h 51946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</a:cxnLst>
                  <a:rect l="l" t="t" r="r" b="b"/>
                  <a:pathLst>
                    <a:path w="379783" h="519460">
                      <a:moveTo>
                        <a:pt x="170475" y="0"/>
                      </a:moveTo>
                      <a:lnTo>
                        <a:pt x="166858" y="13766"/>
                      </a:lnTo>
                      <a:lnTo>
                        <a:pt x="159238" y="11973"/>
                      </a:lnTo>
                      <a:lnTo>
                        <a:pt x="151619" y="17032"/>
                      </a:lnTo>
                      <a:lnTo>
                        <a:pt x="151619" y="28300"/>
                      </a:lnTo>
                      <a:lnTo>
                        <a:pt x="138557" y="40242"/>
                      </a:lnTo>
                      <a:lnTo>
                        <a:pt x="126584" y="41330"/>
                      </a:lnTo>
                      <a:lnTo>
                        <a:pt x="126584" y="50774"/>
                      </a:lnTo>
                      <a:lnTo>
                        <a:pt x="122966" y="59130"/>
                      </a:lnTo>
                      <a:lnTo>
                        <a:pt x="114611" y="62011"/>
                      </a:lnTo>
                      <a:lnTo>
                        <a:pt x="110257" y="75809"/>
                      </a:lnTo>
                      <a:lnTo>
                        <a:pt x="90312" y="78338"/>
                      </a:lnTo>
                      <a:lnTo>
                        <a:pt x="87783" y="85958"/>
                      </a:lnTo>
                      <a:lnTo>
                        <a:pt x="79075" y="86694"/>
                      </a:lnTo>
                      <a:lnTo>
                        <a:pt x="54392" y="77250"/>
                      </a:lnTo>
                      <a:lnTo>
                        <a:pt x="50774" y="81604"/>
                      </a:lnTo>
                      <a:lnTo>
                        <a:pt x="46420" y="90312"/>
                      </a:lnTo>
                      <a:lnTo>
                        <a:pt x="36272" y="93577"/>
                      </a:lnTo>
                      <a:lnTo>
                        <a:pt x="20681" y="95402"/>
                      </a:lnTo>
                      <a:lnTo>
                        <a:pt x="1793" y="122230"/>
                      </a:lnTo>
                      <a:lnTo>
                        <a:pt x="0" y="127320"/>
                      </a:lnTo>
                      <a:lnTo>
                        <a:pt x="10501" y="134203"/>
                      </a:lnTo>
                      <a:lnTo>
                        <a:pt x="124055" y="142911"/>
                      </a:lnTo>
                      <a:lnTo>
                        <a:pt x="157413" y="145440"/>
                      </a:lnTo>
                      <a:lnTo>
                        <a:pt x="210012" y="150530"/>
                      </a:lnTo>
                      <a:lnTo>
                        <a:pt x="215103" y="153059"/>
                      </a:lnTo>
                      <a:lnTo>
                        <a:pt x="215103" y="153796"/>
                      </a:lnTo>
                      <a:lnTo>
                        <a:pt x="221282" y="171211"/>
                      </a:lnTo>
                      <a:lnTo>
                        <a:pt x="221282" y="173036"/>
                      </a:lnTo>
                      <a:lnTo>
                        <a:pt x="220545" y="176302"/>
                      </a:lnTo>
                      <a:lnTo>
                        <a:pt x="218720" y="186450"/>
                      </a:lnTo>
                      <a:lnTo>
                        <a:pt x="207483" y="245228"/>
                      </a:lnTo>
                      <a:lnTo>
                        <a:pt x="202393" y="270967"/>
                      </a:lnTo>
                      <a:lnTo>
                        <a:pt x="201305" y="273496"/>
                      </a:lnTo>
                      <a:lnTo>
                        <a:pt x="186098" y="347513"/>
                      </a:lnTo>
                      <a:lnTo>
                        <a:pt x="197335" y="349338"/>
                      </a:lnTo>
                      <a:lnTo>
                        <a:pt x="198039" y="360575"/>
                      </a:lnTo>
                      <a:lnTo>
                        <a:pt x="198039" y="364544"/>
                      </a:lnTo>
                      <a:lnTo>
                        <a:pt x="189331" y="366369"/>
                      </a:lnTo>
                      <a:lnTo>
                        <a:pt x="183537" y="375813"/>
                      </a:lnTo>
                      <a:lnTo>
                        <a:pt x="171211" y="378343"/>
                      </a:lnTo>
                      <a:lnTo>
                        <a:pt x="173741" y="385226"/>
                      </a:lnTo>
                      <a:lnTo>
                        <a:pt x="186802" y="393229"/>
                      </a:lnTo>
                      <a:lnTo>
                        <a:pt x="182448" y="404466"/>
                      </a:lnTo>
                      <a:lnTo>
                        <a:pt x="198776" y="399024"/>
                      </a:lnTo>
                      <a:lnTo>
                        <a:pt x="204218" y="401553"/>
                      </a:lnTo>
                      <a:lnTo>
                        <a:pt x="198776" y="410261"/>
                      </a:lnTo>
                      <a:lnTo>
                        <a:pt x="215103" y="412822"/>
                      </a:lnTo>
                      <a:lnTo>
                        <a:pt x="235048" y="429117"/>
                      </a:lnTo>
                      <a:lnTo>
                        <a:pt x="249582" y="434559"/>
                      </a:lnTo>
                      <a:lnTo>
                        <a:pt x="256465" y="437120"/>
                      </a:lnTo>
                      <a:lnTo>
                        <a:pt x="258258" y="444003"/>
                      </a:lnTo>
                      <a:lnTo>
                        <a:pt x="305447" y="447269"/>
                      </a:lnTo>
                      <a:lnTo>
                        <a:pt x="319213" y="458506"/>
                      </a:lnTo>
                      <a:lnTo>
                        <a:pt x="321037" y="519461"/>
                      </a:lnTo>
                      <a:lnTo>
                        <a:pt x="322830" y="516932"/>
                      </a:lnTo>
                      <a:lnTo>
                        <a:pt x="329745" y="502397"/>
                      </a:lnTo>
                      <a:lnTo>
                        <a:pt x="338453" y="495514"/>
                      </a:lnTo>
                      <a:lnTo>
                        <a:pt x="341719" y="461771"/>
                      </a:lnTo>
                      <a:lnTo>
                        <a:pt x="353692" y="452359"/>
                      </a:lnTo>
                      <a:lnTo>
                        <a:pt x="366017" y="459242"/>
                      </a:lnTo>
                      <a:lnTo>
                        <a:pt x="376166" y="458506"/>
                      </a:lnTo>
                      <a:lnTo>
                        <a:pt x="369987" y="442915"/>
                      </a:lnTo>
                      <a:lnTo>
                        <a:pt x="366722" y="439650"/>
                      </a:lnTo>
                      <a:lnTo>
                        <a:pt x="369283" y="433471"/>
                      </a:lnTo>
                      <a:lnTo>
                        <a:pt x="362368" y="429117"/>
                      </a:lnTo>
                      <a:lnTo>
                        <a:pt x="367458" y="354396"/>
                      </a:lnTo>
                      <a:lnTo>
                        <a:pt x="358046" y="338805"/>
                      </a:lnTo>
                      <a:lnTo>
                        <a:pt x="339894" y="330450"/>
                      </a:lnTo>
                      <a:lnTo>
                        <a:pt x="334099" y="313034"/>
                      </a:lnTo>
                      <a:lnTo>
                        <a:pt x="348602" y="291648"/>
                      </a:lnTo>
                      <a:lnTo>
                        <a:pt x="348602" y="289824"/>
                      </a:lnTo>
                      <a:lnTo>
                        <a:pt x="347865" y="285470"/>
                      </a:lnTo>
                      <a:lnTo>
                        <a:pt x="355485" y="281116"/>
                      </a:lnTo>
                      <a:lnTo>
                        <a:pt x="361663" y="270967"/>
                      </a:lnTo>
                      <a:lnTo>
                        <a:pt x="373637" y="276058"/>
                      </a:lnTo>
                      <a:lnTo>
                        <a:pt x="379783" y="258994"/>
                      </a:lnTo>
                      <a:lnTo>
                        <a:pt x="367458" y="257906"/>
                      </a:lnTo>
                      <a:lnTo>
                        <a:pt x="366722" y="251022"/>
                      </a:lnTo>
                      <a:lnTo>
                        <a:pt x="371812" y="247757"/>
                      </a:lnTo>
                      <a:lnTo>
                        <a:pt x="369283" y="239049"/>
                      </a:lnTo>
                      <a:lnTo>
                        <a:pt x="351131" y="237224"/>
                      </a:lnTo>
                      <a:lnTo>
                        <a:pt x="348602" y="227076"/>
                      </a:lnTo>
                      <a:lnTo>
                        <a:pt x="354780" y="215839"/>
                      </a:lnTo>
                      <a:lnTo>
                        <a:pt x="353692" y="197687"/>
                      </a:lnTo>
                      <a:lnTo>
                        <a:pt x="343511" y="185009"/>
                      </a:lnTo>
                      <a:lnTo>
                        <a:pt x="339894" y="163240"/>
                      </a:lnTo>
                      <a:lnTo>
                        <a:pt x="348602" y="148705"/>
                      </a:lnTo>
                      <a:lnTo>
                        <a:pt x="341719" y="126232"/>
                      </a:lnTo>
                      <a:lnTo>
                        <a:pt x="334803" y="117876"/>
                      </a:lnTo>
                      <a:lnTo>
                        <a:pt x="338453" y="113522"/>
                      </a:lnTo>
                      <a:lnTo>
                        <a:pt x="327184" y="105903"/>
                      </a:lnTo>
                      <a:lnTo>
                        <a:pt x="327920" y="100460"/>
                      </a:lnTo>
                      <a:lnTo>
                        <a:pt x="341719" y="96106"/>
                      </a:lnTo>
                      <a:lnTo>
                        <a:pt x="336628" y="85222"/>
                      </a:lnTo>
                      <a:lnTo>
                        <a:pt x="329745" y="70367"/>
                      </a:lnTo>
                      <a:lnTo>
                        <a:pt x="317772" y="81604"/>
                      </a:lnTo>
                      <a:lnTo>
                        <a:pt x="307239" y="76514"/>
                      </a:lnTo>
                      <a:lnTo>
                        <a:pt x="305447" y="69631"/>
                      </a:lnTo>
                      <a:lnTo>
                        <a:pt x="316683" y="62748"/>
                      </a:lnTo>
                      <a:lnTo>
                        <a:pt x="304710" y="57657"/>
                      </a:lnTo>
                      <a:lnTo>
                        <a:pt x="297827" y="52215"/>
                      </a:lnTo>
                      <a:lnTo>
                        <a:pt x="285854" y="63484"/>
                      </a:lnTo>
                      <a:lnTo>
                        <a:pt x="264436" y="64572"/>
                      </a:lnTo>
                      <a:lnTo>
                        <a:pt x="272792" y="72192"/>
                      </a:lnTo>
                      <a:lnTo>
                        <a:pt x="261523" y="90312"/>
                      </a:lnTo>
                      <a:lnTo>
                        <a:pt x="243755" y="64572"/>
                      </a:lnTo>
                      <a:lnTo>
                        <a:pt x="235784" y="70367"/>
                      </a:lnTo>
                      <a:lnTo>
                        <a:pt x="228165" y="48245"/>
                      </a:lnTo>
                      <a:lnTo>
                        <a:pt x="213662" y="62748"/>
                      </a:lnTo>
                      <a:lnTo>
                        <a:pt x="207483" y="62748"/>
                      </a:lnTo>
                      <a:lnTo>
                        <a:pt x="205691" y="57657"/>
                      </a:lnTo>
                      <a:lnTo>
                        <a:pt x="196246" y="60923"/>
                      </a:lnTo>
                      <a:lnTo>
                        <a:pt x="187539" y="51511"/>
                      </a:lnTo>
                      <a:lnTo>
                        <a:pt x="193685" y="48950"/>
                      </a:lnTo>
                      <a:lnTo>
                        <a:pt x="189331" y="39537"/>
                      </a:lnTo>
                      <a:lnTo>
                        <a:pt x="198039" y="30093"/>
                      </a:lnTo>
                      <a:lnTo>
                        <a:pt x="186802" y="23210"/>
                      </a:lnTo>
                      <a:lnTo>
                        <a:pt x="170475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1" name="Forma Livre: Forma 180">
                  <a:extLst>
                    <a:ext uri="{FF2B5EF4-FFF2-40B4-BE49-F238E27FC236}">
                      <a16:creationId xmlns:a16="http://schemas.microsoft.com/office/drawing/2014/main" id="{9F40FBBE-7781-3A50-D1EA-3BCFACF8E1CA}"/>
                    </a:ext>
                  </a:extLst>
                </p:cNvPr>
                <p:cNvSpPr/>
                <p:nvPr/>
              </p:nvSpPr>
              <p:spPr>
                <a:xfrm>
                  <a:off x="2488755" y="2632971"/>
                  <a:ext cx="379783" cy="519460"/>
                </a:xfrm>
                <a:custGeom>
                  <a:avLst/>
                  <a:gdLst>
                    <a:gd name="csX0" fmla="*/ 170475 w 379783"/>
                    <a:gd name="csY0" fmla="*/ 0 h 519460"/>
                    <a:gd name="csX1" fmla="*/ 166858 w 379783"/>
                    <a:gd name="csY1" fmla="*/ 13766 h 519460"/>
                    <a:gd name="csX2" fmla="*/ 159238 w 379783"/>
                    <a:gd name="csY2" fmla="*/ 11973 h 519460"/>
                    <a:gd name="csX3" fmla="*/ 151619 w 379783"/>
                    <a:gd name="csY3" fmla="*/ 17032 h 519460"/>
                    <a:gd name="csX4" fmla="*/ 151619 w 379783"/>
                    <a:gd name="csY4" fmla="*/ 28300 h 519460"/>
                    <a:gd name="csX5" fmla="*/ 138557 w 379783"/>
                    <a:gd name="csY5" fmla="*/ 40242 h 519460"/>
                    <a:gd name="csX6" fmla="*/ 126584 w 379783"/>
                    <a:gd name="csY6" fmla="*/ 41330 h 519460"/>
                    <a:gd name="csX7" fmla="*/ 126584 w 379783"/>
                    <a:gd name="csY7" fmla="*/ 50774 h 519460"/>
                    <a:gd name="csX8" fmla="*/ 122966 w 379783"/>
                    <a:gd name="csY8" fmla="*/ 59130 h 519460"/>
                    <a:gd name="csX9" fmla="*/ 114611 w 379783"/>
                    <a:gd name="csY9" fmla="*/ 62011 h 519460"/>
                    <a:gd name="csX10" fmla="*/ 110257 w 379783"/>
                    <a:gd name="csY10" fmla="*/ 75809 h 519460"/>
                    <a:gd name="csX11" fmla="*/ 90312 w 379783"/>
                    <a:gd name="csY11" fmla="*/ 78338 h 519460"/>
                    <a:gd name="csX12" fmla="*/ 87783 w 379783"/>
                    <a:gd name="csY12" fmla="*/ 85958 h 519460"/>
                    <a:gd name="csX13" fmla="*/ 79075 w 379783"/>
                    <a:gd name="csY13" fmla="*/ 86694 h 519460"/>
                    <a:gd name="csX14" fmla="*/ 54392 w 379783"/>
                    <a:gd name="csY14" fmla="*/ 77250 h 519460"/>
                    <a:gd name="csX15" fmla="*/ 50774 w 379783"/>
                    <a:gd name="csY15" fmla="*/ 81604 h 519460"/>
                    <a:gd name="csX16" fmla="*/ 46420 w 379783"/>
                    <a:gd name="csY16" fmla="*/ 90312 h 519460"/>
                    <a:gd name="csX17" fmla="*/ 36272 w 379783"/>
                    <a:gd name="csY17" fmla="*/ 93577 h 519460"/>
                    <a:gd name="csX18" fmla="*/ 20681 w 379783"/>
                    <a:gd name="csY18" fmla="*/ 95402 h 519460"/>
                    <a:gd name="csX19" fmla="*/ 1793 w 379783"/>
                    <a:gd name="csY19" fmla="*/ 122230 h 519460"/>
                    <a:gd name="csX20" fmla="*/ 0 w 379783"/>
                    <a:gd name="csY20" fmla="*/ 127320 h 519460"/>
                    <a:gd name="csX21" fmla="*/ 10501 w 379783"/>
                    <a:gd name="csY21" fmla="*/ 134203 h 519460"/>
                    <a:gd name="csX22" fmla="*/ 124055 w 379783"/>
                    <a:gd name="csY22" fmla="*/ 142911 h 519460"/>
                    <a:gd name="csX23" fmla="*/ 157413 w 379783"/>
                    <a:gd name="csY23" fmla="*/ 145440 h 519460"/>
                    <a:gd name="csX24" fmla="*/ 210012 w 379783"/>
                    <a:gd name="csY24" fmla="*/ 150530 h 519460"/>
                    <a:gd name="csX25" fmla="*/ 215103 w 379783"/>
                    <a:gd name="csY25" fmla="*/ 153059 h 519460"/>
                    <a:gd name="csX26" fmla="*/ 215103 w 379783"/>
                    <a:gd name="csY26" fmla="*/ 153796 h 519460"/>
                    <a:gd name="csX27" fmla="*/ 221282 w 379783"/>
                    <a:gd name="csY27" fmla="*/ 171211 h 519460"/>
                    <a:gd name="csX28" fmla="*/ 221282 w 379783"/>
                    <a:gd name="csY28" fmla="*/ 173036 h 519460"/>
                    <a:gd name="csX29" fmla="*/ 220545 w 379783"/>
                    <a:gd name="csY29" fmla="*/ 176302 h 519460"/>
                    <a:gd name="csX30" fmla="*/ 218720 w 379783"/>
                    <a:gd name="csY30" fmla="*/ 186450 h 519460"/>
                    <a:gd name="csX31" fmla="*/ 207483 w 379783"/>
                    <a:gd name="csY31" fmla="*/ 245228 h 519460"/>
                    <a:gd name="csX32" fmla="*/ 202393 w 379783"/>
                    <a:gd name="csY32" fmla="*/ 270967 h 519460"/>
                    <a:gd name="csX33" fmla="*/ 201305 w 379783"/>
                    <a:gd name="csY33" fmla="*/ 273496 h 519460"/>
                    <a:gd name="csX34" fmla="*/ 186098 w 379783"/>
                    <a:gd name="csY34" fmla="*/ 347513 h 519460"/>
                    <a:gd name="csX35" fmla="*/ 197335 w 379783"/>
                    <a:gd name="csY35" fmla="*/ 349338 h 519460"/>
                    <a:gd name="csX36" fmla="*/ 198039 w 379783"/>
                    <a:gd name="csY36" fmla="*/ 360575 h 519460"/>
                    <a:gd name="csX37" fmla="*/ 198039 w 379783"/>
                    <a:gd name="csY37" fmla="*/ 364544 h 519460"/>
                    <a:gd name="csX38" fmla="*/ 189331 w 379783"/>
                    <a:gd name="csY38" fmla="*/ 366369 h 519460"/>
                    <a:gd name="csX39" fmla="*/ 183537 w 379783"/>
                    <a:gd name="csY39" fmla="*/ 375813 h 519460"/>
                    <a:gd name="csX40" fmla="*/ 171211 w 379783"/>
                    <a:gd name="csY40" fmla="*/ 378343 h 519460"/>
                    <a:gd name="csX41" fmla="*/ 173741 w 379783"/>
                    <a:gd name="csY41" fmla="*/ 385226 h 519460"/>
                    <a:gd name="csX42" fmla="*/ 186802 w 379783"/>
                    <a:gd name="csY42" fmla="*/ 393229 h 519460"/>
                    <a:gd name="csX43" fmla="*/ 182448 w 379783"/>
                    <a:gd name="csY43" fmla="*/ 404466 h 519460"/>
                    <a:gd name="csX44" fmla="*/ 198776 w 379783"/>
                    <a:gd name="csY44" fmla="*/ 399024 h 519460"/>
                    <a:gd name="csX45" fmla="*/ 204218 w 379783"/>
                    <a:gd name="csY45" fmla="*/ 401553 h 519460"/>
                    <a:gd name="csX46" fmla="*/ 198776 w 379783"/>
                    <a:gd name="csY46" fmla="*/ 410261 h 519460"/>
                    <a:gd name="csX47" fmla="*/ 215103 w 379783"/>
                    <a:gd name="csY47" fmla="*/ 412822 h 519460"/>
                    <a:gd name="csX48" fmla="*/ 235048 w 379783"/>
                    <a:gd name="csY48" fmla="*/ 429117 h 519460"/>
                    <a:gd name="csX49" fmla="*/ 249582 w 379783"/>
                    <a:gd name="csY49" fmla="*/ 434559 h 519460"/>
                    <a:gd name="csX50" fmla="*/ 256465 w 379783"/>
                    <a:gd name="csY50" fmla="*/ 437120 h 519460"/>
                    <a:gd name="csX51" fmla="*/ 258258 w 379783"/>
                    <a:gd name="csY51" fmla="*/ 444003 h 519460"/>
                    <a:gd name="csX52" fmla="*/ 305447 w 379783"/>
                    <a:gd name="csY52" fmla="*/ 447269 h 519460"/>
                    <a:gd name="csX53" fmla="*/ 319213 w 379783"/>
                    <a:gd name="csY53" fmla="*/ 458506 h 519460"/>
                    <a:gd name="csX54" fmla="*/ 321037 w 379783"/>
                    <a:gd name="csY54" fmla="*/ 519461 h 519460"/>
                    <a:gd name="csX55" fmla="*/ 322830 w 379783"/>
                    <a:gd name="csY55" fmla="*/ 516932 h 519460"/>
                    <a:gd name="csX56" fmla="*/ 329745 w 379783"/>
                    <a:gd name="csY56" fmla="*/ 502397 h 519460"/>
                    <a:gd name="csX57" fmla="*/ 338453 w 379783"/>
                    <a:gd name="csY57" fmla="*/ 495514 h 519460"/>
                    <a:gd name="csX58" fmla="*/ 341719 w 379783"/>
                    <a:gd name="csY58" fmla="*/ 461771 h 519460"/>
                    <a:gd name="csX59" fmla="*/ 353692 w 379783"/>
                    <a:gd name="csY59" fmla="*/ 452359 h 519460"/>
                    <a:gd name="csX60" fmla="*/ 366017 w 379783"/>
                    <a:gd name="csY60" fmla="*/ 459242 h 519460"/>
                    <a:gd name="csX61" fmla="*/ 376166 w 379783"/>
                    <a:gd name="csY61" fmla="*/ 458506 h 519460"/>
                    <a:gd name="csX62" fmla="*/ 369987 w 379783"/>
                    <a:gd name="csY62" fmla="*/ 442915 h 519460"/>
                    <a:gd name="csX63" fmla="*/ 366722 w 379783"/>
                    <a:gd name="csY63" fmla="*/ 439650 h 519460"/>
                    <a:gd name="csX64" fmla="*/ 369283 w 379783"/>
                    <a:gd name="csY64" fmla="*/ 433471 h 519460"/>
                    <a:gd name="csX65" fmla="*/ 362368 w 379783"/>
                    <a:gd name="csY65" fmla="*/ 429117 h 519460"/>
                    <a:gd name="csX66" fmla="*/ 367458 w 379783"/>
                    <a:gd name="csY66" fmla="*/ 354396 h 519460"/>
                    <a:gd name="csX67" fmla="*/ 358046 w 379783"/>
                    <a:gd name="csY67" fmla="*/ 338805 h 519460"/>
                    <a:gd name="csX68" fmla="*/ 339894 w 379783"/>
                    <a:gd name="csY68" fmla="*/ 330450 h 519460"/>
                    <a:gd name="csX69" fmla="*/ 334099 w 379783"/>
                    <a:gd name="csY69" fmla="*/ 313034 h 519460"/>
                    <a:gd name="csX70" fmla="*/ 348602 w 379783"/>
                    <a:gd name="csY70" fmla="*/ 291648 h 519460"/>
                    <a:gd name="csX71" fmla="*/ 348602 w 379783"/>
                    <a:gd name="csY71" fmla="*/ 289824 h 519460"/>
                    <a:gd name="csX72" fmla="*/ 347865 w 379783"/>
                    <a:gd name="csY72" fmla="*/ 285470 h 519460"/>
                    <a:gd name="csX73" fmla="*/ 355485 w 379783"/>
                    <a:gd name="csY73" fmla="*/ 281116 h 519460"/>
                    <a:gd name="csX74" fmla="*/ 361663 w 379783"/>
                    <a:gd name="csY74" fmla="*/ 270967 h 519460"/>
                    <a:gd name="csX75" fmla="*/ 373637 w 379783"/>
                    <a:gd name="csY75" fmla="*/ 276058 h 519460"/>
                    <a:gd name="csX76" fmla="*/ 379783 w 379783"/>
                    <a:gd name="csY76" fmla="*/ 258994 h 519460"/>
                    <a:gd name="csX77" fmla="*/ 367458 w 379783"/>
                    <a:gd name="csY77" fmla="*/ 257906 h 519460"/>
                    <a:gd name="csX78" fmla="*/ 366722 w 379783"/>
                    <a:gd name="csY78" fmla="*/ 251022 h 519460"/>
                    <a:gd name="csX79" fmla="*/ 371812 w 379783"/>
                    <a:gd name="csY79" fmla="*/ 247757 h 519460"/>
                    <a:gd name="csX80" fmla="*/ 369283 w 379783"/>
                    <a:gd name="csY80" fmla="*/ 239049 h 519460"/>
                    <a:gd name="csX81" fmla="*/ 351131 w 379783"/>
                    <a:gd name="csY81" fmla="*/ 237224 h 519460"/>
                    <a:gd name="csX82" fmla="*/ 348602 w 379783"/>
                    <a:gd name="csY82" fmla="*/ 227076 h 519460"/>
                    <a:gd name="csX83" fmla="*/ 354780 w 379783"/>
                    <a:gd name="csY83" fmla="*/ 215839 h 519460"/>
                    <a:gd name="csX84" fmla="*/ 353692 w 379783"/>
                    <a:gd name="csY84" fmla="*/ 197687 h 519460"/>
                    <a:gd name="csX85" fmla="*/ 343511 w 379783"/>
                    <a:gd name="csY85" fmla="*/ 185009 h 519460"/>
                    <a:gd name="csX86" fmla="*/ 339894 w 379783"/>
                    <a:gd name="csY86" fmla="*/ 163240 h 519460"/>
                    <a:gd name="csX87" fmla="*/ 348602 w 379783"/>
                    <a:gd name="csY87" fmla="*/ 148705 h 519460"/>
                    <a:gd name="csX88" fmla="*/ 341719 w 379783"/>
                    <a:gd name="csY88" fmla="*/ 126232 h 519460"/>
                    <a:gd name="csX89" fmla="*/ 334803 w 379783"/>
                    <a:gd name="csY89" fmla="*/ 117876 h 519460"/>
                    <a:gd name="csX90" fmla="*/ 338453 w 379783"/>
                    <a:gd name="csY90" fmla="*/ 113522 h 519460"/>
                    <a:gd name="csX91" fmla="*/ 327184 w 379783"/>
                    <a:gd name="csY91" fmla="*/ 105903 h 519460"/>
                    <a:gd name="csX92" fmla="*/ 327920 w 379783"/>
                    <a:gd name="csY92" fmla="*/ 100460 h 519460"/>
                    <a:gd name="csX93" fmla="*/ 341719 w 379783"/>
                    <a:gd name="csY93" fmla="*/ 96106 h 519460"/>
                    <a:gd name="csX94" fmla="*/ 336628 w 379783"/>
                    <a:gd name="csY94" fmla="*/ 85222 h 519460"/>
                    <a:gd name="csX95" fmla="*/ 329745 w 379783"/>
                    <a:gd name="csY95" fmla="*/ 70367 h 519460"/>
                    <a:gd name="csX96" fmla="*/ 317772 w 379783"/>
                    <a:gd name="csY96" fmla="*/ 81604 h 519460"/>
                    <a:gd name="csX97" fmla="*/ 307239 w 379783"/>
                    <a:gd name="csY97" fmla="*/ 76514 h 519460"/>
                    <a:gd name="csX98" fmla="*/ 305447 w 379783"/>
                    <a:gd name="csY98" fmla="*/ 69631 h 519460"/>
                    <a:gd name="csX99" fmla="*/ 316683 w 379783"/>
                    <a:gd name="csY99" fmla="*/ 62748 h 519460"/>
                    <a:gd name="csX100" fmla="*/ 304710 w 379783"/>
                    <a:gd name="csY100" fmla="*/ 57657 h 519460"/>
                    <a:gd name="csX101" fmla="*/ 297827 w 379783"/>
                    <a:gd name="csY101" fmla="*/ 52215 h 519460"/>
                    <a:gd name="csX102" fmla="*/ 285854 w 379783"/>
                    <a:gd name="csY102" fmla="*/ 63484 h 519460"/>
                    <a:gd name="csX103" fmla="*/ 264436 w 379783"/>
                    <a:gd name="csY103" fmla="*/ 64572 h 519460"/>
                    <a:gd name="csX104" fmla="*/ 272792 w 379783"/>
                    <a:gd name="csY104" fmla="*/ 72192 h 519460"/>
                    <a:gd name="csX105" fmla="*/ 261523 w 379783"/>
                    <a:gd name="csY105" fmla="*/ 90312 h 519460"/>
                    <a:gd name="csX106" fmla="*/ 243755 w 379783"/>
                    <a:gd name="csY106" fmla="*/ 64572 h 519460"/>
                    <a:gd name="csX107" fmla="*/ 235784 w 379783"/>
                    <a:gd name="csY107" fmla="*/ 70367 h 519460"/>
                    <a:gd name="csX108" fmla="*/ 228165 w 379783"/>
                    <a:gd name="csY108" fmla="*/ 48245 h 519460"/>
                    <a:gd name="csX109" fmla="*/ 213662 w 379783"/>
                    <a:gd name="csY109" fmla="*/ 62748 h 519460"/>
                    <a:gd name="csX110" fmla="*/ 207483 w 379783"/>
                    <a:gd name="csY110" fmla="*/ 62748 h 519460"/>
                    <a:gd name="csX111" fmla="*/ 205691 w 379783"/>
                    <a:gd name="csY111" fmla="*/ 57657 h 519460"/>
                    <a:gd name="csX112" fmla="*/ 196246 w 379783"/>
                    <a:gd name="csY112" fmla="*/ 60923 h 519460"/>
                    <a:gd name="csX113" fmla="*/ 187539 w 379783"/>
                    <a:gd name="csY113" fmla="*/ 51511 h 519460"/>
                    <a:gd name="csX114" fmla="*/ 193685 w 379783"/>
                    <a:gd name="csY114" fmla="*/ 48950 h 519460"/>
                    <a:gd name="csX115" fmla="*/ 189331 w 379783"/>
                    <a:gd name="csY115" fmla="*/ 39537 h 519460"/>
                    <a:gd name="csX116" fmla="*/ 198039 w 379783"/>
                    <a:gd name="csY116" fmla="*/ 30093 h 519460"/>
                    <a:gd name="csX117" fmla="*/ 186802 w 379783"/>
                    <a:gd name="csY117" fmla="*/ 23210 h 519460"/>
                    <a:gd name="csX118" fmla="*/ 170475 w 379783"/>
                    <a:gd name="csY118" fmla="*/ 0 h 51946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</a:cxnLst>
                  <a:rect l="l" t="t" r="r" b="b"/>
                  <a:pathLst>
                    <a:path w="379783" h="519460">
                      <a:moveTo>
                        <a:pt x="170475" y="0"/>
                      </a:moveTo>
                      <a:lnTo>
                        <a:pt x="166858" y="13766"/>
                      </a:lnTo>
                      <a:lnTo>
                        <a:pt x="159238" y="11973"/>
                      </a:lnTo>
                      <a:lnTo>
                        <a:pt x="151619" y="17032"/>
                      </a:lnTo>
                      <a:lnTo>
                        <a:pt x="151619" y="28300"/>
                      </a:lnTo>
                      <a:lnTo>
                        <a:pt x="138557" y="40242"/>
                      </a:lnTo>
                      <a:lnTo>
                        <a:pt x="126584" y="41330"/>
                      </a:lnTo>
                      <a:lnTo>
                        <a:pt x="126584" y="50774"/>
                      </a:lnTo>
                      <a:lnTo>
                        <a:pt x="122966" y="59130"/>
                      </a:lnTo>
                      <a:lnTo>
                        <a:pt x="114611" y="62011"/>
                      </a:lnTo>
                      <a:lnTo>
                        <a:pt x="110257" y="75809"/>
                      </a:lnTo>
                      <a:lnTo>
                        <a:pt x="90312" y="78338"/>
                      </a:lnTo>
                      <a:lnTo>
                        <a:pt x="87783" y="85958"/>
                      </a:lnTo>
                      <a:lnTo>
                        <a:pt x="79075" y="86694"/>
                      </a:lnTo>
                      <a:lnTo>
                        <a:pt x="54392" y="77250"/>
                      </a:lnTo>
                      <a:lnTo>
                        <a:pt x="50774" y="81604"/>
                      </a:lnTo>
                      <a:lnTo>
                        <a:pt x="46420" y="90312"/>
                      </a:lnTo>
                      <a:lnTo>
                        <a:pt x="36272" y="93577"/>
                      </a:lnTo>
                      <a:lnTo>
                        <a:pt x="20681" y="95402"/>
                      </a:lnTo>
                      <a:lnTo>
                        <a:pt x="1793" y="122230"/>
                      </a:lnTo>
                      <a:lnTo>
                        <a:pt x="0" y="127320"/>
                      </a:lnTo>
                      <a:lnTo>
                        <a:pt x="10501" y="134203"/>
                      </a:lnTo>
                      <a:lnTo>
                        <a:pt x="124055" y="142911"/>
                      </a:lnTo>
                      <a:lnTo>
                        <a:pt x="157413" y="145440"/>
                      </a:lnTo>
                      <a:lnTo>
                        <a:pt x="210012" y="150530"/>
                      </a:lnTo>
                      <a:lnTo>
                        <a:pt x="215103" y="153059"/>
                      </a:lnTo>
                      <a:lnTo>
                        <a:pt x="215103" y="153796"/>
                      </a:lnTo>
                      <a:lnTo>
                        <a:pt x="221282" y="171211"/>
                      </a:lnTo>
                      <a:lnTo>
                        <a:pt x="221282" y="173036"/>
                      </a:lnTo>
                      <a:lnTo>
                        <a:pt x="220545" y="176302"/>
                      </a:lnTo>
                      <a:lnTo>
                        <a:pt x="218720" y="186450"/>
                      </a:lnTo>
                      <a:lnTo>
                        <a:pt x="207483" y="245228"/>
                      </a:lnTo>
                      <a:lnTo>
                        <a:pt x="202393" y="270967"/>
                      </a:lnTo>
                      <a:lnTo>
                        <a:pt x="201305" y="273496"/>
                      </a:lnTo>
                      <a:lnTo>
                        <a:pt x="186098" y="347513"/>
                      </a:lnTo>
                      <a:lnTo>
                        <a:pt x="197335" y="349338"/>
                      </a:lnTo>
                      <a:lnTo>
                        <a:pt x="198039" y="360575"/>
                      </a:lnTo>
                      <a:lnTo>
                        <a:pt x="198039" y="364544"/>
                      </a:lnTo>
                      <a:lnTo>
                        <a:pt x="189331" y="366369"/>
                      </a:lnTo>
                      <a:lnTo>
                        <a:pt x="183537" y="375813"/>
                      </a:lnTo>
                      <a:lnTo>
                        <a:pt x="171211" y="378343"/>
                      </a:lnTo>
                      <a:lnTo>
                        <a:pt x="173741" y="385226"/>
                      </a:lnTo>
                      <a:lnTo>
                        <a:pt x="186802" y="393229"/>
                      </a:lnTo>
                      <a:lnTo>
                        <a:pt x="182448" y="404466"/>
                      </a:lnTo>
                      <a:lnTo>
                        <a:pt x="198776" y="399024"/>
                      </a:lnTo>
                      <a:lnTo>
                        <a:pt x="204218" y="401553"/>
                      </a:lnTo>
                      <a:lnTo>
                        <a:pt x="198776" y="410261"/>
                      </a:lnTo>
                      <a:lnTo>
                        <a:pt x="215103" y="412822"/>
                      </a:lnTo>
                      <a:lnTo>
                        <a:pt x="235048" y="429117"/>
                      </a:lnTo>
                      <a:lnTo>
                        <a:pt x="249582" y="434559"/>
                      </a:lnTo>
                      <a:lnTo>
                        <a:pt x="256465" y="437120"/>
                      </a:lnTo>
                      <a:lnTo>
                        <a:pt x="258258" y="444003"/>
                      </a:lnTo>
                      <a:lnTo>
                        <a:pt x="305447" y="447269"/>
                      </a:lnTo>
                      <a:lnTo>
                        <a:pt x="319213" y="458506"/>
                      </a:lnTo>
                      <a:lnTo>
                        <a:pt x="321037" y="519461"/>
                      </a:lnTo>
                      <a:lnTo>
                        <a:pt x="322830" y="516932"/>
                      </a:lnTo>
                      <a:lnTo>
                        <a:pt x="329745" y="502397"/>
                      </a:lnTo>
                      <a:lnTo>
                        <a:pt x="338453" y="495514"/>
                      </a:lnTo>
                      <a:lnTo>
                        <a:pt x="341719" y="461771"/>
                      </a:lnTo>
                      <a:lnTo>
                        <a:pt x="353692" y="452359"/>
                      </a:lnTo>
                      <a:lnTo>
                        <a:pt x="366017" y="459242"/>
                      </a:lnTo>
                      <a:lnTo>
                        <a:pt x="376166" y="458506"/>
                      </a:lnTo>
                      <a:lnTo>
                        <a:pt x="369987" y="442915"/>
                      </a:lnTo>
                      <a:lnTo>
                        <a:pt x="366722" y="439650"/>
                      </a:lnTo>
                      <a:lnTo>
                        <a:pt x="369283" y="433471"/>
                      </a:lnTo>
                      <a:lnTo>
                        <a:pt x="362368" y="429117"/>
                      </a:lnTo>
                      <a:lnTo>
                        <a:pt x="367458" y="354396"/>
                      </a:lnTo>
                      <a:lnTo>
                        <a:pt x="358046" y="338805"/>
                      </a:lnTo>
                      <a:lnTo>
                        <a:pt x="339894" y="330450"/>
                      </a:lnTo>
                      <a:lnTo>
                        <a:pt x="334099" y="313034"/>
                      </a:lnTo>
                      <a:lnTo>
                        <a:pt x="348602" y="291648"/>
                      </a:lnTo>
                      <a:lnTo>
                        <a:pt x="348602" y="289824"/>
                      </a:lnTo>
                      <a:lnTo>
                        <a:pt x="347865" y="285470"/>
                      </a:lnTo>
                      <a:lnTo>
                        <a:pt x="355485" y="281116"/>
                      </a:lnTo>
                      <a:lnTo>
                        <a:pt x="361663" y="270967"/>
                      </a:lnTo>
                      <a:lnTo>
                        <a:pt x="373637" y="276058"/>
                      </a:lnTo>
                      <a:lnTo>
                        <a:pt x="379783" y="258994"/>
                      </a:lnTo>
                      <a:lnTo>
                        <a:pt x="367458" y="257906"/>
                      </a:lnTo>
                      <a:lnTo>
                        <a:pt x="366722" y="251022"/>
                      </a:lnTo>
                      <a:lnTo>
                        <a:pt x="371812" y="247757"/>
                      </a:lnTo>
                      <a:lnTo>
                        <a:pt x="369283" y="239049"/>
                      </a:lnTo>
                      <a:lnTo>
                        <a:pt x="351131" y="237224"/>
                      </a:lnTo>
                      <a:lnTo>
                        <a:pt x="348602" y="227076"/>
                      </a:lnTo>
                      <a:lnTo>
                        <a:pt x="354780" y="215839"/>
                      </a:lnTo>
                      <a:lnTo>
                        <a:pt x="353692" y="197687"/>
                      </a:lnTo>
                      <a:lnTo>
                        <a:pt x="343511" y="185009"/>
                      </a:lnTo>
                      <a:lnTo>
                        <a:pt x="339894" y="163240"/>
                      </a:lnTo>
                      <a:lnTo>
                        <a:pt x="348602" y="148705"/>
                      </a:lnTo>
                      <a:lnTo>
                        <a:pt x="341719" y="126232"/>
                      </a:lnTo>
                      <a:lnTo>
                        <a:pt x="334803" y="117876"/>
                      </a:lnTo>
                      <a:lnTo>
                        <a:pt x="338453" y="113522"/>
                      </a:lnTo>
                      <a:lnTo>
                        <a:pt x="327184" y="105903"/>
                      </a:lnTo>
                      <a:lnTo>
                        <a:pt x="327920" y="100460"/>
                      </a:lnTo>
                      <a:lnTo>
                        <a:pt x="341719" y="96106"/>
                      </a:lnTo>
                      <a:lnTo>
                        <a:pt x="336628" y="85222"/>
                      </a:lnTo>
                      <a:lnTo>
                        <a:pt x="329745" y="70367"/>
                      </a:lnTo>
                      <a:lnTo>
                        <a:pt x="317772" y="81604"/>
                      </a:lnTo>
                      <a:lnTo>
                        <a:pt x="307239" y="76514"/>
                      </a:lnTo>
                      <a:lnTo>
                        <a:pt x="305447" y="69631"/>
                      </a:lnTo>
                      <a:lnTo>
                        <a:pt x="316683" y="62748"/>
                      </a:lnTo>
                      <a:lnTo>
                        <a:pt x="304710" y="57657"/>
                      </a:lnTo>
                      <a:lnTo>
                        <a:pt x="297827" y="52215"/>
                      </a:lnTo>
                      <a:lnTo>
                        <a:pt x="285854" y="63484"/>
                      </a:lnTo>
                      <a:lnTo>
                        <a:pt x="264436" y="64572"/>
                      </a:lnTo>
                      <a:lnTo>
                        <a:pt x="272792" y="72192"/>
                      </a:lnTo>
                      <a:lnTo>
                        <a:pt x="261523" y="90312"/>
                      </a:lnTo>
                      <a:lnTo>
                        <a:pt x="243755" y="64572"/>
                      </a:lnTo>
                      <a:lnTo>
                        <a:pt x="235784" y="70367"/>
                      </a:lnTo>
                      <a:lnTo>
                        <a:pt x="228165" y="48245"/>
                      </a:lnTo>
                      <a:lnTo>
                        <a:pt x="213662" y="62748"/>
                      </a:lnTo>
                      <a:lnTo>
                        <a:pt x="207483" y="62748"/>
                      </a:lnTo>
                      <a:lnTo>
                        <a:pt x="205691" y="57657"/>
                      </a:lnTo>
                      <a:lnTo>
                        <a:pt x="196246" y="60923"/>
                      </a:lnTo>
                      <a:lnTo>
                        <a:pt x="187539" y="51511"/>
                      </a:lnTo>
                      <a:lnTo>
                        <a:pt x="193685" y="48950"/>
                      </a:lnTo>
                      <a:lnTo>
                        <a:pt x="189331" y="39537"/>
                      </a:lnTo>
                      <a:lnTo>
                        <a:pt x="198039" y="30093"/>
                      </a:lnTo>
                      <a:lnTo>
                        <a:pt x="186802" y="23210"/>
                      </a:lnTo>
                      <a:lnTo>
                        <a:pt x="170475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2" name="Forma Livre: Forma 181">
                  <a:extLst>
                    <a:ext uri="{FF2B5EF4-FFF2-40B4-BE49-F238E27FC236}">
                      <a16:creationId xmlns:a16="http://schemas.microsoft.com/office/drawing/2014/main" id="{F22EC398-B187-9314-EEA3-1B5AB0CB92B5}"/>
                    </a:ext>
                  </a:extLst>
                </p:cNvPr>
                <p:cNvSpPr/>
                <p:nvPr/>
              </p:nvSpPr>
              <p:spPr>
                <a:xfrm>
                  <a:off x="2488755" y="2632971"/>
                  <a:ext cx="379783" cy="519460"/>
                </a:xfrm>
                <a:custGeom>
                  <a:avLst/>
                  <a:gdLst>
                    <a:gd name="csX0" fmla="*/ 170475 w 379783"/>
                    <a:gd name="csY0" fmla="*/ 0 h 519460"/>
                    <a:gd name="csX1" fmla="*/ 166858 w 379783"/>
                    <a:gd name="csY1" fmla="*/ 13766 h 519460"/>
                    <a:gd name="csX2" fmla="*/ 159238 w 379783"/>
                    <a:gd name="csY2" fmla="*/ 11973 h 519460"/>
                    <a:gd name="csX3" fmla="*/ 151619 w 379783"/>
                    <a:gd name="csY3" fmla="*/ 17032 h 519460"/>
                    <a:gd name="csX4" fmla="*/ 151619 w 379783"/>
                    <a:gd name="csY4" fmla="*/ 28300 h 519460"/>
                    <a:gd name="csX5" fmla="*/ 138557 w 379783"/>
                    <a:gd name="csY5" fmla="*/ 40242 h 519460"/>
                    <a:gd name="csX6" fmla="*/ 126584 w 379783"/>
                    <a:gd name="csY6" fmla="*/ 41330 h 519460"/>
                    <a:gd name="csX7" fmla="*/ 126584 w 379783"/>
                    <a:gd name="csY7" fmla="*/ 50774 h 519460"/>
                    <a:gd name="csX8" fmla="*/ 122966 w 379783"/>
                    <a:gd name="csY8" fmla="*/ 59130 h 519460"/>
                    <a:gd name="csX9" fmla="*/ 114611 w 379783"/>
                    <a:gd name="csY9" fmla="*/ 62011 h 519460"/>
                    <a:gd name="csX10" fmla="*/ 110257 w 379783"/>
                    <a:gd name="csY10" fmla="*/ 75809 h 519460"/>
                    <a:gd name="csX11" fmla="*/ 90312 w 379783"/>
                    <a:gd name="csY11" fmla="*/ 78338 h 519460"/>
                    <a:gd name="csX12" fmla="*/ 87783 w 379783"/>
                    <a:gd name="csY12" fmla="*/ 85958 h 519460"/>
                    <a:gd name="csX13" fmla="*/ 79075 w 379783"/>
                    <a:gd name="csY13" fmla="*/ 86694 h 519460"/>
                    <a:gd name="csX14" fmla="*/ 54392 w 379783"/>
                    <a:gd name="csY14" fmla="*/ 77250 h 519460"/>
                    <a:gd name="csX15" fmla="*/ 50774 w 379783"/>
                    <a:gd name="csY15" fmla="*/ 81604 h 519460"/>
                    <a:gd name="csX16" fmla="*/ 46420 w 379783"/>
                    <a:gd name="csY16" fmla="*/ 90312 h 519460"/>
                    <a:gd name="csX17" fmla="*/ 36272 w 379783"/>
                    <a:gd name="csY17" fmla="*/ 93577 h 519460"/>
                    <a:gd name="csX18" fmla="*/ 20681 w 379783"/>
                    <a:gd name="csY18" fmla="*/ 95402 h 519460"/>
                    <a:gd name="csX19" fmla="*/ 1793 w 379783"/>
                    <a:gd name="csY19" fmla="*/ 122230 h 519460"/>
                    <a:gd name="csX20" fmla="*/ 0 w 379783"/>
                    <a:gd name="csY20" fmla="*/ 127320 h 519460"/>
                    <a:gd name="csX21" fmla="*/ 10501 w 379783"/>
                    <a:gd name="csY21" fmla="*/ 134203 h 519460"/>
                    <a:gd name="csX22" fmla="*/ 124055 w 379783"/>
                    <a:gd name="csY22" fmla="*/ 142911 h 519460"/>
                    <a:gd name="csX23" fmla="*/ 157413 w 379783"/>
                    <a:gd name="csY23" fmla="*/ 145440 h 519460"/>
                    <a:gd name="csX24" fmla="*/ 210012 w 379783"/>
                    <a:gd name="csY24" fmla="*/ 150530 h 519460"/>
                    <a:gd name="csX25" fmla="*/ 215103 w 379783"/>
                    <a:gd name="csY25" fmla="*/ 153059 h 519460"/>
                    <a:gd name="csX26" fmla="*/ 215103 w 379783"/>
                    <a:gd name="csY26" fmla="*/ 153796 h 519460"/>
                    <a:gd name="csX27" fmla="*/ 221282 w 379783"/>
                    <a:gd name="csY27" fmla="*/ 171211 h 519460"/>
                    <a:gd name="csX28" fmla="*/ 221282 w 379783"/>
                    <a:gd name="csY28" fmla="*/ 173036 h 519460"/>
                    <a:gd name="csX29" fmla="*/ 220545 w 379783"/>
                    <a:gd name="csY29" fmla="*/ 176302 h 519460"/>
                    <a:gd name="csX30" fmla="*/ 218720 w 379783"/>
                    <a:gd name="csY30" fmla="*/ 186450 h 519460"/>
                    <a:gd name="csX31" fmla="*/ 207483 w 379783"/>
                    <a:gd name="csY31" fmla="*/ 245228 h 519460"/>
                    <a:gd name="csX32" fmla="*/ 202393 w 379783"/>
                    <a:gd name="csY32" fmla="*/ 270967 h 519460"/>
                    <a:gd name="csX33" fmla="*/ 201305 w 379783"/>
                    <a:gd name="csY33" fmla="*/ 273496 h 519460"/>
                    <a:gd name="csX34" fmla="*/ 186098 w 379783"/>
                    <a:gd name="csY34" fmla="*/ 347513 h 519460"/>
                    <a:gd name="csX35" fmla="*/ 197335 w 379783"/>
                    <a:gd name="csY35" fmla="*/ 349338 h 519460"/>
                    <a:gd name="csX36" fmla="*/ 198039 w 379783"/>
                    <a:gd name="csY36" fmla="*/ 360575 h 519460"/>
                    <a:gd name="csX37" fmla="*/ 198039 w 379783"/>
                    <a:gd name="csY37" fmla="*/ 364544 h 519460"/>
                    <a:gd name="csX38" fmla="*/ 189331 w 379783"/>
                    <a:gd name="csY38" fmla="*/ 366369 h 519460"/>
                    <a:gd name="csX39" fmla="*/ 183537 w 379783"/>
                    <a:gd name="csY39" fmla="*/ 375813 h 519460"/>
                    <a:gd name="csX40" fmla="*/ 171211 w 379783"/>
                    <a:gd name="csY40" fmla="*/ 378343 h 519460"/>
                    <a:gd name="csX41" fmla="*/ 173741 w 379783"/>
                    <a:gd name="csY41" fmla="*/ 385226 h 519460"/>
                    <a:gd name="csX42" fmla="*/ 186802 w 379783"/>
                    <a:gd name="csY42" fmla="*/ 393229 h 519460"/>
                    <a:gd name="csX43" fmla="*/ 182448 w 379783"/>
                    <a:gd name="csY43" fmla="*/ 404466 h 519460"/>
                    <a:gd name="csX44" fmla="*/ 198776 w 379783"/>
                    <a:gd name="csY44" fmla="*/ 399024 h 519460"/>
                    <a:gd name="csX45" fmla="*/ 204218 w 379783"/>
                    <a:gd name="csY45" fmla="*/ 401553 h 519460"/>
                    <a:gd name="csX46" fmla="*/ 198776 w 379783"/>
                    <a:gd name="csY46" fmla="*/ 410261 h 519460"/>
                    <a:gd name="csX47" fmla="*/ 215103 w 379783"/>
                    <a:gd name="csY47" fmla="*/ 412822 h 519460"/>
                    <a:gd name="csX48" fmla="*/ 235048 w 379783"/>
                    <a:gd name="csY48" fmla="*/ 429117 h 519460"/>
                    <a:gd name="csX49" fmla="*/ 249582 w 379783"/>
                    <a:gd name="csY49" fmla="*/ 434559 h 519460"/>
                    <a:gd name="csX50" fmla="*/ 256465 w 379783"/>
                    <a:gd name="csY50" fmla="*/ 437120 h 519460"/>
                    <a:gd name="csX51" fmla="*/ 258258 w 379783"/>
                    <a:gd name="csY51" fmla="*/ 444003 h 519460"/>
                    <a:gd name="csX52" fmla="*/ 305447 w 379783"/>
                    <a:gd name="csY52" fmla="*/ 447269 h 519460"/>
                    <a:gd name="csX53" fmla="*/ 319213 w 379783"/>
                    <a:gd name="csY53" fmla="*/ 458506 h 519460"/>
                    <a:gd name="csX54" fmla="*/ 321037 w 379783"/>
                    <a:gd name="csY54" fmla="*/ 519461 h 519460"/>
                    <a:gd name="csX55" fmla="*/ 322830 w 379783"/>
                    <a:gd name="csY55" fmla="*/ 516932 h 519460"/>
                    <a:gd name="csX56" fmla="*/ 329745 w 379783"/>
                    <a:gd name="csY56" fmla="*/ 502397 h 519460"/>
                    <a:gd name="csX57" fmla="*/ 338453 w 379783"/>
                    <a:gd name="csY57" fmla="*/ 495514 h 519460"/>
                    <a:gd name="csX58" fmla="*/ 341719 w 379783"/>
                    <a:gd name="csY58" fmla="*/ 461771 h 519460"/>
                    <a:gd name="csX59" fmla="*/ 353692 w 379783"/>
                    <a:gd name="csY59" fmla="*/ 452359 h 519460"/>
                    <a:gd name="csX60" fmla="*/ 366017 w 379783"/>
                    <a:gd name="csY60" fmla="*/ 459242 h 519460"/>
                    <a:gd name="csX61" fmla="*/ 376166 w 379783"/>
                    <a:gd name="csY61" fmla="*/ 458506 h 519460"/>
                    <a:gd name="csX62" fmla="*/ 369987 w 379783"/>
                    <a:gd name="csY62" fmla="*/ 442915 h 519460"/>
                    <a:gd name="csX63" fmla="*/ 366722 w 379783"/>
                    <a:gd name="csY63" fmla="*/ 439650 h 519460"/>
                    <a:gd name="csX64" fmla="*/ 369283 w 379783"/>
                    <a:gd name="csY64" fmla="*/ 433471 h 519460"/>
                    <a:gd name="csX65" fmla="*/ 362368 w 379783"/>
                    <a:gd name="csY65" fmla="*/ 429117 h 519460"/>
                    <a:gd name="csX66" fmla="*/ 367458 w 379783"/>
                    <a:gd name="csY66" fmla="*/ 354396 h 519460"/>
                    <a:gd name="csX67" fmla="*/ 358046 w 379783"/>
                    <a:gd name="csY67" fmla="*/ 338805 h 519460"/>
                    <a:gd name="csX68" fmla="*/ 339894 w 379783"/>
                    <a:gd name="csY68" fmla="*/ 330450 h 519460"/>
                    <a:gd name="csX69" fmla="*/ 334099 w 379783"/>
                    <a:gd name="csY69" fmla="*/ 313034 h 519460"/>
                    <a:gd name="csX70" fmla="*/ 348602 w 379783"/>
                    <a:gd name="csY70" fmla="*/ 291648 h 519460"/>
                    <a:gd name="csX71" fmla="*/ 348602 w 379783"/>
                    <a:gd name="csY71" fmla="*/ 289824 h 519460"/>
                    <a:gd name="csX72" fmla="*/ 347865 w 379783"/>
                    <a:gd name="csY72" fmla="*/ 285470 h 519460"/>
                    <a:gd name="csX73" fmla="*/ 355485 w 379783"/>
                    <a:gd name="csY73" fmla="*/ 281116 h 519460"/>
                    <a:gd name="csX74" fmla="*/ 361663 w 379783"/>
                    <a:gd name="csY74" fmla="*/ 270967 h 519460"/>
                    <a:gd name="csX75" fmla="*/ 373637 w 379783"/>
                    <a:gd name="csY75" fmla="*/ 276058 h 519460"/>
                    <a:gd name="csX76" fmla="*/ 379783 w 379783"/>
                    <a:gd name="csY76" fmla="*/ 258994 h 519460"/>
                    <a:gd name="csX77" fmla="*/ 367458 w 379783"/>
                    <a:gd name="csY77" fmla="*/ 257906 h 519460"/>
                    <a:gd name="csX78" fmla="*/ 366722 w 379783"/>
                    <a:gd name="csY78" fmla="*/ 251022 h 519460"/>
                    <a:gd name="csX79" fmla="*/ 371812 w 379783"/>
                    <a:gd name="csY79" fmla="*/ 247757 h 519460"/>
                    <a:gd name="csX80" fmla="*/ 369283 w 379783"/>
                    <a:gd name="csY80" fmla="*/ 239049 h 519460"/>
                    <a:gd name="csX81" fmla="*/ 351131 w 379783"/>
                    <a:gd name="csY81" fmla="*/ 237224 h 519460"/>
                    <a:gd name="csX82" fmla="*/ 348602 w 379783"/>
                    <a:gd name="csY82" fmla="*/ 227076 h 519460"/>
                    <a:gd name="csX83" fmla="*/ 354780 w 379783"/>
                    <a:gd name="csY83" fmla="*/ 215839 h 519460"/>
                    <a:gd name="csX84" fmla="*/ 353692 w 379783"/>
                    <a:gd name="csY84" fmla="*/ 197687 h 519460"/>
                    <a:gd name="csX85" fmla="*/ 343511 w 379783"/>
                    <a:gd name="csY85" fmla="*/ 185009 h 519460"/>
                    <a:gd name="csX86" fmla="*/ 339894 w 379783"/>
                    <a:gd name="csY86" fmla="*/ 163240 h 519460"/>
                    <a:gd name="csX87" fmla="*/ 348602 w 379783"/>
                    <a:gd name="csY87" fmla="*/ 148705 h 519460"/>
                    <a:gd name="csX88" fmla="*/ 341719 w 379783"/>
                    <a:gd name="csY88" fmla="*/ 126232 h 519460"/>
                    <a:gd name="csX89" fmla="*/ 334803 w 379783"/>
                    <a:gd name="csY89" fmla="*/ 117876 h 519460"/>
                    <a:gd name="csX90" fmla="*/ 338453 w 379783"/>
                    <a:gd name="csY90" fmla="*/ 113522 h 519460"/>
                    <a:gd name="csX91" fmla="*/ 327184 w 379783"/>
                    <a:gd name="csY91" fmla="*/ 105903 h 519460"/>
                    <a:gd name="csX92" fmla="*/ 327920 w 379783"/>
                    <a:gd name="csY92" fmla="*/ 100460 h 519460"/>
                    <a:gd name="csX93" fmla="*/ 341719 w 379783"/>
                    <a:gd name="csY93" fmla="*/ 96106 h 519460"/>
                    <a:gd name="csX94" fmla="*/ 336628 w 379783"/>
                    <a:gd name="csY94" fmla="*/ 85222 h 519460"/>
                    <a:gd name="csX95" fmla="*/ 329745 w 379783"/>
                    <a:gd name="csY95" fmla="*/ 70367 h 519460"/>
                    <a:gd name="csX96" fmla="*/ 317772 w 379783"/>
                    <a:gd name="csY96" fmla="*/ 81604 h 519460"/>
                    <a:gd name="csX97" fmla="*/ 307239 w 379783"/>
                    <a:gd name="csY97" fmla="*/ 76514 h 519460"/>
                    <a:gd name="csX98" fmla="*/ 305447 w 379783"/>
                    <a:gd name="csY98" fmla="*/ 69631 h 519460"/>
                    <a:gd name="csX99" fmla="*/ 316683 w 379783"/>
                    <a:gd name="csY99" fmla="*/ 62748 h 519460"/>
                    <a:gd name="csX100" fmla="*/ 304710 w 379783"/>
                    <a:gd name="csY100" fmla="*/ 57657 h 519460"/>
                    <a:gd name="csX101" fmla="*/ 297827 w 379783"/>
                    <a:gd name="csY101" fmla="*/ 52215 h 519460"/>
                    <a:gd name="csX102" fmla="*/ 285854 w 379783"/>
                    <a:gd name="csY102" fmla="*/ 63484 h 519460"/>
                    <a:gd name="csX103" fmla="*/ 264436 w 379783"/>
                    <a:gd name="csY103" fmla="*/ 64572 h 519460"/>
                    <a:gd name="csX104" fmla="*/ 272792 w 379783"/>
                    <a:gd name="csY104" fmla="*/ 72192 h 519460"/>
                    <a:gd name="csX105" fmla="*/ 261523 w 379783"/>
                    <a:gd name="csY105" fmla="*/ 90312 h 519460"/>
                    <a:gd name="csX106" fmla="*/ 243755 w 379783"/>
                    <a:gd name="csY106" fmla="*/ 64572 h 519460"/>
                    <a:gd name="csX107" fmla="*/ 235784 w 379783"/>
                    <a:gd name="csY107" fmla="*/ 70367 h 519460"/>
                    <a:gd name="csX108" fmla="*/ 228165 w 379783"/>
                    <a:gd name="csY108" fmla="*/ 48245 h 519460"/>
                    <a:gd name="csX109" fmla="*/ 213662 w 379783"/>
                    <a:gd name="csY109" fmla="*/ 62748 h 519460"/>
                    <a:gd name="csX110" fmla="*/ 207483 w 379783"/>
                    <a:gd name="csY110" fmla="*/ 62748 h 519460"/>
                    <a:gd name="csX111" fmla="*/ 205691 w 379783"/>
                    <a:gd name="csY111" fmla="*/ 57657 h 519460"/>
                    <a:gd name="csX112" fmla="*/ 196246 w 379783"/>
                    <a:gd name="csY112" fmla="*/ 60923 h 519460"/>
                    <a:gd name="csX113" fmla="*/ 187539 w 379783"/>
                    <a:gd name="csY113" fmla="*/ 51511 h 519460"/>
                    <a:gd name="csX114" fmla="*/ 193685 w 379783"/>
                    <a:gd name="csY114" fmla="*/ 48950 h 519460"/>
                    <a:gd name="csX115" fmla="*/ 189331 w 379783"/>
                    <a:gd name="csY115" fmla="*/ 39537 h 519460"/>
                    <a:gd name="csX116" fmla="*/ 198039 w 379783"/>
                    <a:gd name="csY116" fmla="*/ 30093 h 519460"/>
                    <a:gd name="csX117" fmla="*/ 186802 w 379783"/>
                    <a:gd name="csY117" fmla="*/ 23210 h 519460"/>
                    <a:gd name="csX118" fmla="*/ 170475 w 379783"/>
                    <a:gd name="csY118" fmla="*/ 0 h 51946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</a:cxnLst>
                  <a:rect l="l" t="t" r="r" b="b"/>
                  <a:pathLst>
                    <a:path w="379783" h="519460">
                      <a:moveTo>
                        <a:pt x="170475" y="0"/>
                      </a:moveTo>
                      <a:lnTo>
                        <a:pt x="166858" y="13766"/>
                      </a:lnTo>
                      <a:lnTo>
                        <a:pt x="159238" y="11973"/>
                      </a:lnTo>
                      <a:lnTo>
                        <a:pt x="151619" y="17032"/>
                      </a:lnTo>
                      <a:lnTo>
                        <a:pt x="151619" y="28300"/>
                      </a:lnTo>
                      <a:lnTo>
                        <a:pt x="138557" y="40242"/>
                      </a:lnTo>
                      <a:lnTo>
                        <a:pt x="126584" y="41330"/>
                      </a:lnTo>
                      <a:lnTo>
                        <a:pt x="126584" y="50774"/>
                      </a:lnTo>
                      <a:lnTo>
                        <a:pt x="122966" y="59130"/>
                      </a:lnTo>
                      <a:lnTo>
                        <a:pt x="114611" y="62011"/>
                      </a:lnTo>
                      <a:lnTo>
                        <a:pt x="110257" y="75809"/>
                      </a:lnTo>
                      <a:lnTo>
                        <a:pt x="90312" y="78338"/>
                      </a:lnTo>
                      <a:lnTo>
                        <a:pt x="87783" y="85958"/>
                      </a:lnTo>
                      <a:lnTo>
                        <a:pt x="79075" y="86694"/>
                      </a:lnTo>
                      <a:lnTo>
                        <a:pt x="54392" y="77250"/>
                      </a:lnTo>
                      <a:lnTo>
                        <a:pt x="50774" y="81604"/>
                      </a:lnTo>
                      <a:lnTo>
                        <a:pt x="46420" y="90312"/>
                      </a:lnTo>
                      <a:lnTo>
                        <a:pt x="36272" y="93577"/>
                      </a:lnTo>
                      <a:lnTo>
                        <a:pt x="20681" y="95402"/>
                      </a:lnTo>
                      <a:lnTo>
                        <a:pt x="1793" y="122230"/>
                      </a:lnTo>
                      <a:lnTo>
                        <a:pt x="0" y="127320"/>
                      </a:lnTo>
                      <a:lnTo>
                        <a:pt x="10501" y="134203"/>
                      </a:lnTo>
                      <a:lnTo>
                        <a:pt x="124055" y="142911"/>
                      </a:lnTo>
                      <a:lnTo>
                        <a:pt x="157413" y="145440"/>
                      </a:lnTo>
                      <a:lnTo>
                        <a:pt x="210012" y="150530"/>
                      </a:lnTo>
                      <a:lnTo>
                        <a:pt x="215103" y="153059"/>
                      </a:lnTo>
                      <a:lnTo>
                        <a:pt x="215103" y="153796"/>
                      </a:lnTo>
                      <a:lnTo>
                        <a:pt x="221282" y="171211"/>
                      </a:lnTo>
                      <a:lnTo>
                        <a:pt x="221282" y="173036"/>
                      </a:lnTo>
                      <a:lnTo>
                        <a:pt x="220545" y="176302"/>
                      </a:lnTo>
                      <a:lnTo>
                        <a:pt x="218720" y="186450"/>
                      </a:lnTo>
                      <a:lnTo>
                        <a:pt x="207483" y="245228"/>
                      </a:lnTo>
                      <a:lnTo>
                        <a:pt x="202393" y="270967"/>
                      </a:lnTo>
                      <a:lnTo>
                        <a:pt x="201305" y="273496"/>
                      </a:lnTo>
                      <a:lnTo>
                        <a:pt x="186098" y="347513"/>
                      </a:lnTo>
                      <a:lnTo>
                        <a:pt x="197335" y="349338"/>
                      </a:lnTo>
                      <a:lnTo>
                        <a:pt x="198039" y="360575"/>
                      </a:lnTo>
                      <a:lnTo>
                        <a:pt x="198039" y="364544"/>
                      </a:lnTo>
                      <a:lnTo>
                        <a:pt x="189331" y="366369"/>
                      </a:lnTo>
                      <a:lnTo>
                        <a:pt x="183537" y="375813"/>
                      </a:lnTo>
                      <a:lnTo>
                        <a:pt x="171211" y="378343"/>
                      </a:lnTo>
                      <a:lnTo>
                        <a:pt x="173741" y="385226"/>
                      </a:lnTo>
                      <a:lnTo>
                        <a:pt x="186802" y="393229"/>
                      </a:lnTo>
                      <a:lnTo>
                        <a:pt x="182448" y="404466"/>
                      </a:lnTo>
                      <a:lnTo>
                        <a:pt x="198776" y="399024"/>
                      </a:lnTo>
                      <a:lnTo>
                        <a:pt x="204218" y="401553"/>
                      </a:lnTo>
                      <a:lnTo>
                        <a:pt x="198776" y="410261"/>
                      </a:lnTo>
                      <a:lnTo>
                        <a:pt x="215103" y="412822"/>
                      </a:lnTo>
                      <a:lnTo>
                        <a:pt x="235048" y="429117"/>
                      </a:lnTo>
                      <a:lnTo>
                        <a:pt x="249582" y="434559"/>
                      </a:lnTo>
                      <a:lnTo>
                        <a:pt x="256465" y="437120"/>
                      </a:lnTo>
                      <a:lnTo>
                        <a:pt x="258258" y="444003"/>
                      </a:lnTo>
                      <a:lnTo>
                        <a:pt x="305447" y="447269"/>
                      </a:lnTo>
                      <a:lnTo>
                        <a:pt x="319213" y="458506"/>
                      </a:lnTo>
                      <a:lnTo>
                        <a:pt x="321037" y="519461"/>
                      </a:lnTo>
                      <a:lnTo>
                        <a:pt x="322830" y="516932"/>
                      </a:lnTo>
                      <a:lnTo>
                        <a:pt x="329745" y="502397"/>
                      </a:lnTo>
                      <a:lnTo>
                        <a:pt x="338453" y="495514"/>
                      </a:lnTo>
                      <a:lnTo>
                        <a:pt x="341719" y="461771"/>
                      </a:lnTo>
                      <a:lnTo>
                        <a:pt x="353692" y="452359"/>
                      </a:lnTo>
                      <a:lnTo>
                        <a:pt x="366017" y="459242"/>
                      </a:lnTo>
                      <a:lnTo>
                        <a:pt x="376166" y="458506"/>
                      </a:lnTo>
                      <a:lnTo>
                        <a:pt x="369987" y="442915"/>
                      </a:lnTo>
                      <a:lnTo>
                        <a:pt x="366722" y="439650"/>
                      </a:lnTo>
                      <a:lnTo>
                        <a:pt x="369283" y="433471"/>
                      </a:lnTo>
                      <a:lnTo>
                        <a:pt x="362368" y="429117"/>
                      </a:lnTo>
                      <a:lnTo>
                        <a:pt x="367458" y="354396"/>
                      </a:lnTo>
                      <a:lnTo>
                        <a:pt x="358046" y="338805"/>
                      </a:lnTo>
                      <a:lnTo>
                        <a:pt x="339894" y="330450"/>
                      </a:lnTo>
                      <a:lnTo>
                        <a:pt x="334099" y="313034"/>
                      </a:lnTo>
                      <a:lnTo>
                        <a:pt x="348602" y="291648"/>
                      </a:lnTo>
                      <a:lnTo>
                        <a:pt x="348602" y="289824"/>
                      </a:lnTo>
                      <a:lnTo>
                        <a:pt x="347865" y="285470"/>
                      </a:lnTo>
                      <a:lnTo>
                        <a:pt x="355485" y="281116"/>
                      </a:lnTo>
                      <a:lnTo>
                        <a:pt x="361663" y="270967"/>
                      </a:lnTo>
                      <a:lnTo>
                        <a:pt x="373637" y="276058"/>
                      </a:lnTo>
                      <a:lnTo>
                        <a:pt x="379783" y="258994"/>
                      </a:lnTo>
                      <a:lnTo>
                        <a:pt x="367458" y="257906"/>
                      </a:lnTo>
                      <a:lnTo>
                        <a:pt x="366722" y="251022"/>
                      </a:lnTo>
                      <a:lnTo>
                        <a:pt x="371812" y="247757"/>
                      </a:lnTo>
                      <a:lnTo>
                        <a:pt x="369283" y="239049"/>
                      </a:lnTo>
                      <a:lnTo>
                        <a:pt x="351131" y="237224"/>
                      </a:lnTo>
                      <a:lnTo>
                        <a:pt x="348602" y="227076"/>
                      </a:lnTo>
                      <a:lnTo>
                        <a:pt x="354780" y="215839"/>
                      </a:lnTo>
                      <a:lnTo>
                        <a:pt x="353692" y="197687"/>
                      </a:lnTo>
                      <a:lnTo>
                        <a:pt x="343511" y="185009"/>
                      </a:lnTo>
                      <a:lnTo>
                        <a:pt x="339894" y="163240"/>
                      </a:lnTo>
                      <a:lnTo>
                        <a:pt x="348602" y="148705"/>
                      </a:lnTo>
                      <a:lnTo>
                        <a:pt x="341719" y="126232"/>
                      </a:lnTo>
                      <a:lnTo>
                        <a:pt x="334803" y="117876"/>
                      </a:lnTo>
                      <a:lnTo>
                        <a:pt x="338453" y="113522"/>
                      </a:lnTo>
                      <a:lnTo>
                        <a:pt x="327184" y="105903"/>
                      </a:lnTo>
                      <a:lnTo>
                        <a:pt x="327920" y="100460"/>
                      </a:lnTo>
                      <a:lnTo>
                        <a:pt x="341719" y="96106"/>
                      </a:lnTo>
                      <a:lnTo>
                        <a:pt x="336628" y="85222"/>
                      </a:lnTo>
                      <a:lnTo>
                        <a:pt x="329745" y="70367"/>
                      </a:lnTo>
                      <a:lnTo>
                        <a:pt x="317772" y="81604"/>
                      </a:lnTo>
                      <a:lnTo>
                        <a:pt x="307239" y="76514"/>
                      </a:lnTo>
                      <a:lnTo>
                        <a:pt x="305447" y="69631"/>
                      </a:lnTo>
                      <a:lnTo>
                        <a:pt x="316683" y="62748"/>
                      </a:lnTo>
                      <a:lnTo>
                        <a:pt x="304710" y="57657"/>
                      </a:lnTo>
                      <a:lnTo>
                        <a:pt x="297827" y="52215"/>
                      </a:lnTo>
                      <a:lnTo>
                        <a:pt x="285854" y="63484"/>
                      </a:lnTo>
                      <a:lnTo>
                        <a:pt x="264436" y="64572"/>
                      </a:lnTo>
                      <a:lnTo>
                        <a:pt x="272792" y="72192"/>
                      </a:lnTo>
                      <a:lnTo>
                        <a:pt x="261523" y="90312"/>
                      </a:lnTo>
                      <a:lnTo>
                        <a:pt x="243755" y="64572"/>
                      </a:lnTo>
                      <a:lnTo>
                        <a:pt x="235784" y="70367"/>
                      </a:lnTo>
                      <a:lnTo>
                        <a:pt x="228165" y="48245"/>
                      </a:lnTo>
                      <a:lnTo>
                        <a:pt x="213662" y="62748"/>
                      </a:lnTo>
                      <a:lnTo>
                        <a:pt x="207483" y="62748"/>
                      </a:lnTo>
                      <a:lnTo>
                        <a:pt x="205691" y="57657"/>
                      </a:lnTo>
                      <a:lnTo>
                        <a:pt x="196246" y="60923"/>
                      </a:lnTo>
                      <a:lnTo>
                        <a:pt x="187539" y="51511"/>
                      </a:lnTo>
                      <a:lnTo>
                        <a:pt x="193685" y="48950"/>
                      </a:lnTo>
                      <a:lnTo>
                        <a:pt x="189331" y="39537"/>
                      </a:lnTo>
                      <a:lnTo>
                        <a:pt x="198039" y="30093"/>
                      </a:lnTo>
                      <a:lnTo>
                        <a:pt x="186802" y="23210"/>
                      </a:lnTo>
                      <a:lnTo>
                        <a:pt x="170475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3" name="Forma Livre: Forma 182">
                  <a:extLst>
                    <a:ext uri="{FF2B5EF4-FFF2-40B4-BE49-F238E27FC236}">
                      <a16:creationId xmlns:a16="http://schemas.microsoft.com/office/drawing/2014/main" id="{77C96C12-1381-77E8-C48A-BAA26609ADC7}"/>
                    </a:ext>
                  </a:extLst>
                </p:cNvPr>
                <p:cNvSpPr/>
                <p:nvPr/>
              </p:nvSpPr>
              <p:spPr>
                <a:xfrm>
                  <a:off x="1882216" y="5553872"/>
                  <a:ext cx="383784" cy="485365"/>
                </a:xfrm>
                <a:custGeom>
                  <a:avLst/>
                  <a:gdLst>
                    <a:gd name="csX0" fmla="*/ 72192 w 383784"/>
                    <a:gd name="csY0" fmla="*/ 18856 h 485365"/>
                    <a:gd name="csX1" fmla="*/ 62748 w 383784"/>
                    <a:gd name="csY1" fmla="*/ 19593 h 485365"/>
                    <a:gd name="csX2" fmla="*/ 63484 w 383784"/>
                    <a:gd name="csY2" fmla="*/ 12710 h 485365"/>
                    <a:gd name="csX3" fmla="*/ 54040 w 383784"/>
                    <a:gd name="csY3" fmla="*/ 10149 h 485365"/>
                    <a:gd name="csX4" fmla="*/ 54776 w 383784"/>
                    <a:gd name="csY4" fmla="*/ 4354 h 485365"/>
                    <a:gd name="csX5" fmla="*/ 49686 w 383784"/>
                    <a:gd name="csY5" fmla="*/ 0 h 485365"/>
                    <a:gd name="csX6" fmla="*/ 42067 w 383784"/>
                    <a:gd name="csY6" fmla="*/ 3265 h 485365"/>
                    <a:gd name="csX7" fmla="*/ 40978 w 383784"/>
                    <a:gd name="csY7" fmla="*/ 13798 h 485365"/>
                    <a:gd name="csX8" fmla="*/ 27564 w 383784"/>
                    <a:gd name="csY8" fmla="*/ 26476 h 485365"/>
                    <a:gd name="csX9" fmla="*/ 7619 w 383784"/>
                    <a:gd name="csY9" fmla="*/ 23947 h 485365"/>
                    <a:gd name="csX10" fmla="*/ 0 w 383784"/>
                    <a:gd name="csY10" fmla="*/ 35183 h 485365"/>
                    <a:gd name="csX11" fmla="*/ 6883 w 383784"/>
                    <a:gd name="csY11" fmla="*/ 45716 h 485365"/>
                    <a:gd name="csX12" fmla="*/ 1441 w 383784"/>
                    <a:gd name="csY12" fmla="*/ 56601 h 485365"/>
                    <a:gd name="csX13" fmla="*/ 11973 w 383784"/>
                    <a:gd name="csY13" fmla="*/ 67838 h 485365"/>
                    <a:gd name="csX14" fmla="*/ 27564 w 383784"/>
                    <a:gd name="csY14" fmla="*/ 72192 h 485365"/>
                    <a:gd name="csX15" fmla="*/ 19593 w 383784"/>
                    <a:gd name="csY15" fmla="*/ 83429 h 485365"/>
                    <a:gd name="csX16" fmla="*/ 25739 w 383784"/>
                    <a:gd name="csY16" fmla="*/ 92873 h 485365"/>
                    <a:gd name="csX17" fmla="*/ 19593 w 383784"/>
                    <a:gd name="csY17" fmla="*/ 93609 h 485365"/>
                    <a:gd name="csX18" fmla="*/ 17768 w 383784"/>
                    <a:gd name="csY18" fmla="*/ 100492 h 485365"/>
                    <a:gd name="csX19" fmla="*/ 28300 w 383784"/>
                    <a:gd name="csY19" fmla="*/ 105935 h 485365"/>
                    <a:gd name="csX20" fmla="*/ 32654 w 383784"/>
                    <a:gd name="csY20" fmla="*/ 99052 h 485365"/>
                    <a:gd name="csX21" fmla="*/ 42067 w 383784"/>
                    <a:gd name="csY21" fmla="*/ 103022 h 485365"/>
                    <a:gd name="csX22" fmla="*/ 47157 w 383784"/>
                    <a:gd name="csY22" fmla="*/ 113554 h 485365"/>
                    <a:gd name="csX23" fmla="*/ 42067 w 383784"/>
                    <a:gd name="csY23" fmla="*/ 114291 h 485365"/>
                    <a:gd name="csX24" fmla="*/ 37008 w 383784"/>
                    <a:gd name="csY24" fmla="*/ 115379 h 485365"/>
                    <a:gd name="csX25" fmla="*/ 38449 w 383784"/>
                    <a:gd name="csY25" fmla="*/ 133147 h 485365"/>
                    <a:gd name="csX26" fmla="*/ 51511 w 383784"/>
                    <a:gd name="csY26" fmla="*/ 141855 h 485365"/>
                    <a:gd name="csX27" fmla="*/ 55865 w 383784"/>
                    <a:gd name="csY27" fmla="*/ 155620 h 485365"/>
                    <a:gd name="csX28" fmla="*/ 51511 w 383784"/>
                    <a:gd name="csY28" fmla="*/ 157445 h 485365"/>
                    <a:gd name="csX29" fmla="*/ 50774 w 383784"/>
                    <a:gd name="csY29" fmla="*/ 168682 h 485365"/>
                    <a:gd name="csX30" fmla="*/ 57657 w 383784"/>
                    <a:gd name="csY30" fmla="*/ 174509 h 485365"/>
                    <a:gd name="csX31" fmla="*/ 53335 w 383784"/>
                    <a:gd name="csY31" fmla="*/ 183185 h 485365"/>
                    <a:gd name="csX32" fmla="*/ 40274 w 383784"/>
                    <a:gd name="csY32" fmla="*/ 188275 h 485365"/>
                    <a:gd name="csX33" fmla="*/ 35920 w 383784"/>
                    <a:gd name="csY33" fmla="*/ 210781 h 485365"/>
                    <a:gd name="csX34" fmla="*/ 47157 w 383784"/>
                    <a:gd name="csY34" fmla="*/ 214046 h 485365"/>
                    <a:gd name="csX35" fmla="*/ 57657 w 383784"/>
                    <a:gd name="csY35" fmla="*/ 230342 h 485365"/>
                    <a:gd name="csX36" fmla="*/ 58394 w 383784"/>
                    <a:gd name="csY36" fmla="*/ 240874 h 485365"/>
                    <a:gd name="csX37" fmla="*/ 46420 w 383784"/>
                    <a:gd name="csY37" fmla="*/ 242699 h 485365"/>
                    <a:gd name="csX38" fmla="*/ 37008 w 383784"/>
                    <a:gd name="csY38" fmla="*/ 265909 h 485365"/>
                    <a:gd name="csX39" fmla="*/ 38449 w 383784"/>
                    <a:gd name="csY39" fmla="*/ 270999 h 485365"/>
                    <a:gd name="csX40" fmla="*/ 28300 w 383784"/>
                    <a:gd name="csY40" fmla="*/ 275353 h 485365"/>
                    <a:gd name="csX41" fmla="*/ 28300 w 383784"/>
                    <a:gd name="csY41" fmla="*/ 288031 h 485365"/>
                    <a:gd name="csX42" fmla="*/ 22122 w 383784"/>
                    <a:gd name="csY42" fmla="*/ 294210 h 485365"/>
                    <a:gd name="csX43" fmla="*/ 11973 w 383784"/>
                    <a:gd name="csY43" fmla="*/ 306183 h 485365"/>
                    <a:gd name="csX44" fmla="*/ 14502 w 383784"/>
                    <a:gd name="csY44" fmla="*/ 314154 h 485365"/>
                    <a:gd name="csX45" fmla="*/ 21385 w 383784"/>
                    <a:gd name="csY45" fmla="*/ 326128 h 485365"/>
                    <a:gd name="csX46" fmla="*/ 17768 w 383784"/>
                    <a:gd name="csY46" fmla="*/ 340630 h 485365"/>
                    <a:gd name="csX47" fmla="*/ 30093 w 383784"/>
                    <a:gd name="csY47" fmla="*/ 339926 h 485365"/>
                    <a:gd name="csX48" fmla="*/ 32654 w 383784"/>
                    <a:gd name="csY48" fmla="*/ 347545 h 485365"/>
                    <a:gd name="csX49" fmla="*/ 23210 w 383784"/>
                    <a:gd name="csY49" fmla="*/ 355132 h 485365"/>
                    <a:gd name="csX50" fmla="*/ 20681 w 383784"/>
                    <a:gd name="csY50" fmla="*/ 365665 h 485365"/>
                    <a:gd name="csX51" fmla="*/ 28300 w 383784"/>
                    <a:gd name="csY51" fmla="*/ 395054 h 485365"/>
                    <a:gd name="csX52" fmla="*/ 18856 w 383784"/>
                    <a:gd name="csY52" fmla="*/ 405203 h 485365"/>
                    <a:gd name="csX53" fmla="*/ 19593 w 383784"/>
                    <a:gd name="csY53" fmla="*/ 413910 h 485365"/>
                    <a:gd name="csX54" fmla="*/ 14502 w 383784"/>
                    <a:gd name="csY54" fmla="*/ 419705 h 485365"/>
                    <a:gd name="csX55" fmla="*/ 37008 w 383784"/>
                    <a:gd name="csY55" fmla="*/ 454184 h 485365"/>
                    <a:gd name="csX56" fmla="*/ 30830 w 383784"/>
                    <a:gd name="csY56" fmla="*/ 467246 h 485365"/>
                    <a:gd name="csX57" fmla="*/ 37008 w 383784"/>
                    <a:gd name="csY57" fmla="*/ 472304 h 485365"/>
                    <a:gd name="csX58" fmla="*/ 48982 w 383784"/>
                    <a:gd name="csY58" fmla="*/ 470511 h 485365"/>
                    <a:gd name="csX59" fmla="*/ 54040 w 383784"/>
                    <a:gd name="csY59" fmla="*/ 456009 h 485365"/>
                    <a:gd name="csX60" fmla="*/ 69663 w 383784"/>
                    <a:gd name="csY60" fmla="*/ 467246 h 485365"/>
                    <a:gd name="csX61" fmla="*/ 77250 w 383784"/>
                    <a:gd name="csY61" fmla="*/ 485366 h 485365"/>
                    <a:gd name="csX62" fmla="*/ 85958 w 383784"/>
                    <a:gd name="csY62" fmla="*/ 483573 h 485365"/>
                    <a:gd name="csX63" fmla="*/ 91048 w 383784"/>
                    <a:gd name="csY63" fmla="*/ 473040 h 485365"/>
                    <a:gd name="csX64" fmla="*/ 104846 w 383784"/>
                    <a:gd name="csY64" fmla="*/ 457802 h 485365"/>
                    <a:gd name="csX65" fmla="*/ 121878 w 383784"/>
                    <a:gd name="csY65" fmla="*/ 456009 h 485365"/>
                    <a:gd name="csX66" fmla="*/ 133115 w 383784"/>
                    <a:gd name="csY66" fmla="*/ 448390 h 485365"/>
                    <a:gd name="csX67" fmla="*/ 143647 w 383784"/>
                    <a:gd name="csY67" fmla="*/ 449094 h 485365"/>
                    <a:gd name="csX68" fmla="*/ 150530 w 383784"/>
                    <a:gd name="csY68" fmla="*/ 451655 h 485365"/>
                    <a:gd name="csX69" fmla="*/ 156357 w 383784"/>
                    <a:gd name="csY69" fmla="*/ 448390 h 485365"/>
                    <a:gd name="csX70" fmla="*/ 165769 w 383784"/>
                    <a:gd name="csY70" fmla="*/ 455273 h 485365"/>
                    <a:gd name="csX71" fmla="*/ 164328 w 383784"/>
                    <a:gd name="csY71" fmla="*/ 467950 h 485365"/>
                    <a:gd name="csX72" fmla="*/ 183185 w 383784"/>
                    <a:gd name="csY72" fmla="*/ 481012 h 485365"/>
                    <a:gd name="csX73" fmla="*/ 186450 w 383784"/>
                    <a:gd name="csY73" fmla="*/ 464685 h 485365"/>
                    <a:gd name="csX74" fmla="*/ 196983 w 383784"/>
                    <a:gd name="csY74" fmla="*/ 463596 h 485365"/>
                    <a:gd name="csX75" fmla="*/ 203866 w 383784"/>
                    <a:gd name="csY75" fmla="*/ 449830 h 485365"/>
                    <a:gd name="csX76" fmla="*/ 219457 w 383784"/>
                    <a:gd name="csY76" fmla="*/ 448390 h 485365"/>
                    <a:gd name="csX77" fmla="*/ 223458 w 383784"/>
                    <a:gd name="csY77" fmla="*/ 465421 h 485365"/>
                    <a:gd name="csX78" fmla="*/ 236520 w 383784"/>
                    <a:gd name="csY78" fmla="*/ 472304 h 485365"/>
                    <a:gd name="csX79" fmla="*/ 233959 w 383784"/>
                    <a:gd name="csY79" fmla="*/ 462892 h 485365"/>
                    <a:gd name="csX80" fmla="*/ 244140 w 383784"/>
                    <a:gd name="csY80" fmla="*/ 461067 h 485365"/>
                    <a:gd name="csX81" fmla="*/ 247757 w 383784"/>
                    <a:gd name="csY81" fmla="*/ 458538 h 485365"/>
                    <a:gd name="csX82" fmla="*/ 238313 w 383784"/>
                    <a:gd name="csY82" fmla="*/ 444036 h 485365"/>
                    <a:gd name="csX83" fmla="*/ 242667 w 383784"/>
                    <a:gd name="csY83" fmla="*/ 430974 h 485365"/>
                    <a:gd name="csX84" fmla="*/ 233255 w 383784"/>
                    <a:gd name="csY84" fmla="*/ 425884 h 485365"/>
                    <a:gd name="csX85" fmla="*/ 240138 w 383784"/>
                    <a:gd name="csY85" fmla="*/ 412086 h 485365"/>
                    <a:gd name="csX86" fmla="*/ 236520 w 383784"/>
                    <a:gd name="csY86" fmla="*/ 405203 h 485365"/>
                    <a:gd name="csX87" fmla="*/ 240874 w 383784"/>
                    <a:gd name="csY87" fmla="*/ 399056 h 485365"/>
                    <a:gd name="csX88" fmla="*/ 239049 w 383784"/>
                    <a:gd name="csY88" fmla="*/ 387082 h 485365"/>
                    <a:gd name="csX89" fmla="*/ 245932 w 383784"/>
                    <a:gd name="csY89" fmla="*/ 381992 h 485365"/>
                    <a:gd name="csX90" fmla="*/ 249582 w 383784"/>
                    <a:gd name="csY90" fmla="*/ 374373 h 485365"/>
                    <a:gd name="csX91" fmla="*/ 244140 w 383784"/>
                    <a:gd name="csY91" fmla="*/ 364576 h 485365"/>
                    <a:gd name="csX92" fmla="*/ 250286 w 383784"/>
                    <a:gd name="csY92" fmla="*/ 362048 h 485365"/>
                    <a:gd name="csX93" fmla="*/ 244140 w 383784"/>
                    <a:gd name="csY93" fmla="*/ 354428 h 485365"/>
                    <a:gd name="csX94" fmla="*/ 246669 w 383784"/>
                    <a:gd name="csY94" fmla="*/ 344280 h 485365"/>
                    <a:gd name="csX95" fmla="*/ 257201 w 383784"/>
                    <a:gd name="csY95" fmla="*/ 338837 h 485365"/>
                    <a:gd name="csX96" fmla="*/ 259730 w 383784"/>
                    <a:gd name="csY96" fmla="*/ 331922 h 485365"/>
                    <a:gd name="csX97" fmla="*/ 278587 w 383784"/>
                    <a:gd name="csY97" fmla="*/ 324303 h 485365"/>
                    <a:gd name="csX98" fmla="*/ 281148 w 383784"/>
                    <a:gd name="csY98" fmla="*/ 315595 h 485365"/>
                    <a:gd name="csX99" fmla="*/ 296002 w 383784"/>
                    <a:gd name="csY99" fmla="*/ 311241 h 485365"/>
                    <a:gd name="csX100" fmla="*/ 318124 w 383784"/>
                    <a:gd name="csY100" fmla="*/ 250318 h 485365"/>
                    <a:gd name="csX101" fmla="*/ 319949 w 383784"/>
                    <a:gd name="csY101" fmla="*/ 250318 h 485365"/>
                    <a:gd name="csX102" fmla="*/ 338101 w 383784"/>
                    <a:gd name="csY102" fmla="*/ 252848 h 485365"/>
                    <a:gd name="csX103" fmla="*/ 340630 w 383784"/>
                    <a:gd name="csY103" fmla="*/ 238345 h 485365"/>
                    <a:gd name="csX104" fmla="*/ 350042 w 383784"/>
                    <a:gd name="csY104" fmla="*/ 244139 h 485365"/>
                    <a:gd name="csX105" fmla="*/ 356221 w 383784"/>
                    <a:gd name="csY105" fmla="*/ 232166 h 485365"/>
                    <a:gd name="csX106" fmla="*/ 368194 w 383784"/>
                    <a:gd name="csY106" fmla="*/ 232166 h 485365"/>
                    <a:gd name="csX107" fmla="*/ 376902 w 383784"/>
                    <a:gd name="csY107" fmla="*/ 229637 h 485365"/>
                    <a:gd name="csX108" fmla="*/ 378343 w 383784"/>
                    <a:gd name="csY108" fmla="*/ 216928 h 485365"/>
                    <a:gd name="csX109" fmla="*/ 383785 w 383784"/>
                    <a:gd name="csY109" fmla="*/ 213310 h 485365"/>
                    <a:gd name="csX110" fmla="*/ 367458 w 383784"/>
                    <a:gd name="csY110" fmla="*/ 206427 h 485365"/>
                    <a:gd name="csX111" fmla="*/ 370019 w 383784"/>
                    <a:gd name="csY111" fmla="*/ 197719 h 485365"/>
                    <a:gd name="csX112" fmla="*/ 356957 w 383784"/>
                    <a:gd name="csY112" fmla="*/ 196247 h 485365"/>
                    <a:gd name="csX113" fmla="*/ 339894 w 383784"/>
                    <a:gd name="csY113" fmla="*/ 185746 h 485365"/>
                    <a:gd name="csX114" fmla="*/ 333011 w 383784"/>
                    <a:gd name="csY114" fmla="*/ 167594 h 485365"/>
                    <a:gd name="csX115" fmla="*/ 338101 w 383784"/>
                    <a:gd name="csY115" fmla="*/ 150562 h 485365"/>
                    <a:gd name="csX116" fmla="*/ 354396 w 383784"/>
                    <a:gd name="csY116" fmla="*/ 136028 h 485365"/>
                    <a:gd name="csX117" fmla="*/ 344248 w 383784"/>
                    <a:gd name="csY117" fmla="*/ 118612 h 485365"/>
                    <a:gd name="csX118" fmla="*/ 351867 w 383784"/>
                    <a:gd name="csY118" fmla="*/ 109937 h 485365"/>
                    <a:gd name="csX119" fmla="*/ 344248 w 383784"/>
                    <a:gd name="csY119" fmla="*/ 102317 h 485365"/>
                    <a:gd name="csX120" fmla="*/ 329393 w 383784"/>
                    <a:gd name="csY120" fmla="*/ 104110 h 485365"/>
                    <a:gd name="csX121" fmla="*/ 323566 w 383784"/>
                    <a:gd name="csY121" fmla="*/ 91048 h 485365"/>
                    <a:gd name="csX122" fmla="*/ 328657 w 383784"/>
                    <a:gd name="csY122" fmla="*/ 85990 h 485365"/>
                    <a:gd name="csX123" fmla="*/ 324303 w 383784"/>
                    <a:gd name="csY123" fmla="*/ 83429 h 485365"/>
                    <a:gd name="csX124" fmla="*/ 318124 w 383784"/>
                    <a:gd name="csY124" fmla="*/ 77282 h 485365"/>
                    <a:gd name="csX125" fmla="*/ 321037 w 383784"/>
                    <a:gd name="csY125" fmla="*/ 60219 h 485365"/>
                    <a:gd name="csX126" fmla="*/ 309800 w 383784"/>
                    <a:gd name="csY126" fmla="*/ 48982 h 485365"/>
                    <a:gd name="csX127" fmla="*/ 310505 w 383784"/>
                    <a:gd name="csY127" fmla="*/ 39538 h 485365"/>
                    <a:gd name="csX128" fmla="*/ 297443 w 383784"/>
                    <a:gd name="csY128" fmla="*/ 35920 h 485365"/>
                    <a:gd name="csX129" fmla="*/ 286590 w 383784"/>
                    <a:gd name="csY129" fmla="*/ 26476 h 485365"/>
                    <a:gd name="csX130" fmla="*/ 266613 w 383784"/>
                    <a:gd name="csY130" fmla="*/ 21418 h 485365"/>
                    <a:gd name="csX131" fmla="*/ 252111 w 383784"/>
                    <a:gd name="csY131" fmla="*/ 34479 h 485365"/>
                    <a:gd name="csX132" fmla="*/ 250286 w 383784"/>
                    <a:gd name="csY132" fmla="*/ 45716 h 485365"/>
                    <a:gd name="csX133" fmla="*/ 240138 w 383784"/>
                    <a:gd name="csY133" fmla="*/ 50806 h 485365"/>
                    <a:gd name="csX134" fmla="*/ 235784 w 383784"/>
                    <a:gd name="csY134" fmla="*/ 45716 h 485365"/>
                    <a:gd name="csX135" fmla="*/ 224547 w 383784"/>
                    <a:gd name="csY135" fmla="*/ 48982 h 485365"/>
                    <a:gd name="csX136" fmla="*/ 215839 w 383784"/>
                    <a:gd name="csY136" fmla="*/ 69663 h 485365"/>
                    <a:gd name="csX137" fmla="*/ 220929 w 383784"/>
                    <a:gd name="csY137" fmla="*/ 71488 h 485365"/>
                    <a:gd name="csX138" fmla="*/ 217664 w 383784"/>
                    <a:gd name="csY138" fmla="*/ 80900 h 485365"/>
                    <a:gd name="csX139" fmla="*/ 201337 w 383784"/>
                    <a:gd name="csY139" fmla="*/ 79811 h 485365"/>
                    <a:gd name="csX140" fmla="*/ 200248 w 383784"/>
                    <a:gd name="csY140" fmla="*/ 70399 h 485365"/>
                    <a:gd name="csX141" fmla="*/ 195158 w 383784"/>
                    <a:gd name="csY141" fmla="*/ 70399 h 485365"/>
                    <a:gd name="csX142" fmla="*/ 190068 w 383784"/>
                    <a:gd name="csY142" fmla="*/ 65309 h 485365"/>
                    <a:gd name="csX143" fmla="*/ 181392 w 383784"/>
                    <a:gd name="csY143" fmla="*/ 35920 h 485365"/>
                    <a:gd name="csX144" fmla="*/ 185714 w 383784"/>
                    <a:gd name="csY144" fmla="*/ 32655 h 485365"/>
                    <a:gd name="csX145" fmla="*/ 182480 w 383784"/>
                    <a:gd name="csY145" fmla="*/ 11237 h 485365"/>
                    <a:gd name="csX146" fmla="*/ 191892 w 383784"/>
                    <a:gd name="csY146" fmla="*/ 7619 h 485365"/>
                    <a:gd name="csX147" fmla="*/ 187539 w 383784"/>
                    <a:gd name="csY147" fmla="*/ 3265 h 485365"/>
                    <a:gd name="csX148" fmla="*/ 159238 w 383784"/>
                    <a:gd name="csY148" fmla="*/ 737 h 485365"/>
                    <a:gd name="csX149" fmla="*/ 150530 w 383784"/>
                    <a:gd name="csY149" fmla="*/ 5091 h 485365"/>
                    <a:gd name="csX150" fmla="*/ 141118 w 383784"/>
                    <a:gd name="csY150" fmla="*/ 21418 h 485365"/>
                    <a:gd name="csX151" fmla="*/ 120437 w 383784"/>
                    <a:gd name="csY151" fmla="*/ 25772 h 485365"/>
                    <a:gd name="csX152" fmla="*/ 100492 w 383784"/>
                    <a:gd name="csY152" fmla="*/ 38833 h 485365"/>
                    <a:gd name="csX153" fmla="*/ 89223 w 383784"/>
                    <a:gd name="csY153" fmla="*/ 38833 h 485365"/>
                    <a:gd name="csX154" fmla="*/ 77250 w 383784"/>
                    <a:gd name="csY154" fmla="*/ 30830 h 485365"/>
                    <a:gd name="csX155" fmla="*/ 72192 w 383784"/>
                    <a:gd name="csY155" fmla="*/ 18856 h 48536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</a:cxnLst>
                  <a:rect l="l" t="t" r="r" b="b"/>
                  <a:pathLst>
                    <a:path w="383784" h="485365">
                      <a:moveTo>
                        <a:pt x="72192" y="18856"/>
                      </a:moveTo>
                      <a:lnTo>
                        <a:pt x="62748" y="19593"/>
                      </a:lnTo>
                      <a:lnTo>
                        <a:pt x="63484" y="12710"/>
                      </a:lnTo>
                      <a:lnTo>
                        <a:pt x="54040" y="10149"/>
                      </a:lnTo>
                      <a:lnTo>
                        <a:pt x="54776" y="4354"/>
                      </a:lnTo>
                      <a:lnTo>
                        <a:pt x="49686" y="0"/>
                      </a:lnTo>
                      <a:lnTo>
                        <a:pt x="42067" y="3265"/>
                      </a:lnTo>
                      <a:lnTo>
                        <a:pt x="40978" y="13798"/>
                      </a:lnTo>
                      <a:lnTo>
                        <a:pt x="27564" y="26476"/>
                      </a:lnTo>
                      <a:lnTo>
                        <a:pt x="7619" y="23947"/>
                      </a:lnTo>
                      <a:lnTo>
                        <a:pt x="0" y="35183"/>
                      </a:lnTo>
                      <a:lnTo>
                        <a:pt x="6883" y="45716"/>
                      </a:lnTo>
                      <a:lnTo>
                        <a:pt x="1441" y="56601"/>
                      </a:lnTo>
                      <a:lnTo>
                        <a:pt x="11973" y="67838"/>
                      </a:lnTo>
                      <a:lnTo>
                        <a:pt x="27564" y="72192"/>
                      </a:lnTo>
                      <a:lnTo>
                        <a:pt x="19593" y="83429"/>
                      </a:lnTo>
                      <a:lnTo>
                        <a:pt x="25739" y="92873"/>
                      </a:lnTo>
                      <a:lnTo>
                        <a:pt x="19593" y="93609"/>
                      </a:lnTo>
                      <a:lnTo>
                        <a:pt x="17768" y="100492"/>
                      </a:lnTo>
                      <a:lnTo>
                        <a:pt x="28300" y="105935"/>
                      </a:lnTo>
                      <a:lnTo>
                        <a:pt x="32654" y="99052"/>
                      </a:lnTo>
                      <a:lnTo>
                        <a:pt x="42067" y="103022"/>
                      </a:lnTo>
                      <a:lnTo>
                        <a:pt x="47157" y="113554"/>
                      </a:lnTo>
                      <a:lnTo>
                        <a:pt x="42067" y="114291"/>
                      </a:lnTo>
                      <a:lnTo>
                        <a:pt x="37008" y="115379"/>
                      </a:lnTo>
                      <a:lnTo>
                        <a:pt x="38449" y="133147"/>
                      </a:lnTo>
                      <a:lnTo>
                        <a:pt x="51511" y="141855"/>
                      </a:lnTo>
                      <a:lnTo>
                        <a:pt x="55865" y="155620"/>
                      </a:lnTo>
                      <a:lnTo>
                        <a:pt x="51511" y="157445"/>
                      </a:lnTo>
                      <a:lnTo>
                        <a:pt x="50774" y="168682"/>
                      </a:lnTo>
                      <a:lnTo>
                        <a:pt x="57657" y="174509"/>
                      </a:lnTo>
                      <a:lnTo>
                        <a:pt x="53335" y="183185"/>
                      </a:lnTo>
                      <a:lnTo>
                        <a:pt x="40274" y="188275"/>
                      </a:lnTo>
                      <a:lnTo>
                        <a:pt x="35920" y="210781"/>
                      </a:lnTo>
                      <a:lnTo>
                        <a:pt x="47157" y="214046"/>
                      </a:lnTo>
                      <a:lnTo>
                        <a:pt x="57657" y="230342"/>
                      </a:lnTo>
                      <a:lnTo>
                        <a:pt x="58394" y="240874"/>
                      </a:lnTo>
                      <a:lnTo>
                        <a:pt x="46420" y="242699"/>
                      </a:lnTo>
                      <a:lnTo>
                        <a:pt x="37008" y="265909"/>
                      </a:lnTo>
                      <a:lnTo>
                        <a:pt x="38449" y="270999"/>
                      </a:lnTo>
                      <a:lnTo>
                        <a:pt x="28300" y="275353"/>
                      </a:lnTo>
                      <a:lnTo>
                        <a:pt x="28300" y="288031"/>
                      </a:lnTo>
                      <a:lnTo>
                        <a:pt x="22122" y="294210"/>
                      </a:lnTo>
                      <a:lnTo>
                        <a:pt x="11973" y="306183"/>
                      </a:lnTo>
                      <a:lnTo>
                        <a:pt x="14502" y="314154"/>
                      </a:lnTo>
                      <a:lnTo>
                        <a:pt x="21385" y="326128"/>
                      </a:lnTo>
                      <a:lnTo>
                        <a:pt x="17768" y="340630"/>
                      </a:lnTo>
                      <a:lnTo>
                        <a:pt x="30093" y="339926"/>
                      </a:lnTo>
                      <a:lnTo>
                        <a:pt x="32654" y="347545"/>
                      </a:lnTo>
                      <a:lnTo>
                        <a:pt x="23210" y="355132"/>
                      </a:lnTo>
                      <a:lnTo>
                        <a:pt x="20681" y="365665"/>
                      </a:lnTo>
                      <a:lnTo>
                        <a:pt x="28300" y="395054"/>
                      </a:lnTo>
                      <a:lnTo>
                        <a:pt x="18856" y="405203"/>
                      </a:lnTo>
                      <a:lnTo>
                        <a:pt x="19593" y="413910"/>
                      </a:lnTo>
                      <a:lnTo>
                        <a:pt x="14502" y="419705"/>
                      </a:lnTo>
                      <a:lnTo>
                        <a:pt x="37008" y="454184"/>
                      </a:lnTo>
                      <a:lnTo>
                        <a:pt x="30830" y="467246"/>
                      </a:lnTo>
                      <a:lnTo>
                        <a:pt x="37008" y="472304"/>
                      </a:lnTo>
                      <a:lnTo>
                        <a:pt x="48982" y="470511"/>
                      </a:lnTo>
                      <a:lnTo>
                        <a:pt x="54040" y="456009"/>
                      </a:lnTo>
                      <a:lnTo>
                        <a:pt x="69663" y="467246"/>
                      </a:lnTo>
                      <a:lnTo>
                        <a:pt x="77250" y="485366"/>
                      </a:lnTo>
                      <a:lnTo>
                        <a:pt x="85958" y="483573"/>
                      </a:lnTo>
                      <a:lnTo>
                        <a:pt x="91048" y="473040"/>
                      </a:lnTo>
                      <a:lnTo>
                        <a:pt x="104846" y="457802"/>
                      </a:lnTo>
                      <a:lnTo>
                        <a:pt x="121878" y="456009"/>
                      </a:lnTo>
                      <a:lnTo>
                        <a:pt x="133115" y="448390"/>
                      </a:lnTo>
                      <a:lnTo>
                        <a:pt x="143647" y="449094"/>
                      </a:lnTo>
                      <a:lnTo>
                        <a:pt x="150530" y="451655"/>
                      </a:lnTo>
                      <a:lnTo>
                        <a:pt x="156357" y="448390"/>
                      </a:lnTo>
                      <a:lnTo>
                        <a:pt x="165769" y="455273"/>
                      </a:lnTo>
                      <a:lnTo>
                        <a:pt x="164328" y="467950"/>
                      </a:lnTo>
                      <a:lnTo>
                        <a:pt x="183185" y="481012"/>
                      </a:lnTo>
                      <a:lnTo>
                        <a:pt x="186450" y="464685"/>
                      </a:lnTo>
                      <a:lnTo>
                        <a:pt x="196983" y="463596"/>
                      </a:lnTo>
                      <a:lnTo>
                        <a:pt x="203866" y="449830"/>
                      </a:lnTo>
                      <a:lnTo>
                        <a:pt x="219457" y="448390"/>
                      </a:lnTo>
                      <a:lnTo>
                        <a:pt x="223458" y="465421"/>
                      </a:lnTo>
                      <a:lnTo>
                        <a:pt x="236520" y="472304"/>
                      </a:lnTo>
                      <a:lnTo>
                        <a:pt x="233959" y="462892"/>
                      </a:lnTo>
                      <a:lnTo>
                        <a:pt x="244140" y="461067"/>
                      </a:lnTo>
                      <a:lnTo>
                        <a:pt x="247757" y="458538"/>
                      </a:lnTo>
                      <a:lnTo>
                        <a:pt x="238313" y="444036"/>
                      </a:lnTo>
                      <a:lnTo>
                        <a:pt x="242667" y="430974"/>
                      </a:lnTo>
                      <a:lnTo>
                        <a:pt x="233255" y="425884"/>
                      </a:lnTo>
                      <a:lnTo>
                        <a:pt x="240138" y="412086"/>
                      </a:lnTo>
                      <a:lnTo>
                        <a:pt x="236520" y="405203"/>
                      </a:lnTo>
                      <a:lnTo>
                        <a:pt x="240874" y="399056"/>
                      </a:lnTo>
                      <a:lnTo>
                        <a:pt x="239049" y="387082"/>
                      </a:lnTo>
                      <a:lnTo>
                        <a:pt x="245932" y="381992"/>
                      </a:lnTo>
                      <a:lnTo>
                        <a:pt x="249582" y="374373"/>
                      </a:lnTo>
                      <a:lnTo>
                        <a:pt x="244140" y="364576"/>
                      </a:lnTo>
                      <a:lnTo>
                        <a:pt x="250286" y="362048"/>
                      </a:lnTo>
                      <a:lnTo>
                        <a:pt x="244140" y="354428"/>
                      </a:lnTo>
                      <a:lnTo>
                        <a:pt x="246669" y="344280"/>
                      </a:lnTo>
                      <a:lnTo>
                        <a:pt x="257201" y="338837"/>
                      </a:lnTo>
                      <a:lnTo>
                        <a:pt x="259730" y="331922"/>
                      </a:lnTo>
                      <a:lnTo>
                        <a:pt x="278587" y="324303"/>
                      </a:lnTo>
                      <a:lnTo>
                        <a:pt x="281148" y="315595"/>
                      </a:lnTo>
                      <a:lnTo>
                        <a:pt x="296002" y="311241"/>
                      </a:lnTo>
                      <a:lnTo>
                        <a:pt x="318124" y="250318"/>
                      </a:lnTo>
                      <a:lnTo>
                        <a:pt x="319949" y="250318"/>
                      </a:lnTo>
                      <a:lnTo>
                        <a:pt x="338101" y="252848"/>
                      </a:lnTo>
                      <a:lnTo>
                        <a:pt x="340630" y="238345"/>
                      </a:lnTo>
                      <a:lnTo>
                        <a:pt x="350042" y="244139"/>
                      </a:lnTo>
                      <a:lnTo>
                        <a:pt x="356221" y="232166"/>
                      </a:lnTo>
                      <a:lnTo>
                        <a:pt x="368194" y="232166"/>
                      </a:lnTo>
                      <a:lnTo>
                        <a:pt x="376902" y="229637"/>
                      </a:lnTo>
                      <a:lnTo>
                        <a:pt x="378343" y="216928"/>
                      </a:lnTo>
                      <a:lnTo>
                        <a:pt x="383785" y="213310"/>
                      </a:lnTo>
                      <a:lnTo>
                        <a:pt x="367458" y="206427"/>
                      </a:lnTo>
                      <a:lnTo>
                        <a:pt x="370019" y="197719"/>
                      </a:lnTo>
                      <a:lnTo>
                        <a:pt x="356957" y="196247"/>
                      </a:lnTo>
                      <a:lnTo>
                        <a:pt x="339894" y="185746"/>
                      </a:lnTo>
                      <a:lnTo>
                        <a:pt x="333011" y="167594"/>
                      </a:lnTo>
                      <a:lnTo>
                        <a:pt x="338101" y="150562"/>
                      </a:lnTo>
                      <a:lnTo>
                        <a:pt x="354396" y="136028"/>
                      </a:lnTo>
                      <a:lnTo>
                        <a:pt x="344248" y="118612"/>
                      </a:lnTo>
                      <a:lnTo>
                        <a:pt x="351867" y="109937"/>
                      </a:lnTo>
                      <a:lnTo>
                        <a:pt x="344248" y="102317"/>
                      </a:lnTo>
                      <a:lnTo>
                        <a:pt x="329393" y="104110"/>
                      </a:lnTo>
                      <a:lnTo>
                        <a:pt x="323566" y="91048"/>
                      </a:lnTo>
                      <a:lnTo>
                        <a:pt x="328657" y="85990"/>
                      </a:lnTo>
                      <a:lnTo>
                        <a:pt x="324303" y="83429"/>
                      </a:lnTo>
                      <a:lnTo>
                        <a:pt x="318124" y="77282"/>
                      </a:lnTo>
                      <a:lnTo>
                        <a:pt x="321037" y="60219"/>
                      </a:lnTo>
                      <a:lnTo>
                        <a:pt x="309800" y="48982"/>
                      </a:lnTo>
                      <a:lnTo>
                        <a:pt x="310505" y="39538"/>
                      </a:lnTo>
                      <a:lnTo>
                        <a:pt x="297443" y="35920"/>
                      </a:lnTo>
                      <a:lnTo>
                        <a:pt x="286590" y="26476"/>
                      </a:lnTo>
                      <a:lnTo>
                        <a:pt x="266613" y="21418"/>
                      </a:lnTo>
                      <a:lnTo>
                        <a:pt x="252111" y="34479"/>
                      </a:lnTo>
                      <a:lnTo>
                        <a:pt x="250286" y="45716"/>
                      </a:lnTo>
                      <a:lnTo>
                        <a:pt x="240138" y="50806"/>
                      </a:lnTo>
                      <a:lnTo>
                        <a:pt x="235784" y="45716"/>
                      </a:lnTo>
                      <a:lnTo>
                        <a:pt x="224547" y="48982"/>
                      </a:lnTo>
                      <a:lnTo>
                        <a:pt x="215839" y="69663"/>
                      </a:lnTo>
                      <a:lnTo>
                        <a:pt x="220929" y="71488"/>
                      </a:lnTo>
                      <a:lnTo>
                        <a:pt x="217664" y="80900"/>
                      </a:lnTo>
                      <a:lnTo>
                        <a:pt x="201337" y="79811"/>
                      </a:lnTo>
                      <a:lnTo>
                        <a:pt x="200248" y="70399"/>
                      </a:lnTo>
                      <a:lnTo>
                        <a:pt x="195158" y="70399"/>
                      </a:lnTo>
                      <a:lnTo>
                        <a:pt x="190068" y="65309"/>
                      </a:lnTo>
                      <a:lnTo>
                        <a:pt x="181392" y="35920"/>
                      </a:lnTo>
                      <a:lnTo>
                        <a:pt x="185714" y="32655"/>
                      </a:lnTo>
                      <a:lnTo>
                        <a:pt x="182480" y="11237"/>
                      </a:lnTo>
                      <a:lnTo>
                        <a:pt x="191892" y="7619"/>
                      </a:lnTo>
                      <a:lnTo>
                        <a:pt x="187539" y="3265"/>
                      </a:lnTo>
                      <a:lnTo>
                        <a:pt x="159238" y="737"/>
                      </a:lnTo>
                      <a:lnTo>
                        <a:pt x="150530" y="5091"/>
                      </a:lnTo>
                      <a:lnTo>
                        <a:pt x="141118" y="21418"/>
                      </a:lnTo>
                      <a:lnTo>
                        <a:pt x="120437" y="25772"/>
                      </a:lnTo>
                      <a:lnTo>
                        <a:pt x="100492" y="38833"/>
                      </a:lnTo>
                      <a:lnTo>
                        <a:pt x="89223" y="38833"/>
                      </a:lnTo>
                      <a:lnTo>
                        <a:pt x="77250" y="30830"/>
                      </a:lnTo>
                      <a:lnTo>
                        <a:pt x="72192" y="1885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4" name="Forma Livre: Forma 183">
                  <a:extLst>
                    <a:ext uri="{FF2B5EF4-FFF2-40B4-BE49-F238E27FC236}">
                      <a16:creationId xmlns:a16="http://schemas.microsoft.com/office/drawing/2014/main" id="{51044BDE-810D-9EF5-EE8F-52D2DC4970D1}"/>
                    </a:ext>
                  </a:extLst>
                </p:cNvPr>
                <p:cNvSpPr/>
                <p:nvPr/>
              </p:nvSpPr>
              <p:spPr>
                <a:xfrm>
                  <a:off x="1882216" y="5553872"/>
                  <a:ext cx="383784" cy="485365"/>
                </a:xfrm>
                <a:custGeom>
                  <a:avLst/>
                  <a:gdLst>
                    <a:gd name="csX0" fmla="*/ 72192 w 383784"/>
                    <a:gd name="csY0" fmla="*/ 18856 h 485365"/>
                    <a:gd name="csX1" fmla="*/ 62748 w 383784"/>
                    <a:gd name="csY1" fmla="*/ 19593 h 485365"/>
                    <a:gd name="csX2" fmla="*/ 63484 w 383784"/>
                    <a:gd name="csY2" fmla="*/ 12710 h 485365"/>
                    <a:gd name="csX3" fmla="*/ 54040 w 383784"/>
                    <a:gd name="csY3" fmla="*/ 10149 h 485365"/>
                    <a:gd name="csX4" fmla="*/ 54776 w 383784"/>
                    <a:gd name="csY4" fmla="*/ 4354 h 485365"/>
                    <a:gd name="csX5" fmla="*/ 49686 w 383784"/>
                    <a:gd name="csY5" fmla="*/ 0 h 485365"/>
                    <a:gd name="csX6" fmla="*/ 42067 w 383784"/>
                    <a:gd name="csY6" fmla="*/ 3265 h 485365"/>
                    <a:gd name="csX7" fmla="*/ 40978 w 383784"/>
                    <a:gd name="csY7" fmla="*/ 13798 h 485365"/>
                    <a:gd name="csX8" fmla="*/ 27564 w 383784"/>
                    <a:gd name="csY8" fmla="*/ 26476 h 485365"/>
                    <a:gd name="csX9" fmla="*/ 7619 w 383784"/>
                    <a:gd name="csY9" fmla="*/ 23947 h 485365"/>
                    <a:gd name="csX10" fmla="*/ 0 w 383784"/>
                    <a:gd name="csY10" fmla="*/ 35183 h 485365"/>
                    <a:gd name="csX11" fmla="*/ 6883 w 383784"/>
                    <a:gd name="csY11" fmla="*/ 45716 h 485365"/>
                    <a:gd name="csX12" fmla="*/ 1441 w 383784"/>
                    <a:gd name="csY12" fmla="*/ 56601 h 485365"/>
                    <a:gd name="csX13" fmla="*/ 11973 w 383784"/>
                    <a:gd name="csY13" fmla="*/ 67838 h 485365"/>
                    <a:gd name="csX14" fmla="*/ 27564 w 383784"/>
                    <a:gd name="csY14" fmla="*/ 72192 h 485365"/>
                    <a:gd name="csX15" fmla="*/ 19593 w 383784"/>
                    <a:gd name="csY15" fmla="*/ 83429 h 485365"/>
                    <a:gd name="csX16" fmla="*/ 25739 w 383784"/>
                    <a:gd name="csY16" fmla="*/ 92873 h 485365"/>
                    <a:gd name="csX17" fmla="*/ 19593 w 383784"/>
                    <a:gd name="csY17" fmla="*/ 93609 h 485365"/>
                    <a:gd name="csX18" fmla="*/ 17768 w 383784"/>
                    <a:gd name="csY18" fmla="*/ 100492 h 485365"/>
                    <a:gd name="csX19" fmla="*/ 28300 w 383784"/>
                    <a:gd name="csY19" fmla="*/ 105935 h 485365"/>
                    <a:gd name="csX20" fmla="*/ 32654 w 383784"/>
                    <a:gd name="csY20" fmla="*/ 99052 h 485365"/>
                    <a:gd name="csX21" fmla="*/ 42067 w 383784"/>
                    <a:gd name="csY21" fmla="*/ 103022 h 485365"/>
                    <a:gd name="csX22" fmla="*/ 47157 w 383784"/>
                    <a:gd name="csY22" fmla="*/ 113554 h 485365"/>
                    <a:gd name="csX23" fmla="*/ 42067 w 383784"/>
                    <a:gd name="csY23" fmla="*/ 114291 h 485365"/>
                    <a:gd name="csX24" fmla="*/ 37008 w 383784"/>
                    <a:gd name="csY24" fmla="*/ 115379 h 485365"/>
                    <a:gd name="csX25" fmla="*/ 38449 w 383784"/>
                    <a:gd name="csY25" fmla="*/ 133147 h 485365"/>
                    <a:gd name="csX26" fmla="*/ 51511 w 383784"/>
                    <a:gd name="csY26" fmla="*/ 141855 h 485365"/>
                    <a:gd name="csX27" fmla="*/ 55865 w 383784"/>
                    <a:gd name="csY27" fmla="*/ 155620 h 485365"/>
                    <a:gd name="csX28" fmla="*/ 51511 w 383784"/>
                    <a:gd name="csY28" fmla="*/ 157445 h 485365"/>
                    <a:gd name="csX29" fmla="*/ 50774 w 383784"/>
                    <a:gd name="csY29" fmla="*/ 168682 h 485365"/>
                    <a:gd name="csX30" fmla="*/ 57657 w 383784"/>
                    <a:gd name="csY30" fmla="*/ 174509 h 485365"/>
                    <a:gd name="csX31" fmla="*/ 53335 w 383784"/>
                    <a:gd name="csY31" fmla="*/ 183185 h 485365"/>
                    <a:gd name="csX32" fmla="*/ 40274 w 383784"/>
                    <a:gd name="csY32" fmla="*/ 188275 h 485365"/>
                    <a:gd name="csX33" fmla="*/ 35920 w 383784"/>
                    <a:gd name="csY33" fmla="*/ 210781 h 485365"/>
                    <a:gd name="csX34" fmla="*/ 47157 w 383784"/>
                    <a:gd name="csY34" fmla="*/ 214046 h 485365"/>
                    <a:gd name="csX35" fmla="*/ 57657 w 383784"/>
                    <a:gd name="csY35" fmla="*/ 230342 h 485365"/>
                    <a:gd name="csX36" fmla="*/ 58394 w 383784"/>
                    <a:gd name="csY36" fmla="*/ 240874 h 485365"/>
                    <a:gd name="csX37" fmla="*/ 46420 w 383784"/>
                    <a:gd name="csY37" fmla="*/ 242699 h 485365"/>
                    <a:gd name="csX38" fmla="*/ 37008 w 383784"/>
                    <a:gd name="csY38" fmla="*/ 265909 h 485365"/>
                    <a:gd name="csX39" fmla="*/ 38449 w 383784"/>
                    <a:gd name="csY39" fmla="*/ 270999 h 485365"/>
                    <a:gd name="csX40" fmla="*/ 28300 w 383784"/>
                    <a:gd name="csY40" fmla="*/ 275353 h 485365"/>
                    <a:gd name="csX41" fmla="*/ 28300 w 383784"/>
                    <a:gd name="csY41" fmla="*/ 288031 h 485365"/>
                    <a:gd name="csX42" fmla="*/ 22122 w 383784"/>
                    <a:gd name="csY42" fmla="*/ 294210 h 485365"/>
                    <a:gd name="csX43" fmla="*/ 11973 w 383784"/>
                    <a:gd name="csY43" fmla="*/ 306183 h 485365"/>
                    <a:gd name="csX44" fmla="*/ 14502 w 383784"/>
                    <a:gd name="csY44" fmla="*/ 314154 h 485365"/>
                    <a:gd name="csX45" fmla="*/ 21385 w 383784"/>
                    <a:gd name="csY45" fmla="*/ 326128 h 485365"/>
                    <a:gd name="csX46" fmla="*/ 17768 w 383784"/>
                    <a:gd name="csY46" fmla="*/ 340630 h 485365"/>
                    <a:gd name="csX47" fmla="*/ 30093 w 383784"/>
                    <a:gd name="csY47" fmla="*/ 339926 h 485365"/>
                    <a:gd name="csX48" fmla="*/ 32654 w 383784"/>
                    <a:gd name="csY48" fmla="*/ 347545 h 485365"/>
                    <a:gd name="csX49" fmla="*/ 23210 w 383784"/>
                    <a:gd name="csY49" fmla="*/ 355132 h 485365"/>
                    <a:gd name="csX50" fmla="*/ 20681 w 383784"/>
                    <a:gd name="csY50" fmla="*/ 365665 h 485365"/>
                    <a:gd name="csX51" fmla="*/ 28300 w 383784"/>
                    <a:gd name="csY51" fmla="*/ 395054 h 485365"/>
                    <a:gd name="csX52" fmla="*/ 18856 w 383784"/>
                    <a:gd name="csY52" fmla="*/ 405203 h 485365"/>
                    <a:gd name="csX53" fmla="*/ 19593 w 383784"/>
                    <a:gd name="csY53" fmla="*/ 413910 h 485365"/>
                    <a:gd name="csX54" fmla="*/ 14502 w 383784"/>
                    <a:gd name="csY54" fmla="*/ 419705 h 485365"/>
                    <a:gd name="csX55" fmla="*/ 37008 w 383784"/>
                    <a:gd name="csY55" fmla="*/ 454184 h 485365"/>
                    <a:gd name="csX56" fmla="*/ 30830 w 383784"/>
                    <a:gd name="csY56" fmla="*/ 467246 h 485365"/>
                    <a:gd name="csX57" fmla="*/ 37008 w 383784"/>
                    <a:gd name="csY57" fmla="*/ 472304 h 485365"/>
                    <a:gd name="csX58" fmla="*/ 48982 w 383784"/>
                    <a:gd name="csY58" fmla="*/ 470511 h 485365"/>
                    <a:gd name="csX59" fmla="*/ 54040 w 383784"/>
                    <a:gd name="csY59" fmla="*/ 456009 h 485365"/>
                    <a:gd name="csX60" fmla="*/ 69663 w 383784"/>
                    <a:gd name="csY60" fmla="*/ 467246 h 485365"/>
                    <a:gd name="csX61" fmla="*/ 77250 w 383784"/>
                    <a:gd name="csY61" fmla="*/ 485366 h 485365"/>
                    <a:gd name="csX62" fmla="*/ 85958 w 383784"/>
                    <a:gd name="csY62" fmla="*/ 483573 h 485365"/>
                    <a:gd name="csX63" fmla="*/ 91048 w 383784"/>
                    <a:gd name="csY63" fmla="*/ 473040 h 485365"/>
                    <a:gd name="csX64" fmla="*/ 104846 w 383784"/>
                    <a:gd name="csY64" fmla="*/ 457802 h 485365"/>
                    <a:gd name="csX65" fmla="*/ 121878 w 383784"/>
                    <a:gd name="csY65" fmla="*/ 456009 h 485365"/>
                    <a:gd name="csX66" fmla="*/ 133115 w 383784"/>
                    <a:gd name="csY66" fmla="*/ 448390 h 485365"/>
                    <a:gd name="csX67" fmla="*/ 143647 w 383784"/>
                    <a:gd name="csY67" fmla="*/ 449094 h 485365"/>
                    <a:gd name="csX68" fmla="*/ 150530 w 383784"/>
                    <a:gd name="csY68" fmla="*/ 451655 h 485365"/>
                    <a:gd name="csX69" fmla="*/ 156357 w 383784"/>
                    <a:gd name="csY69" fmla="*/ 448390 h 485365"/>
                    <a:gd name="csX70" fmla="*/ 165769 w 383784"/>
                    <a:gd name="csY70" fmla="*/ 455273 h 485365"/>
                    <a:gd name="csX71" fmla="*/ 164328 w 383784"/>
                    <a:gd name="csY71" fmla="*/ 467950 h 485365"/>
                    <a:gd name="csX72" fmla="*/ 183185 w 383784"/>
                    <a:gd name="csY72" fmla="*/ 481012 h 485365"/>
                    <a:gd name="csX73" fmla="*/ 186450 w 383784"/>
                    <a:gd name="csY73" fmla="*/ 464685 h 485365"/>
                    <a:gd name="csX74" fmla="*/ 196983 w 383784"/>
                    <a:gd name="csY74" fmla="*/ 463596 h 485365"/>
                    <a:gd name="csX75" fmla="*/ 203866 w 383784"/>
                    <a:gd name="csY75" fmla="*/ 449830 h 485365"/>
                    <a:gd name="csX76" fmla="*/ 219457 w 383784"/>
                    <a:gd name="csY76" fmla="*/ 448390 h 485365"/>
                    <a:gd name="csX77" fmla="*/ 223458 w 383784"/>
                    <a:gd name="csY77" fmla="*/ 465421 h 485365"/>
                    <a:gd name="csX78" fmla="*/ 236520 w 383784"/>
                    <a:gd name="csY78" fmla="*/ 472304 h 485365"/>
                    <a:gd name="csX79" fmla="*/ 233959 w 383784"/>
                    <a:gd name="csY79" fmla="*/ 462892 h 485365"/>
                    <a:gd name="csX80" fmla="*/ 244140 w 383784"/>
                    <a:gd name="csY80" fmla="*/ 461067 h 485365"/>
                    <a:gd name="csX81" fmla="*/ 247757 w 383784"/>
                    <a:gd name="csY81" fmla="*/ 458538 h 485365"/>
                    <a:gd name="csX82" fmla="*/ 238313 w 383784"/>
                    <a:gd name="csY82" fmla="*/ 444036 h 485365"/>
                    <a:gd name="csX83" fmla="*/ 242667 w 383784"/>
                    <a:gd name="csY83" fmla="*/ 430974 h 485365"/>
                    <a:gd name="csX84" fmla="*/ 233255 w 383784"/>
                    <a:gd name="csY84" fmla="*/ 425884 h 485365"/>
                    <a:gd name="csX85" fmla="*/ 240138 w 383784"/>
                    <a:gd name="csY85" fmla="*/ 412086 h 485365"/>
                    <a:gd name="csX86" fmla="*/ 236520 w 383784"/>
                    <a:gd name="csY86" fmla="*/ 405203 h 485365"/>
                    <a:gd name="csX87" fmla="*/ 240874 w 383784"/>
                    <a:gd name="csY87" fmla="*/ 399056 h 485365"/>
                    <a:gd name="csX88" fmla="*/ 239049 w 383784"/>
                    <a:gd name="csY88" fmla="*/ 387082 h 485365"/>
                    <a:gd name="csX89" fmla="*/ 245932 w 383784"/>
                    <a:gd name="csY89" fmla="*/ 381992 h 485365"/>
                    <a:gd name="csX90" fmla="*/ 249582 w 383784"/>
                    <a:gd name="csY90" fmla="*/ 374373 h 485365"/>
                    <a:gd name="csX91" fmla="*/ 244140 w 383784"/>
                    <a:gd name="csY91" fmla="*/ 364576 h 485365"/>
                    <a:gd name="csX92" fmla="*/ 250286 w 383784"/>
                    <a:gd name="csY92" fmla="*/ 362048 h 485365"/>
                    <a:gd name="csX93" fmla="*/ 244140 w 383784"/>
                    <a:gd name="csY93" fmla="*/ 354428 h 485365"/>
                    <a:gd name="csX94" fmla="*/ 246669 w 383784"/>
                    <a:gd name="csY94" fmla="*/ 344280 h 485365"/>
                    <a:gd name="csX95" fmla="*/ 257201 w 383784"/>
                    <a:gd name="csY95" fmla="*/ 338837 h 485365"/>
                    <a:gd name="csX96" fmla="*/ 259730 w 383784"/>
                    <a:gd name="csY96" fmla="*/ 331922 h 485365"/>
                    <a:gd name="csX97" fmla="*/ 278587 w 383784"/>
                    <a:gd name="csY97" fmla="*/ 324303 h 485365"/>
                    <a:gd name="csX98" fmla="*/ 281148 w 383784"/>
                    <a:gd name="csY98" fmla="*/ 315595 h 485365"/>
                    <a:gd name="csX99" fmla="*/ 296002 w 383784"/>
                    <a:gd name="csY99" fmla="*/ 311241 h 485365"/>
                    <a:gd name="csX100" fmla="*/ 318124 w 383784"/>
                    <a:gd name="csY100" fmla="*/ 250318 h 485365"/>
                    <a:gd name="csX101" fmla="*/ 319949 w 383784"/>
                    <a:gd name="csY101" fmla="*/ 250318 h 485365"/>
                    <a:gd name="csX102" fmla="*/ 338101 w 383784"/>
                    <a:gd name="csY102" fmla="*/ 252848 h 485365"/>
                    <a:gd name="csX103" fmla="*/ 340630 w 383784"/>
                    <a:gd name="csY103" fmla="*/ 238345 h 485365"/>
                    <a:gd name="csX104" fmla="*/ 350042 w 383784"/>
                    <a:gd name="csY104" fmla="*/ 244139 h 485365"/>
                    <a:gd name="csX105" fmla="*/ 356221 w 383784"/>
                    <a:gd name="csY105" fmla="*/ 232166 h 485365"/>
                    <a:gd name="csX106" fmla="*/ 368194 w 383784"/>
                    <a:gd name="csY106" fmla="*/ 232166 h 485365"/>
                    <a:gd name="csX107" fmla="*/ 376902 w 383784"/>
                    <a:gd name="csY107" fmla="*/ 229637 h 485365"/>
                    <a:gd name="csX108" fmla="*/ 378343 w 383784"/>
                    <a:gd name="csY108" fmla="*/ 216928 h 485365"/>
                    <a:gd name="csX109" fmla="*/ 383785 w 383784"/>
                    <a:gd name="csY109" fmla="*/ 213310 h 485365"/>
                    <a:gd name="csX110" fmla="*/ 367458 w 383784"/>
                    <a:gd name="csY110" fmla="*/ 206427 h 485365"/>
                    <a:gd name="csX111" fmla="*/ 370019 w 383784"/>
                    <a:gd name="csY111" fmla="*/ 197719 h 485365"/>
                    <a:gd name="csX112" fmla="*/ 356957 w 383784"/>
                    <a:gd name="csY112" fmla="*/ 196247 h 485365"/>
                    <a:gd name="csX113" fmla="*/ 339894 w 383784"/>
                    <a:gd name="csY113" fmla="*/ 185746 h 485365"/>
                    <a:gd name="csX114" fmla="*/ 333011 w 383784"/>
                    <a:gd name="csY114" fmla="*/ 167594 h 485365"/>
                    <a:gd name="csX115" fmla="*/ 338101 w 383784"/>
                    <a:gd name="csY115" fmla="*/ 150562 h 485365"/>
                    <a:gd name="csX116" fmla="*/ 354396 w 383784"/>
                    <a:gd name="csY116" fmla="*/ 136028 h 485365"/>
                    <a:gd name="csX117" fmla="*/ 344248 w 383784"/>
                    <a:gd name="csY117" fmla="*/ 118612 h 485365"/>
                    <a:gd name="csX118" fmla="*/ 351867 w 383784"/>
                    <a:gd name="csY118" fmla="*/ 109937 h 485365"/>
                    <a:gd name="csX119" fmla="*/ 344248 w 383784"/>
                    <a:gd name="csY119" fmla="*/ 102317 h 485365"/>
                    <a:gd name="csX120" fmla="*/ 329393 w 383784"/>
                    <a:gd name="csY120" fmla="*/ 104110 h 485365"/>
                    <a:gd name="csX121" fmla="*/ 323566 w 383784"/>
                    <a:gd name="csY121" fmla="*/ 91048 h 485365"/>
                    <a:gd name="csX122" fmla="*/ 328657 w 383784"/>
                    <a:gd name="csY122" fmla="*/ 85990 h 485365"/>
                    <a:gd name="csX123" fmla="*/ 324303 w 383784"/>
                    <a:gd name="csY123" fmla="*/ 83429 h 485365"/>
                    <a:gd name="csX124" fmla="*/ 318124 w 383784"/>
                    <a:gd name="csY124" fmla="*/ 77282 h 485365"/>
                    <a:gd name="csX125" fmla="*/ 321037 w 383784"/>
                    <a:gd name="csY125" fmla="*/ 60219 h 485365"/>
                    <a:gd name="csX126" fmla="*/ 309800 w 383784"/>
                    <a:gd name="csY126" fmla="*/ 48982 h 485365"/>
                    <a:gd name="csX127" fmla="*/ 310505 w 383784"/>
                    <a:gd name="csY127" fmla="*/ 39538 h 485365"/>
                    <a:gd name="csX128" fmla="*/ 297443 w 383784"/>
                    <a:gd name="csY128" fmla="*/ 35920 h 485365"/>
                    <a:gd name="csX129" fmla="*/ 286590 w 383784"/>
                    <a:gd name="csY129" fmla="*/ 26476 h 485365"/>
                    <a:gd name="csX130" fmla="*/ 266613 w 383784"/>
                    <a:gd name="csY130" fmla="*/ 21418 h 485365"/>
                    <a:gd name="csX131" fmla="*/ 252111 w 383784"/>
                    <a:gd name="csY131" fmla="*/ 34479 h 485365"/>
                    <a:gd name="csX132" fmla="*/ 250286 w 383784"/>
                    <a:gd name="csY132" fmla="*/ 45716 h 485365"/>
                    <a:gd name="csX133" fmla="*/ 240138 w 383784"/>
                    <a:gd name="csY133" fmla="*/ 50806 h 485365"/>
                    <a:gd name="csX134" fmla="*/ 235784 w 383784"/>
                    <a:gd name="csY134" fmla="*/ 45716 h 485365"/>
                    <a:gd name="csX135" fmla="*/ 224547 w 383784"/>
                    <a:gd name="csY135" fmla="*/ 48982 h 485365"/>
                    <a:gd name="csX136" fmla="*/ 215839 w 383784"/>
                    <a:gd name="csY136" fmla="*/ 69663 h 485365"/>
                    <a:gd name="csX137" fmla="*/ 220929 w 383784"/>
                    <a:gd name="csY137" fmla="*/ 71488 h 485365"/>
                    <a:gd name="csX138" fmla="*/ 217664 w 383784"/>
                    <a:gd name="csY138" fmla="*/ 80900 h 485365"/>
                    <a:gd name="csX139" fmla="*/ 201337 w 383784"/>
                    <a:gd name="csY139" fmla="*/ 79811 h 485365"/>
                    <a:gd name="csX140" fmla="*/ 200248 w 383784"/>
                    <a:gd name="csY140" fmla="*/ 70399 h 485365"/>
                    <a:gd name="csX141" fmla="*/ 195158 w 383784"/>
                    <a:gd name="csY141" fmla="*/ 70399 h 485365"/>
                    <a:gd name="csX142" fmla="*/ 190068 w 383784"/>
                    <a:gd name="csY142" fmla="*/ 65309 h 485365"/>
                    <a:gd name="csX143" fmla="*/ 181392 w 383784"/>
                    <a:gd name="csY143" fmla="*/ 35920 h 485365"/>
                    <a:gd name="csX144" fmla="*/ 185714 w 383784"/>
                    <a:gd name="csY144" fmla="*/ 32655 h 485365"/>
                    <a:gd name="csX145" fmla="*/ 182480 w 383784"/>
                    <a:gd name="csY145" fmla="*/ 11237 h 485365"/>
                    <a:gd name="csX146" fmla="*/ 191892 w 383784"/>
                    <a:gd name="csY146" fmla="*/ 7619 h 485365"/>
                    <a:gd name="csX147" fmla="*/ 187539 w 383784"/>
                    <a:gd name="csY147" fmla="*/ 3265 h 485365"/>
                    <a:gd name="csX148" fmla="*/ 159238 w 383784"/>
                    <a:gd name="csY148" fmla="*/ 737 h 485365"/>
                    <a:gd name="csX149" fmla="*/ 150530 w 383784"/>
                    <a:gd name="csY149" fmla="*/ 5091 h 485365"/>
                    <a:gd name="csX150" fmla="*/ 141118 w 383784"/>
                    <a:gd name="csY150" fmla="*/ 21418 h 485365"/>
                    <a:gd name="csX151" fmla="*/ 120437 w 383784"/>
                    <a:gd name="csY151" fmla="*/ 25772 h 485365"/>
                    <a:gd name="csX152" fmla="*/ 100492 w 383784"/>
                    <a:gd name="csY152" fmla="*/ 38833 h 485365"/>
                    <a:gd name="csX153" fmla="*/ 89223 w 383784"/>
                    <a:gd name="csY153" fmla="*/ 38833 h 485365"/>
                    <a:gd name="csX154" fmla="*/ 77250 w 383784"/>
                    <a:gd name="csY154" fmla="*/ 30830 h 485365"/>
                    <a:gd name="csX155" fmla="*/ 72192 w 383784"/>
                    <a:gd name="csY155" fmla="*/ 18856 h 48536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</a:cxnLst>
                  <a:rect l="l" t="t" r="r" b="b"/>
                  <a:pathLst>
                    <a:path w="383784" h="485365">
                      <a:moveTo>
                        <a:pt x="72192" y="18856"/>
                      </a:moveTo>
                      <a:lnTo>
                        <a:pt x="62748" y="19593"/>
                      </a:lnTo>
                      <a:lnTo>
                        <a:pt x="63484" y="12710"/>
                      </a:lnTo>
                      <a:lnTo>
                        <a:pt x="54040" y="10149"/>
                      </a:lnTo>
                      <a:lnTo>
                        <a:pt x="54776" y="4354"/>
                      </a:lnTo>
                      <a:lnTo>
                        <a:pt x="49686" y="0"/>
                      </a:lnTo>
                      <a:lnTo>
                        <a:pt x="42067" y="3265"/>
                      </a:lnTo>
                      <a:lnTo>
                        <a:pt x="40978" y="13798"/>
                      </a:lnTo>
                      <a:lnTo>
                        <a:pt x="27564" y="26476"/>
                      </a:lnTo>
                      <a:lnTo>
                        <a:pt x="7619" y="23947"/>
                      </a:lnTo>
                      <a:lnTo>
                        <a:pt x="0" y="35183"/>
                      </a:lnTo>
                      <a:lnTo>
                        <a:pt x="6883" y="45716"/>
                      </a:lnTo>
                      <a:lnTo>
                        <a:pt x="1441" y="56601"/>
                      </a:lnTo>
                      <a:lnTo>
                        <a:pt x="11973" y="67838"/>
                      </a:lnTo>
                      <a:lnTo>
                        <a:pt x="27564" y="72192"/>
                      </a:lnTo>
                      <a:lnTo>
                        <a:pt x="19593" y="83429"/>
                      </a:lnTo>
                      <a:lnTo>
                        <a:pt x="25739" y="92873"/>
                      </a:lnTo>
                      <a:lnTo>
                        <a:pt x="19593" y="93609"/>
                      </a:lnTo>
                      <a:lnTo>
                        <a:pt x="17768" y="100492"/>
                      </a:lnTo>
                      <a:lnTo>
                        <a:pt x="28300" y="105935"/>
                      </a:lnTo>
                      <a:lnTo>
                        <a:pt x="32654" y="99052"/>
                      </a:lnTo>
                      <a:lnTo>
                        <a:pt x="42067" y="103022"/>
                      </a:lnTo>
                      <a:lnTo>
                        <a:pt x="47157" y="113554"/>
                      </a:lnTo>
                      <a:lnTo>
                        <a:pt x="42067" y="114291"/>
                      </a:lnTo>
                      <a:lnTo>
                        <a:pt x="37008" y="115379"/>
                      </a:lnTo>
                      <a:lnTo>
                        <a:pt x="38449" y="133147"/>
                      </a:lnTo>
                      <a:lnTo>
                        <a:pt x="51511" y="141855"/>
                      </a:lnTo>
                      <a:lnTo>
                        <a:pt x="55865" y="155620"/>
                      </a:lnTo>
                      <a:lnTo>
                        <a:pt x="51511" y="157445"/>
                      </a:lnTo>
                      <a:lnTo>
                        <a:pt x="50774" y="168682"/>
                      </a:lnTo>
                      <a:lnTo>
                        <a:pt x="57657" y="174509"/>
                      </a:lnTo>
                      <a:lnTo>
                        <a:pt x="53335" y="183185"/>
                      </a:lnTo>
                      <a:lnTo>
                        <a:pt x="40274" y="188275"/>
                      </a:lnTo>
                      <a:lnTo>
                        <a:pt x="35920" y="210781"/>
                      </a:lnTo>
                      <a:lnTo>
                        <a:pt x="47157" y="214046"/>
                      </a:lnTo>
                      <a:lnTo>
                        <a:pt x="57657" y="230342"/>
                      </a:lnTo>
                      <a:lnTo>
                        <a:pt x="58394" y="240874"/>
                      </a:lnTo>
                      <a:lnTo>
                        <a:pt x="46420" y="242699"/>
                      </a:lnTo>
                      <a:lnTo>
                        <a:pt x="37008" y="265909"/>
                      </a:lnTo>
                      <a:lnTo>
                        <a:pt x="38449" y="270999"/>
                      </a:lnTo>
                      <a:lnTo>
                        <a:pt x="28300" y="275353"/>
                      </a:lnTo>
                      <a:lnTo>
                        <a:pt x="28300" y="288031"/>
                      </a:lnTo>
                      <a:lnTo>
                        <a:pt x="22122" y="294210"/>
                      </a:lnTo>
                      <a:lnTo>
                        <a:pt x="11973" y="306183"/>
                      </a:lnTo>
                      <a:lnTo>
                        <a:pt x="14502" y="314154"/>
                      </a:lnTo>
                      <a:lnTo>
                        <a:pt x="21385" y="326128"/>
                      </a:lnTo>
                      <a:lnTo>
                        <a:pt x="17768" y="340630"/>
                      </a:lnTo>
                      <a:lnTo>
                        <a:pt x="30093" y="339926"/>
                      </a:lnTo>
                      <a:lnTo>
                        <a:pt x="32654" y="347545"/>
                      </a:lnTo>
                      <a:lnTo>
                        <a:pt x="23210" y="355132"/>
                      </a:lnTo>
                      <a:lnTo>
                        <a:pt x="20681" y="365665"/>
                      </a:lnTo>
                      <a:lnTo>
                        <a:pt x="28300" y="395054"/>
                      </a:lnTo>
                      <a:lnTo>
                        <a:pt x="18856" y="405203"/>
                      </a:lnTo>
                      <a:lnTo>
                        <a:pt x="19593" y="413910"/>
                      </a:lnTo>
                      <a:lnTo>
                        <a:pt x="14502" y="419705"/>
                      </a:lnTo>
                      <a:lnTo>
                        <a:pt x="37008" y="454184"/>
                      </a:lnTo>
                      <a:lnTo>
                        <a:pt x="30830" y="467246"/>
                      </a:lnTo>
                      <a:lnTo>
                        <a:pt x="37008" y="472304"/>
                      </a:lnTo>
                      <a:lnTo>
                        <a:pt x="48982" y="470511"/>
                      </a:lnTo>
                      <a:lnTo>
                        <a:pt x="54040" y="456009"/>
                      </a:lnTo>
                      <a:lnTo>
                        <a:pt x="69663" y="467246"/>
                      </a:lnTo>
                      <a:lnTo>
                        <a:pt x="77250" y="485366"/>
                      </a:lnTo>
                      <a:lnTo>
                        <a:pt x="85958" y="483573"/>
                      </a:lnTo>
                      <a:lnTo>
                        <a:pt x="91048" y="473040"/>
                      </a:lnTo>
                      <a:lnTo>
                        <a:pt x="104846" y="457802"/>
                      </a:lnTo>
                      <a:lnTo>
                        <a:pt x="121878" y="456009"/>
                      </a:lnTo>
                      <a:lnTo>
                        <a:pt x="133115" y="448390"/>
                      </a:lnTo>
                      <a:lnTo>
                        <a:pt x="143647" y="449094"/>
                      </a:lnTo>
                      <a:lnTo>
                        <a:pt x="150530" y="451655"/>
                      </a:lnTo>
                      <a:lnTo>
                        <a:pt x="156357" y="448390"/>
                      </a:lnTo>
                      <a:lnTo>
                        <a:pt x="165769" y="455273"/>
                      </a:lnTo>
                      <a:lnTo>
                        <a:pt x="164328" y="467950"/>
                      </a:lnTo>
                      <a:lnTo>
                        <a:pt x="183185" y="481012"/>
                      </a:lnTo>
                      <a:lnTo>
                        <a:pt x="186450" y="464685"/>
                      </a:lnTo>
                      <a:lnTo>
                        <a:pt x="196983" y="463596"/>
                      </a:lnTo>
                      <a:lnTo>
                        <a:pt x="203866" y="449830"/>
                      </a:lnTo>
                      <a:lnTo>
                        <a:pt x="219457" y="448390"/>
                      </a:lnTo>
                      <a:lnTo>
                        <a:pt x="223458" y="465421"/>
                      </a:lnTo>
                      <a:lnTo>
                        <a:pt x="236520" y="472304"/>
                      </a:lnTo>
                      <a:lnTo>
                        <a:pt x="233959" y="462892"/>
                      </a:lnTo>
                      <a:lnTo>
                        <a:pt x="244140" y="461067"/>
                      </a:lnTo>
                      <a:lnTo>
                        <a:pt x="247757" y="458538"/>
                      </a:lnTo>
                      <a:lnTo>
                        <a:pt x="238313" y="444036"/>
                      </a:lnTo>
                      <a:lnTo>
                        <a:pt x="242667" y="430974"/>
                      </a:lnTo>
                      <a:lnTo>
                        <a:pt x="233255" y="425884"/>
                      </a:lnTo>
                      <a:lnTo>
                        <a:pt x="240138" y="412086"/>
                      </a:lnTo>
                      <a:lnTo>
                        <a:pt x="236520" y="405203"/>
                      </a:lnTo>
                      <a:lnTo>
                        <a:pt x="240874" y="399056"/>
                      </a:lnTo>
                      <a:lnTo>
                        <a:pt x="239049" y="387082"/>
                      </a:lnTo>
                      <a:lnTo>
                        <a:pt x="245932" y="381992"/>
                      </a:lnTo>
                      <a:lnTo>
                        <a:pt x="249582" y="374373"/>
                      </a:lnTo>
                      <a:lnTo>
                        <a:pt x="244140" y="364576"/>
                      </a:lnTo>
                      <a:lnTo>
                        <a:pt x="250286" y="362048"/>
                      </a:lnTo>
                      <a:lnTo>
                        <a:pt x="244140" y="354428"/>
                      </a:lnTo>
                      <a:lnTo>
                        <a:pt x="246669" y="344280"/>
                      </a:lnTo>
                      <a:lnTo>
                        <a:pt x="257201" y="338837"/>
                      </a:lnTo>
                      <a:lnTo>
                        <a:pt x="259730" y="331922"/>
                      </a:lnTo>
                      <a:lnTo>
                        <a:pt x="278587" y="324303"/>
                      </a:lnTo>
                      <a:lnTo>
                        <a:pt x="281148" y="315595"/>
                      </a:lnTo>
                      <a:lnTo>
                        <a:pt x="296002" y="311241"/>
                      </a:lnTo>
                      <a:lnTo>
                        <a:pt x="318124" y="250318"/>
                      </a:lnTo>
                      <a:lnTo>
                        <a:pt x="319949" y="250318"/>
                      </a:lnTo>
                      <a:lnTo>
                        <a:pt x="338101" y="252848"/>
                      </a:lnTo>
                      <a:lnTo>
                        <a:pt x="340630" y="238345"/>
                      </a:lnTo>
                      <a:lnTo>
                        <a:pt x="350042" y="244139"/>
                      </a:lnTo>
                      <a:lnTo>
                        <a:pt x="356221" y="232166"/>
                      </a:lnTo>
                      <a:lnTo>
                        <a:pt x="368194" y="232166"/>
                      </a:lnTo>
                      <a:lnTo>
                        <a:pt x="376902" y="229637"/>
                      </a:lnTo>
                      <a:lnTo>
                        <a:pt x="378343" y="216928"/>
                      </a:lnTo>
                      <a:lnTo>
                        <a:pt x="383785" y="213310"/>
                      </a:lnTo>
                      <a:lnTo>
                        <a:pt x="367458" y="206427"/>
                      </a:lnTo>
                      <a:lnTo>
                        <a:pt x="370019" y="197719"/>
                      </a:lnTo>
                      <a:lnTo>
                        <a:pt x="356957" y="196247"/>
                      </a:lnTo>
                      <a:lnTo>
                        <a:pt x="339894" y="185746"/>
                      </a:lnTo>
                      <a:lnTo>
                        <a:pt x="333011" y="167594"/>
                      </a:lnTo>
                      <a:lnTo>
                        <a:pt x="338101" y="150562"/>
                      </a:lnTo>
                      <a:lnTo>
                        <a:pt x="354396" y="136028"/>
                      </a:lnTo>
                      <a:lnTo>
                        <a:pt x="344248" y="118612"/>
                      </a:lnTo>
                      <a:lnTo>
                        <a:pt x="351867" y="109937"/>
                      </a:lnTo>
                      <a:lnTo>
                        <a:pt x="344248" y="102317"/>
                      </a:lnTo>
                      <a:lnTo>
                        <a:pt x="329393" y="104110"/>
                      </a:lnTo>
                      <a:lnTo>
                        <a:pt x="323566" y="91048"/>
                      </a:lnTo>
                      <a:lnTo>
                        <a:pt x="328657" y="85990"/>
                      </a:lnTo>
                      <a:lnTo>
                        <a:pt x="324303" y="83429"/>
                      </a:lnTo>
                      <a:lnTo>
                        <a:pt x="318124" y="77282"/>
                      </a:lnTo>
                      <a:lnTo>
                        <a:pt x="321037" y="60219"/>
                      </a:lnTo>
                      <a:lnTo>
                        <a:pt x="309800" y="48982"/>
                      </a:lnTo>
                      <a:lnTo>
                        <a:pt x="310505" y="39538"/>
                      </a:lnTo>
                      <a:lnTo>
                        <a:pt x="297443" y="35920"/>
                      </a:lnTo>
                      <a:lnTo>
                        <a:pt x="286590" y="26476"/>
                      </a:lnTo>
                      <a:lnTo>
                        <a:pt x="266613" y="21418"/>
                      </a:lnTo>
                      <a:lnTo>
                        <a:pt x="252111" y="34479"/>
                      </a:lnTo>
                      <a:lnTo>
                        <a:pt x="250286" y="45716"/>
                      </a:lnTo>
                      <a:lnTo>
                        <a:pt x="240138" y="50806"/>
                      </a:lnTo>
                      <a:lnTo>
                        <a:pt x="235784" y="45716"/>
                      </a:lnTo>
                      <a:lnTo>
                        <a:pt x="224547" y="48982"/>
                      </a:lnTo>
                      <a:lnTo>
                        <a:pt x="215839" y="69663"/>
                      </a:lnTo>
                      <a:lnTo>
                        <a:pt x="220929" y="71488"/>
                      </a:lnTo>
                      <a:lnTo>
                        <a:pt x="217664" y="80900"/>
                      </a:lnTo>
                      <a:lnTo>
                        <a:pt x="201337" y="79811"/>
                      </a:lnTo>
                      <a:lnTo>
                        <a:pt x="200248" y="70399"/>
                      </a:lnTo>
                      <a:lnTo>
                        <a:pt x="195158" y="70399"/>
                      </a:lnTo>
                      <a:lnTo>
                        <a:pt x="190068" y="65309"/>
                      </a:lnTo>
                      <a:lnTo>
                        <a:pt x="181392" y="35920"/>
                      </a:lnTo>
                      <a:lnTo>
                        <a:pt x="185714" y="32655"/>
                      </a:lnTo>
                      <a:lnTo>
                        <a:pt x="182480" y="11237"/>
                      </a:lnTo>
                      <a:lnTo>
                        <a:pt x="191892" y="7619"/>
                      </a:lnTo>
                      <a:lnTo>
                        <a:pt x="187539" y="3265"/>
                      </a:lnTo>
                      <a:lnTo>
                        <a:pt x="159238" y="737"/>
                      </a:lnTo>
                      <a:lnTo>
                        <a:pt x="150530" y="5091"/>
                      </a:lnTo>
                      <a:lnTo>
                        <a:pt x="141118" y="21418"/>
                      </a:lnTo>
                      <a:lnTo>
                        <a:pt x="120437" y="25772"/>
                      </a:lnTo>
                      <a:lnTo>
                        <a:pt x="100492" y="38833"/>
                      </a:lnTo>
                      <a:lnTo>
                        <a:pt x="89223" y="38833"/>
                      </a:lnTo>
                      <a:lnTo>
                        <a:pt x="77250" y="30830"/>
                      </a:lnTo>
                      <a:lnTo>
                        <a:pt x="72192" y="1885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5" name="Forma Livre: Forma 184">
                  <a:extLst>
                    <a:ext uri="{FF2B5EF4-FFF2-40B4-BE49-F238E27FC236}">
                      <a16:creationId xmlns:a16="http://schemas.microsoft.com/office/drawing/2014/main" id="{113684FE-C999-6237-6DBE-5EDA4A912F65}"/>
                    </a:ext>
                  </a:extLst>
                </p:cNvPr>
                <p:cNvSpPr/>
                <p:nvPr/>
              </p:nvSpPr>
              <p:spPr>
                <a:xfrm>
                  <a:off x="1882216" y="5553872"/>
                  <a:ext cx="383784" cy="485365"/>
                </a:xfrm>
                <a:custGeom>
                  <a:avLst/>
                  <a:gdLst>
                    <a:gd name="csX0" fmla="*/ 72192 w 383784"/>
                    <a:gd name="csY0" fmla="*/ 18856 h 485365"/>
                    <a:gd name="csX1" fmla="*/ 62748 w 383784"/>
                    <a:gd name="csY1" fmla="*/ 19593 h 485365"/>
                    <a:gd name="csX2" fmla="*/ 63484 w 383784"/>
                    <a:gd name="csY2" fmla="*/ 12710 h 485365"/>
                    <a:gd name="csX3" fmla="*/ 54040 w 383784"/>
                    <a:gd name="csY3" fmla="*/ 10149 h 485365"/>
                    <a:gd name="csX4" fmla="*/ 54776 w 383784"/>
                    <a:gd name="csY4" fmla="*/ 4354 h 485365"/>
                    <a:gd name="csX5" fmla="*/ 49686 w 383784"/>
                    <a:gd name="csY5" fmla="*/ 0 h 485365"/>
                    <a:gd name="csX6" fmla="*/ 42067 w 383784"/>
                    <a:gd name="csY6" fmla="*/ 3265 h 485365"/>
                    <a:gd name="csX7" fmla="*/ 40978 w 383784"/>
                    <a:gd name="csY7" fmla="*/ 13798 h 485365"/>
                    <a:gd name="csX8" fmla="*/ 27564 w 383784"/>
                    <a:gd name="csY8" fmla="*/ 26476 h 485365"/>
                    <a:gd name="csX9" fmla="*/ 7619 w 383784"/>
                    <a:gd name="csY9" fmla="*/ 23947 h 485365"/>
                    <a:gd name="csX10" fmla="*/ 0 w 383784"/>
                    <a:gd name="csY10" fmla="*/ 35183 h 485365"/>
                    <a:gd name="csX11" fmla="*/ 6883 w 383784"/>
                    <a:gd name="csY11" fmla="*/ 45716 h 485365"/>
                    <a:gd name="csX12" fmla="*/ 1441 w 383784"/>
                    <a:gd name="csY12" fmla="*/ 56601 h 485365"/>
                    <a:gd name="csX13" fmla="*/ 11973 w 383784"/>
                    <a:gd name="csY13" fmla="*/ 67838 h 485365"/>
                    <a:gd name="csX14" fmla="*/ 27564 w 383784"/>
                    <a:gd name="csY14" fmla="*/ 72192 h 485365"/>
                    <a:gd name="csX15" fmla="*/ 19593 w 383784"/>
                    <a:gd name="csY15" fmla="*/ 83429 h 485365"/>
                    <a:gd name="csX16" fmla="*/ 25739 w 383784"/>
                    <a:gd name="csY16" fmla="*/ 92873 h 485365"/>
                    <a:gd name="csX17" fmla="*/ 19593 w 383784"/>
                    <a:gd name="csY17" fmla="*/ 93609 h 485365"/>
                    <a:gd name="csX18" fmla="*/ 17768 w 383784"/>
                    <a:gd name="csY18" fmla="*/ 100492 h 485365"/>
                    <a:gd name="csX19" fmla="*/ 28300 w 383784"/>
                    <a:gd name="csY19" fmla="*/ 105935 h 485365"/>
                    <a:gd name="csX20" fmla="*/ 32654 w 383784"/>
                    <a:gd name="csY20" fmla="*/ 99052 h 485365"/>
                    <a:gd name="csX21" fmla="*/ 42067 w 383784"/>
                    <a:gd name="csY21" fmla="*/ 103022 h 485365"/>
                    <a:gd name="csX22" fmla="*/ 47157 w 383784"/>
                    <a:gd name="csY22" fmla="*/ 113554 h 485365"/>
                    <a:gd name="csX23" fmla="*/ 42067 w 383784"/>
                    <a:gd name="csY23" fmla="*/ 114291 h 485365"/>
                    <a:gd name="csX24" fmla="*/ 37008 w 383784"/>
                    <a:gd name="csY24" fmla="*/ 115379 h 485365"/>
                    <a:gd name="csX25" fmla="*/ 38449 w 383784"/>
                    <a:gd name="csY25" fmla="*/ 133147 h 485365"/>
                    <a:gd name="csX26" fmla="*/ 51511 w 383784"/>
                    <a:gd name="csY26" fmla="*/ 141855 h 485365"/>
                    <a:gd name="csX27" fmla="*/ 55865 w 383784"/>
                    <a:gd name="csY27" fmla="*/ 155620 h 485365"/>
                    <a:gd name="csX28" fmla="*/ 51511 w 383784"/>
                    <a:gd name="csY28" fmla="*/ 157445 h 485365"/>
                    <a:gd name="csX29" fmla="*/ 50774 w 383784"/>
                    <a:gd name="csY29" fmla="*/ 168682 h 485365"/>
                    <a:gd name="csX30" fmla="*/ 57657 w 383784"/>
                    <a:gd name="csY30" fmla="*/ 174509 h 485365"/>
                    <a:gd name="csX31" fmla="*/ 53335 w 383784"/>
                    <a:gd name="csY31" fmla="*/ 183185 h 485365"/>
                    <a:gd name="csX32" fmla="*/ 40274 w 383784"/>
                    <a:gd name="csY32" fmla="*/ 188275 h 485365"/>
                    <a:gd name="csX33" fmla="*/ 35920 w 383784"/>
                    <a:gd name="csY33" fmla="*/ 210781 h 485365"/>
                    <a:gd name="csX34" fmla="*/ 47157 w 383784"/>
                    <a:gd name="csY34" fmla="*/ 214046 h 485365"/>
                    <a:gd name="csX35" fmla="*/ 57657 w 383784"/>
                    <a:gd name="csY35" fmla="*/ 230342 h 485365"/>
                    <a:gd name="csX36" fmla="*/ 58394 w 383784"/>
                    <a:gd name="csY36" fmla="*/ 240874 h 485365"/>
                    <a:gd name="csX37" fmla="*/ 46420 w 383784"/>
                    <a:gd name="csY37" fmla="*/ 242699 h 485365"/>
                    <a:gd name="csX38" fmla="*/ 37008 w 383784"/>
                    <a:gd name="csY38" fmla="*/ 265909 h 485365"/>
                    <a:gd name="csX39" fmla="*/ 38449 w 383784"/>
                    <a:gd name="csY39" fmla="*/ 270999 h 485365"/>
                    <a:gd name="csX40" fmla="*/ 28300 w 383784"/>
                    <a:gd name="csY40" fmla="*/ 275353 h 485365"/>
                    <a:gd name="csX41" fmla="*/ 28300 w 383784"/>
                    <a:gd name="csY41" fmla="*/ 288031 h 485365"/>
                    <a:gd name="csX42" fmla="*/ 22122 w 383784"/>
                    <a:gd name="csY42" fmla="*/ 294210 h 485365"/>
                    <a:gd name="csX43" fmla="*/ 11973 w 383784"/>
                    <a:gd name="csY43" fmla="*/ 306183 h 485365"/>
                    <a:gd name="csX44" fmla="*/ 14502 w 383784"/>
                    <a:gd name="csY44" fmla="*/ 314154 h 485365"/>
                    <a:gd name="csX45" fmla="*/ 21385 w 383784"/>
                    <a:gd name="csY45" fmla="*/ 326128 h 485365"/>
                    <a:gd name="csX46" fmla="*/ 17768 w 383784"/>
                    <a:gd name="csY46" fmla="*/ 340630 h 485365"/>
                    <a:gd name="csX47" fmla="*/ 30093 w 383784"/>
                    <a:gd name="csY47" fmla="*/ 339926 h 485365"/>
                    <a:gd name="csX48" fmla="*/ 32654 w 383784"/>
                    <a:gd name="csY48" fmla="*/ 347545 h 485365"/>
                    <a:gd name="csX49" fmla="*/ 23210 w 383784"/>
                    <a:gd name="csY49" fmla="*/ 355132 h 485365"/>
                    <a:gd name="csX50" fmla="*/ 20681 w 383784"/>
                    <a:gd name="csY50" fmla="*/ 365665 h 485365"/>
                    <a:gd name="csX51" fmla="*/ 28300 w 383784"/>
                    <a:gd name="csY51" fmla="*/ 395054 h 485365"/>
                    <a:gd name="csX52" fmla="*/ 18856 w 383784"/>
                    <a:gd name="csY52" fmla="*/ 405203 h 485365"/>
                    <a:gd name="csX53" fmla="*/ 19593 w 383784"/>
                    <a:gd name="csY53" fmla="*/ 413910 h 485365"/>
                    <a:gd name="csX54" fmla="*/ 14502 w 383784"/>
                    <a:gd name="csY54" fmla="*/ 419705 h 485365"/>
                    <a:gd name="csX55" fmla="*/ 37008 w 383784"/>
                    <a:gd name="csY55" fmla="*/ 454184 h 485365"/>
                    <a:gd name="csX56" fmla="*/ 30830 w 383784"/>
                    <a:gd name="csY56" fmla="*/ 467246 h 485365"/>
                    <a:gd name="csX57" fmla="*/ 37008 w 383784"/>
                    <a:gd name="csY57" fmla="*/ 472304 h 485365"/>
                    <a:gd name="csX58" fmla="*/ 48982 w 383784"/>
                    <a:gd name="csY58" fmla="*/ 470511 h 485365"/>
                    <a:gd name="csX59" fmla="*/ 54040 w 383784"/>
                    <a:gd name="csY59" fmla="*/ 456009 h 485365"/>
                    <a:gd name="csX60" fmla="*/ 69663 w 383784"/>
                    <a:gd name="csY60" fmla="*/ 467246 h 485365"/>
                    <a:gd name="csX61" fmla="*/ 77250 w 383784"/>
                    <a:gd name="csY61" fmla="*/ 485366 h 485365"/>
                    <a:gd name="csX62" fmla="*/ 85958 w 383784"/>
                    <a:gd name="csY62" fmla="*/ 483573 h 485365"/>
                    <a:gd name="csX63" fmla="*/ 91048 w 383784"/>
                    <a:gd name="csY63" fmla="*/ 473040 h 485365"/>
                    <a:gd name="csX64" fmla="*/ 104846 w 383784"/>
                    <a:gd name="csY64" fmla="*/ 457802 h 485365"/>
                    <a:gd name="csX65" fmla="*/ 121878 w 383784"/>
                    <a:gd name="csY65" fmla="*/ 456009 h 485365"/>
                    <a:gd name="csX66" fmla="*/ 133115 w 383784"/>
                    <a:gd name="csY66" fmla="*/ 448390 h 485365"/>
                    <a:gd name="csX67" fmla="*/ 143647 w 383784"/>
                    <a:gd name="csY67" fmla="*/ 449094 h 485365"/>
                    <a:gd name="csX68" fmla="*/ 150530 w 383784"/>
                    <a:gd name="csY68" fmla="*/ 451655 h 485365"/>
                    <a:gd name="csX69" fmla="*/ 156357 w 383784"/>
                    <a:gd name="csY69" fmla="*/ 448390 h 485365"/>
                    <a:gd name="csX70" fmla="*/ 165769 w 383784"/>
                    <a:gd name="csY70" fmla="*/ 455273 h 485365"/>
                    <a:gd name="csX71" fmla="*/ 164328 w 383784"/>
                    <a:gd name="csY71" fmla="*/ 467950 h 485365"/>
                    <a:gd name="csX72" fmla="*/ 183185 w 383784"/>
                    <a:gd name="csY72" fmla="*/ 481012 h 485365"/>
                    <a:gd name="csX73" fmla="*/ 186450 w 383784"/>
                    <a:gd name="csY73" fmla="*/ 464685 h 485365"/>
                    <a:gd name="csX74" fmla="*/ 196983 w 383784"/>
                    <a:gd name="csY74" fmla="*/ 463596 h 485365"/>
                    <a:gd name="csX75" fmla="*/ 203866 w 383784"/>
                    <a:gd name="csY75" fmla="*/ 449830 h 485365"/>
                    <a:gd name="csX76" fmla="*/ 219457 w 383784"/>
                    <a:gd name="csY76" fmla="*/ 448390 h 485365"/>
                    <a:gd name="csX77" fmla="*/ 223458 w 383784"/>
                    <a:gd name="csY77" fmla="*/ 465421 h 485365"/>
                    <a:gd name="csX78" fmla="*/ 236520 w 383784"/>
                    <a:gd name="csY78" fmla="*/ 472304 h 485365"/>
                    <a:gd name="csX79" fmla="*/ 233959 w 383784"/>
                    <a:gd name="csY79" fmla="*/ 462892 h 485365"/>
                    <a:gd name="csX80" fmla="*/ 244140 w 383784"/>
                    <a:gd name="csY80" fmla="*/ 461067 h 485365"/>
                    <a:gd name="csX81" fmla="*/ 247757 w 383784"/>
                    <a:gd name="csY81" fmla="*/ 458538 h 485365"/>
                    <a:gd name="csX82" fmla="*/ 238313 w 383784"/>
                    <a:gd name="csY82" fmla="*/ 444036 h 485365"/>
                    <a:gd name="csX83" fmla="*/ 242667 w 383784"/>
                    <a:gd name="csY83" fmla="*/ 430974 h 485365"/>
                    <a:gd name="csX84" fmla="*/ 233255 w 383784"/>
                    <a:gd name="csY84" fmla="*/ 425884 h 485365"/>
                    <a:gd name="csX85" fmla="*/ 240138 w 383784"/>
                    <a:gd name="csY85" fmla="*/ 412086 h 485365"/>
                    <a:gd name="csX86" fmla="*/ 236520 w 383784"/>
                    <a:gd name="csY86" fmla="*/ 405203 h 485365"/>
                    <a:gd name="csX87" fmla="*/ 240874 w 383784"/>
                    <a:gd name="csY87" fmla="*/ 399056 h 485365"/>
                    <a:gd name="csX88" fmla="*/ 239049 w 383784"/>
                    <a:gd name="csY88" fmla="*/ 387082 h 485365"/>
                    <a:gd name="csX89" fmla="*/ 245932 w 383784"/>
                    <a:gd name="csY89" fmla="*/ 381992 h 485365"/>
                    <a:gd name="csX90" fmla="*/ 249582 w 383784"/>
                    <a:gd name="csY90" fmla="*/ 374373 h 485365"/>
                    <a:gd name="csX91" fmla="*/ 244140 w 383784"/>
                    <a:gd name="csY91" fmla="*/ 364576 h 485365"/>
                    <a:gd name="csX92" fmla="*/ 250286 w 383784"/>
                    <a:gd name="csY92" fmla="*/ 362048 h 485365"/>
                    <a:gd name="csX93" fmla="*/ 244140 w 383784"/>
                    <a:gd name="csY93" fmla="*/ 354428 h 485365"/>
                    <a:gd name="csX94" fmla="*/ 246669 w 383784"/>
                    <a:gd name="csY94" fmla="*/ 344280 h 485365"/>
                    <a:gd name="csX95" fmla="*/ 257201 w 383784"/>
                    <a:gd name="csY95" fmla="*/ 338837 h 485365"/>
                    <a:gd name="csX96" fmla="*/ 259730 w 383784"/>
                    <a:gd name="csY96" fmla="*/ 331922 h 485365"/>
                    <a:gd name="csX97" fmla="*/ 278587 w 383784"/>
                    <a:gd name="csY97" fmla="*/ 324303 h 485365"/>
                    <a:gd name="csX98" fmla="*/ 281148 w 383784"/>
                    <a:gd name="csY98" fmla="*/ 315595 h 485365"/>
                    <a:gd name="csX99" fmla="*/ 296002 w 383784"/>
                    <a:gd name="csY99" fmla="*/ 311241 h 485365"/>
                    <a:gd name="csX100" fmla="*/ 318124 w 383784"/>
                    <a:gd name="csY100" fmla="*/ 250318 h 485365"/>
                    <a:gd name="csX101" fmla="*/ 319949 w 383784"/>
                    <a:gd name="csY101" fmla="*/ 250318 h 485365"/>
                    <a:gd name="csX102" fmla="*/ 338101 w 383784"/>
                    <a:gd name="csY102" fmla="*/ 252848 h 485365"/>
                    <a:gd name="csX103" fmla="*/ 340630 w 383784"/>
                    <a:gd name="csY103" fmla="*/ 238345 h 485365"/>
                    <a:gd name="csX104" fmla="*/ 350042 w 383784"/>
                    <a:gd name="csY104" fmla="*/ 244139 h 485365"/>
                    <a:gd name="csX105" fmla="*/ 356221 w 383784"/>
                    <a:gd name="csY105" fmla="*/ 232166 h 485365"/>
                    <a:gd name="csX106" fmla="*/ 368194 w 383784"/>
                    <a:gd name="csY106" fmla="*/ 232166 h 485365"/>
                    <a:gd name="csX107" fmla="*/ 376902 w 383784"/>
                    <a:gd name="csY107" fmla="*/ 229637 h 485365"/>
                    <a:gd name="csX108" fmla="*/ 378343 w 383784"/>
                    <a:gd name="csY108" fmla="*/ 216928 h 485365"/>
                    <a:gd name="csX109" fmla="*/ 383785 w 383784"/>
                    <a:gd name="csY109" fmla="*/ 213310 h 485365"/>
                    <a:gd name="csX110" fmla="*/ 367458 w 383784"/>
                    <a:gd name="csY110" fmla="*/ 206427 h 485365"/>
                    <a:gd name="csX111" fmla="*/ 370019 w 383784"/>
                    <a:gd name="csY111" fmla="*/ 197719 h 485365"/>
                    <a:gd name="csX112" fmla="*/ 356957 w 383784"/>
                    <a:gd name="csY112" fmla="*/ 196247 h 485365"/>
                    <a:gd name="csX113" fmla="*/ 339894 w 383784"/>
                    <a:gd name="csY113" fmla="*/ 185746 h 485365"/>
                    <a:gd name="csX114" fmla="*/ 333011 w 383784"/>
                    <a:gd name="csY114" fmla="*/ 167594 h 485365"/>
                    <a:gd name="csX115" fmla="*/ 338101 w 383784"/>
                    <a:gd name="csY115" fmla="*/ 150562 h 485365"/>
                    <a:gd name="csX116" fmla="*/ 354396 w 383784"/>
                    <a:gd name="csY116" fmla="*/ 136028 h 485365"/>
                    <a:gd name="csX117" fmla="*/ 344248 w 383784"/>
                    <a:gd name="csY117" fmla="*/ 118612 h 485365"/>
                    <a:gd name="csX118" fmla="*/ 351867 w 383784"/>
                    <a:gd name="csY118" fmla="*/ 109937 h 485365"/>
                    <a:gd name="csX119" fmla="*/ 344248 w 383784"/>
                    <a:gd name="csY119" fmla="*/ 102317 h 485365"/>
                    <a:gd name="csX120" fmla="*/ 329393 w 383784"/>
                    <a:gd name="csY120" fmla="*/ 104110 h 485365"/>
                    <a:gd name="csX121" fmla="*/ 323566 w 383784"/>
                    <a:gd name="csY121" fmla="*/ 91048 h 485365"/>
                    <a:gd name="csX122" fmla="*/ 328657 w 383784"/>
                    <a:gd name="csY122" fmla="*/ 85990 h 485365"/>
                    <a:gd name="csX123" fmla="*/ 324303 w 383784"/>
                    <a:gd name="csY123" fmla="*/ 83429 h 485365"/>
                    <a:gd name="csX124" fmla="*/ 318124 w 383784"/>
                    <a:gd name="csY124" fmla="*/ 77282 h 485365"/>
                    <a:gd name="csX125" fmla="*/ 321037 w 383784"/>
                    <a:gd name="csY125" fmla="*/ 60219 h 485365"/>
                    <a:gd name="csX126" fmla="*/ 309800 w 383784"/>
                    <a:gd name="csY126" fmla="*/ 48982 h 485365"/>
                    <a:gd name="csX127" fmla="*/ 310505 w 383784"/>
                    <a:gd name="csY127" fmla="*/ 39538 h 485365"/>
                    <a:gd name="csX128" fmla="*/ 297443 w 383784"/>
                    <a:gd name="csY128" fmla="*/ 35920 h 485365"/>
                    <a:gd name="csX129" fmla="*/ 286590 w 383784"/>
                    <a:gd name="csY129" fmla="*/ 26476 h 485365"/>
                    <a:gd name="csX130" fmla="*/ 266613 w 383784"/>
                    <a:gd name="csY130" fmla="*/ 21418 h 485365"/>
                    <a:gd name="csX131" fmla="*/ 252111 w 383784"/>
                    <a:gd name="csY131" fmla="*/ 34479 h 485365"/>
                    <a:gd name="csX132" fmla="*/ 250286 w 383784"/>
                    <a:gd name="csY132" fmla="*/ 45716 h 485365"/>
                    <a:gd name="csX133" fmla="*/ 240138 w 383784"/>
                    <a:gd name="csY133" fmla="*/ 50806 h 485365"/>
                    <a:gd name="csX134" fmla="*/ 235784 w 383784"/>
                    <a:gd name="csY134" fmla="*/ 45716 h 485365"/>
                    <a:gd name="csX135" fmla="*/ 224547 w 383784"/>
                    <a:gd name="csY135" fmla="*/ 48982 h 485365"/>
                    <a:gd name="csX136" fmla="*/ 215839 w 383784"/>
                    <a:gd name="csY136" fmla="*/ 69663 h 485365"/>
                    <a:gd name="csX137" fmla="*/ 220929 w 383784"/>
                    <a:gd name="csY137" fmla="*/ 71488 h 485365"/>
                    <a:gd name="csX138" fmla="*/ 217664 w 383784"/>
                    <a:gd name="csY138" fmla="*/ 80900 h 485365"/>
                    <a:gd name="csX139" fmla="*/ 201337 w 383784"/>
                    <a:gd name="csY139" fmla="*/ 79811 h 485365"/>
                    <a:gd name="csX140" fmla="*/ 200248 w 383784"/>
                    <a:gd name="csY140" fmla="*/ 70399 h 485365"/>
                    <a:gd name="csX141" fmla="*/ 195158 w 383784"/>
                    <a:gd name="csY141" fmla="*/ 70399 h 485365"/>
                    <a:gd name="csX142" fmla="*/ 190068 w 383784"/>
                    <a:gd name="csY142" fmla="*/ 65309 h 485365"/>
                    <a:gd name="csX143" fmla="*/ 181392 w 383784"/>
                    <a:gd name="csY143" fmla="*/ 35920 h 485365"/>
                    <a:gd name="csX144" fmla="*/ 185714 w 383784"/>
                    <a:gd name="csY144" fmla="*/ 32655 h 485365"/>
                    <a:gd name="csX145" fmla="*/ 182480 w 383784"/>
                    <a:gd name="csY145" fmla="*/ 11237 h 485365"/>
                    <a:gd name="csX146" fmla="*/ 191892 w 383784"/>
                    <a:gd name="csY146" fmla="*/ 7619 h 485365"/>
                    <a:gd name="csX147" fmla="*/ 187539 w 383784"/>
                    <a:gd name="csY147" fmla="*/ 3265 h 485365"/>
                    <a:gd name="csX148" fmla="*/ 159238 w 383784"/>
                    <a:gd name="csY148" fmla="*/ 737 h 485365"/>
                    <a:gd name="csX149" fmla="*/ 150530 w 383784"/>
                    <a:gd name="csY149" fmla="*/ 5091 h 485365"/>
                    <a:gd name="csX150" fmla="*/ 141118 w 383784"/>
                    <a:gd name="csY150" fmla="*/ 21418 h 485365"/>
                    <a:gd name="csX151" fmla="*/ 120437 w 383784"/>
                    <a:gd name="csY151" fmla="*/ 25772 h 485365"/>
                    <a:gd name="csX152" fmla="*/ 100492 w 383784"/>
                    <a:gd name="csY152" fmla="*/ 38833 h 485365"/>
                    <a:gd name="csX153" fmla="*/ 89223 w 383784"/>
                    <a:gd name="csY153" fmla="*/ 38833 h 485365"/>
                    <a:gd name="csX154" fmla="*/ 77250 w 383784"/>
                    <a:gd name="csY154" fmla="*/ 30830 h 485365"/>
                    <a:gd name="csX155" fmla="*/ 72192 w 383784"/>
                    <a:gd name="csY155" fmla="*/ 18856 h 48536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</a:cxnLst>
                  <a:rect l="l" t="t" r="r" b="b"/>
                  <a:pathLst>
                    <a:path w="383784" h="485365">
                      <a:moveTo>
                        <a:pt x="72192" y="18856"/>
                      </a:moveTo>
                      <a:lnTo>
                        <a:pt x="62748" y="19593"/>
                      </a:lnTo>
                      <a:lnTo>
                        <a:pt x="63484" y="12710"/>
                      </a:lnTo>
                      <a:lnTo>
                        <a:pt x="54040" y="10149"/>
                      </a:lnTo>
                      <a:lnTo>
                        <a:pt x="54776" y="4354"/>
                      </a:lnTo>
                      <a:lnTo>
                        <a:pt x="49686" y="0"/>
                      </a:lnTo>
                      <a:lnTo>
                        <a:pt x="42067" y="3265"/>
                      </a:lnTo>
                      <a:lnTo>
                        <a:pt x="40978" y="13798"/>
                      </a:lnTo>
                      <a:lnTo>
                        <a:pt x="27564" y="26476"/>
                      </a:lnTo>
                      <a:lnTo>
                        <a:pt x="7619" y="23947"/>
                      </a:lnTo>
                      <a:lnTo>
                        <a:pt x="0" y="35183"/>
                      </a:lnTo>
                      <a:lnTo>
                        <a:pt x="6883" y="45716"/>
                      </a:lnTo>
                      <a:lnTo>
                        <a:pt x="1441" y="56601"/>
                      </a:lnTo>
                      <a:lnTo>
                        <a:pt x="11973" y="67838"/>
                      </a:lnTo>
                      <a:lnTo>
                        <a:pt x="27564" y="72192"/>
                      </a:lnTo>
                      <a:lnTo>
                        <a:pt x="19593" y="83429"/>
                      </a:lnTo>
                      <a:lnTo>
                        <a:pt x="25739" y="92873"/>
                      </a:lnTo>
                      <a:lnTo>
                        <a:pt x="19593" y="93609"/>
                      </a:lnTo>
                      <a:lnTo>
                        <a:pt x="17768" y="100492"/>
                      </a:lnTo>
                      <a:lnTo>
                        <a:pt x="28300" y="105935"/>
                      </a:lnTo>
                      <a:lnTo>
                        <a:pt x="32654" y="99052"/>
                      </a:lnTo>
                      <a:lnTo>
                        <a:pt x="42067" y="103022"/>
                      </a:lnTo>
                      <a:lnTo>
                        <a:pt x="47157" y="113554"/>
                      </a:lnTo>
                      <a:lnTo>
                        <a:pt x="42067" y="114291"/>
                      </a:lnTo>
                      <a:lnTo>
                        <a:pt x="37008" y="115379"/>
                      </a:lnTo>
                      <a:lnTo>
                        <a:pt x="38449" y="133147"/>
                      </a:lnTo>
                      <a:lnTo>
                        <a:pt x="51511" y="141855"/>
                      </a:lnTo>
                      <a:lnTo>
                        <a:pt x="55865" y="155620"/>
                      </a:lnTo>
                      <a:lnTo>
                        <a:pt x="51511" y="157445"/>
                      </a:lnTo>
                      <a:lnTo>
                        <a:pt x="50774" y="168682"/>
                      </a:lnTo>
                      <a:lnTo>
                        <a:pt x="57657" y="174509"/>
                      </a:lnTo>
                      <a:lnTo>
                        <a:pt x="53335" y="183185"/>
                      </a:lnTo>
                      <a:lnTo>
                        <a:pt x="40274" y="188275"/>
                      </a:lnTo>
                      <a:lnTo>
                        <a:pt x="35920" y="210781"/>
                      </a:lnTo>
                      <a:lnTo>
                        <a:pt x="47157" y="214046"/>
                      </a:lnTo>
                      <a:lnTo>
                        <a:pt x="57657" y="230342"/>
                      </a:lnTo>
                      <a:lnTo>
                        <a:pt x="58394" y="240874"/>
                      </a:lnTo>
                      <a:lnTo>
                        <a:pt x="46420" y="242699"/>
                      </a:lnTo>
                      <a:lnTo>
                        <a:pt x="37008" y="265909"/>
                      </a:lnTo>
                      <a:lnTo>
                        <a:pt x="38449" y="270999"/>
                      </a:lnTo>
                      <a:lnTo>
                        <a:pt x="28300" y="275353"/>
                      </a:lnTo>
                      <a:lnTo>
                        <a:pt x="28300" y="288031"/>
                      </a:lnTo>
                      <a:lnTo>
                        <a:pt x="22122" y="294210"/>
                      </a:lnTo>
                      <a:lnTo>
                        <a:pt x="11973" y="306183"/>
                      </a:lnTo>
                      <a:lnTo>
                        <a:pt x="14502" y="314154"/>
                      </a:lnTo>
                      <a:lnTo>
                        <a:pt x="21385" y="326128"/>
                      </a:lnTo>
                      <a:lnTo>
                        <a:pt x="17768" y="340630"/>
                      </a:lnTo>
                      <a:lnTo>
                        <a:pt x="30093" y="339926"/>
                      </a:lnTo>
                      <a:lnTo>
                        <a:pt x="32654" y="347545"/>
                      </a:lnTo>
                      <a:lnTo>
                        <a:pt x="23210" y="355132"/>
                      </a:lnTo>
                      <a:lnTo>
                        <a:pt x="20681" y="365665"/>
                      </a:lnTo>
                      <a:lnTo>
                        <a:pt x="28300" y="395054"/>
                      </a:lnTo>
                      <a:lnTo>
                        <a:pt x="18856" y="405203"/>
                      </a:lnTo>
                      <a:lnTo>
                        <a:pt x="19593" y="413910"/>
                      </a:lnTo>
                      <a:lnTo>
                        <a:pt x="14502" y="419705"/>
                      </a:lnTo>
                      <a:lnTo>
                        <a:pt x="37008" y="454184"/>
                      </a:lnTo>
                      <a:lnTo>
                        <a:pt x="30830" y="467246"/>
                      </a:lnTo>
                      <a:lnTo>
                        <a:pt x="37008" y="472304"/>
                      </a:lnTo>
                      <a:lnTo>
                        <a:pt x="48982" y="470511"/>
                      </a:lnTo>
                      <a:lnTo>
                        <a:pt x="54040" y="456009"/>
                      </a:lnTo>
                      <a:lnTo>
                        <a:pt x="69663" y="467246"/>
                      </a:lnTo>
                      <a:lnTo>
                        <a:pt x="77250" y="485366"/>
                      </a:lnTo>
                      <a:lnTo>
                        <a:pt x="85958" y="483573"/>
                      </a:lnTo>
                      <a:lnTo>
                        <a:pt x="91048" y="473040"/>
                      </a:lnTo>
                      <a:lnTo>
                        <a:pt x="104846" y="457802"/>
                      </a:lnTo>
                      <a:lnTo>
                        <a:pt x="121878" y="456009"/>
                      </a:lnTo>
                      <a:lnTo>
                        <a:pt x="133115" y="448390"/>
                      </a:lnTo>
                      <a:lnTo>
                        <a:pt x="143647" y="449094"/>
                      </a:lnTo>
                      <a:lnTo>
                        <a:pt x="150530" y="451655"/>
                      </a:lnTo>
                      <a:lnTo>
                        <a:pt x="156357" y="448390"/>
                      </a:lnTo>
                      <a:lnTo>
                        <a:pt x="165769" y="455273"/>
                      </a:lnTo>
                      <a:lnTo>
                        <a:pt x="164328" y="467950"/>
                      </a:lnTo>
                      <a:lnTo>
                        <a:pt x="183185" y="481012"/>
                      </a:lnTo>
                      <a:lnTo>
                        <a:pt x="186450" y="464685"/>
                      </a:lnTo>
                      <a:lnTo>
                        <a:pt x="196983" y="463596"/>
                      </a:lnTo>
                      <a:lnTo>
                        <a:pt x="203866" y="449830"/>
                      </a:lnTo>
                      <a:lnTo>
                        <a:pt x="219457" y="448390"/>
                      </a:lnTo>
                      <a:lnTo>
                        <a:pt x="223458" y="465421"/>
                      </a:lnTo>
                      <a:lnTo>
                        <a:pt x="236520" y="472304"/>
                      </a:lnTo>
                      <a:lnTo>
                        <a:pt x="233959" y="462892"/>
                      </a:lnTo>
                      <a:lnTo>
                        <a:pt x="244140" y="461067"/>
                      </a:lnTo>
                      <a:lnTo>
                        <a:pt x="247757" y="458538"/>
                      </a:lnTo>
                      <a:lnTo>
                        <a:pt x="238313" y="444036"/>
                      </a:lnTo>
                      <a:lnTo>
                        <a:pt x="242667" y="430974"/>
                      </a:lnTo>
                      <a:lnTo>
                        <a:pt x="233255" y="425884"/>
                      </a:lnTo>
                      <a:lnTo>
                        <a:pt x="240138" y="412086"/>
                      </a:lnTo>
                      <a:lnTo>
                        <a:pt x="236520" y="405203"/>
                      </a:lnTo>
                      <a:lnTo>
                        <a:pt x="240874" y="399056"/>
                      </a:lnTo>
                      <a:lnTo>
                        <a:pt x="239049" y="387082"/>
                      </a:lnTo>
                      <a:lnTo>
                        <a:pt x="245932" y="381992"/>
                      </a:lnTo>
                      <a:lnTo>
                        <a:pt x="249582" y="374373"/>
                      </a:lnTo>
                      <a:lnTo>
                        <a:pt x="244140" y="364576"/>
                      </a:lnTo>
                      <a:lnTo>
                        <a:pt x="250286" y="362048"/>
                      </a:lnTo>
                      <a:lnTo>
                        <a:pt x="244140" y="354428"/>
                      </a:lnTo>
                      <a:lnTo>
                        <a:pt x="246669" y="344280"/>
                      </a:lnTo>
                      <a:lnTo>
                        <a:pt x="257201" y="338837"/>
                      </a:lnTo>
                      <a:lnTo>
                        <a:pt x="259730" y="331922"/>
                      </a:lnTo>
                      <a:lnTo>
                        <a:pt x="278587" y="324303"/>
                      </a:lnTo>
                      <a:lnTo>
                        <a:pt x="281148" y="315595"/>
                      </a:lnTo>
                      <a:lnTo>
                        <a:pt x="296002" y="311241"/>
                      </a:lnTo>
                      <a:lnTo>
                        <a:pt x="318124" y="250318"/>
                      </a:lnTo>
                      <a:lnTo>
                        <a:pt x="319949" y="250318"/>
                      </a:lnTo>
                      <a:lnTo>
                        <a:pt x="338101" y="252848"/>
                      </a:lnTo>
                      <a:lnTo>
                        <a:pt x="340630" y="238345"/>
                      </a:lnTo>
                      <a:lnTo>
                        <a:pt x="350042" y="244139"/>
                      </a:lnTo>
                      <a:lnTo>
                        <a:pt x="356221" y="232166"/>
                      </a:lnTo>
                      <a:lnTo>
                        <a:pt x="368194" y="232166"/>
                      </a:lnTo>
                      <a:lnTo>
                        <a:pt x="376902" y="229637"/>
                      </a:lnTo>
                      <a:lnTo>
                        <a:pt x="378343" y="216928"/>
                      </a:lnTo>
                      <a:lnTo>
                        <a:pt x="383785" y="213310"/>
                      </a:lnTo>
                      <a:lnTo>
                        <a:pt x="367458" y="206427"/>
                      </a:lnTo>
                      <a:lnTo>
                        <a:pt x="370019" y="197719"/>
                      </a:lnTo>
                      <a:lnTo>
                        <a:pt x="356957" y="196247"/>
                      </a:lnTo>
                      <a:lnTo>
                        <a:pt x="339894" y="185746"/>
                      </a:lnTo>
                      <a:lnTo>
                        <a:pt x="333011" y="167594"/>
                      </a:lnTo>
                      <a:lnTo>
                        <a:pt x="338101" y="150562"/>
                      </a:lnTo>
                      <a:lnTo>
                        <a:pt x="354396" y="136028"/>
                      </a:lnTo>
                      <a:lnTo>
                        <a:pt x="344248" y="118612"/>
                      </a:lnTo>
                      <a:lnTo>
                        <a:pt x="351867" y="109937"/>
                      </a:lnTo>
                      <a:lnTo>
                        <a:pt x="344248" y="102317"/>
                      </a:lnTo>
                      <a:lnTo>
                        <a:pt x="329393" y="104110"/>
                      </a:lnTo>
                      <a:lnTo>
                        <a:pt x="323566" y="91048"/>
                      </a:lnTo>
                      <a:lnTo>
                        <a:pt x="328657" y="85990"/>
                      </a:lnTo>
                      <a:lnTo>
                        <a:pt x="324303" y="83429"/>
                      </a:lnTo>
                      <a:lnTo>
                        <a:pt x="318124" y="77282"/>
                      </a:lnTo>
                      <a:lnTo>
                        <a:pt x="321037" y="60219"/>
                      </a:lnTo>
                      <a:lnTo>
                        <a:pt x="309800" y="48982"/>
                      </a:lnTo>
                      <a:lnTo>
                        <a:pt x="310505" y="39538"/>
                      </a:lnTo>
                      <a:lnTo>
                        <a:pt x="297443" y="35920"/>
                      </a:lnTo>
                      <a:lnTo>
                        <a:pt x="286590" y="26476"/>
                      </a:lnTo>
                      <a:lnTo>
                        <a:pt x="266613" y="21418"/>
                      </a:lnTo>
                      <a:lnTo>
                        <a:pt x="252111" y="34479"/>
                      </a:lnTo>
                      <a:lnTo>
                        <a:pt x="250286" y="45716"/>
                      </a:lnTo>
                      <a:lnTo>
                        <a:pt x="240138" y="50806"/>
                      </a:lnTo>
                      <a:lnTo>
                        <a:pt x="235784" y="45716"/>
                      </a:lnTo>
                      <a:lnTo>
                        <a:pt x="224547" y="48982"/>
                      </a:lnTo>
                      <a:lnTo>
                        <a:pt x="215839" y="69663"/>
                      </a:lnTo>
                      <a:lnTo>
                        <a:pt x="220929" y="71488"/>
                      </a:lnTo>
                      <a:lnTo>
                        <a:pt x="217664" y="80900"/>
                      </a:lnTo>
                      <a:lnTo>
                        <a:pt x="201337" y="79811"/>
                      </a:lnTo>
                      <a:lnTo>
                        <a:pt x="200248" y="70399"/>
                      </a:lnTo>
                      <a:lnTo>
                        <a:pt x="195158" y="70399"/>
                      </a:lnTo>
                      <a:lnTo>
                        <a:pt x="190068" y="65309"/>
                      </a:lnTo>
                      <a:lnTo>
                        <a:pt x="181392" y="35920"/>
                      </a:lnTo>
                      <a:lnTo>
                        <a:pt x="185714" y="32655"/>
                      </a:lnTo>
                      <a:lnTo>
                        <a:pt x="182480" y="11237"/>
                      </a:lnTo>
                      <a:lnTo>
                        <a:pt x="191892" y="7619"/>
                      </a:lnTo>
                      <a:lnTo>
                        <a:pt x="187539" y="3265"/>
                      </a:lnTo>
                      <a:lnTo>
                        <a:pt x="159238" y="737"/>
                      </a:lnTo>
                      <a:lnTo>
                        <a:pt x="150530" y="5091"/>
                      </a:lnTo>
                      <a:lnTo>
                        <a:pt x="141118" y="21418"/>
                      </a:lnTo>
                      <a:lnTo>
                        <a:pt x="120437" y="25772"/>
                      </a:lnTo>
                      <a:lnTo>
                        <a:pt x="100492" y="38833"/>
                      </a:lnTo>
                      <a:lnTo>
                        <a:pt x="89223" y="38833"/>
                      </a:lnTo>
                      <a:lnTo>
                        <a:pt x="77250" y="30830"/>
                      </a:lnTo>
                      <a:lnTo>
                        <a:pt x="72192" y="1885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6" name="Forma Livre: Forma 185">
                  <a:extLst>
                    <a:ext uri="{FF2B5EF4-FFF2-40B4-BE49-F238E27FC236}">
                      <a16:creationId xmlns:a16="http://schemas.microsoft.com/office/drawing/2014/main" id="{5C034610-0D4A-C048-E8C3-9A861C4C0E1A}"/>
                    </a:ext>
                  </a:extLst>
                </p:cNvPr>
                <p:cNvSpPr/>
                <p:nvPr/>
              </p:nvSpPr>
              <p:spPr>
                <a:xfrm>
                  <a:off x="1882216" y="5553872"/>
                  <a:ext cx="383784" cy="485365"/>
                </a:xfrm>
                <a:custGeom>
                  <a:avLst/>
                  <a:gdLst>
                    <a:gd name="csX0" fmla="*/ 72192 w 383784"/>
                    <a:gd name="csY0" fmla="*/ 18856 h 485365"/>
                    <a:gd name="csX1" fmla="*/ 62748 w 383784"/>
                    <a:gd name="csY1" fmla="*/ 19593 h 485365"/>
                    <a:gd name="csX2" fmla="*/ 63484 w 383784"/>
                    <a:gd name="csY2" fmla="*/ 12710 h 485365"/>
                    <a:gd name="csX3" fmla="*/ 54040 w 383784"/>
                    <a:gd name="csY3" fmla="*/ 10149 h 485365"/>
                    <a:gd name="csX4" fmla="*/ 54776 w 383784"/>
                    <a:gd name="csY4" fmla="*/ 4354 h 485365"/>
                    <a:gd name="csX5" fmla="*/ 49686 w 383784"/>
                    <a:gd name="csY5" fmla="*/ 0 h 485365"/>
                    <a:gd name="csX6" fmla="*/ 42067 w 383784"/>
                    <a:gd name="csY6" fmla="*/ 3265 h 485365"/>
                    <a:gd name="csX7" fmla="*/ 40978 w 383784"/>
                    <a:gd name="csY7" fmla="*/ 13798 h 485365"/>
                    <a:gd name="csX8" fmla="*/ 27564 w 383784"/>
                    <a:gd name="csY8" fmla="*/ 26476 h 485365"/>
                    <a:gd name="csX9" fmla="*/ 7619 w 383784"/>
                    <a:gd name="csY9" fmla="*/ 23947 h 485365"/>
                    <a:gd name="csX10" fmla="*/ 0 w 383784"/>
                    <a:gd name="csY10" fmla="*/ 35183 h 485365"/>
                    <a:gd name="csX11" fmla="*/ 6883 w 383784"/>
                    <a:gd name="csY11" fmla="*/ 45716 h 485365"/>
                    <a:gd name="csX12" fmla="*/ 1441 w 383784"/>
                    <a:gd name="csY12" fmla="*/ 56601 h 485365"/>
                    <a:gd name="csX13" fmla="*/ 11973 w 383784"/>
                    <a:gd name="csY13" fmla="*/ 67838 h 485365"/>
                    <a:gd name="csX14" fmla="*/ 27564 w 383784"/>
                    <a:gd name="csY14" fmla="*/ 72192 h 485365"/>
                    <a:gd name="csX15" fmla="*/ 19593 w 383784"/>
                    <a:gd name="csY15" fmla="*/ 83429 h 485365"/>
                    <a:gd name="csX16" fmla="*/ 25739 w 383784"/>
                    <a:gd name="csY16" fmla="*/ 92873 h 485365"/>
                    <a:gd name="csX17" fmla="*/ 19593 w 383784"/>
                    <a:gd name="csY17" fmla="*/ 93609 h 485365"/>
                    <a:gd name="csX18" fmla="*/ 17768 w 383784"/>
                    <a:gd name="csY18" fmla="*/ 100492 h 485365"/>
                    <a:gd name="csX19" fmla="*/ 28300 w 383784"/>
                    <a:gd name="csY19" fmla="*/ 105935 h 485365"/>
                    <a:gd name="csX20" fmla="*/ 32654 w 383784"/>
                    <a:gd name="csY20" fmla="*/ 99052 h 485365"/>
                    <a:gd name="csX21" fmla="*/ 42067 w 383784"/>
                    <a:gd name="csY21" fmla="*/ 103022 h 485365"/>
                    <a:gd name="csX22" fmla="*/ 47157 w 383784"/>
                    <a:gd name="csY22" fmla="*/ 113554 h 485365"/>
                    <a:gd name="csX23" fmla="*/ 42067 w 383784"/>
                    <a:gd name="csY23" fmla="*/ 114291 h 485365"/>
                    <a:gd name="csX24" fmla="*/ 37008 w 383784"/>
                    <a:gd name="csY24" fmla="*/ 115379 h 485365"/>
                    <a:gd name="csX25" fmla="*/ 38449 w 383784"/>
                    <a:gd name="csY25" fmla="*/ 133147 h 485365"/>
                    <a:gd name="csX26" fmla="*/ 51511 w 383784"/>
                    <a:gd name="csY26" fmla="*/ 141855 h 485365"/>
                    <a:gd name="csX27" fmla="*/ 55865 w 383784"/>
                    <a:gd name="csY27" fmla="*/ 155620 h 485365"/>
                    <a:gd name="csX28" fmla="*/ 51511 w 383784"/>
                    <a:gd name="csY28" fmla="*/ 157445 h 485365"/>
                    <a:gd name="csX29" fmla="*/ 50774 w 383784"/>
                    <a:gd name="csY29" fmla="*/ 168682 h 485365"/>
                    <a:gd name="csX30" fmla="*/ 57657 w 383784"/>
                    <a:gd name="csY30" fmla="*/ 174509 h 485365"/>
                    <a:gd name="csX31" fmla="*/ 53335 w 383784"/>
                    <a:gd name="csY31" fmla="*/ 183185 h 485365"/>
                    <a:gd name="csX32" fmla="*/ 40274 w 383784"/>
                    <a:gd name="csY32" fmla="*/ 188275 h 485365"/>
                    <a:gd name="csX33" fmla="*/ 35920 w 383784"/>
                    <a:gd name="csY33" fmla="*/ 210781 h 485365"/>
                    <a:gd name="csX34" fmla="*/ 47157 w 383784"/>
                    <a:gd name="csY34" fmla="*/ 214046 h 485365"/>
                    <a:gd name="csX35" fmla="*/ 57657 w 383784"/>
                    <a:gd name="csY35" fmla="*/ 230342 h 485365"/>
                    <a:gd name="csX36" fmla="*/ 58394 w 383784"/>
                    <a:gd name="csY36" fmla="*/ 240874 h 485365"/>
                    <a:gd name="csX37" fmla="*/ 46420 w 383784"/>
                    <a:gd name="csY37" fmla="*/ 242699 h 485365"/>
                    <a:gd name="csX38" fmla="*/ 37008 w 383784"/>
                    <a:gd name="csY38" fmla="*/ 265909 h 485365"/>
                    <a:gd name="csX39" fmla="*/ 38449 w 383784"/>
                    <a:gd name="csY39" fmla="*/ 270999 h 485365"/>
                    <a:gd name="csX40" fmla="*/ 28300 w 383784"/>
                    <a:gd name="csY40" fmla="*/ 275353 h 485365"/>
                    <a:gd name="csX41" fmla="*/ 28300 w 383784"/>
                    <a:gd name="csY41" fmla="*/ 288031 h 485365"/>
                    <a:gd name="csX42" fmla="*/ 22122 w 383784"/>
                    <a:gd name="csY42" fmla="*/ 294210 h 485365"/>
                    <a:gd name="csX43" fmla="*/ 11973 w 383784"/>
                    <a:gd name="csY43" fmla="*/ 306183 h 485365"/>
                    <a:gd name="csX44" fmla="*/ 14502 w 383784"/>
                    <a:gd name="csY44" fmla="*/ 314154 h 485365"/>
                    <a:gd name="csX45" fmla="*/ 21385 w 383784"/>
                    <a:gd name="csY45" fmla="*/ 326128 h 485365"/>
                    <a:gd name="csX46" fmla="*/ 17768 w 383784"/>
                    <a:gd name="csY46" fmla="*/ 340630 h 485365"/>
                    <a:gd name="csX47" fmla="*/ 30093 w 383784"/>
                    <a:gd name="csY47" fmla="*/ 339926 h 485365"/>
                    <a:gd name="csX48" fmla="*/ 32654 w 383784"/>
                    <a:gd name="csY48" fmla="*/ 347545 h 485365"/>
                    <a:gd name="csX49" fmla="*/ 23210 w 383784"/>
                    <a:gd name="csY49" fmla="*/ 355132 h 485365"/>
                    <a:gd name="csX50" fmla="*/ 20681 w 383784"/>
                    <a:gd name="csY50" fmla="*/ 365665 h 485365"/>
                    <a:gd name="csX51" fmla="*/ 28300 w 383784"/>
                    <a:gd name="csY51" fmla="*/ 395054 h 485365"/>
                    <a:gd name="csX52" fmla="*/ 18856 w 383784"/>
                    <a:gd name="csY52" fmla="*/ 405203 h 485365"/>
                    <a:gd name="csX53" fmla="*/ 19593 w 383784"/>
                    <a:gd name="csY53" fmla="*/ 413910 h 485365"/>
                    <a:gd name="csX54" fmla="*/ 14502 w 383784"/>
                    <a:gd name="csY54" fmla="*/ 419705 h 485365"/>
                    <a:gd name="csX55" fmla="*/ 37008 w 383784"/>
                    <a:gd name="csY55" fmla="*/ 454184 h 485365"/>
                    <a:gd name="csX56" fmla="*/ 30830 w 383784"/>
                    <a:gd name="csY56" fmla="*/ 467246 h 485365"/>
                    <a:gd name="csX57" fmla="*/ 37008 w 383784"/>
                    <a:gd name="csY57" fmla="*/ 472304 h 485365"/>
                    <a:gd name="csX58" fmla="*/ 48982 w 383784"/>
                    <a:gd name="csY58" fmla="*/ 470511 h 485365"/>
                    <a:gd name="csX59" fmla="*/ 54040 w 383784"/>
                    <a:gd name="csY59" fmla="*/ 456009 h 485365"/>
                    <a:gd name="csX60" fmla="*/ 69663 w 383784"/>
                    <a:gd name="csY60" fmla="*/ 467246 h 485365"/>
                    <a:gd name="csX61" fmla="*/ 77250 w 383784"/>
                    <a:gd name="csY61" fmla="*/ 485366 h 485365"/>
                    <a:gd name="csX62" fmla="*/ 85958 w 383784"/>
                    <a:gd name="csY62" fmla="*/ 483573 h 485365"/>
                    <a:gd name="csX63" fmla="*/ 91048 w 383784"/>
                    <a:gd name="csY63" fmla="*/ 473040 h 485365"/>
                    <a:gd name="csX64" fmla="*/ 104846 w 383784"/>
                    <a:gd name="csY64" fmla="*/ 457802 h 485365"/>
                    <a:gd name="csX65" fmla="*/ 121878 w 383784"/>
                    <a:gd name="csY65" fmla="*/ 456009 h 485365"/>
                    <a:gd name="csX66" fmla="*/ 133115 w 383784"/>
                    <a:gd name="csY66" fmla="*/ 448390 h 485365"/>
                    <a:gd name="csX67" fmla="*/ 143647 w 383784"/>
                    <a:gd name="csY67" fmla="*/ 449094 h 485365"/>
                    <a:gd name="csX68" fmla="*/ 150530 w 383784"/>
                    <a:gd name="csY68" fmla="*/ 451655 h 485365"/>
                    <a:gd name="csX69" fmla="*/ 156357 w 383784"/>
                    <a:gd name="csY69" fmla="*/ 448390 h 485365"/>
                    <a:gd name="csX70" fmla="*/ 165769 w 383784"/>
                    <a:gd name="csY70" fmla="*/ 455273 h 485365"/>
                    <a:gd name="csX71" fmla="*/ 164328 w 383784"/>
                    <a:gd name="csY71" fmla="*/ 467950 h 485365"/>
                    <a:gd name="csX72" fmla="*/ 183185 w 383784"/>
                    <a:gd name="csY72" fmla="*/ 481012 h 485365"/>
                    <a:gd name="csX73" fmla="*/ 186450 w 383784"/>
                    <a:gd name="csY73" fmla="*/ 464685 h 485365"/>
                    <a:gd name="csX74" fmla="*/ 196983 w 383784"/>
                    <a:gd name="csY74" fmla="*/ 463596 h 485365"/>
                    <a:gd name="csX75" fmla="*/ 203866 w 383784"/>
                    <a:gd name="csY75" fmla="*/ 449830 h 485365"/>
                    <a:gd name="csX76" fmla="*/ 219457 w 383784"/>
                    <a:gd name="csY76" fmla="*/ 448390 h 485365"/>
                    <a:gd name="csX77" fmla="*/ 223458 w 383784"/>
                    <a:gd name="csY77" fmla="*/ 465421 h 485365"/>
                    <a:gd name="csX78" fmla="*/ 236520 w 383784"/>
                    <a:gd name="csY78" fmla="*/ 472304 h 485365"/>
                    <a:gd name="csX79" fmla="*/ 233959 w 383784"/>
                    <a:gd name="csY79" fmla="*/ 462892 h 485365"/>
                    <a:gd name="csX80" fmla="*/ 244140 w 383784"/>
                    <a:gd name="csY80" fmla="*/ 461067 h 485365"/>
                    <a:gd name="csX81" fmla="*/ 247757 w 383784"/>
                    <a:gd name="csY81" fmla="*/ 458538 h 485365"/>
                    <a:gd name="csX82" fmla="*/ 238313 w 383784"/>
                    <a:gd name="csY82" fmla="*/ 444036 h 485365"/>
                    <a:gd name="csX83" fmla="*/ 242667 w 383784"/>
                    <a:gd name="csY83" fmla="*/ 430974 h 485365"/>
                    <a:gd name="csX84" fmla="*/ 233255 w 383784"/>
                    <a:gd name="csY84" fmla="*/ 425884 h 485365"/>
                    <a:gd name="csX85" fmla="*/ 240138 w 383784"/>
                    <a:gd name="csY85" fmla="*/ 412086 h 485365"/>
                    <a:gd name="csX86" fmla="*/ 236520 w 383784"/>
                    <a:gd name="csY86" fmla="*/ 405203 h 485365"/>
                    <a:gd name="csX87" fmla="*/ 240874 w 383784"/>
                    <a:gd name="csY87" fmla="*/ 399056 h 485365"/>
                    <a:gd name="csX88" fmla="*/ 239049 w 383784"/>
                    <a:gd name="csY88" fmla="*/ 387082 h 485365"/>
                    <a:gd name="csX89" fmla="*/ 245932 w 383784"/>
                    <a:gd name="csY89" fmla="*/ 381992 h 485365"/>
                    <a:gd name="csX90" fmla="*/ 249582 w 383784"/>
                    <a:gd name="csY90" fmla="*/ 374373 h 485365"/>
                    <a:gd name="csX91" fmla="*/ 244140 w 383784"/>
                    <a:gd name="csY91" fmla="*/ 364576 h 485365"/>
                    <a:gd name="csX92" fmla="*/ 250286 w 383784"/>
                    <a:gd name="csY92" fmla="*/ 362048 h 485365"/>
                    <a:gd name="csX93" fmla="*/ 244140 w 383784"/>
                    <a:gd name="csY93" fmla="*/ 354428 h 485365"/>
                    <a:gd name="csX94" fmla="*/ 246669 w 383784"/>
                    <a:gd name="csY94" fmla="*/ 344280 h 485365"/>
                    <a:gd name="csX95" fmla="*/ 257201 w 383784"/>
                    <a:gd name="csY95" fmla="*/ 338837 h 485365"/>
                    <a:gd name="csX96" fmla="*/ 259730 w 383784"/>
                    <a:gd name="csY96" fmla="*/ 331922 h 485365"/>
                    <a:gd name="csX97" fmla="*/ 278587 w 383784"/>
                    <a:gd name="csY97" fmla="*/ 324303 h 485365"/>
                    <a:gd name="csX98" fmla="*/ 281148 w 383784"/>
                    <a:gd name="csY98" fmla="*/ 315595 h 485365"/>
                    <a:gd name="csX99" fmla="*/ 296002 w 383784"/>
                    <a:gd name="csY99" fmla="*/ 311241 h 485365"/>
                    <a:gd name="csX100" fmla="*/ 318124 w 383784"/>
                    <a:gd name="csY100" fmla="*/ 250318 h 485365"/>
                    <a:gd name="csX101" fmla="*/ 319949 w 383784"/>
                    <a:gd name="csY101" fmla="*/ 250318 h 485365"/>
                    <a:gd name="csX102" fmla="*/ 338101 w 383784"/>
                    <a:gd name="csY102" fmla="*/ 252848 h 485365"/>
                    <a:gd name="csX103" fmla="*/ 340630 w 383784"/>
                    <a:gd name="csY103" fmla="*/ 238345 h 485365"/>
                    <a:gd name="csX104" fmla="*/ 350042 w 383784"/>
                    <a:gd name="csY104" fmla="*/ 244139 h 485365"/>
                    <a:gd name="csX105" fmla="*/ 356221 w 383784"/>
                    <a:gd name="csY105" fmla="*/ 232166 h 485365"/>
                    <a:gd name="csX106" fmla="*/ 368194 w 383784"/>
                    <a:gd name="csY106" fmla="*/ 232166 h 485365"/>
                    <a:gd name="csX107" fmla="*/ 376902 w 383784"/>
                    <a:gd name="csY107" fmla="*/ 229637 h 485365"/>
                    <a:gd name="csX108" fmla="*/ 378343 w 383784"/>
                    <a:gd name="csY108" fmla="*/ 216928 h 485365"/>
                    <a:gd name="csX109" fmla="*/ 383785 w 383784"/>
                    <a:gd name="csY109" fmla="*/ 213310 h 485365"/>
                    <a:gd name="csX110" fmla="*/ 367458 w 383784"/>
                    <a:gd name="csY110" fmla="*/ 206427 h 485365"/>
                    <a:gd name="csX111" fmla="*/ 370019 w 383784"/>
                    <a:gd name="csY111" fmla="*/ 197719 h 485365"/>
                    <a:gd name="csX112" fmla="*/ 356957 w 383784"/>
                    <a:gd name="csY112" fmla="*/ 196247 h 485365"/>
                    <a:gd name="csX113" fmla="*/ 339894 w 383784"/>
                    <a:gd name="csY113" fmla="*/ 185746 h 485365"/>
                    <a:gd name="csX114" fmla="*/ 333011 w 383784"/>
                    <a:gd name="csY114" fmla="*/ 167594 h 485365"/>
                    <a:gd name="csX115" fmla="*/ 338101 w 383784"/>
                    <a:gd name="csY115" fmla="*/ 150562 h 485365"/>
                    <a:gd name="csX116" fmla="*/ 354396 w 383784"/>
                    <a:gd name="csY116" fmla="*/ 136028 h 485365"/>
                    <a:gd name="csX117" fmla="*/ 344248 w 383784"/>
                    <a:gd name="csY117" fmla="*/ 118612 h 485365"/>
                    <a:gd name="csX118" fmla="*/ 351867 w 383784"/>
                    <a:gd name="csY118" fmla="*/ 109937 h 485365"/>
                    <a:gd name="csX119" fmla="*/ 344248 w 383784"/>
                    <a:gd name="csY119" fmla="*/ 102317 h 485365"/>
                    <a:gd name="csX120" fmla="*/ 329393 w 383784"/>
                    <a:gd name="csY120" fmla="*/ 104110 h 485365"/>
                    <a:gd name="csX121" fmla="*/ 323566 w 383784"/>
                    <a:gd name="csY121" fmla="*/ 91048 h 485365"/>
                    <a:gd name="csX122" fmla="*/ 328657 w 383784"/>
                    <a:gd name="csY122" fmla="*/ 85990 h 485365"/>
                    <a:gd name="csX123" fmla="*/ 324303 w 383784"/>
                    <a:gd name="csY123" fmla="*/ 83429 h 485365"/>
                    <a:gd name="csX124" fmla="*/ 318124 w 383784"/>
                    <a:gd name="csY124" fmla="*/ 77282 h 485365"/>
                    <a:gd name="csX125" fmla="*/ 321037 w 383784"/>
                    <a:gd name="csY125" fmla="*/ 60219 h 485365"/>
                    <a:gd name="csX126" fmla="*/ 309800 w 383784"/>
                    <a:gd name="csY126" fmla="*/ 48982 h 485365"/>
                    <a:gd name="csX127" fmla="*/ 310505 w 383784"/>
                    <a:gd name="csY127" fmla="*/ 39538 h 485365"/>
                    <a:gd name="csX128" fmla="*/ 297443 w 383784"/>
                    <a:gd name="csY128" fmla="*/ 35920 h 485365"/>
                    <a:gd name="csX129" fmla="*/ 286590 w 383784"/>
                    <a:gd name="csY129" fmla="*/ 26476 h 485365"/>
                    <a:gd name="csX130" fmla="*/ 266613 w 383784"/>
                    <a:gd name="csY130" fmla="*/ 21418 h 485365"/>
                    <a:gd name="csX131" fmla="*/ 252111 w 383784"/>
                    <a:gd name="csY131" fmla="*/ 34479 h 485365"/>
                    <a:gd name="csX132" fmla="*/ 250286 w 383784"/>
                    <a:gd name="csY132" fmla="*/ 45716 h 485365"/>
                    <a:gd name="csX133" fmla="*/ 240138 w 383784"/>
                    <a:gd name="csY133" fmla="*/ 50806 h 485365"/>
                    <a:gd name="csX134" fmla="*/ 235784 w 383784"/>
                    <a:gd name="csY134" fmla="*/ 45716 h 485365"/>
                    <a:gd name="csX135" fmla="*/ 224547 w 383784"/>
                    <a:gd name="csY135" fmla="*/ 48982 h 485365"/>
                    <a:gd name="csX136" fmla="*/ 215839 w 383784"/>
                    <a:gd name="csY136" fmla="*/ 69663 h 485365"/>
                    <a:gd name="csX137" fmla="*/ 220929 w 383784"/>
                    <a:gd name="csY137" fmla="*/ 71488 h 485365"/>
                    <a:gd name="csX138" fmla="*/ 217664 w 383784"/>
                    <a:gd name="csY138" fmla="*/ 80900 h 485365"/>
                    <a:gd name="csX139" fmla="*/ 201337 w 383784"/>
                    <a:gd name="csY139" fmla="*/ 79811 h 485365"/>
                    <a:gd name="csX140" fmla="*/ 200248 w 383784"/>
                    <a:gd name="csY140" fmla="*/ 70399 h 485365"/>
                    <a:gd name="csX141" fmla="*/ 195158 w 383784"/>
                    <a:gd name="csY141" fmla="*/ 70399 h 485365"/>
                    <a:gd name="csX142" fmla="*/ 190068 w 383784"/>
                    <a:gd name="csY142" fmla="*/ 65309 h 485365"/>
                    <a:gd name="csX143" fmla="*/ 181392 w 383784"/>
                    <a:gd name="csY143" fmla="*/ 35920 h 485365"/>
                    <a:gd name="csX144" fmla="*/ 185714 w 383784"/>
                    <a:gd name="csY144" fmla="*/ 32655 h 485365"/>
                    <a:gd name="csX145" fmla="*/ 182480 w 383784"/>
                    <a:gd name="csY145" fmla="*/ 11237 h 485365"/>
                    <a:gd name="csX146" fmla="*/ 191892 w 383784"/>
                    <a:gd name="csY146" fmla="*/ 7619 h 485365"/>
                    <a:gd name="csX147" fmla="*/ 187539 w 383784"/>
                    <a:gd name="csY147" fmla="*/ 3265 h 485365"/>
                    <a:gd name="csX148" fmla="*/ 159238 w 383784"/>
                    <a:gd name="csY148" fmla="*/ 737 h 485365"/>
                    <a:gd name="csX149" fmla="*/ 150530 w 383784"/>
                    <a:gd name="csY149" fmla="*/ 5091 h 485365"/>
                    <a:gd name="csX150" fmla="*/ 141118 w 383784"/>
                    <a:gd name="csY150" fmla="*/ 21418 h 485365"/>
                    <a:gd name="csX151" fmla="*/ 120437 w 383784"/>
                    <a:gd name="csY151" fmla="*/ 25772 h 485365"/>
                    <a:gd name="csX152" fmla="*/ 100492 w 383784"/>
                    <a:gd name="csY152" fmla="*/ 38833 h 485365"/>
                    <a:gd name="csX153" fmla="*/ 89223 w 383784"/>
                    <a:gd name="csY153" fmla="*/ 38833 h 485365"/>
                    <a:gd name="csX154" fmla="*/ 77250 w 383784"/>
                    <a:gd name="csY154" fmla="*/ 30830 h 485365"/>
                    <a:gd name="csX155" fmla="*/ 72192 w 383784"/>
                    <a:gd name="csY155" fmla="*/ 18856 h 48536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</a:cxnLst>
                  <a:rect l="l" t="t" r="r" b="b"/>
                  <a:pathLst>
                    <a:path w="383784" h="485365">
                      <a:moveTo>
                        <a:pt x="72192" y="18856"/>
                      </a:moveTo>
                      <a:lnTo>
                        <a:pt x="62748" y="19593"/>
                      </a:lnTo>
                      <a:lnTo>
                        <a:pt x="63484" y="12710"/>
                      </a:lnTo>
                      <a:lnTo>
                        <a:pt x="54040" y="10149"/>
                      </a:lnTo>
                      <a:lnTo>
                        <a:pt x="54776" y="4354"/>
                      </a:lnTo>
                      <a:lnTo>
                        <a:pt x="49686" y="0"/>
                      </a:lnTo>
                      <a:lnTo>
                        <a:pt x="42067" y="3265"/>
                      </a:lnTo>
                      <a:lnTo>
                        <a:pt x="40978" y="13798"/>
                      </a:lnTo>
                      <a:lnTo>
                        <a:pt x="27564" y="26476"/>
                      </a:lnTo>
                      <a:lnTo>
                        <a:pt x="7619" y="23947"/>
                      </a:lnTo>
                      <a:lnTo>
                        <a:pt x="0" y="35183"/>
                      </a:lnTo>
                      <a:lnTo>
                        <a:pt x="6883" y="45716"/>
                      </a:lnTo>
                      <a:lnTo>
                        <a:pt x="1441" y="56601"/>
                      </a:lnTo>
                      <a:lnTo>
                        <a:pt x="11973" y="67838"/>
                      </a:lnTo>
                      <a:lnTo>
                        <a:pt x="27564" y="72192"/>
                      </a:lnTo>
                      <a:lnTo>
                        <a:pt x="19593" y="83429"/>
                      </a:lnTo>
                      <a:lnTo>
                        <a:pt x="25739" y="92873"/>
                      </a:lnTo>
                      <a:lnTo>
                        <a:pt x="19593" y="93609"/>
                      </a:lnTo>
                      <a:lnTo>
                        <a:pt x="17768" y="100492"/>
                      </a:lnTo>
                      <a:lnTo>
                        <a:pt x="28300" y="105935"/>
                      </a:lnTo>
                      <a:lnTo>
                        <a:pt x="32654" y="99052"/>
                      </a:lnTo>
                      <a:lnTo>
                        <a:pt x="42067" y="103022"/>
                      </a:lnTo>
                      <a:lnTo>
                        <a:pt x="47157" y="113554"/>
                      </a:lnTo>
                      <a:lnTo>
                        <a:pt x="42067" y="114291"/>
                      </a:lnTo>
                      <a:lnTo>
                        <a:pt x="37008" y="115379"/>
                      </a:lnTo>
                      <a:lnTo>
                        <a:pt x="38449" y="133147"/>
                      </a:lnTo>
                      <a:lnTo>
                        <a:pt x="51511" y="141855"/>
                      </a:lnTo>
                      <a:lnTo>
                        <a:pt x="55865" y="155620"/>
                      </a:lnTo>
                      <a:lnTo>
                        <a:pt x="51511" y="157445"/>
                      </a:lnTo>
                      <a:lnTo>
                        <a:pt x="50774" y="168682"/>
                      </a:lnTo>
                      <a:lnTo>
                        <a:pt x="57657" y="174509"/>
                      </a:lnTo>
                      <a:lnTo>
                        <a:pt x="53335" y="183185"/>
                      </a:lnTo>
                      <a:lnTo>
                        <a:pt x="40274" y="188275"/>
                      </a:lnTo>
                      <a:lnTo>
                        <a:pt x="35920" y="210781"/>
                      </a:lnTo>
                      <a:lnTo>
                        <a:pt x="47157" y="214046"/>
                      </a:lnTo>
                      <a:lnTo>
                        <a:pt x="57657" y="230342"/>
                      </a:lnTo>
                      <a:lnTo>
                        <a:pt x="58394" y="240874"/>
                      </a:lnTo>
                      <a:lnTo>
                        <a:pt x="46420" y="242699"/>
                      </a:lnTo>
                      <a:lnTo>
                        <a:pt x="37008" y="265909"/>
                      </a:lnTo>
                      <a:lnTo>
                        <a:pt x="38449" y="270999"/>
                      </a:lnTo>
                      <a:lnTo>
                        <a:pt x="28300" y="275353"/>
                      </a:lnTo>
                      <a:lnTo>
                        <a:pt x="28300" y="288031"/>
                      </a:lnTo>
                      <a:lnTo>
                        <a:pt x="22122" y="294210"/>
                      </a:lnTo>
                      <a:lnTo>
                        <a:pt x="11973" y="306183"/>
                      </a:lnTo>
                      <a:lnTo>
                        <a:pt x="14502" y="314154"/>
                      </a:lnTo>
                      <a:lnTo>
                        <a:pt x="21385" y="326128"/>
                      </a:lnTo>
                      <a:lnTo>
                        <a:pt x="17768" y="340630"/>
                      </a:lnTo>
                      <a:lnTo>
                        <a:pt x="30093" y="339926"/>
                      </a:lnTo>
                      <a:lnTo>
                        <a:pt x="32654" y="347545"/>
                      </a:lnTo>
                      <a:lnTo>
                        <a:pt x="23210" y="355132"/>
                      </a:lnTo>
                      <a:lnTo>
                        <a:pt x="20681" y="365665"/>
                      </a:lnTo>
                      <a:lnTo>
                        <a:pt x="28300" y="395054"/>
                      </a:lnTo>
                      <a:lnTo>
                        <a:pt x="18856" y="405203"/>
                      </a:lnTo>
                      <a:lnTo>
                        <a:pt x="19593" y="413910"/>
                      </a:lnTo>
                      <a:lnTo>
                        <a:pt x="14502" y="419705"/>
                      </a:lnTo>
                      <a:lnTo>
                        <a:pt x="37008" y="454184"/>
                      </a:lnTo>
                      <a:lnTo>
                        <a:pt x="30830" y="467246"/>
                      </a:lnTo>
                      <a:lnTo>
                        <a:pt x="37008" y="472304"/>
                      </a:lnTo>
                      <a:lnTo>
                        <a:pt x="48982" y="470511"/>
                      </a:lnTo>
                      <a:lnTo>
                        <a:pt x="54040" y="456009"/>
                      </a:lnTo>
                      <a:lnTo>
                        <a:pt x="69663" y="467246"/>
                      </a:lnTo>
                      <a:lnTo>
                        <a:pt x="77250" y="485366"/>
                      </a:lnTo>
                      <a:lnTo>
                        <a:pt x="85958" y="483573"/>
                      </a:lnTo>
                      <a:lnTo>
                        <a:pt x="91048" y="473040"/>
                      </a:lnTo>
                      <a:lnTo>
                        <a:pt x="104846" y="457802"/>
                      </a:lnTo>
                      <a:lnTo>
                        <a:pt x="121878" y="456009"/>
                      </a:lnTo>
                      <a:lnTo>
                        <a:pt x="133115" y="448390"/>
                      </a:lnTo>
                      <a:lnTo>
                        <a:pt x="143647" y="449094"/>
                      </a:lnTo>
                      <a:lnTo>
                        <a:pt x="150530" y="451655"/>
                      </a:lnTo>
                      <a:lnTo>
                        <a:pt x="156357" y="448390"/>
                      </a:lnTo>
                      <a:lnTo>
                        <a:pt x="165769" y="455273"/>
                      </a:lnTo>
                      <a:lnTo>
                        <a:pt x="164328" y="467950"/>
                      </a:lnTo>
                      <a:lnTo>
                        <a:pt x="183185" y="481012"/>
                      </a:lnTo>
                      <a:lnTo>
                        <a:pt x="186450" y="464685"/>
                      </a:lnTo>
                      <a:lnTo>
                        <a:pt x="196983" y="463596"/>
                      </a:lnTo>
                      <a:lnTo>
                        <a:pt x="203866" y="449830"/>
                      </a:lnTo>
                      <a:lnTo>
                        <a:pt x="219457" y="448390"/>
                      </a:lnTo>
                      <a:lnTo>
                        <a:pt x="223458" y="465421"/>
                      </a:lnTo>
                      <a:lnTo>
                        <a:pt x="236520" y="472304"/>
                      </a:lnTo>
                      <a:lnTo>
                        <a:pt x="233959" y="462892"/>
                      </a:lnTo>
                      <a:lnTo>
                        <a:pt x="244140" y="461067"/>
                      </a:lnTo>
                      <a:lnTo>
                        <a:pt x="247757" y="458538"/>
                      </a:lnTo>
                      <a:lnTo>
                        <a:pt x="238313" y="444036"/>
                      </a:lnTo>
                      <a:lnTo>
                        <a:pt x="242667" y="430974"/>
                      </a:lnTo>
                      <a:lnTo>
                        <a:pt x="233255" y="425884"/>
                      </a:lnTo>
                      <a:lnTo>
                        <a:pt x="240138" y="412086"/>
                      </a:lnTo>
                      <a:lnTo>
                        <a:pt x="236520" y="405203"/>
                      </a:lnTo>
                      <a:lnTo>
                        <a:pt x="240874" y="399056"/>
                      </a:lnTo>
                      <a:lnTo>
                        <a:pt x="239049" y="387082"/>
                      </a:lnTo>
                      <a:lnTo>
                        <a:pt x="245932" y="381992"/>
                      </a:lnTo>
                      <a:lnTo>
                        <a:pt x="249582" y="374373"/>
                      </a:lnTo>
                      <a:lnTo>
                        <a:pt x="244140" y="364576"/>
                      </a:lnTo>
                      <a:lnTo>
                        <a:pt x="250286" y="362048"/>
                      </a:lnTo>
                      <a:lnTo>
                        <a:pt x="244140" y="354428"/>
                      </a:lnTo>
                      <a:lnTo>
                        <a:pt x="246669" y="344280"/>
                      </a:lnTo>
                      <a:lnTo>
                        <a:pt x="257201" y="338837"/>
                      </a:lnTo>
                      <a:lnTo>
                        <a:pt x="259730" y="331922"/>
                      </a:lnTo>
                      <a:lnTo>
                        <a:pt x="278587" y="324303"/>
                      </a:lnTo>
                      <a:lnTo>
                        <a:pt x="281148" y="315595"/>
                      </a:lnTo>
                      <a:lnTo>
                        <a:pt x="296002" y="311241"/>
                      </a:lnTo>
                      <a:lnTo>
                        <a:pt x="318124" y="250318"/>
                      </a:lnTo>
                      <a:lnTo>
                        <a:pt x="319949" y="250318"/>
                      </a:lnTo>
                      <a:lnTo>
                        <a:pt x="338101" y="252848"/>
                      </a:lnTo>
                      <a:lnTo>
                        <a:pt x="340630" y="238345"/>
                      </a:lnTo>
                      <a:lnTo>
                        <a:pt x="350042" y="244139"/>
                      </a:lnTo>
                      <a:lnTo>
                        <a:pt x="356221" y="232166"/>
                      </a:lnTo>
                      <a:lnTo>
                        <a:pt x="368194" y="232166"/>
                      </a:lnTo>
                      <a:lnTo>
                        <a:pt x="376902" y="229637"/>
                      </a:lnTo>
                      <a:lnTo>
                        <a:pt x="378343" y="216928"/>
                      </a:lnTo>
                      <a:lnTo>
                        <a:pt x="383785" y="213310"/>
                      </a:lnTo>
                      <a:lnTo>
                        <a:pt x="367458" y="206427"/>
                      </a:lnTo>
                      <a:lnTo>
                        <a:pt x="370019" y="197719"/>
                      </a:lnTo>
                      <a:lnTo>
                        <a:pt x="356957" y="196247"/>
                      </a:lnTo>
                      <a:lnTo>
                        <a:pt x="339894" y="185746"/>
                      </a:lnTo>
                      <a:lnTo>
                        <a:pt x="333011" y="167594"/>
                      </a:lnTo>
                      <a:lnTo>
                        <a:pt x="338101" y="150562"/>
                      </a:lnTo>
                      <a:lnTo>
                        <a:pt x="354396" y="136028"/>
                      </a:lnTo>
                      <a:lnTo>
                        <a:pt x="344248" y="118612"/>
                      </a:lnTo>
                      <a:lnTo>
                        <a:pt x="351867" y="109937"/>
                      </a:lnTo>
                      <a:lnTo>
                        <a:pt x="344248" y="102317"/>
                      </a:lnTo>
                      <a:lnTo>
                        <a:pt x="329393" y="104110"/>
                      </a:lnTo>
                      <a:lnTo>
                        <a:pt x="323566" y="91048"/>
                      </a:lnTo>
                      <a:lnTo>
                        <a:pt x="328657" y="85990"/>
                      </a:lnTo>
                      <a:lnTo>
                        <a:pt x="324303" y="83429"/>
                      </a:lnTo>
                      <a:lnTo>
                        <a:pt x="318124" y="77282"/>
                      </a:lnTo>
                      <a:lnTo>
                        <a:pt x="321037" y="60219"/>
                      </a:lnTo>
                      <a:lnTo>
                        <a:pt x="309800" y="48982"/>
                      </a:lnTo>
                      <a:lnTo>
                        <a:pt x="310505" y="39538"/>
                      </a:lnTo>
                      <a:lnTo>
                        <a:pt x="297443" y="35920"/>
                      </a:lnTo>
                      <a:lnTo>
                        <a:pt x="286590" y="26476"/>
                      </a:lnTo>
                      <a:lnTo>
                        <a:pt x="266613" y="21418"/>
                      </a:lnTo>
                      <a:lnTo>
                        <a:pt x="252111" y="34479"/>
                      </a:lnTo>
                      <a:lnTo>
                        <a:pt x="250286" y="45716"/>
                      </a:lnTo>
                      <a:lnTo>
                        <a:pt x="240138" y="50806"/>
                      </a:lnTo>
                      <a:lnTo>
                        <a:pt x="235784" y="45716"/>
                      </a:lnTo>
                      <a:lnTo>
                        <a:pt x="224547" y="48982"/>
                      </a:lnTo>
                      <a:lnTo>
                        <a:pt x="215839" y="69663"/>
                      </a:lnTo>
                      <a:lnTo>
                        <a:pt x="220929" y="71488"/>
                      </a:lnTo>
                      <a:lnTo>
                        <a:pt x="217664" y="80900"/>
                      </a:lnTo>
                      <a:lnTo>
                        <a:pt x="201337" y="79811"/>
                      </a:lnTo>
                      <a:lnTo>
                        <a:pt x="200248" y="70399"/>
                      </a:lnTo>
                      <a:lnTo>
                        <a:pt x="195158" y="70399"/>
                      </a:lnTo>
                      <a:lnTo>
                        <a:pt x="190068" y="65309"/>
                      </a:lnTo>
                      <a:lnTo>
                        <a:pt x="181392" y="35920"/>
                      </a:lnTo>
                      <a:lnTo>
                        <a:pt x="185714" y="32655"/>
                      </a:lnTo>
                      <a:lnTo>
                        <a:pt x="182480" y="11237"/>
                      </a:lnTo>
                      <a:lnTo>
                        <a:pt x="191892" y="7619"/>
                      </a:lnTo>
                      <a:lnTo>
                        <a:pt x="187539" y="3265"/>
                      </a:lnTo>
                      <a:lnTo>
                        <a:pt x="159238" y="737"/>
                      </a:lnTo>
                      <a:lnTo>
                        <a:pt x="150530" y="5091"/>
                      </a:lnTo>
                      <a:lnTo>
                        <a:pt x="141118" y="21418"/>
                      </a:lnTo>
                      <a:lnTo>
                        <a:pt x="120437" y="25772"/>
                      </a:lnTo>
                      <a:lnTo>
                        <a:pt x="100492" y="38833"/>
                      </a:lnTo>
                      <a:lnTo>
                        <a:pt x="89223" y="38833"/>
                      </a:lnTo>
                      <a:lnTo>
                        <a:pt x="77250" y="30830"/>
                      </a:lnTo>
                      <a:lnTo>
                        <a:pt x="72192" y="1885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7" name="Forma Livre: Forma 186">
                  <a:extLst>
                    <a:ext uri="{FF2B5EF4-FFF2-40B4-BE49-F238E27FC236}">
                      <a16:creationId xmlns:a16="http://schemas.microsoft.com/office/drawing/2014/main" id="{274B03CC-4200-81EF-52BF-9106468A6DD3}"/>
                    </a:ext>
                  </a:extLst>
                </p:cNvPr>
                <p:cNvSpPr/>
                <p:nvPr/>
              </p:nvSpPr>
              <p:spPr>
                <a:xfrm>
                  <a:off x="2736865" y="5400781"/>
                  <a:ext cx="447300" cy="364576"/>
                </a:xfrm>
                <a:custGeom>
                  <a:avLst/>
                  <a:gdLst>
                    <a:gd name="csX0" fmla="*/ 44628 w 447300"/>
                    <a:gd name="csY0" fmla="*/ 0 h 364576"/>
                    <a:gd name="csX1" fmla="*/ 44628 w 447300"/>
                    <a:gd name="csY1" fmla="*/ 7619 h 364576"/>
                    <a:gd name="csX2" fmla="*/ 18856 w 447300"/>
                    <a:gd name="csY2" fmla="*/ 5090 h 364576"/>
                    <a:gd name="csX3" fmla="*/ 9444 w 447300"/>
                    <a:gd name="csY3" fmla="*/ 8356 h 364576"/>
                    <a:gd name="csX4" fmla="*/ 0 w 447300"/>
                    <a:gd name="csY4" fmla="*/ 14535 h 364576"/>
                    <a:gd name="csX5" fmla="*/ 12710 w 447300"/>
                    <a:gd name="csY5" fmla="*/ 23242 h 364576"/>
                    <a:gd name="csX6" fmla="*/ 12710 w 447300"/>
                    <a:gd name="csY6" fmla="*/ 37008 h 364576"/>
                    <a:gd name="csX7" fmla="*/ 22122 w 447300"/>
                    <a:gd name="csY7" fmla="*/ 33390 h 364576"/>
                    <a:gd name="csX8" fmla="*/ 37008 w 447300"/>
                    <a:gd name="csY8" fmla="*/ 42835 h 364576"/>
                    <a:gd name="csX9" fmla="*/ 33391 w 447300"/>
                    <a:gd name="csY9" fmla="*/ 57689 h 364576"/>
                    <a:gd name="csX10" fmla="*/ 28301 w 447300"/>
                    <a:gd name="csY10" fmla="*/ 58426 h 364576"/>
                    <a:gd name="csX11" fmla="*/ 30125 w 447300"/>
                    <a:gd name="csY11" fmla="*/ 65309 h 364576"/>
                    <a:gd name="csX12" fmla="*/ 38449 w 447300"/>
                    <a:gd name="csY12" fmla="*/ 71487 h 364576"/>
                    <a:gd name="csX13" fmla="*/ 37008 w 447300"/>
                    <a:gd name="csY13" fmla="*/ 84165 h 364576"/>
                    <a:gd name="csX14" fmla="*/ 47157 w 447300"/>
                    <a:gd name="csY14" fmla="*/ 89255 h 364576"/>
                    <a:gd name="csX15" fmla="*/ 48982 w 447300"/>
                    <a:gd name="csY15" fmla="*/ 105582 h 364576"/>
                    <a:gd name="csX16" fmla="*/ 43891 w 447300"/>
                    <a:gd name="csY16" fmla="*/ 109200 h 364576"/>
                    <a:gd name="csX17" fmla="*/ 47157 w 447300"/>
                    <a:gd name="csY17" fmla="*/ 129881 h 364576"/>
                    <a:gd name="csX18" fmla="*/ 40274 w 447300"/>
                    <a:gd name="csY18" fmla="*/ 151299 h 364576"/>
                    <a:gd name="csX19" fmla="*/ 50422 w 447300"/>
                    <a:gd name="csY19" fmla="*/ 161799 h 364576"/>
                    <a:gd name="csX20" fmla="*/ 47893 w 447300"/>
                    <a:gd name="csY20" fmla="*/ 165064 h 364576"/>
                    <a:gd name="csX21" fmla="*/ 51511 w 447300"/>
                    <a:gd name="csY21" fmla="*/ 169419 h 364576"/>
                    <a:gd name="csX22" fmla="*/ 48982 w 447300"/>
                    <a:gd name="csY22" fmla="*/ 175597 h 364576"/>
                    <a:gd name="csX23" fmla="*/ 40274 w 447300"/>
                    <a:gd name="csY23" fmla="*/ 176301 h 364576"/>
                    <a:gd name="csX24" fmla="*/ 35184 w 447300"/>
                    <a:gd name="csY24" fmla="*/ 193365 h 364576"/>
                    <a:gd name="csX25" fmla="*/ 50422 w 447300"/>
                    <a:gd name="csY25" fmla="*/ 213310 h 364576"/>
                    <a:gd name="csX26" fmla="*/ 43891 w 447300"/>
                    <a:gd name="csY26" fmla="*/ 227812 h 364576"/>
                    <a:gd name="csX27" fmla="*/ 48982 w 447300"/>
                    <a:gd name="csY27" fmla="*/ 230373 h 364576"/>
                    <a:gd name="csX28" fmla="*/ 56601 w 447300"/>
                    <a:gd name="csY28" fmla="*/ 227108 h 364576"/>
                    <a:gd name="csX29" fmla="*/ 67838 w 447300"/>
                    <a:gd name="csY29" fmla="*/ 233991 h 364576"/>
                    <a:gd name="csX30" fmla="*/ 77282 w 447300"/>
                    <a:gd name="csY30" fmla="*/ 225283 h 364576"/>
                    <a:gd name="csX31" fmla="*/ 81636 w 447300"/>
                    <a:gd name="csY31" fmla="*/ 226019 h 364576"/>
                    <a:gd name="csX32" fmla="*/ 107375 w 447300"/>
                    <a:gd name="csY32" fmla="*/ 243435 h 364576"/>
                    <a:gd name="csX33" fmla="*/ 113554 w 447300"/>
                    <a:gd name="csY33" fmla="*/ 255409 h 364576"/>
                    <a:gd name="csX34" fmla="*/ 111729 w 447300"/>
                    <a:gd name="csY34" fmla="*/ 264820 h 364576"/>
                    <a:gd name="csX35" fmla="*/ 107375 w 447300"/>
                    <a:gd name="csY35" fmla="*/ 274265 h 364576"/>
                    <a:gd name="csX36" fmla="*/ 104846 w 447300"/>
                    <a:gd name="csY36" fmla="*/ 283677 h 364576"/>
                    <a:gd name="csX37" fmla="*/ 91784 w 447300"/>
                    <a:gd name="csY37" fmla="*/ 288031 h 364576"/>
                    <a:gd name="csX38" fmla="*/ 80900 w 447300"/>
                    <a:gd name="csY38" fmla="*/ 310537 h 364576"/>
                    <a:gd name="csX39" fmla="*/ 84901 w 447300"/>
                    <a:gd name="csY39" fmla="*/ 317420 h 364576"/>
                    <a:gd name="csX40" fmla="*/ 80900 w 447300"/>
                    <a:gd name="csY40" fmla="*/ 323246 h 364576"/>
                    <a:gd name="csX41" fmla="*/ 86694 w 447300"/>
                    <a:gd name="csY41" fmla="*/ 329393 h 364576"/>
                    <a:gd name="csX42" fmla="*/ 116820 w 447300"/>
                    <a:gd name="csY42" fmla="*/ 340630 h 364576"/>
                    <a:gd name="csX43" fmla="*/ 129881 w 447300"/>
                    <a:gd name="csY43" fmla="*/ 328689 h 364576"/>
                    <a:gd name="csX44" fmla="*/ 151267 w 447300"/>
                    <a:gd name="csY44" fmla="*/ 319981 h 364576"/>
                    <a:gd name="csX45" fmla="*/ 183185 w 447300"/>
                    <a:gd name="csY45" fmla="*/ 338837 h 364576"/>
                    <a:gd name="csX46" fmla="*/ 200248 w 447300"/>
                    <a:gd name="csY46" fmla="*/ 340630 h 364576"/>
                    <a:gd name="csX47" fmla="*/ 207131 w 447300"/>
                    <a:gd name="csY47" fmla="*/ 341366 h 364576"/>
                    <a:gd name="csX48" fmla="*/ 201337 w 447300"/>
                    <a:gd name="csY48" fmla="*/ 334483 h 364576"/>
                    <a:gd name="csX49" fmla="*/ 202073 w 447300"/>
                    <a:gd name="csY49" fmla="*/ 330129 h 364576"/>
                    <a:gd name="csX50" fmla="*/ 206427 w 447300"/>
                    <a:gd name="csY50" fmla="*/ 328689 h 364576"/>
                    <a:gd name="csX51" fmla="*/ 279707 w 447300"/>
                    <a:gd name="csY51" fmla="*/ 361311 h 364576"/>
                    <a:gd name="csX52" fmla="*/ 297475 w 447300"/>
                    <a:gd name="csY52" fmla="*/ 364576 h 364576"/>
                    <a:gd name="csX53" fmla="*/ 301093 w 447300"/>
                    <a:gd name="csY53" fmla="*/ 357693 h 364576"/>
                    <a:gd name="csX54" fmla="*/ 298564 w 447300"/>
                    <a:gd name="csY54" fmla="*/ 327600 h 364576"/>
                    <a:gd name="csX55" fmla="*/ 313802 w 447300"/>
                    <a:gd name="csY55" fmla="*/ 301093 h 364576"/>
                    <a:gd name="csX56" fmla="*/ 328657 w 447300"/>
                    <a:gd name="csY56" fmla="*/ 301829 h 364576"/>
                    <a:gd name="csX57" fmla="*/ 330482 w 447300"/>
                    <a:gd name="csY57" fmla="*/ 301093 h 364576"/>
                    <a:gd name="csX58" fmla="*/ 328657 w 447300"/>
                    <a:gd name="csY58" fmla="*/ 293121 h 364576"/>
                    <a:gd name="csX59" fmla="*/ 336276 w 447300"/>
                    <a:gd name="csY59" fmla="*/ 284765 h 364576"/>
                    <a:gd name="csX60" fmla="*/ 339894 w 447300"/>
                    <a:gd name="csY60" fmla="*/ 289119 h 364576"/>
                    <a:gd name="csX61" fmla="*/ 345720 w 447300"/>
                    <a:gd name="csY61" fmla="*/ 284765 h 364576"/>
                    <a:gd name="csX62" fmla="*/ 356221 w 447300"/>
                    <a:gd name="csY62" fmla="*/ 286238 h 364576"/>
                    <a:gd name="csX63" fmla="*/ 355132 w 447300"/>
                    <a:gd name="csY63" fmla="*/ 268470 h 364576"/>
                    <a:gd name="csX64" fmla="*/ 371460 w 447300"/>
                    <a:gd name="csY64" fmla="*/ 254672 h 364576"/>
                    <a:gd name="csX65" fmla="*/ 380167 w 447300"/>
                    <a:gd name="csY65" fmla="*/ 241610 h 364576"/>
                    <a:gd name="csX66" fmla="*/ 385258 w 447300"/>
                    <a:gd name="csY66" fmla="*/ 243435 h 364576"/>
                    <a:gd name="csX67" fmla="*/ 395758 w 447300"/>
                    <a:gd name="csY67" fmla="*/ 234727 h 364576"/>
                    <a:gd name="csX68" fmla="*/ 405202 w 447300"/>
                    <a:gd name="csY68" fmla="*/ 232166 h 364576"/>
                    <a:gd name="csX69" fmla="*/ 420793 w 447300"/>
                    <a:gd name="csY69" fmla="*/ 219136 h 364576"/>
                    <a:gd name="csX70" fmla="*/ 432062 w 447300"/>
                    <a:gd name="csY70" fmla="*/ 217664 h 364576"/>
                    <a:gd name="csX71" fmla="*/ 427708 w 447300"/>
                    <a:gd name="csY71" fmla="*/ 192629 h 364576"/>
                    <a:gd name="csX72" fmla="*/ 415351 w 447300"/>
                    <a:gd name="csY72" fmla="*/ 196983 h 364576"/>
                    <a:gd name="csX73" fmla="*/ 412085 w 447300"/>
                    <a:gd name="csY73" fmla="*/ 180655 h 364576"/>
                    <a:gd name="csX74" fmla="*/ 416439 w 447300"/>
                    <a:gd name="csY74" fmla="*/ 167594 h 364576"/>
                    <a:gd name="csX75" fmla="*/ 423354 w 447300"/>
                    <a:gd name="csY75" fmla="*/ 164328 h 364576"/>
                    <a:gd name="csX76" fmla="*/ 426620 w 447300"/>
                    <a:gd name="csY76" fmla="*/ 168682 h 364576"/>
                    <a:gd name="csX77" fmla="*/ 430237 w 447300"/>
                    <a:gd name="csY77" fmla="*/ 160711 h 364576"/>
                    <a:gd name="csX78" fmla="*/ 427708 w 447300"/>
                    <a:gd name="csY78" fmla="*/ 151299 h 364576"/>
                    <a:gd name="csX79" fmla="*/ 388171 w 447300"/>
                    <a:gd name="csY79" fmla="*/ 141118 h 364576"/>
                    <a:gd name="csX80" fmla="*/ 389612 w 447300"/>
                    <a:gd name="csY80" fmla="*/ 126263 h 364576"/>
                    <a:gd name="csX81" fmla="*/ 402673 w 447300"/>
                    <a:gd name="csY81" fmla="*/ 125527 h 364576"/>
                    <a:gd name="csX82" fmla="*/ 396495 w 447300"/>
                    <a:gd name="csY82" fmla="*/ 119349 h 364576"/>
                    <a:gd name="csX83" fmla="*/ 400849 w 447300"/>
                    <a:gd name="csY83" fmla="*/ 108464 h 364576"/>
                    <a:gd name="csX84" fmla="*/ 397583 w 447300"/>
                    <a:gd name="csY84" fmla="*/ 98699 h 364576"/>
                    <a:gd name="csX85" fmla="*/ 402673 w 447300"/>
                    <a:gd name="csY85" fmla="*/ 91080 h 364576"/>
                    <a:gd name="csX86" fmla="*/ 411381 w 447300"/>
                    <a:gd name="csY86" fmla="*/ 91785 h 364576"/>
                    <a:gd name="csX87" fmla="*/ 414647 w 447300"/>
                    <a:gd name="csY87" fmla="*/ 76546 h 364576"/>
                    <a:gd name="csX88" fmla="*/ 421530 w 447300"/>
                    <a:gd name="csY88" fmla="*/ 78370 h 364576"/>
                    <a:gd name="csX89" fmla="*/ 421530 w 447300"/>
                    <a:gd name="csY89" fmla="*/ 72192 h 364576"/>
                    <a:gd name="csX90" fmla="*/ 420793 w 447300"/>
                    <a:gd name="csY90" fmla="*/ 68574 h 364576"/>
                    <a:gd name="csX91" fmla="*/ 425884 w 447300"/>
                    <a:gd name="csY91" fmla="*/ 66045 h 364576"/>
                    <a:gd name="csX92" fmla="*/ 418264 w 447300"/>
                    <a:gd name="csY92" fmla="*/ 58426 h 364576"/>
                    <a:gd name="csX93" fmla="*/ 424059 w 447300"/>
                    <a:gd name="csY93" fmla="*/ 46452 h 364576"/>
                    <a:gd name="csX94" fmla="*/ 432062 w 447300"/>
                    <a:gd name="csY94" fmla="*/ 48277 h 364576"/>
                    <a:gd name="csX95" fmla="*/ 439682 w 447300"/>
                    <a:gd name="csY95" fmla="*/ 42835 h 364576"/>
                    <a:gd name="csX96" fmla="*/ 446565 w 447300"/>
                    <a:gd name="csY96" fmla="*/ 46452 h 364576"/>
                    <a:gd name="csX97" fmla="*/ 447301 w 447300"/>
                    <a:gd name="csY97" fmla="*/ 39569 h 364576"/>
                    <a:gd name="csX98" fmla="*/ 442915 w 447300"/>
                    <a:gd name="csY98" fmla="*/ 24683 h 364576"/>
                    <a:gd name="csX99" fmla="*/ 425884 w 447300"/>
                    <a:gd name="csY99" fmla="*/ 25772 h 364576"/>
                    <a:gd name="csX100" fmla="*/ 412822 w 447300"/>
                    <a:gd name="csY100" fmla="*/ 14535 h 364576"/>
                    <a:gd name="csX101" fmla="*/ 405939 w 447300"/>
                    <a:gd name="csY101" fmla="*/ 5090 h 364576"/>
                    <a:gd name="csX102" fmla="*/ 388171 w 447300"/>
                    <a:gd name="csY102" fmla="*/ 3265 h 364576"/>
                    <a:gd name="csX103" fmla="*/ 370755 w 447300"/>
                    <a:gd name="csY103" fmla="*/ 14535 h 364576"/>
                    <a:gd name="csX104" fmla="*/ 381256 w 447300"/>
                    <a:gd name="csY104" fmla="*/ 23242 h 364576"/>
                    <a:gd name="csX105" fmla="*/ 376902 w 447300"/>
                    <a:gd name="csY105" fmla="*/ 26508 h 364576"/>
                    <a:gd name="csX106" fmla="*/ 378375 w 447300"/>
                    <a:gd name="csY106" fmla="*/ 38481 h 364576"/>
                    <a:gd name="csX107" fmla="*/ 364577 w 447300"/>
                    <a:gd name="csY107" fmla="*/ 40274 h 364576"/>
                    <a:gd name="csX108" fmla="*/ 360575 w 447300"/>
                    <a:gd name="csY108" fmla="*/ 37008 h 364576"/>
                    <a:gd name="csX109" fmla="*/ 355132 w 447300"/>
                    <a:gd name="csY109" fmla="*/ 42099 h 364576"/>
                    <a:gd name="csX110" fmla="*/ 352603 w 447300"/>
                    <a:gd name="csY110" fmla="*/ 42835 h 364576"/>
                    <a:gd name="csX111" fmla="*/ 343159 w 447300"/>
                    <a:gd name="csY111" fmla="*/ 48277 h 364576"/>
                    <a:gd name="csX112" fmla="*/ 342455 w 447300"/>
                    <a:gd name="csY112" fmla="*/ 58426 h 364576"/>
                    <a:gd name="csX113" fmla="*/ 333011 w 447300"/>
                    <a:gd name="csY113" fmla="*/ 60218 h 364576"/>
                    <a:gd name="csX114" fmla="*/ 337365 w 447300"/>
                    <a:gd name="csY114" fmla="*/ 67133 h 364576"/>
                    <a:gd name="csX115" fmla="*/ 322510 w 447300"/>
                    <a:gd name="csY115" fmla="*/ 77282 h 364576"/>
                    <a:gd name="csX116" fmla="*/ 326864 w 447300"/>
                    <a:gd name="csY116" fmla="*/ 83461 h 364576"/>
                    <a:gd name="csX117" fmla="*/ 310537 w 447300"/>
                    <a:gd name="csY117" fmla="*/ 97963 h 364576"/>
                    <a:gd name="csX118" fmla="*/ 306183 w 447300"/>
                    <a:gd name="csY118" fmla="*/ 89255 h 364576"/>
                    <a:gd name="csX119" fmla="*/ 299268 w 447300"/>
                    <a:gd name="csY119" fmla="*/ 88519 h 364576"/>
                    <a:gd name="csX120" fmla="*/ 290560 w 447300"/>
                    <a:gd name="csY120" fmla="*/ 87814 h 364576"/>
                    <a:gd name="csX121" fmla="*/ 276058 w 447300"/>
                    <a:gd name="csY121" fmla="*/ 105582 h 364576"/>
                    <a:gd name="csX122" fmla="*/ 267350 w 447300"/>
                    <a:gd name="csY122" fmla="*/ 102317 h 364576"/>
                    <a:gd name="csX123" fmla="*/ 261555 w 447300"/>
                    <a:gd name="csY123" fmla="*/ 111729 h 364576"/>
                    <a:gd name="csX124" fmla="*/ 237257 w 447300"/>
                    <a:gd name="csY124" fmla="*/ 123702 h 364576"/>
                    <a:gd name="csX125" fmla="*/ 229637 w 447300"/>
                    <a:gd name="csY125" fmla="*/ 116083 h 364576"/>
                    <a:gd name="csX126" fmla="*/ 245228 w 447300"/>
                    <a:gd name="csY126" fmla="*/ 95434 h 364576"/>
                    <a:gd name="csX127" fmla="*/ 249582 w 447300"/>
                    <a:gd name="csY127" fmla="*/ 81636 h 364576"/>
                    <a:gd name="csX128" fmla="*/ 240874 w 447300"/>
                    <a:gd name="csY128" fmla="*/ 68574 h 364576"/>
                    <a:gd name="csX129" fmla="*/ 233991 w 447300"/>
                    <a:gd name="csY129" fmla="*/ 77282 h 364576"/>
                    <a:gd name="csX130" fmla="*/ 217664 w 447300"/>
                    <a:gd name="csY130" fmla="*/ 72192 h 364576"/>
                    <a:gd name="csX131" fmla="*/ 211485 w 447300"/>
                    <a:gd name="csY131" fmla="*/ 76546 h 364576"/>
                    <a:gd name="csX132" fmla="*/ 202073 w 447300"/>
                    <a:gd name="csY132" fmla="*/ 72928 h 364576"/>
                    <a:gd name="csX133" fmla="*/ 185009 w 447300"/>
                    <a:gd name="csY133" fmla="*/ 81636 h 364576"/>
                    <a:gd name="csX134" fmla="*/ 178126 w 447300"/>
                    <a:gd name="csY134" fmla="*/ 77282 h 364576"/>
                    <a:gd name="csX135" fmla="*/ 171243 w 447300"/>
                    <a:gd name="csY135" fmla="*/ 66045 h 364576"/>
                    <a:gd name="csX136" fmla="*/ 165801 w 447300"/>
                    <a:gd name="csY136" fmla="*/ 46452 h 364576"/>
                    <a:gd name="csX137" fmla="*/ 119349 w 447300"/>
                    <a:gd name="csY137" fmla="*/ 42099 h 364576"/>
                    <a:gd name="csX138" fmla="*/ 120437 w 447300"/>
                    <a:gd name="csY138" fmla="*/ 37008 h 364576"/>
                    <a:gd name="csX139" fmla="*/ 109936 w 447300"/>
                    <a:gd name="csY139" fmla="*/ 25772 h 364576"/>
                    <a:gd name="csX140" fmla="*/ 100492 w 447300"/>
                    <a:gd name="csY140" fmla="*/ 22154 h 364576"/>
                    <a:gd name="csX141" fmla="*/ 100492 w 447300"/>
                    <a:gd name="csY141" fmla="*/ 16327 h 364576"/>
                    <a:gd name="csX142" fmla="*/ 91784 w 447300"/>
                    <a:gd name="csY142" fmla="*/ 15239 h 364576"/>
                    <a:gd name="csX143" fmla="*/ 86694 w 447300"/>
                    <a:gd name="csY143" fmla="*/ 9444 h 364576"/>
                    <a:gd name="csX144" fmla="*/ 74721 w 447300"/>
                    <a:gd name="csY144" fmla="*/ 8356 h 364576"/>
                    <a:gd name="csX145" fmla="*/ 66045 w 447300"/>
                    <a:gd name="csY145" fmla="*/ 13798 h 364576"/>
                    <a:gd name="csX146" fmla="*/ 44628 w 447300"/>
                    <a:gd name="csY146" fmla="*/ 0 h 3645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447300" h="364576">
                      <a:moveTo>
                        <a:pt x="44628" y="0"/>
                      </a:moveTo>
                      <a:lnTo>
                        <a:pt x="44628" y="7619"/>
                      </a:lnTo>
                      <a:lnTo>
                        <a:pt x="18856" y="5090"/>
                      </a:lnTo>
                      <a:lnTo>
                        <a:pt x="9444" y="8356"/>
                      </a:lnTo>
                      <a:lnTo>
                        <a:pt x="0" y="14535"/>
                      </a:lnTo>
                      <a:lnTo>
                        <a:pt x="12710" y="23242"/>
                      </a:lnTo>
                      <a:lnTo>
                        <a:pt x="12710" y="37008"/>
                      </a:lnTo>
                      <a:lnTo>
                        <a:pt x="22122" y="33390"/>
                      </a:lnTo>
                      <a:lnTo>
                        <a:pt x="37008" y="42835"/>
                      </a:lnTo>
                      <a:lnTo>
                        <a:pt x="33391" y="57689"/>
                      </a:lnTo>
                      <a:lnTo>
                        <a:pt x="28301" y="58426"/>
                      </a:lnTo>
                      <a:lnTo>
                        <a:pt x="30125" y="65309"/>
                      </a:lnTo>
                      <a:lnTo>
                        <a:pt x="38449" y="71487"/>
                      </a:lnTo>
                      <a:lnTo>
                        <a:pt x="37008" y="84165"/>
                      </a:lnTo>
                      <a:lnTo>
                        <a:pt x="47157" y="89255"/>
                      </a:lnTo>
                      <a:lnTo>
                        <a:pt x="48982" y="105582"/>
                      </a:lnTo>
                      <a:lnTo>
                        <a:pt x="43891" y="109200"/>
                      </a:lnTo>
                      <a:lnTo>
                        <a:pt x="47157" y="129881"/>
                      </a:lnTo>
                      <a:lnTo>
                        <a:pt x="40274" y="151299"/>
                      </a:lnTo>
                      <a:lnTo>
                        <a:pt x="50422" y="161799"/>
                      </a:lnTo>
                      <a:lnTo>
                        <a:pt x="47893" y="165064"/>
                      </a:lnTo>
                      <a:lnTo>
                        <a:pt x="51511" y="169419"/>
                      </a:lnTo>
                      <a:lnTo>
                        <a:pt x="48982" y="175597"/>
                      </a:lnTo>
                      <a:lnTo>
                        <a:pt x="40274" y="176301"/>
                      </a:lnTo>
                      <a:lnTo>
                        <a:pt x="35184" y="193365"/>
                      </a:lnTo>
                      <a:lnTo>
                        <a:pt x="50422" y="213310"/>
                      </a:lnTo>
                      <a:lnTo>
                        <a:pt x="43891" y="227812"/>
                      </a:lnTo>
                      <a:lnTo>
                        <a:pt x="48982" y="230373"/>
                      </a:lnTo>
                      <a:lnTo>
                        <a:pt x="56601" y="227108"/>
                      </a:lnTo>
                      <a:lnTo>
                        <a:pt x="67838" y="233991"/>
                      </a:lnTo>
                      <a:lnTo>
                        <a:pt x="77282" y="225283"/>
                      </a:lnTo>
                      <a:lnTo>
                        <a:pt x="81636" y="226019"/>
                      </a:lnTo>
                      <a:lnTo>
                        <a:pt x="107375" y="243435"/>
                      </a:lnTo>
                      <a:lnTo>
                        <a:pt x="113554" y="255409"/>
                      </a:lnTo>
                      <a:lnTo>
                        <a:pt x="111729" y="264820"/>
                      </a:lnTo>
                      <a:lnTo>
                        <a:pt x="107375" y="274265"/>
                      </a:lnTo>
                      <a:lnTo>
                        <a:pt x="104846" y="283677"/>
                      </a:lnTo>
                      <a:lnTo>
                        <a:pt x="91784" y="288031"/>
                      </a:lnTo>
                      <a:lnTo>
                        <a:pt x="80900" y="310537"/>
                      </a:lnTo>
                      <a:lnTo>
                        <a:pt x="84901" y="317420"/>
                      </a:lnTo>
                      <a:lnTo>
                        <a:pt x="80900" y="323246"/>
                      </a:lnTo>
                      <a:lnTo>
                        <a:pt x="86694" y="329393"/>
                      </a:lnTo>
                      <a:lnTo>
                        <a:pt x="116820" y="340630"/>
                      </a:lnTo>
                      <a:lnTo>
                        <a:pt x="129881" y="328689"/>
                      </a:lnTo>
                      <a:lnTo>
                        <a:pt x="151267" y="319981"/>
                      </a:lnTo>
                      <a:lnTo>
                        <a:pt x="183185" y="338837"/>
                      </a:lnTo>
                      <a:lnTo>
                        <a:pt x="200248" y="340630"/>
                      </a:lnTo>
                      <a:lnTo>
                        <a:pt x="207131" y="341366"/>
                      </a:lnTo>
                      <a:lnTo>
                        <a:pt x="201337" y="334483"/>
                      </a:lnTo>
                      <a:lnTo>
                        <a:pt x="202073" y="330129"/>
                      </a:lnTo>
                      <a:lnTo>
                        <a:pt x="206427" y="328689"/>
                      </a:lnTo>
                      <a:lnTo>
                        <a:pt x="279707" y="361311"/>
                      </a:lnTo>
                      <a:lnTo>
                        <a:pt x="297475" y="364576"/>
                      </a:lnTo>
                      <a:lnTo>
                        <a:pt x="301093" y="357693"/>
                      </a:lnTo>
                      <a:lnTo>
                        <a:pt x="298564" y="327600"/>
                      </a:lnTo>
                      <a:lnTo>
                        <a:pt x="313802" y="301093"/>
                      </a:lnTo>
                      <a:lnTo>
                        <a:pt x="328657" y="301829"/>
                      </a:lnTo>
                      <a:lnTo>
                        <a:pt x="330482" y="301093"/>
                      </a:lnTo>
                      <a:lnTo>
                        <a:pt x="328657" y="293121"/>
                      </a:lnTo>
                      <a:lnTo>
                        <a:pt x="336276" y="284765"/>
                      </a:lnTo>
                      <a:lnTo>
                        <a:pt x="339894" y="289119"/>
                      </a:lnTo>
                      <a:lnTo>
                        <a:pt x="345720" y="284765"/>
                      </a:lnTo>
                      <a:lnTo>
                        <a:pt x="356221" y="286238"/>
                      </a:lnTo>
                      <a:lnTo>
                        <a:pt x="355132" y="268470"/>
                      </a:lnTo>
                      <a:lnTo>
                        <a:pt x="371460" y="254672"/>
                      </a:lnTo>
                      <a:lnTo>
                        <a:pt x="380167" y="241610"/>
                      </a:lnTo>
                      <a:lnTo>
                        <a:pt x="385258" y="243435"/>
                      </a:lnTo>
                      <a:lnTo>
                        <a:pt x="395758" y="234727"/>
                      </a:lnTo>
                      <a:lnTo>
                        <a:pt x="405202" y="232166"/>
                      </a:lnTo>
                      <a:lnTo>
                        <a:pt x="420793" y="219136"/>
                      </a:lnTo>
                      <a:lnTo>
                        <a:pt x="432062" y="217664"/>
                      </a:lnTo>
                      <a:lnTo>
                        <a:pt x="427708" y="192629"/>
                      </a:lnTo>
                      <a:lnTo>
                        <a:pt x="415351" y="196983"/>
                      </a:lnTo>
                      <a:lnTo>
                        <a:pt x="412085" y="180655"/>
                      </a:lnTo>
                      <a:lnTo>
                        <a:pt x="416439" y="167594"/>
                      </a:lnTo>
                      <a:lnTo>
                        <a:pt x="423354" y="164328"/>
                      </a:lnTo>
                      <a:lnTo>
                        <a:pt x="426620" y="168682"/>
                      </a:lnTo>
                      <a:lnTo>
                        <a:pt x="430237" y="160711"/>
                      </a:lnTo>
                      <a:lnTo>
                        <a:pt x="427708" y="151299"/>
                      </a:lnTo>
                      <a:lnTo>
                        <a:pt x="388171" y="141118"/>
                      </a:lnTo>
                      <a:lnTo>
                        <a:pt x="389612" y="126263"/>
                      </a:lnTo>
                      <a:lnTo>
                        <a:pt x="402673" y="125527"/>
                      </a:lnTo>
                      <a:lnTo>
                        <a:pt x="396495" y="119349"/>
                      </a:lnTo>
                      <a:lnTo>
                        <a:pt x="400849" y="108464"/>
                      </a:lnTo>
                      <a:lnTo>
                        <a:pt x="397583" y="98699"/>
                      </a:lnTo>
                      <a:lnTo>
                        <a:pt x="402673" y="91080"/>
                      </a:lnTo>
                      <a:lnTo>
                        <a:pt x="411381" y="91785"/>
                      </a:lnTo>
                      <a:lnTo>
                        <a:pt x="414647" y="76546"/>
                      </a:lnTo>
                      <a:lnTo>
                        <a:pt x="421530" y="78370"/>
                      </a:lnTo>
                      <a:lnTo>
                        <a:pt x="421530" y="72192"/>
                      </a:lnTo>
                      <a:lnTo>
                        <a:pt x="420793" y="68574"/>
                      </a:lnTo>
                      <a:lnTo>
                        <a:pt x="425884" y="66045"/>
                      </a:lnTo>
                      <a:lnTo>
                        <a:pt x="418264" y="58426"/>
                      </a:lnTo>
                      <a:lnTo>
                        <a:pt x="424059" y="46452"/>
                      </a:lnTo>
                      <a:lnTo>
                        <a:pt x="432062" y="48277"/>
                      </a:lnTo>
                      <a:lnTo>
                        <a:pt x="439682" y="42835"/>
                      </a:lnTo>
                      <a:lnTo>
                        <a:pt x="446565" y="46452"/>
                      </a:lnTo>
                      <a:lnTo>
                        <a:pt x="447301" y="39569"/>
                      </a:lnTo>
                      <a:lnTo>
                        <a:pt x="442915" y="24683"/>
                      </a:lnTo>
                      <a:lnTo>
                        <a:pt x="425884" y="25772"/>
                      </a:lnTo>
                      <a:lnTo>
                        <a:pt x="412822" y="14535"/>
                      </a:lnTo>
                      <a:lnTo>
                        <a:pt x="405939" y="5090"/>
                      </a:lnTo>
                      <a:lnTo>
                        <a:pt x="388171" y="3265"/>
                      </a:lnTo>
                      <a:lnTo>
                        <a:pt x="370755" y="14535"/>
                      </a:lnTo>
                      <a:lnTo>
                        <a:pt x="381256" y="23242"/>
                      </a:lnTo>
                      <a:lnTo>
                        <a:pt x="376902" y="26508"/>
                      </a:lnTo>
                      <a:lnTo>
                        <a:pt x="378375" y="38481"/>
                      </a:lnTo>
                      <a:lnTo>
                        <a:pt x="364577" y="40274"/>
                      </a:lnTo>
                      <a:lnTo>
                        <a:pt x="360575" y="37008"/>
                      </a:lnTo>
                      <a:lnTo>
                        <a:pt x="355132" y="42099"/>
                      </a:lnTo>
                      <a:lnTo>
                        <a:pt x="352603" y="42835"/>
                      </a:lnTo>
                      <a:lnTo>
                        <a:pt x="343159" y="48277"/>
                      </a:lnTo>
                      <a:lnTo>
                        <a:pt x="342455" y="58426"/>
                      </a:lnTo>
                      <a:lnTo>
                        <a:pt x="333011" y="60218"/>
                      </a:lnTo>
                      <a:lnTo>
                        <a:pt x="337365" y="67133"/>
                      </a:lnTo>
                      <a:lnTo>
                        <a:pt x="322510" y="77282"/>
                      </a:lnTo>
                      <a:lnTo>
                        <a:pt x="326864" y="83461"/>
                      </a:lnTo>
                      <a:lnTo>
                        <a:pt x="310537" y="97963"/>
                      </a:lnTo>
                      <a:lnTo>
                        <a:pt x="306183" y="89255"/>
                      </a:lnTo>
                      <a:lnTo>
                        <a:pt x="299268" y="88519"/>
                      </a:lnTo>
                      <a:lnTo>
                        <a:pt x="290560" y="87814"/>
                      </a:lnTo>
                      <a:lnTo>
                        <a:pt x="276058" y="105582"/>
                      </a:lnTo>
                      <a:lnTo>
                        <a:pt x="267350" y="102317"/>
                      </a:lnTo>
                      <a:lnTo>
                        <a:pt x="261555" y="111729"/>
                      </a:lnTo>
                      <a:lnTo>
                        <a:pt x="237257" y="123702"/>
                      </a:lnTo>
                      <a:lnTo>
                        <a:pt x="229637" y="116083"/>
                      </a:lnTo>
                      <a:lnTo>
                        <a:pt x="245228" y="95434"/>
                      </a:lnTo>
                      <a:lnTo>
                        <a:pt x="249582" y="81636"/>
                      </a:lnTo>
                      <a:lnTo>
                        <a:pt x="240874" y="68574"/>
                      </a:lnTo>
                      <a:lnTo>
                        <a:pt x="233991" y="77282"/>
                      </a:lnTo>
                      <a:lnTo>
                        <a:pt x="217664" y="72192"/>
                      </a:lnTo>
                      <a:lnTo>
                        <a:pt x="211485" y="76546"/>
                      </a:lnTo>
                      <a:lnTo>
                        <a:pt x="202073" y="72928"/>
                      </a:lnTo>
                      <a:lnTo>
                        <a:pt x="185009" y="81636"/>
                      </a:lnTo>
                      <a:lnTo>
                        <a:pt x="178126" y="77282"/>
                      </a:lnTo>
                      <a:lnTo>
                        <a:pt x="171243" y="66045"/>
                      </a:lnTo>
                      <a:lnTo>
                        <a:pt x="165801" y="46452"/>
                      </a:lnTo>
                      <a:lnTo>
                        <a:pt x="119349" y="42099"/>
                      </a:lnTo>
                      <a:lnTo>
                        <a:pt x="120437" y="37008"/>
                      </a:lnTo>
                      <a:lnTo>
                        <a:pt x="109936" y="25772"/>
                      </a:lnTo>
                      <a:lnTo>
                        <a:pt x="100492" y="22154"/>
                      </a:lnTo>
                      <a:lnTo>
                        <a:pt x="100492" y="16327"/>
                      </a:lnTo>
                      <a:lnTo>
                        <a:pt x="91784" y="15239"/>
                      </a:lnTo>
                      <a:lnTo>
                        <a:pt x="86694" y="9444"/>
                      </a:lnTo>
                      <a:lnTo>
                        <a:pt x="74721" y="8356"/>
                      </a:lnTo>
                      <a:lnTo>
                        <a:pt x="66045" y="13798"/>
                      </a:lnTo>
                      <a:lnTo>
                        <a:pt x="4462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8" name="Forma Livre: Forma 187">
                  <a:extLst>
                    <a:ext uri="{FF2B5EF4-FFF2-40B4-BE49-F238E27FC236}">
                      <a16:creationId xmlns:a16="http://schemas.microsoft.com/office/drawing/2014/main" id="{60CE7868-6CD5-C952-34B0-6EE626457272}"/>
                    </a:ext>
                  </a:extLst>
                </p:cNvPr>
                <p:cNvSpPr/>
                <p:nvPr/>
              </p:nvSpPr>
              <p:spPr>
                <a:xfrm>
                  <a:off x="2736865" y="5400781"/>
                  <a:ext cx="447300" cy="364576"/>
                </a:xfrm>
                <a:custGeom>
                  <a:avLst/>
                  <a:gdLst>
                    <a:gd name="csX0" fmla="*/ 44628 w 447300"/>
                    <a:gd name="csY0" fmla="*/ 0 h 364576"/>
                    <a:gd name="csX1" fmla="*/ 44628 w 447300"/>
                    <a:gd name="csY1" fmla="*/ 7619 h 364576"/>
                    <a:gd name="csX2" fmla="*/ 18856 w 447300"/>
                    <a:gd name="csY2" fmla="*/ 5090 h 364576"/>
                    <a:gd name="csX3" fmla="*/ 9444 w 447300"/>
                    <a:gd name="csY3" fmla="*/ 8356 h 364576"/>
                    <a:gd name="csX4" fmla="*/ 0 w 447300"/>
                    <a:gd name="csY4" fmla="*/ 14535 h 364576"/>
                    <a:gd name="csX5" fmla="*/ 12710 w 447300"/>
                    <a:gd name="csY5" fmla="*/ 23242 h 364576"/>
                    <a:gd name="csX6" fmla="*/ 12710 w 447300"/>
                    <a:gd name="csY6" fmla="*/ 37008 h 364576"/>
                    <a:gd name="csX7" fmla="*/ 22122 w 447300"/>
                    <a:gd name="csY7" fmla="*/ 33390 h 364576"/>
                    <a:gd name="csX8" fmla="*/ 37008 w 447300"/>
                    <a:gd name="csY8" fmla="*/ 42835 h 364576"/>
                    <a:gd name="csX9" fmla="*/ 33391 w 447300"/>
                    <a:gd name="csY9" fmla="*/ 57689 h 364576"/>
                    <a:gd name="csX10" fmla="*/ 28301 w 447300"/>
                    <a:gd name="csY10" fmla="*/ 58426 h 364576"/>
                    <a:gd name="csX11" fmla="*/ 30125 w 447300"/>
                    <a:gd name="csY11" fmla="*/ 65309 h 364576"/>
                    <a:gd name="csX12" fmla="*/ 38449 w 447300"/>
                    <a:gd name="csY12" fmla="*/ 71487 h 364576"/>
                    <a:gd name="csX13" fmla="*/ 37008 w 447300"/>
                    <a:gd name="csY13" fmla="*/ 84165 h 364576"/>
                    <a:gd name="csX14" fmla="*/ 47157 w 447300"/>
                    <a:gd name="csY14" fmla="*/ 89255 h 364576"/>
                    <a:gd name="csX15" fmla="*/ 48982 w 447300"/>
                    <a:gd name="csY15" fmla="*/ 105582 h 364576"/>
                    <a:gd name="csX16" fmla="*/ 43891 w 447300"/>
                    <a:gd name="csY16" fmla="*/ 109200 h 364576"/>
                    <a:gd name="csX17" fmla="*/ 47157 w 447300"/>
                    <a:gd name="csY17" fmla="*/ 129881 h 364576"/>
                    <a:gd name="csX18" fmla="*/ 40274 w 447300"/>
                    <a:gd name="csY18" fmla="*/ 151299 h 364576"/>
                    <a:gd name="csX19" fmla="*/ 50422 w 447300"/>
                    <a:gd name="csY19" fmla="*/ 161799 h 364576"/>
                    <a:gd name="csX20" fmla="*/ 47893 w 447300"/>
                    <a:gd name="csY20" fmla="*/ 165064 h 364576"/>
                    <a:gd name="csX21" fmla="*/ 51511 w 447300"/>
                    <a:gd name="csY21" fmla="*/ 169419 h 364576"/>
                    <a:gd name="csX22" fmla="*/ 48982 w 447300"/>
                    <a:gd name="csY22" fmla="*/ 175597 h 364576"/>
                    <a:gd name="csX23" fmla="*/ 40274 w 447300"/>
                    <a:gd name="csY23" fmla="*/ 176301 h 364576"/>
                    <a:gd name="csX24" fmla="*/ 35184 w 447300"/>
                    <a:gd name="csY24" fmla="*/ 193365 h 364576"/>
                    <a:gd name="csX25" fmla="*/ 50422 w 447300"/>
                    <a:gd name="csY25" fmla="*/ 213310 h 364576"/>
                    <a:gd name="csX26" fmla="*/ 43891 w 447300"/>
                    <a:gd name="csY26" fmla="*/ 227812 h 364576"/>
                    <a:gd name="csX27" fmla="*/ 48982 w 447300"/>
                    <a:gd name="csY27" fmla="*/ 230373 h 364576"/>
                    <a:gd name="csX28" fmla="*/ 56601 w 447300"/>
                    <a:gd name="csY28" fmla="*/ 227108 h 364576"/>
                    <a:gd name="csX29" fmla="*/ 67838 w 447300"/>
                    <a:gd name="csY29" fmla="*/ 233991 h 364576"/>
                    <a:gd name="csX30" fmla="*/ 77282 w 447300"/>
                    <a:gd name="csY30" fmla="*/ 225283 h 364576"/>
                    <a:gd name="csX31" fmla="*/ 81636 w 447300"/>
                    <a:gd name="csY31" fmla="*/ 226019 h 364576"/>
                    <a:gd name="csX32" fmla="*/ 107375 w 447300"/>
                    <a:gd name="csY32" fmla="*/ 243435 h 364576"/>
                    <a:gd name="csX33" fmla="*/ 113554 w 447300"/>
                    <a:gd name="csY33" fmla="*/ 255409 h 364576"/>
                    <a:gd name="csX34" fmla="*/ 111729 w 447300"/>
                    <a:gd name="csY34" fmla="*/ 264820 h 364576"/>
                    <a:gd name="csX35" fmla="*/ 107375 w 447300"/>
                    <a:gd name="csY35" fmla="*/ 274265 h 364576"/>
                    <a:gd name="csX36" fmla="*/ 104846 w 447300"/>
                    <a:gd name="csY36" fmla="*/ 283677 h 364576"/>
                    <a:gd name="csX37" fmla="*/ 91784 w 447300"/>
                    <a:gd name="csY37" fmla="*/ 288031 h 364576"/>
                    <a:gd name="csX38" fmla="*/ 80900 w 447300"/>
                    <a:gd name="csY38" fmla="*/ 310537 h 364576"/>
                    <a:gd name="csX39" fmla="*/ 84901 w 447300"/>
                    <a:gd name="csY39" fmla="*/ 317420 h 364576"/>
                    <a:gd name="csX40" fmla="*/ 80900 w 447300"/>
                    <a:gd name="csY40" fmla="*/ 323246 h 364576"/>
                    <a:gd name="csX41" fmla="*/ 86694 w 447300"/>
                    <a:gd name="csY41" fmla="*/ 329393 h 364576"/>
                    <a:gd name="csX42" fmla="*/ 116820 w 447300"/>
                    <a:gd name="csY42" fmla="*/ 340630 h 364576"/>
                    <a:gd name="csX43" fmla="*/ 129881 w 447300"/>
                    <a:gd name="csY43" fmla="*/ 328689 h 364576"/>
                    <a:gd name="csX44" fmla="*/ 151267 w 447300"/>
                    <a:gd name="csY44" fmla="*/ 319981 h 364576"/>
                    <a:gd name="csX45" fmla="*/ 183185 w 447300"/>
                    <a:gd name="csY45" fmla="*/ 338837 h 364576"/>
                    <a:gd name="csX46" fmla="*/ 200248 w 447300"/>
                    <a:gd name="csY46" fmla="*/ 340630 h 364576"/>
                    <a:gd name="csX47" fmla="*/ 207131 w 447300"/>
                    <a:gd name="csY47" fmla="*/ 341366 h 364576"/>
                    <a:gd name="csX48" fmla="*/ 201337 w 447300"/>
                    <a:gd name="csY48" fmla="*/ 334483 h 364576"/>
                    <a:gd name="csX49" fmla="*/ 202073 w 447300"/>
                    <a:gd name="csY49" fmla="*/ 330129 h 364576"/>
                    <a:gd name="csX50" fmla="*/ 206427 w 447300"/>
                    <a:gd name="csY50" fmla="*/ 328689 h 364576"/>
                    <a:gd name="csX51" fmla="*/ 279707 w 447300"/>
                    <a:gd name="csY51" fmla="*/ 361311 h 364576"/>
                    <a:gd name="csX52" fmla="*/ 297475 w 447300"/>
                    <a:gd name="csY52" fmla="*/ 364576 h 364576"/>
                    <a:gd name="csX53" fmla="*/ 301093 w 447300"/>
                    <a:gd name="csY53" fmla="*/ 357693 h 364576"/>
                    <a:gd name="csX54" fmla="*/ 298564 w 447300"/>
                    <a:gd name="csY54" fmla="*/ 327600 h 364576"/>
                    <a:gd name="csX55" fmla="*/ 313802 w 447300"/>
                    <a:gd name="csY55" fmla="*/ 301093 h 364576"/>
                    <a:gd name="csX56" fmla="*/ 328657 w 447300"/>
                    <a:gd name="csY56" fmla="*/ 301829 h 364576"/>
                    <a:gd name="csX57" fmla="*/ 330482 w 447300"/>
                    <a:gd name="csY57" fmla="*/ 301093 h 364576"/>
                    <a:gd name="csX58" fmla="*/ 328657 w 447300"/>
                    <a:gd name="csY58" fmla="*/ 293121 h 364576"/>
                    <a:gd name="csX59" fmla="*/ 336276 w 447300"/>
                    <a:gd name="csY59" fmla="*/ 284765 h 364576"/>
                    <a:gd name="csX60" fmla="*/ 339894 w 447300"/>
                    <a:gd name="csY60" fmla="*/ 289119 h 364576"/>
                    <a:gd name="csX61" fmla="*/ 345720 w 447300"/>
                    <a:gd name="csY61" fmla="*/ 284765 h 364576"/>
                    <a:gd name="csX62" fmla="*/ 356221 w 447300"/>
                    <a:gd name="csY62" fmla="*/ 286238 h 364576"/>
                    <a:gd name="csX63" fmla="*/ 355132 w 447300"/>
                    <a:gd name="csY63" fmla="*/ 268470 h 364576"/>
                    <a:gd name="csX64" fmla="*/ 371460 w 447300"/>
                    <a:gd name="csY64" fmla="*/ 254672 h 364576"/>
                    <a:gd name="csX65" fmla="*/ 380167 w 447300"/>
                    <a:gd name="csY65" fmla="*/ 241610 h 364576"/>
                    <a:gd name="csX66" fmla="*/ 385258 w 447300"/>
                    <a:gd name="csY66" fmla="*/ 243435 h 364576"/>
                    <a:gd name="csX67" fmla="*/ 395790 w 447300"/>
                    <a:gd name="csY67" fmla="*/ 234727 h 364576"/>
                    <a:gd name="csX68" fmla="*/ 405202 w 447300"/>
                    <a:gd name="csY68" fmla="*/ 232166 h 364576"/>
                    <a:gd name="csX69" fmla="*/ 420793 w 447300"/>
                    <a:gd name="csY69" fmla="*/ 219136 h 364576"/>
                    <a:gd name="csX70" fmla="*/ 432062 w 447300"/>
                    <a:gd name="csY70" fmla="*/ 217664 h 364576"/>
                    <a:gd name="csX71" fmla="*/ 427708 w 447300"/>
                    <a:gd name="csY71" fmla="*/ 192629 h 364576"/>
                    <a:gd name="csX72" fmla="*/ 415351 w 447300"/>
                    <a:gd name="csY72" fmla="*/ 196983 h 364576"/>
                    <a:gd name="csX73" fmla="*/ 412085 w 447300"/>
                    <a:gd name="csY73" fmla="*/ 180655 h 364576"/>
                    <a:gd name="csX74" fmla="*/ 416439 w 447300"/>
                    <a:gd name="csY74" fmla="*/ 167594 h 364576"/>
                    <a:gd name="csX75" fmla="*/ 423354 w 447300"/>
                    <a:gd name="csY75" fmla="*/ 164328 h 364576"/>
                    <a:gd name="csX76" fmla="*/ 426620 w 447300"/>
                    <a:gd name="csY76" fmla="*/ 168682 h 364576"/>
                    <a:gd name="csX77" fmla="*/ 430237 w 447300"/>
                    <a:gd name="csY77" fmla="*/ 160711 h 364576"/>
                    <a:gd name="csX78" fmla="*/ 427708 w 447300"/>
                    <a:gd name="csY78" fmla="*/ 151299 h 364576"/>
                    <a:gd name="csX79" fmla="*/ 388171 w 447300"/>
                    <a:gd name="csY79" fmla="*/ 141118 h 364576"/>
                    <a:gd name="csX80" fmla="*/ 389612 w 447300"/>
                    <a:gd name="csY80" fmla="*/ 126263 h 364576"/>
                    <a:gd name="csX81" fmla="*/ 402673 w 447300"/>
                    <a:gd name="csY81" fmla="*/ 125527 h 364576"/>
                    <a:gd name="csX82" fmla="*/ 396495 w 447300"/>
                    <a:gd name="csY82" fmla="*/ 119349 h 364576"/>
                    <a:gd name="csX83" fmla="*/ 400849 w 447300"/>
                    <a:gd name="csY83" fmla="*/ 108464 h 364576"/>
                    <a:gd name="csX84" fmla="*/ 397583 w 447300"/>
                    <a:gd name="csY84" fmla="*/ 98699 h 364576"/>
                    <a:gd name="csX85" fmla="*/ 402673 w 447300"/>
                    <a:gd name="csY85" fmla="*/ 91080 h 364576"/>
                    <a:gd name="csX86" fmla="*/ 411381 w 447300"/>
                    <a:gd name="csY86" fmla="*/ 91785 h 364576"/>
                    <a:gd name="csX87" fmla="*/ 414647 w 447300"/>
                    <a:gd name="csY87" fmla="*/ 76546 h 364576"/>
                    <a:gd name="csX88" fmla="*/ 421530 w 447300"/>
                    <a:gd name="csY88" fmla="*/ 78370 h 364576"/>
                    <a:gd name="csX89" fmla="*/ 421530 w 447300"/>
                    <a:gd name="csY89" fmla="*/ 72192 h 364576"/>
                    <a:gd name="csX90" fmla="*/ 420793 w 447300"/>
                    <a:gd name="csY90" fmla="*/ 68574 h 364576"/>
                    <a:gd name="csX91" fmla="*/ 425884 w 447300"/>
                    <a:gd name="csY91" fmla="*/ 66045 h 364576"/>
                    <a:gd name="csX92" fmla="*/ 418264 w 447300"/>
                    <a:gd name="csY92" fmla="*/ 58426 h 364576"/>
                    <a:gd name="csX93" fmla="*/ 424059 w 447300"/>
                    <a:gd name="csY93" fmla="*/ 46452 h 364576"/>
                    <a:gd name="csX94" fmla="*/ 432062 w 447300"/>
                    <a:gd name="csY94" fmla="*/ 48277 h 364576"/>
                    <a:gd name="csX95" fmla="*/ 439682 w 447300"/>
                    <a:gd name="csY95" fmla="*/ 42835 h 364576"/>
                    <a:gd name="csX96" fmla="*/ 446565 w 447300"/>
                    <a:gd name="csY96" fmla="*/ 46452 h 364576"/>
                    <a:gd name="csX97" fmla="*/ 447301 w 447300"/>
                    <a:gd name="csY97" fmla="*/ 39569 h 364576"/>
                    <a:gd name="csX98" fmla="*/ 442915 w 447300"/>
                    <a:gd name="csY98" fmla="*/ 24683 h 364576"/>
                    <a:gd name="csX99" fmla="*/ 425884 w 447300"/>
                    <a:gd name="csY99" fmla="*/ 25772 h 364576"/>
                    <a:gd name="csX100" fmla="*/ 412822 w 447300"/>
                    <a:gd name="csY100" fmla="*/ 14535 h 364576"/>
                    <a:gd name="csX101" fmla="*/ 405939 w 447300"/>
                    <a:gd name="csY101" fmla="*/ 5090 h 364576"/>
                    <a:gd name="csX102" fmla="*/ 388171 w 447300"/>
                    <a:gd name="csY102" fmla="*/ 3265 h 364576"/>
                    <a:gd name="csX103" fmla="*/ 370755 w 447300"/>
                    <a:gd name="csY103" fmla="*/ 14535 h 364576"/>
                    <a:gd name="csX104" fmla="*/ 381256 w 447300"/>
                    <a:gd name="csY104" fmla="*/ 23242 h 364576"/>
                    <a:gd name="csX105" fmla="*/ 376902 w 447300"/>
                    <a:gd name="csY105" fmla="*/ 26508 h 364576"/>
                    <a:gd name="csX106" fmla="*/ 378375 w 447300"/>
                    <a:gd name="csY106" fmla="*/ 38481 h 364576"/>
                    <a:gd name="csX107" fmla="*/ 364577 w 447300"/>
                    <a:gd name="csY107" fmla="*/ 40274 h 364576"/>
                    <a:gd name="csX108" fmla="*/ 360575 w 447300"/>
                    <a:gd name="csY108" fmla="*/ 37008 h 364576"/>
                    <a:gd name="csX109" fmla="*/ 355132 w 447300"/>
                    <a:gd name="csY109" fmla="*/ 42099 h 364576"/>
                    <a:gd name="csX110" fmla="*/ 352603 w 447300"/>
                    <a:gd name="csY110" fmla="*/ 42835 h 364576"/>
                    <a:gd name="csX111" fmla="*/ 343159 w 447300"/>
                    <a:gd name="csY111" fmla="*/ 48277 h 364576"/>
                    <a:gd name="csX112" fmla="*/ 342455 w 447300"/>
                    <a:gd name="csY112" fmla="*/ 58426 h 364576"/>
                    <a:gd name="csX113" fmla="*/ 333011 w 447300"/>
                    <a:gd name="csY113" fmla="*/ 60218 h 364576"/>
                    <a:gd name="csX114" fmla="*/ 337365 w 447300"/>
                    <a:gd name="csY114" fmla="*/ 67133 h 364576"/>
                    <a:gd name="csX115" fmla="*/ 322510 w 447300"/>
                    <a:gd name="csY115" fmla="*/ 77282 h 364576"/>
                    <a:gd name="csX116" fmla="*/ 326864 w 447300"/>
                    <a:gd name="csY116" fmla="*/ 83461 h 364576"/>
                    <a:gd name="csX117" fmla="*/ 310537 w 447300"/>
                    <a:gd name="csY117" fmla="*/ 97963 h 364576"/>
                    <a:gd name="csX118" fmla="*/ 306183 w 447300"/>
                    <a:gd name="csY118" fmla="*/ 89255 h 364576"/>
                    <a:gd name="csX119" fmla="*/ 299268 w 447300"/>
                    <a:gd name="csY119" fmla="*/ 88519 h 364576"/>
                    <a:gd name="csX120" fmla="*/ 290560 w 447300"/>
                    <a:gd name="csY120" fmla="*/ 87814 h 364576"/>
                    <a:gd name="csX121" fmla="*/ 276058 w 447300"/>
                    <a:gd name="csY121" fmla="*/ 105582 h 364576"/>
                    <a:gd name="csX122" fmla="*/ 267350 w 447300"/>
                    <a:gd name="csY122" fmla="*/ 102317 h 364576"/>
                    <a:gd name="csX123" fmla="*/ 261555 w 447300"/>
                    <a:gd name="csY123" fmla="*/ 111729 h 364576"/>
                    <a:gd name="csX124" fmla="*/ 237257 w 447300"/>
                    <a:gd name="csY124" fmla="*/ 123702 h 364576"/>
                    <a:gd name="csX125" fmla="*/ 229637 w 447300"/>
                    <a:gd name="csY125" fmla="*/ 116083 h 364576"/>
                    <a:gd name="csX126" fmla="*/ 245228 w 447300"/>
                    <a:gd name="csY126" fmla="*/ 95434 h 364576"/>
                    <a:gd name="csX127" fmla="*/ 249582 w 447300"/>
                    <a:gd name="csY127" fmla="*/ 81636 h 364576"/>
                    <a:gd name="csX128" fmla="*/ 240874 w 447300"/>
                    <a:gd name="csY128" fmla="*/ 68574 h 364576"/>
                    <a:gd name="csX129" fmla="*/ 233991 w 447300"/>
                    <a:gd name="csY129" fmla="*/ 77282 h 364576"/>
                    <a:gd name="csX130" fmla="*/ 217664 w 447300"/>
                    <a:gd name="csY130" fmla="*/ 72192 h 364576"/>
                    <a:gd name="csX131" fmla="*/ 211485 w 447300"/>
                    <a:gd name="csY131" fmla="*/ 76546 h 364576"/>
                    <a:gd name="csX132" fmla="*/ 202073 w 447300"/>
                    <a:gd name="csY132" fmla="*/ 72928 h 364576"/>
                    <a:gd name="csX133" fmla="*/ 185009 w 447300"/>
                    <a:gd name="csY133" fmla="*/ 81636 h 364576"/>
                    <a:gd name="csX134" fmla="*/ 178126 w 447300"/>
                    <a:gd name="csY134" fmla="*/ 77282 h 364576"/>
                    <a:gd name="csX135" fmla="*/ 171243 w 447300"/>
                    <a:gd name="csY135" fmla="*/ 66045 h 364576"/>
                    <a:gd name="csX136" fmla="*/ 165801 w 447300"/>
                    <a:gd name="csY136" fmla="*/ 46452 h 364576"/>
                    <a:gd name="csX137" fmla="*/ 119349 w 447300"/>
                    <a:gd name="csY137" fmla="*/ 42099 h 364576"/>
                    <a:gd name="csX138" fmla="*/ 120437 w 447300"/>
                    <a:gd name="csY138" fmla="*/ 37008 h 364576"/>
                    <a:gd name="csX139" fmla="*/ 109936 w 447300"/>
                    <a:gd name="csY139" fmla="*/ 25772 h 364576"/>
                    <a:gd name="csX140" fmla="*/ 100492 w 447300"/>
                    <a:gd name="csY140" fmla="*/ 22154 h 364576"/>
                    <a:gd name="csX141" fmla="*/ 100492 w 447300"/>
                    <a:gd name="csY141" fmla="*/ 16327 h 364576"/>
                    <a:gd name="csX142" fmla="*/ 91784 w 447300"/>
                    <a:gd name="csY142" fmla="*/ 15239 h 364576"/>
                    <a:gd name="csX143" fmla="*/ 86694 w 447300"/>
                    <a:gd name="csY143" fmla="*/ 9444 h 364576"/>
                    <a:gd name="csX144" fmla="*/ 74721 w 447300"/>
                    <a:gd name="csY144" fmla="*/ 8356 h 364576"/>
                    <a:gd name="csX145" fmla="*/ 66045 w 447300"/>
                    <a:gd name="csY145" fmla="*/ 13798 h 364576"/>
                    <a:gd name="csX146" fmla="*/ 44628 w 447300"/>
                    <a:gd name="csY146" fmla="*/ 0 h 3645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447300" h="364576">
                      <a:moveTo>
                        <a:pt x="44628" y="0"/>
                      </a:moveTo>
                      <a:lnTo>
                        <a:pt x="44628" y="7619"/>
                      </a:lnTo>
                      <a:lnTo>
                        <a:pt x="18856" y="5090"/>
                      </a:lnTo>
                      <a:lnTo>
                        <a:pt x="9444" y="8356"/>
                      </a:lnTo>
                      <a:lnTo>
                        <a:pt x="0" y="14535"/>
                      </a:lnTo>
                      <a:lnTo>
                        <a:pt x="12710" y="23242"/>
                      </a:lnTo>
                      <a:lnTo>
                        <a:pt x="12710" y="37008"/>
                      </a:lnTo>
                      <a:lnTo>
                        <a:pt x="22122" y="33390"/>
                      </a:lnTo>
                      <a:lnTo>
                        <a:pt x="37008" y="42835"/>
                      </a:lnTo>
                      <a:lnTo>
                        <a:pt x="33391" y="57689"/>
                      </a:lnTo>
                      <a:lnTo>
                        <a:pt x="28301" y="58426"/>
                      </a:lnTo>
                      <a:lnTo>
                        <a:pt x="30125" y="65309"/>
                      </a:lnTo>
                      <a:lnTo>
                        <a:pt x="38449" y="71487"/>
                      </a:lnTo>
                      <a:lnTo>
                        <a:pt x="37008" y="84165"/>
                      </a:lnTo>
                      <a:lnTo>
                        <a:pt x="47157" y="89255"/>
                      </a:lnTo>
                      <a:lnTo>
                        <a:pt x="48982" y="105582"/>
                      </a:lnTo>
                      <a:lnTo>
                        <a:pt x="43891" y="109200"/>
                      </a:lnTo>
                      <a:lnTo>
                        <a:pt x="47157" y="129881"/>
                      </a:lnTo>
                      <a:lnTo>
                        <a:pt x="40274" y="151299"/>
                      </a:lnTo>
                      <a:lnTo>
                        <a:pt x="50422" y="161799"/>
                      </a:lnTo>
                      <a:lnTo>
                        <a:pt x="47893" y="165064"/>
                      </a:lnTo>
                      <a:lnTo>
                        <a:pt x="51511" y="169419"/>
                      </a:lnTo>
                      <a:lnTo>
                        <a:pt x="48982" y="175597"/>
                      </a:lnTo>
                      <a:lnTo>
                        <a:pt x="40274" y="176301"/>
                      </a:lnTo>
                      <a:lnTo>
                        <a:pt x="35184" y="193365"/>
                      </a:lnTo>
                      <a:lnTo>
                        <a:pt x="50422" y="213310"/>
                      </a:lnTo>
                      <a:lnTo>
                        <a:pt x="43891" y="227812"/>
                      </a:lnTo>
                      <a:lnTo>
                        <a:pt x="48982" y="230373"/>
                      </a:lnTo>
                      <a:lnTo>
                        <a:pt x="56601" y="227108"/>
                      </a:lnTo>
                      <a:lnTo>
                        <a:pt x="67838" y="233991"/>
                      </a:lnTo>
                      <a:lnTo>
                        <a:pt x="77282" y="225283"/>
                      </a:lnTo>
                      <a:lnTo>
                        <a:pt x="81636" y="226019"/>
                      </a:lnTo>
                      <a:lnTo>
                        <a:pt x="107375" y="243435"/>
                      </a:lnTo>
                      <a:lnTo>
                        <a:pt x="113554" y="255409"/>
                      </a:lnTo>
                      <a:lnTo>
                        <a:pt x="111729" y="264820"/>
                      </a:lnTo>
                      <a:lnTo>
                        <a:pt x="107375" y="274265"/>
                      </a:lnTo>
                      <a:lnTo>
                        <a:pt x="104846" y="283677"/>
                      </a:lnTo>
                      <a:lnTo>
                        <a:pt x="91784" y="288031"/>
                      </a:lnTo>
                      <a:lnTo>
                        <a:pt x="80900" y="310537"/>
                      </a:lnTo>
                      <a:lnTo>
                        <a:pt x="84901" y="317420"/>
                      </a:lnTo>
                      <a:lnTo>
                        <a:pt x="80900" y="323246"/>
                      </a:lnTo>
                      <a:lnTo>
                        <a:pt x="86694" y="329393"/>
                      </a:lnTo>
                      <a:lnTo>
                        <a:pt x="116820" y="340630"/>
                      </a:lnTo>
                      <a:lnTo>
                        <a:pt x="129881" y="328689"/>
                      </a:lnTo>
                      <a:lnTo>
                        <a:pt x="151267" y="319981"/>
                      </a:lnTo>
                      <a:lnTo>
                        <a:pt x="183185" y="338837"/>
                      </a:lnTo>
                      <a:lnTo>
                        <a:pt x="200248" y="340630"/>
                      </a:lnTo>
                      <a:lnTo>
                        <a:pt x="207131" y="341366"/>
                      </a:lnTo>
                      <a:lnTo>
                        <a:pt x="201337" y="334483"/>
                      </a:lnTo>
                      <a:lnTo>
                        <a:pt x="202073" y="330129"/>
                      </a:lnTo>
                      <a:lnTo>
                        <a:pt x="206427" y="328689"/>
                      </a:lnTo>
                      <a:lnTo>
                        <a:pt x="279707" y="361311"/>
                      </a:lnTo>
                      <a:lnTo>
                        <a:pt x="297475" y="364576"/>
                      </a:lnTo>
                      <a:lnTo>
                        <a:pt x="301093" y="357693"/>
                      </a:lnTo>
                      <a:lnTo>
                        <a:pt x="298564" y="327600"/>
                      </a:lnTo>
                      <a:lnTo>
                        <a:pt x="313802" y="301093"/>
                      </a:lnTo>
                      <a:lnTo>
                        <a:pt x="328657" y="301829"/>
                      </a:lnTo>
                      <a:lnTo>
                        <a:pt x="330482" y="301093"/>
                      </a:lnTo>
                      <a:lnTo>
                        <a:pt x="328657" y="293121"/>
                      </a:lnTo>
                      <a:lnTo>
                        <a:pt x="336276" y="284765"/>
                      </a:lnTo>
                      <a:lnTo>
                        <a:pt x="339894" y="289119"/>
                      </a:lnTo>
                      <a:lnTo>
                        <a:pt x="345720" y="284765"/>
                      </a:lnTo>
                      <a:lnTo>
                        <a:pt x="356221" y="286238"/>
                      </a:lnTo>
                      <a:lnTo>
                        <a:pt x="355132" y="268470"/>
                      </a:lnTo>
                      <a:lnTo>
                        <a:pt x="371460" y="254672"/>
                      </a:lnTo>
                      <a:lnTo>
                        <a:pt x="380167" y="241610"/>
                      </a:lnTo>
                      <a:lnTo>
                        <a:pt x="385258" y="243435"/>
                      </a:lnTo>
                      <a:lnTo>
                        <a:pt x="395790" y="234727"/>
                      </a:lnTo>
                      <a:lnTo>
                        <a:pt x="405202" y="232166"/>
                      </a:lnTo>
                      <a:lnTo>
                        <a:pt x="420793" y="219136"/>
                      </a:lnTo>
                      <a:lnTo>
                        <a:pt x="432062" y="217664"/>
                      </a:lnTo>
                      <a:lnTo>
                        <a:pt x="427708" y="192629"/>
                      </a:lnTo>
                      <a:lnTo>
                        <a:pt x="415351" y="196983"/>
                      </a:lnTo>
                      <a:lnTo>
                        <a:pt x="412085" y="180655"/>
                      </a:lnTo>
                      <a:lnTo>
                        <a:pt x="416439" y="167594"/>
                      </a:lnTo>
                      <a:lnTo>
                        <a:pt x="423354" y="164328"/>
                      </a:lnTo>
                      <a:lnTo>
                        <a:pt x="426620" y="168682"/>
                      </a:lnTo>
                      <a:lnTo>
                        <a:pt x="430237" y="160711"/>
                      </a:lnTo>
                      <a:lnTo>
                        <a:pt x="427708" y="151299"/>
                      </a:lnTo>
                      <a:lnTo>
                        <a:pt x="388171" y="141118"/>
                      </a:lnTo>
                      <a:lnTo>
                        <a:pt x="389612" y="126263"/>
                      </a:lnTo>
                      <a:lnTo>
                        <a:pt x="402673" y="125527"/>
                      </a:lnTo>
                      <a:lnTo>
                        <a:pt x="396495" y="119349"/>
                      </a:lnTo>
                      <a:lnTo>
                        <a:pt x="400849" y="108464"/>
                      </a:lnTo>
                      <a:lnTo>
                        <a:pt x="397583" y="98699"/>
                      </a:lnTo>
                      <a:lnTo>
                        <a:pt x="402673" y="91080"/>
                      </a:lnTo>
                      <a:lnTo>
                        <a:pt x="411381" y="91785"/>
                      </a:lnTo>
                      <a:lnTo>
                        <a:pt x="414647" y="76546"/>
                      </a:lnTo>
                      <a:lnTo>
                        <a:pt x="421530" y="78370"/>
                      </a:lnTo>
                      <a:lnTo>
                        <a:pt x="421530" y="72192"/>
                      </a:lnTo>
                      <a:lnTo>
                        <a:pt x="420793" y="68574"/>
                      </a:lnTo>
                      <a:lnTo>
                        <a:pt x="425884" y="66045"/>
                      </a:lnTo>
                      <a:lnTo>
                        <a:pt x="418264" y="58426"/>
                      </a:lnTo>
                      <a:lnTo>
                        <a:pt x="424059" y="46452"/>
                      </a:lnTo>
                      <a:lnTo>
                        <a:pt x="432062" y="48277"/>
                      </a:lnTo>
                      <a:lnTo>
                        <a:pt x="439682" y="42835"/>
                      </a:lnTo>
                      <a:lnTo>
                        <a:pt x="446565" y="46452"/>
                      </a:lnTo>
                      <a:lnTo>
                        <a:pt x="447301" y="39569"/>
                      </a:lnTo>
                      <a:lnTo>
                        <a:pt x="442915" y="24683"/>
                      </a:lnTo>
                      <a:lnTo>
                        <a:pt x="425884" y="25772"/>
                      </a:lnTo>
                      <a:lnTo>
                        <a:pt x="412822" y="14535"/>
                      </a:lnTo>
                      <a:lnTo>
                        <a:pt x="405939" y="5090"/>
                      </a:lnTo>
                      <a:lnTo>
                        <a:pt x="388171" y="3265"/>
                      </a:lnTo>
                      <a:lnTo>
                        <a:pt x="370755" y="14535"/>
                      </a:lnTo>
                      <a:lnTo>
                        <a:pt x="381256" y="23242"/>
                      </a:lnTo>
                      <a:lnTo>
                        <a:pt x="376902" y="26508"/>
                      </a:lnTo>
                      <a:lnTo>
                        <a:pt x="378375" y="38481"/>
                      </a:lnTo>
                      <a:lnTo>
                        <a:pt x="364577" y="40274"/>
                      </a:lnTo>
                      <a:lnTo>
                        <a:pt x="360575" y="37008"/>
                      </a:lnTo>
                      <a:lnTo>
                        <a:pt x="355132" y="42099"/>
                      </a:lnTo>
                      <a:lnTo>
                        <a:pt x="352603" y="42835"/>
                      </a:lnTo>
                      <a:lnTo>
                        <a:pt x="343159" y="48277"/>
                      </a:lnTo>
                      <a:lnTo>
                        <a:pt x="342455" y="58426"/>
                      </a:lnTo>
                      <a:lnTo>
                        <a:pt x="333011" y="60218"/>
                      </a:lnTo>
                      <a:lnTo>
                        <a:pt x="337365" y="67133"/>
                      </a:lnTo>
                      <a:lnTo>
                        <a:pt x="322510" y="77282"/>
                      </a:lnTo>
                      <a:lnTo>
                        <a:pt x="326864" y="83461"/>
                      </a:lnTo>
                      <a:lnTo>
                        <a:pt x="310537" y="97963"/>
                      </a:lnTo>
                      <a:lnTo>
                        <a:pt x="306183" y="89255"/>
                      </a:lnTo>
                      <a:lnTo>
                        <a:pt x="299268" y="88519"/>
                      </a:lnTo>
                      <a:lnTo>
                        <a:pt x="290560" y="87814"/>
                      </a:lnTo>
                      <a:lnTo>
                        <a:pt x="276058" y="105582"/>
                      </a:lnTo>
                      <a:lnTo>
                        <a:pt x="267350" y="102317"/>
                      </a:lnTo>
                      <a:lnTo>
                        <a:pt x="261555" y="111729"/>
                      </a:lnTo>
                      <a:lnTo>
                        <a:pt x="237257" y="123702"/>
                      </a:lnTo>
                      <a:lnTo>
                        <a:pt x="229637" y="116083"/>
                      </a:lnTo>
                      <a:lnTo>
                        <a:pt x="245228" y="95434"/>
                      </a:lnTo>
                      <a:lnTo>
                        <a:pt x="249582" y="81636"/>
                      </a:lnTo>
                      <a:lnTo>
                        <a:pt x="240874" y="68574"/>
                      </a:lnTo>
                      <a:lnTo>
                        <a:pt x="233991" y="77282"/>
                      </a:lnTo>
                      <a:lnTo>
                        <a:pt x="217664" y="72192"/>
                      </a:lnTo>
                      <a:lnTo>
                        <a:pt x="211485" y="76546"/>
                      </a:lnTo>
                      <a:lnTo>
                        <a:pt x="202073" y="72928"/>
                      </a:lnTo>
                      <a:lnTo>
                        <a:pt x="185009" y="81636"/>
                      </a:lnTo>
                      <a:lnTo>
                        <a:pt x="178126" y="77282"/>
                      </a:lnTo>
                      <a:lnTo>
                        <a:pt x="171243" y="66045"/>
                      </a:lnTo>
                      <a:lnTo>
                        <a:pt x="165801" y="46452"/>
                      </a:lnTo>
                      <a:lnTo>
                        <a:pt x="119349" y="42099"/>
                      </a:lnTo>
                      <a:lnTo>
                        <a:pt x="120437" y="37008"/>
                      </a:lnTo>
                      <a:lnTo>
                        <a:pt x="109936" y="25772"/>
                      </a:lnTo>
                      <a:lnTo>
                        <a:pt x="100492" y="22154"/>
                      </a:lnTo>
                      <a:lnTo>
                        <a:pt x="100492" y="16327"/>
                      </a:lnTo>
                      <a:lnTo>
                        <a:pt x="91784" y="15239"/>
                      </a:lnTo>
                      <a:lnTo>
                        <a:pt x="86694" y="9444"/>
                      </a:lnTo>
                      <a:lnTo>
                        <a:pt x="74721" y="8356"/>
                      </a:lnTo>
                      <a:lnTo>
                        <a:pt x="66045" y="13798"/>
                      </a:lnTo>
                      <a:lnTo>
                        <a:pt x="4462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89" name="Forma Livre: Forma 188">
                  <a:extLst>
                    <a:ext uri="{FF2B5EF4-FFF2-40B4-BE49-F238E27FC236}">
                      <a16:creationId xmlns:a16="http://schemas.microsoft.com/office/drawing/2014/main" id="{273A04E8-CB14-4E3F-6B8F-AFAF11D0A39E}"/>
                    </a:ext>
                  </a:extLst>
                </p:cNvPr>
                <p:cNvSpPr/>
                <p:nvPr/>
              </p:nvSpPr>
              <p:spPr>
                <a:xfrm>
                  <a:off x="2736865" y="5400781"/>
                  <a:ext cx="447300" cy="364576"/>
                </a:xfrm>
                <a:custGeom>
                  <a:avLst/>
                  <a:gdLst>
                    <a:gd name="csX0" fmla="*/ 44628 w 447300"/>
                    <a:gd name="csY0" fmla="*/ 0 h 364576"/>
                    <a:gd name="csX1" fmla="*/ 44628 w 447300"/>
                    <a:gd name="csY1" fmla="*/ 7619 h 364576"/>
                    <a:gd name="csX2" fmla="*/ 18856 w 447300"/>
                    <a:gd name="csY2" fmla="*/ 5090 h 364576"/>
                    <a:gd name="csX3" fmla="*/ 9444 w 447300"/>
                    <a:gd name="csY3" fmla="*/ 8356 h 364576"/>
                    <a:gd name="csX4" fmla="*/ 0 w 447300"/>
                    <a:gd name="csY4" fmla="*/ 14535 h 364576"/>
                    <a:gd name="csX5" fmla="*/ 12710 w 447300"/>
                    <a:gd name="csY5" fmla="*/ 23242 h 364576"/>
                    <a:gd name="csX6" fmla="*/ 12710 w 447300"/>
                    <a:gd name="csY6" fmla="*/ 37008 h 364576"/>
                    <a:gd name="csX7" fmla="*/ 22122 w 447300"/>
                    <a:gd name="csY7" fmla="*/ 33390 h 364576"/>
                    <a:gd name="csX8" fmla="*/ 37008 w 447300"/>
                    <a:gd name="csY8" fmla="*/ 42835 h 364576"/>
                    <a:gd name="csX9" fmla="*/ 33391 w 447300"/>
                    <a:gd name="csY9" fmla="*/ 57689 h 364576"/>
                    <a:gd name="csX10" fmla="*/ 28301 w 447300"/>
                    <a:gd name="csY10" fmla="*/ 58426 h 364576"/>
                    <a:gd name="csX11" fmla="*/ 30125 w 447300"/>
                    <a:gd name="csY11" fmla="*/ 65309 h 364576"/>
                    <a:gd name="csX12" fmla="*/ 38449 w 447300"/>
                    <a:gd name="csY12" fmla="*/ 71487 h 364576"/>
                    <a:gd name="csX13" fmla="*/ 37008 w 447300"/>
                    <a:gd name="csY13" fmla="*/ 84165 h 364576"/>
                    <a:gd name="csX14" fmla="*/ 47157 w 447300"/>
                    <a:gd name="csY14" fmla="*/ 89255 h 364576"/>
                    <a:gd name="csX15" fmla="*/ 48982 w 447300"/>
                    <a:gd name="csY15" fmla="*/ 105582 h 364576"/>
                    <a:gd name="csX16" fmla="*/ 43891 w 447300"/>
                    <a:gd name="csY16" fmla="*/ 109200 h 364576"/>
                    <a:gd name="csX17" fmla="*/ 47157 w 447300"/>
                    <a:gd name="csY17" fmla="*/ 129881 h 364576"/>
                    <a:gd name="csX18" fmla="*/ 40274 w 447300"/>
                    <a:gd name="csY18" fmla="*/ 151299 h 364576"/>
                    <a:gd name="csX19" fmla="*/ 50422 w 447300"/>
                    <a:gd name="csY19" fmla="*/ 161799 h 364576"/>
                    <a:gd name="csX20" fmla="*/ 47893 w 447300"/>
                    <a:gd name="csY20" fmla="*/ 165064 h 364576"/>
                    <a:gd name="csX21" fmla="*/ 51511 w 447300"/>
                    <a:gd name="csY21" fmla="*/ 169419 h 364576"/>
                    <a:gd name="csX22" fmla="*/ 48982 w 447300"/>
                    <a:gd name="csY22" fmla="*/ 175597 h 364576"/>
                    <a:gd name="csX23" fmla="*/ 40274 w 447300"/>
                    <a:gd name="csY23" fmla="*/ 176301 h 364576"/>
                    <a:gd name="csX24" fmla="*/ 35184 w 447300"/>
                    <a:gd name="csY24" fmla="*/ 193365 h 364576"/>
                    <a:gd name="csX25" fmla="*/ 50422 w 447300"/>
                    <a:gd name="csY25" fmla="*/ 213310 h 364576"/>
                    <a:gd name="csX26" fmla="*/ 43891 w 447300"/>
                    <a:gd name="csY26" fmla="*/ 227812 h 364576"/>
                    <a:gd name="csX27" fmla="*/ 48982 w 447300"/>
                    <a:gd name="csY27" fmla="*/ 230373 h 364576"/>
                    <a:gd name="csX28" fmla="*/ 56601 w 447300"/>
                    <a:gd name="csY28" fmla="*/ 227108 h 364576"/>
                    <a:gd name="csX29" fmla="*/ 67838 w 447300"/>
                    <a:gd name="csY29" fmla="*/ 233991 h 364576"/>
                    <a:gd name="csX30" fmla="*/ 77282 w 447300"/>
                    <a:gd name="csY30" fmla="*/ 225283 h 364576"/>
                    <a:gd name="csX31" fmla="*/ 81636 w 447300"/>
                    <a:gd name="csY31" fmla="*/ 226019 h 364576"/>
                    <a:gd name="csX32" fmla="*/ 107375 w 447300"/>
                    <a:gd name="csY32" fmla="*/ 243435 h 364576"/>
                    <a:gd name="csX33" fmla="*/ 113554 w 447300"/>
                    <a:gd name="csY33" fmla="*/ 255409 h 364576"/>
                    <a:gd name="csX34" fmla="*/ 111729 w 447300"/>
                    <a:gd name="csY34" fmla="*/ 264820 h 364576"/>
                    <a:gd name="csX35" fmla="*/ 107375 w 447300"/>
                    <a:gd name="csY35" fmla="*/ 274265 h 364576"/>
                    <a:gd name="csX36" fmla="*/ 104846 w 447300"/>
                    <a:gd name="csY36" fmla="*/ 283677 h 364576"/>
                    <a:gd name="csX37" fmla="*/ 91784 w 447300"/>
                    <a:gd name="csY37" fmla="*/ 288031 h 364576"/>
                    <a:gd name="csX38" fmla="*/ 80900 w 447300"/>
                    <a:gd name="csY38" fmla="*/ 310537 h 364576"/>
                    <a:gd name="csX39" fmla="*/ 84901 w 447300"/>
                    <a:gd name="csY39" fmla="*/ 317420 h 364576"/>
                    <a:gd name="csX40" fmla="*/ 80900 w 447300"/>
                    <a:gd name="csY40" fmla="*/ 323246 h 364576"/>
                    <a:gd name="csX41" fmla="*/ 86694 w 447300"/>
                    <a:gd name="csY41" fmla="*/ 329393 h 364576"/>
                    <a:gd name="csX42" fmla="*/ 116820 w 447300"/>
                    <a:gd name="csY42" fmla="*/ 340630 h 364576"/>
                    <a:gd name="csX43" fmla="*/ 129881 w 447300"/>
                    <a:gd name="csY43" fmla="*/ 328689 h 364576"/>
                    <a:gd name="csX44" fmla="*/ 151267 w 447300"/>
                    <a:gd name="csY44" fmla="*/ 319981 h 364576"/>
                    <a:gd name="csX45" fmla="*/ 183185 w 447300"/>
                    <a:gd name="csY45" fmla="*/ 338837 h 364576"/>
                    <a:gd name="csX46" fmla="*/ 200248 w 447300"/>
                    <a:gd name="csY46" fmla="*/ 340630 h 364576"/>
                    <a:gd name="csX47" fmla="*/ 207131 w 447300"/>
                    <a:gd name="csY47" fmla="*/ 341366 h 364576"/>
                    <a:gd name="csX48" fmla="*/ 201337 w 447300"/>
                    <a:gd name="csY48" fmla="*/ 334483 h 364576"/>
                    <a:gd name="csX49" fmla="*/ 202073 w 447300"/>
                    <a:gd name="csY49" fmla="*/ 330129 h 364576"/>
                    <a:gd name="csX50" fmla="*/ 206427 w 447300"/>
                    <a:gd name="csY50" fmla="*/ 328689 h 364576"/>
                    <a:gd name="csX51" fmla="*/ 279707 w 447300"/>
                    <a:gd name="csY51" fmla="*/ 361311 h 364576"/>
                    <a:gd name="csX52" fmla="*/ 297475 w 447300"/>
                    <a:gd name="csY52" fmla="*/ 364576 h 364576"/>
                    <a:gd name="csX53" fmla="*/ 301093 w 447300"/>
                    <a:gd name="csY53" fmla="*/ 357693 h 364576"/>
                    <a:gd name="csX54" fmla="*/ 298564 w 447300"/>
                    <a:gd name="csY54" fmla="*/ 327600 h 364576"/>
                    <a:gd name="csX55" fmla="*/ 313802 w 447300"/>
                    <a:gd name="csY55" fmla="*/ 301093 h 364576"/>
                    <a:gd name="csX56" fmla="*/ 328657 w 447300"/>
                    <a:gd name="csY56" fmla="*/ 301829 h 364576"/>
                    <a:gd name="csX57" fmla="*/ 330482 w 447300"/>
                    <a:gd name="csY57" fmla="*/ 301093 h 364576"/>
                    <a:gd name="csX58" fmla="*/ 328657 w 447300"/>
                    <a:gd name="csY58" fmla="*/ 293121 h 364576"/>
                    <a:gd name="csX59" fmla="*/ 336276 w 447300"/>
                    <a:gd name="csY59" fmla="*/ 284765 h 364576"/>
                    <a:gd name="csX60" fmla="*/ 339894 w 447300"/>
                    <a:gd name="csY60" fmla="*/ 289119 h 364576"/>
                    <a:gd name="csX61" fmla="*/ 345720 w 447300"/>
                    <a:gd name="csY61" fmla="*/ 284765 h 364576"/>
                    <a:gd name="csX62" fmla="*/ 356221 w 447300"/>
                    <a:gd name="csY62" fmla="*/ 286238 h 364576"/>
                    <a:gd name="csX63" fmla="*/ 355132 w 447300"/>
                    <a:gd name="csY63" fmla="*/ 268470 h 364576"/>
                    <a:gd name="csX64" fmla="*/ 371460 w 447300"/>
                    <a:gd name="csY64" fmla="*/ 254672 h 364576"/>
                    <a:gd name="csX65" fmla="*/ 380167 w 447300"/>
                    <a:gd name="csY65" fmla="*/ 241610 h 364576"/>
                    <a:gd name="csX66" fmla="*/ 385258 w 447300"/>
                    <a:gd name="csY66" fmla="*/ 243435 h 364576"/>
                    <a:gd name="csX67" fmla="*/ 395758 w 447300"/>
                    <a:gd name="csY67" fmla="*/ 234727 h 364576"/>
                    <a:gd name="csX68" fmla="*/ 405202 w 447300"/>
                    <a:gd name="csY68" fmla="*/ 232166 h 364576"/>
                    <a:gd name="csX69" fmla="*/ 420793 w 447300"/>
                    <a:gd name="csY69" fmla="*/ 219136 h 364576"/>
                    <a:gd name="csX70" fmla="*/ 432062 w 447300"/>
                    <a:gd name="csY70" fmla="*/ 217664 h 364576"/>
                    <a:gd name="csX71" fmla="*/ 427708 w 447300"/>
                    <a:gd name="csY71" fmla="*/ 192629 h 364576"/>
                    <a:gd name="csX72" fmla="*/ 415351 w 447300"/>
                    <a:gd name="csY72" fmla="*/ 196983 h 364576"/>
                    <a:gd name="csX73" fmla="*/ 412085 w 447300"/>
                    <a:gd name="csY73" fmla="*/ 180655 h 364576"/>
                    <a:gd name="csX74" fmla="*/ 416439 w 447300"/>
                    <a:gd name="csY74" fmla="*/ 167594 h 364576"/>
                    <a:gd name="csX75" fmla="*/ 423354 w 447300"/>
                    <a:gd name="csY75" fmla="*/ 164328 h 364576"/>
                    <a:gd name="csX76" fmla="*/ 426620 w 447300"/>
                    <a:gd name="csY76" fmla="*/ 168682 h 364576"/>
                    <a:gd name="csX77" fmla="*/ 430237 w 447300"/>
                    <a:gd name="csY77" fmla="*/ 160711 h 364576"/>
                    <a:gd name="csX78" fmla="*/ 427708 w 447300"/>
                    <a:gd name="csY78" fmla="*/ 151299 h 364576"/>
                    <a:gd name="csX79" fmla="*/ 388171 w 447300"/>
                    <a:gd name="csY79" fmla="*/ 141118 h 364576"/>
                    <a:gd name="csX80" fmla="*/ 389612 w 447300"/>
                    <a:gd name="csY80" fmla="*/ 126263 h 364576"/>
                    <a:gd name="csX81" fmla="*/ 402673 w 447300"/>
                    <a:gd name="csY81" fmla="*/ 125527 h 364576"/>
                    <a:gd name="csX82" fmla="*/ 396495 w 447300"/>
                    <a:gd name="csY82" fmla="*/ 119349 h 364576"/>
                    <a:gd name="csX83" fmla="*/ 400849 w 447300"/>
                    <a:gd name="csY83" fmla="*/ 108464 h 364576"/>
                    <a:gd name="csX84" fmla="*/ 397583 w 447300"/>
                    <a:gd name="csY84" fmla="*/ 98699 h 364576"/>
                    <a:gd name="csX85" fmla="*/ 402673 w 447300"/>
                    <a:gd name="csY85" fmla="*/ 91080 h 364576"/>
                    <a:gd name="csX86" fmla="*/ 411381 w 447300"/>
                    <a:gd name="csY86" fmla="*/ 91785 h 364576"/>
                    <a:gd name="csX87" fmla="*/ 414647 w 447300"/>
                    <a:gd name="csY87" fmla="*/ 76546 h 364576"/>
                    <a:gd name="csX88" fmla="*/ 421530 w 447300"/>
                    <a:gd name="csY88" fmla="*/ 78370 h 364576"/>
                    <a:gd name="csX89" fmla="*/ 421530 w 447300"/>
                    <a:gd name="csY89" fmla="*/ 72192 h 364576"/>
                    <a:gd name="csX90" fmla="*/ 420793 w 447300"/>
                    <a:gd name="csY90" fmla="*/ 68574 h 364576"/>
                    <a:gd name="csX91" fmla="*/ 425884 w 447300"/>
                    <a:gd name="csY91" fmla="*/ 66045 h 364576"/>
                    <a:gd name="csX92" fmla="*/ 418264 w 447300"/>
                    <a:gd name="csY92" fmla="*/ 58426 h 364576"/>
                    <a:gd name="csX93" fmla="*/ 424059 w 447300"/>
                    <a:gd name="csY93" fmla="*/ 46452 h 364576"/>
                    <a:gd name="csX94" fmla="*/ 432062 w 447300"/>
                    <a:gd name="csY94" fmla="*/ 48277 h 364576"/>
                    <a:gd name="csX95" fmla="*/ 439682 w 447300"/>
                    <a:gd name="csY95" fmla="*/ 42835 h 364576"/>
                    <a:gd name="csX96" fmla="*/ 446565 w 447300"/>
                    <a:gd name="csY96" fmla="*/ 46452 h 364576"/>
                    <a:gd name="csX97" fmla="*/ 447301 w 447300"/>
                    <a:gd name="csY97" fmla="*/ 39569 h 364576"/>
                    <a:gd name="csX98" fmla="*/ 442915 w 447300"/>
                    <a:gd name="csY98" fmla="*/ 24683 h 364576"/>
                    <a:gd name="csX99" fmla="*/ 425884 w 447300"/>
                    <a:gd name="csY99" fmla="*/ 25772 h 364576"/>
                    <a:gd name="csX100" fmla="*/ 412822 w 447300"/>
                    <a:gd name="csY100" fmla="*/ 14535 h 364576"/>
                    <a:gd name="csX101" fmla="*/ 405939 w 447300"/>
                    <a:gd name="csY101" fmla="*/ 5090 h 364576"/>
                    <a:gd name="csX102" fmla="*/ 388171 w 447300"/>
                    <a:gd name="csY102" fmla="*/ 3265 h 364576"/>
                    <a:gd name="csX103" fmla="*/ 370755 w 447300"/>
                    <a:gd name="csY103" fmla="*/ 14535 h 364576"/>
                    <a:gd name="csX104" fmla="*/ 381256 w 447300"/>
                    <a:gd name="csY104" fmla="*/ 23242 h 364576"/>
                    <a:gd name="csX105" fmla="*/ 376902 w 447300"/>
                    <a:gd name="csY105" fmla="*/ 26508 h 364576"/>
                    <a:gd name="csX106" fmla="*/ 378375 w 447300"/>
                    <a:gd name="csY106" fmla="*/ 38481 h 364576"/>
                    <a:gd name="csX107" fmla="*/ 364577 w 447300"/>
                    <a:gd name="csY107" fmla="*/ 40274 h 364576"/>
                    <a:gd name="csX108" fmla="*/ 360575 w 447300"/>
                    <a:gd name="csY108" fmla="*/ 37008 h 364576"/>
                    <a:gd name="csX109" fmla="*/ 355132 w 447300"/>
                    <a:gd name="csY109" fmla="*/ 42099 h 364576"/>
                    <a:gd name="csX110" fmla="*/ 352603 w 447300"/>
                    <a:gd name="csY110" fmla="*/ 42835 h 364576"/>
                    <a:gd name="csX111" fmla="*/ 343159 w 447300"/>
                    <a:gd name="csY111" fmla="*/ 48277 h 364576"/>
                    <a:gd name="csX112" fmla="*/ 342455 w 447300"/>
                    <a:gd name="csY112" fmla="*/ 58426 h 364576"/>
                    <a:gd name="csX113" fmla="*/ 333011 w 447300"/>
                    <a:gd name="csY113" fmla="*/ 60218 h 364576"/>
                    <a:gd name="csX114" fmla="*/ 337365 w 447300"/>
                    <a:gd name="csY114" fmla="*/ 67133 h 364576"/>
                    <a:gd name="csX115" fmla="*/ 322510 w 447300"/>
                    <a:gd name="csY115" fmla="*/ 77282 h 364576"/>
                    <a:gd name="csX116" fmla="*/ 326864 w 447300"/>
                    <a:gd name="csY116" fmla="*/ 83461 h 364576"/>
                    <a:gd name="csX117" fmla="*/ 310537 w 447300"/>
                    <a:gd name="csY117" fmla="*/ 97963 h 364576"/>
                    <a:gd name="csX118" fmla="*/ 306183 w 447300"/>
                    <a:gd name="csY118" fmla="*/ 89255 h 364576"/>
                    <a:gd name="csX119" fmla="*/ 299268 w 447300"/>
                    <a:gd name="csY119" fmla="*/ 88519 h 364576"/>
                    <a:gd name="csX120" fmla="*/ 290560 w 447300"/>
                    <a:gd name="csY120" fmla="*/ 87814 h 364576"/>
                    <a:gd name="csX121" fmla="*/ 276058 w 447300"/>
                    <a:gd name="csY121" fmla="*/ 105582 h 364576"/>
                    <a:gd name="csX122" fmla="*/ 267350 w 447300"/>
                    <a:gd name="csY122" fmla="*/ 102317 h 364576"/>
                    <a:gd name="csX123" fmla="*/ 261555 w 447300"/>
                    <a:gd name="csY123" fmla="*/ 111729 h 364576"/>
                    <a:gd name="csX124" fmla="*/ 237257 w 447300"/>
                    <a:gd name="csY124" fmla="*/ 123702 h 364576"/>
                    <a:gd name="csX125" fmla="*/ 229637 w 447300"/>
                    <a:gd name="csY125" fmla="*/ 116083 h 364576"/>
                    <a:gd name="csX126" fmla="*/ 245228 w 447300"/>
                    <a:gd name="csY126" fmla="*/ 95434 h 364576"/>
                    <a:gd name="csX127" fmla="*/ 249582 w 447300"/>
                    <a:gd name="csY127" fmla="*/ 81636 h 364576"/>
                    <a:gd name="csX128" fmla="*/ 240874 w 447300"/>
                    <a:gd name="csY128" fmla="*/ 68574 h 364576"/>
                    <a:gd name="csX129" fmla="*/ 233991 w 447300"/>
                    <a:gd name="csY129" fmla="*/ 77282 h 364576"/>
                    <a:gd name="csX130" fmla="*/ 217664 w 447300"/>
                    <a:gd name="csY130" fmla="*/ 72192 h 364576"/>
                    <a:gd name="csX131" fmla="*/ 211485 w 447300"/>
                    <a:gd name="csY131" fmla="*/ 76546 h 364576"/>
                    <a:gd name="csX132" fmla="*/ 202073 w 447300"/>
                    <a:gd name="csY132" fmla="*/ 72928 h 364576"/>
                    <a:gd name="csX133" fmla="*/ 185009 w 447300"/>
                    <a:gd name="csY133" fmla="*/ 81636 h 364576"/>
                    <a:gd name="csX134" fmla="*/ 178126 w 447300"/>
                    <a:gd name="csY134" fmla="*/ 77282 h 364576"/>
                    <a:gd name="csX135" fmla="*/ 171243 w 447300"/>
                    <a:gd name="csY135" fmla="*/ 66045 h 364576"/>
                    <a:gd name="csX136" fmla="*/ 165801 w 447300"/>
                    <a:gd name="csY136" fmla="*/ 46452 h 364576"/>
                    <a:gd name="csX137" fmla="*/ 119349 w 447300"/>
                    <a:gd name="csY137" fmla="*/ 42099 h 364576"/>
                    <a:gd name="csX138" fmla="*/ 120437 w 447300"/>
                    <a:gd name="csY138" fmla="*/ 37008 h 364576"/>
                    <a:gd name="csX139" fmla="*/ 109936 w 447300"/>
                    <a:gd name="csY139" fmla="*/ 25772 h 364576"/>
                    <a:gd name="csX140" fmla="*/ 100492 w 447300"/>
                    <a:gd name="csY140" fmla="*/ 22154 h 364576"/>
                    <a:gd name="csX141" fmla="*/ 100492 w 447300"/>
                    <a:gd name="csY141" fmla="*/ 16327 h 364576"/>
                    <a:gd name="csX142" fmla="*/ 91784 w 447300"/>
                    <a:gd name="csY142" fmla="*/ 15239 h 364576"/>
                    <a:gd name="csX143" fmla="*/ 86694 w 447300"/>
                    <a:gd name="csY143" fmla="*/ 9444 h 364576"/>
                    <a:gd name="csX144" fmla="*/ 74721 w 447300"/>
                    <a:gd name="csY144" fmla="*/ 8356 h 364576"/>
                    <a:gd name="csX145" fmla="*/ 66045 w 447300"/>
                    <a:gd name="csY145" fmla="*/ 13798 h 364576"/>
                    <a:gd name="csX146" fmla="*/ 44628 w 447300"/>
                    <a:gd name="csY146" fmla="*/ 0 h 3645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447300" h="364576">
                      <a:moveTo>
                        <a:pt x="44628" y="0"/>
                      </a:moveTo>
                      <a:lnTo>
                        <a:pt x="44628" y="7619"/>
                      </a:lnTo>
                      <a:lnTo>
                        <a:pt x="18856" y="5090"/>
                      </a:lnTo>
                      <a:lnTo>
                        <a:pt x="9444" y="8356"/>
                      </a:lnTo>
                      <a:lnTo>
                        <a:pt x="0" y="14535"/>
                      </a:lnTo>
                      <a:lnTo>
                        <a:pt x="12710" y="23242"/>
                      </a:lnTo>
                      <a:lnTo>
                        <a:pt x="12710" y="37008"/>
                      </a:lnTo>
                      <a:lnTo>
                        <a:pt x="22122" y="33390"/>
                      </a:lnTo>
                      <a:lnTo>
                        <a:pt x="37008" y="42835"/>
                      </a:lnTo>
                      <a:lnTo>
                        <a:pt x="33391" y="57689"/>
                      </a:lnTo>
                      <a:lnTo>
                        <a:pt x="28301" y="58426"/>
                      </a:lnTo>
                      <a:lnTo>
                        <a:pt x="30125" y="65309"/>
                      </a:lnTo>
                      <a:lnTo>
                        <a:pt x="38449" y="71487"/>
                      </a:lnTo>
                      <a:lnTo>
                        <a:pt x="37008" y="84165"/>
                      </a:lnTo>
                      <a:lnTo>
                        <a:pt x="47157" y="89255"/>
                      </a:lnTo>
                      <a:lnTo>
                        <a:pt x="48982" y="105582"/>
                      </a:lnTo>
                      <a:lnTo>
                        <a:pt x="43891" y="109200"/>
                      </a:lnTo>
                      <a:lnTo>
                        <a:pt x="47157" y="129881"/>
                      </a:lnTo>
                      <a:lnTo>
                        <a:pt x="40274" y="151299"/>
                      </a:lnTo>
                      <a:lnTo>
                        <a:pt x="50422" y="161799"/>
                      </a:lnTo>
                      <a:lnTo>
                        <a:pt x="47893" y="165064"/>
                      </a:lnTo>
                      <a:lnTo>
                        <a:pt x="51511" y="169419"/>
                      </a:lnTo>
                      <a:lnTo>
                        <a:pt x="48982" y="175597"/>
                      </a:lnTo>
                      <a:lnTo>
                        <a:pt x="40274" y="176301"/>
                      </a:lnTo>
                      <a:lnTo>
                        <a:pt x="35184" y="193365"/>
                      </a:lnTo>
                      <a:lnTo>
                        <a:pt x="50422" y="213310"/>
                      </a:lnTo>
                      <a:lnTo>
                        <a:pt x="43891" y="227812"/>
                      </a:lnTo>
                      <a:lnTo>
                        <a:pt x="48982" y="230373"/>
                      </a:lnTo>
                      <a:lnTo>
                        <a:pt x="56601" y="227108"/>
                      </a:lnTo>
                      <a:lnTo>
                        <a:pt x="67838" y="233991"/>
                      </a:lnTo>
                      <a:lnTo>
                        <a:pt x="77282" y="225283"/>
                      </a:lnTo>
                      <a:lnTo>
                        <a:pt x="81636" y="226019"/>
                      </a:lnTo>
                      <a:lnTo>
                        <a:pt x="107375" y="243435"/>
                      </a:lnTo>
                      <a:lnTo>
                        <a:pt x="113554" y="255409"/>
                      </a:lnTo>
                      <a:lnTo>
                        <a:pt x="111729" y="264820"/>
                      </a:lnTo>
                      <a:lnTo>
                        <a:pt x="107375" y="274265"/>
                      </a:lnTo>
                      <a:lnTo>
                        <a:pt x="104846" y="283677"/>
                      </a:lnTo>
                      <a:lnTo>
                        <a:pt x="91784" y="288031"/>
                      </a:lnTo>
                      <a:lnTo>
                        <a:pt x="80900" y="310537"/>
                      </a:lnTo>
                      <a:lnTo>
                        <a:pt x="84901" y="317420"/>
                      </a:lnTo>
                      <a:lnTo>
                        <a:pt x="80900" y="323246"/>
                      </a:lnTo>
                      <a:lnTo>
                        <a:pt x="86694" y="329393"/>
                      </a:lnTo>
                      <a:lnTo>
                        <a:pt x="116820" y="340630"/>
                      </a:lnTo>
                      <a:lnTo>
                        <a:pt x="129881" y="328689"/>
                      </a:lnTo>
                      <a:lnTo>
                        <a:pt x="151267" y="319981"/>
                      </a:lnTo>
                      <a:lnTo>
                        <a:pt x="183185" y="338837"/>
                      </a:lnTo>
                      <a:lnTo>
                        <a:pt x="200248" y="340630"/>
                      </a:lnTo>
                      <a:lnTo>
                        <a:pt x="207131" y="341366"/>
                      </a:lnTo>
                      <a:lnTo>
                        <a:pt x="201337" y="334483"/>
                      </a:lnTo>
                      <a:lnTo>
                        <a:pt x="202073" y="330129"/>
                      </a:lnTo>
                      <a:lnTo>
                        <a:pt x="206427" y="328689"/>
                      </a:lnTo>
                      <a:lnTo>
                        <a:pt x="279707" y="361311"/>
                      </a:lnTo>
                      <a:lnTo>
                        <a:pt x="297475" y="364576"/>
                      </a:lnTo>
                      <a:lnTo>
                        <a:pt x="301093" y="357693"/>
                      </a:lnTo>
                      <a:lnTo>
                        <a:pt x="298564" y="327600"/>
                      </a:lnTo>
                      <a:lnTo>
                        <a:pt x="313802" y="301093"/>
                      </a:lnTo>
                      <a:lnTo>
                        <a:pt x="328657" y="301829"/>
                      </a:lnTo>
                      <a:lnTo>
                        <a:pt x="330482" y="301093"/>
                      </a:lnTo>
                      <a:lnTo>
                        <a:pt x="328657" y="293121"/>
                      </a:lnTo>
                      <a:lnTo>
                        <a:pt x="336276" y="284765"/>
                      </a:lnTo>
                      <a:lnTo>
                        <a:pt x="339894" y="289119"/>
                      </a:lnTo>
                      <a:lnTo>
                        <a:pt x="345720" y="284765"/>
                      </a:lnTo>
                      <a:lnTo>
                        <a:pt x="356221" y="286238"/>
                      </a:lnTo>
                      <a:lnTo>
                        <a:pt x="355132" y="268470"/>
                      </a:lnTo>
                      <a:lnTo>
                        <a:pt x="371460" y="254672"/>
                      </a:lnTo>
                      <a:lnTo>
                        <a:pt x="380167" y="241610"/>
                      </a:lnTo>
                      <a:lnTo>
                        <a:pt x="385258" y="243435"/>
                      </a:lnTo>
                      <a:lnTo>
                        <a:pt x="395758" y="234727"/>
                      </a:lnTo>
                      <a:lnTo>
                        <a:pt x="405202" y="232166"/>
                      </a:lnTo>
                      <a:lnTo>
                        <a:pt x="420793" y="219136"/>
                      </a:lnTo>
                      <a:lnTo>
                        <a:pt x="432062" y="217664"/>
                      </a:lnTo>
                      <a:lnTo>
                        <a:pt x="427708" y="192629"/>
                      </a:lnTo>
                      <a:lnTo>
                        <a:pt x="415351" y="196983"/>
                      </a:lnTo>
                      <a:lnTo>
                        <a:pt x="412085" y="180655"/>
                      </a:lnTo>
                      <a:lnTo>
                        <a:pt x="416439" y="167594"/>
                      </a:lnTo>
                      <a:lnTo>
                        <a:pt x="423354" y="164328"/>
                      </a:lnTo>
                      <a:lnTo>
                        <a:pt x="426620" y="168682"/>
                      </a:lnTo>
                      <a:lnTo>
                        <a:pt x="430237" y="160711"/>
                      </a:lnTo>
                      <a:lnTo>
                        <a:pt x="427708" y="151299"/>
                      </a:lnTo>
                      <a:lnTo>
                        <a:pt x="388171" y="141118"/>
                      </a:lnTo>
                      <a:lnTo>
                        <a:pt x="389612" y="126263"/>
                      </a:lnTo>
                      <a:lnTo>
                        <a:pt x="402673" y="125527"/>
                      </a:lnTo>
                      <a:lnTo>
                        <a:pt x="396495" y="119349"/>
                      </a:lnTo>
                      <a:lnTo>
                        <a:pt x="400849" y="108464"/>
                      </a:lnTo>
                      <a:lnTo>
                        <a:pt x="397583" y="98699"/>
                      </a:lnTo>
                      <a:lnTo>
                        <a:pt x="402673" y="91080"/>
                      </a:lnTo>
                      <a:lnTo>
                        <a:pt x="411381" y="91785"/>
                      </a:lnTo>
                      <a:lnTo>
                        <a:pt x="414647" y="76546"/>
                      </a:lnTo>
                      <a:lnTo>
                        <a:pt x="421530" y="78370"/>
                      </a:lnTo>
                      <a:lnTo>
                        <a:pt x="421530" y="72192"/>
                      </a:lnTo>
                      <a:lnTo>
                        <a:pt x="420793" y="68574"/>
                      </a:lnTo>
                      <a:lnTo>
                        <a:pt x="425884" y="66045"/>
                      </a:lnTo>
                      <a:lnTo>
                        <a:pt x="418264" y="58426"/>
                      </a:lnTo>
                      <a:lnTo>
                        <a:pt x="424059" y="46452"/>
                      </a:lnTo>
                      <a:lnTo>
                        <a:pt x="432062" y="48277"/>
                      </a:lnTo>
                      <a:lnTo>
                        <a:pt x="439682" y="42835"/>
                      </a:lnTo>
                      <a:lnTo>
                        <a:pt x="446565" y="46452"/>
                      </a:lnTo>
                      <a:lnTo>
                        <a:pt x="447301" y="39569"/>
                      </a:lnTo>
                      <a:lnTo>
                        <a:pt x="442915" y="24683"/>
                      </a:lnTo>
                      <a:lnTo>
                        <a:pt x="425884" y="25772"/>
                      </a:lnTo>
                      <a:lnTo>
                        <a:pt x="412822" y="14535"/>
                      </a:lnTo>
                      <a:lnTo>
                        <a:pt x="405939" y="5090"/>
                      </a:lnTo>
                      <a:lnTo>
                        <a:pt x="388171" y="3265"/>
                      </a:lnTo>
                      <a:lnTo>
                        <a:pt x="370755" y="14535"/>
                      </a:lnTo>
                      <a:lnTo>
                        <a:pt x="381256" y="23242"/>
                      </a:lnTo>
                      <a:lnTo>
                        <a:pt x="376902" y="26508"/>
                      </a:lnTo>
                      <a:lnTo>
                        <a:pt x="378375" y="38481"/>
                      </a:lnTo>
                      <a:lnTo>
                        <a:pt x="364577" y="40274"/>
                      </a:lnTo>
                      <a:lnTo>
                        <a:pt x="360575" y="37008"/>
                      </a:lnTo>
                      <a:lnTo>
                        <a:pt x="355132" y="42099"/>
                      </a:lnTo>
                      <a:lnTo>
                        <a:pt x="352603" y="42835"/>
                      </a:lnTo>
                      <a:lnTo>
                        <a:pt x="343159" y="48277"/>
                      </a:lnTo>
                      <a:lnTo>
                        <a:pt x="342455" y="58426"/>
                      </a:lnTo>
                      <a:lnTo>
                        <a:pt x="333011" y="60218"/>
                      </a:lnTo>
                      <a:lnTo>
                        <a:pt x="337365" y="67133"/>
                      </a:lnTo>
                      <a:lnTo>
                        <a:pt x="322510" y="77282"/>
                      </a:lnTo>
                      <a:lnTo>
                        <a:pt x="326864" y="83461"/>
                      </a:lnTo>
                      <a:lnTo>
                        <a:pt x="310537" y="97963"/>
                      </a:lnTo>
                      <a:lnTo>
                        <a:pt x="306183" y="89255"/>
                      </a:lnTo>
                      <a:lnTo>
                        <a:pt x="299268" y="88519"/>
                      </a:lnTo>
                      <a:lnTo>
                        <a:pt x="290560" y="87814"/>
                      </a:lnTo>
                      <a:lnTo>
                        <a:pt x="276058" y="105582"/>
                      </a:lnTo>
                      <a:lnTo>
                        <a:pt x="267350" y="102317"/>
                      </a:lnTo>
                      <a:lnTo>
                        <a:pt x="261555" y="111729"/>
                      </a:lnTo>
                      <a:lnTo>
                        <a:pt x="237257" y="123702"/>
                      </a:lnTo>
                      <a:lnTo>
                        <a:pt x="229637" y="116083"/>
                      </a:lnTo>
                      <a:lnTo>
                        <a:pt x="245228" y="95434"/>
                      </a:lnTo>
                      <a:lnTo>
                        <a:pt x="249582" y="81636"/>
                      </a:lnTo>
                      <a:lnTo>
                        <a:pt x="240874" y="68574"/>
                      </a:lnTo>
                      <a:lnTo>
                        <a:pt x="233991" y="77282"/>
                      </a:lnTo>
                      <a:lnTo>
                        <a:pt x="217664" y="72192"/>
                      </a:lnTo>
                      <a:lnTo>
                        <a:pt x="211485" y="76546"/>
                      </a:lnTo>
                      <a:lnTo>
                        <a:pt x="202073" y="72928"/>
                      </a:lnTo>
                      <a:lnTo>
                        <a:pt x="185009" y="81636"/>
                      </a:lnTo>
                      <a:lnTo>
                        <a:pt x="178126" y="77282"/>
                      </a:lnTo>
                      <a:lnTo>
                        <a:pt x="171243" y="66045"/>
                      </a:lnTo>
                      <a:lnTo>
                        <a:pt x="165801" y="46452"/>
                      </a:lnTo>
                      <a:lnTo>
                        <a:pt x="119349" y="42099"/>
                      </a:lnTo>
                      <a:lnTo>
                        <a:pt x="120437" y="37008"/>
                      </a:lnTo>
                      <a:lnTo>
                        <a:pt x="109936" y="25772"/>
                      </a:lnTo>
                      <a:lnTo>
                        <a:pt x="100492" y="22154"/>
                      </a:lnTo>
                      <a:lnTo>
                        <a:pt x="100492" y="16327"/>
                      </a:lnTo>
                      <a:lnTo>
                        <a:pt x="91784" y="15239"/>
                      </a:lnTo>
                      <a:lnTo>
                        <a:pt x="86694" y="9444"/>
                      </a:lnTo>
                      <a:lnTo>
                        <a:pt x="74721" y="8356"/>
                      </a:lnTo>
                      <a:lnTo>
                        <a:pt x="66045" y="13798"/>
                      </a:lnTo>
                      <a:lnTo>
                        <a:pt x="4462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0" name="Forma Livre: Forma 189">
                  <a:extLst>
                    <a:ext uri="{FF2B5EF4-FFF2-40B4-BE49-F238E27FC236}">
                      <a16:creationId xmlns:a16="http://schemas.microsoft.com/office/drawing/2014/main" id="{F513F57E-1F74-978C-3FDC-F6342F677427}"/>
                    </a:ext>
                  </a:extLst>
                </p:cNvPr>
                <p:cNvSpPr/>
                <p:nvPr/>
              </p:nvSpPr>
              <p:spPr>
                <a:xfrm>
                  <a:off x="2736865" y="5400781"/>
                  <a:ext cx="447300" cy="364576"/>
                </a:xfrm>
                <a:custGeom>
                  <a:avLst/>
                  <a:gdLst>
                    <a:gd name="csX0" fmla="*/ 44628 w 447300"/>
                    <a:gd name="csY0" fmla="*/ 0 h 364576"/>
                    <a:gd name="csX1" fmla="*/ 44628 w 447300"/>
                    <a:gd name="csY1" fmla="*/ 7619 h 364576"/>
                    <a:gd name="csX2" fmla="*/ 18856 w 447300"/>
                    <a:gd name="csY2" fmla="*/ 5090 h 364576"/>
                    <a:gd name="csX3" fmla="*/ 9444 w 447300"/>
                    <a:gd name="csY3" fmla="*/ 8356 h 364576"/>
                    <a:gd name="csX4" fmla="*/ 0 w 447300"/>
                    <a:gd name="csY4" fmla="*/ 14535 h 364576"/>
                    <a:gd name="csX5" fmla="*/ 12710 w 447300"/>
                    <a:gd name="csY5" fmla="*/ 23242 h 364576"/>
                    <a:gd name="csX6" fmla="*/ 12710 w 447300"/>
                    <a:gd name="csY6" fmla="*/ 37008 h 364576"/>
                    <a:gd name="csX7" fmla="*/ 22122 w 447300"/>
                    <a:gd name="csY7" fmla="*/ 33390 h 364576"/>
                    <a:gd name="csX8" fmla="*/ 37008 w 447300"/>
                    <a:gd name="csY8" fmla="*/ 42835 h 364576"/>
                    <a:gd name="csX9" fmla="*/ 33391 w 447300"/>
                    <a:gd name="csY9" fmla="*/ 57689 h 364576"/>
                    <a:gd name="csX10" fmla="*/ 28301 w 447300"/>
                    <a:gd name="csY10" fmla="*/ 58426 h 364576"/>
                    <a:gd name="csX11" fmla="*/ 30125 w 447300"/>
                    <a:gd name="csY11" fmla="*/ 65309 h 364576"/>
                    <a:gd name="csX12" fmla="*/ 38449 w 447300"/>
                    <a:gd name="csY12" fmla="*/ 71487 h 364576"/>
                    <a:gd name="csX13" fmla="*/ 37008 w 447300"/>
                    <a:gd name="csY13" fmla="*/ 84165 h 364576"/>
                    <a:gd name="csX14" fmla="*/ 47157 w 447300"/>
                    <a:gd name="csY14" fmla="*/ 89255 h 364576"/>
                    <a:gd name="csX15" fmla="*/ 48982 w 447300"/>
                    <a:gd name="csY15" fmla="*/ 105582 h 364576"/>
                    <a:gd name="csX16" fmla="*/ 43891 w 447300"/>
                    <a:gd name="csY16" fmla="*/ 109200 h 364576"/>
                    <a:gd name="csX17" fmla="*/ 47157 w 447300"/>
                    <a:gd name="csY17" fmla="*/ 129881 h 364576"/>
                    <a:gd name="csX18" fmla="*/ 40274 w 447300"/>
                    <a:gd name="csY18" fmla="*/ 151299 h 364576"/>
                    <a:gd name="csX19" fmla="*/ 50422 w 447300"/>
                    <a:gd name="csY19" fmla="*/ 161799 h 364576"/>
                    <a:gd name="csX20" fmla="*/ 47893 w 447300"/>
                    <a:gd name="csY20" fmla="*/ 165064 h 364576"/>
                    <a:gd name="csX21" fmla="*/ 51511 w 447300"/>
                    <a:gd name="csY21" fmla="*/ 169419 h 364576"/>
                    <a:gd name="csX22" fmla="*/ 48982 w 447300"/>
                    <a:gd name="csY22" fmla="*/ 175597 h 364576"/>
                    <a:gd name="csX23" fmla="*/ 40274 w 447300"/>
                    <a:gd name="csY23" fmla="*/ 176301 h 364576"/>
                    <a:gd name="csX24" fmla="*/ 35184 w 447300"/>
                    <a:gd name="csY24" fmla="*/ 193365 h 364576"/>
                    <a:gd name="csX25" fmla="*/ 50422 w 447300"/>
                    <a:gd name="csY25" fmla="*/ 213310 h 364576"/>
                    <a:gd name="csX26" fmla="*/ 43891 w 447300"/>
                    <a:gd name="csY26" fmla="*/ 227812 h 364576"/>
                    <a:gd name="csX27" fmla="*/ 48982 w 447300"/>
                    <a:gd name="csY27" fmla="*/ 230373 h 364576"/>
                    <a:gd name="csX28" fmla="*/ 56601 w 447300"/>
                    <a:gd name="csY28" fmla="*/ 227108 h 364576"/>
                    <a:gd name="csX29" fmla="*/ 67838 w 447300"/>
                    <a:gd name="csY29" fmla="*/ 233991 h 364576"/>
                    <a:gd name="csX30" fmla="*/ 77282 w 447300"/>
                    <a:gd name="csY30" fmla="*/ 225283 h 364576"/>
                    <a:gd name="csX31" fmla="*/ 81636 w 447300"/>
                    <a:gd name="csY31" fmla="*/ 226019 h 364576"/>
                    <a:gd name="csX32" fmla="*/ 107375 w 447300"/>
                    <a:gd name="csY32" fmla="*/ 243435 h 364576"/>
                    <a:gd name="csX33" fmla="*/ 113554 w 447300"/>
                    <a:gd name="csY33" fmla="*/ 255409 h 364576"/>
                    <a:gd name="csX34" fmla="*/ 111729 w 447300"/>
                    <a:gd name="csY34" fmla="*/ 264820 h 364576"/>
                    <a:gd name="csX35" fmla="*/ 107375 w 447300"/>
                    <a:gd name="csY35" fmla="*/ 274265 h 364576"/>
                    <a:gd name="csX36" fmla="*/ 104846 w 447300"/>
                    <a:gd name="csY36" fmla="*/ 283677 h 364576"/>
                    <a:gd name="csX37" fmla="*/ 91784 w 447300"/>
                    <a:gd name="csY37" fmla="*/ 288031 h 364576"/>
                    <a:gd name="csX38" fmla="*/ 80900 w 447300"/>
                    <a:gd name="csY38" fmla="*/ 310537 h 364576"/>
                    <a:gd name="csX39" fmla="*/ 84901 w 447300"/>
                    <a:gd name="csY39" fmla="*/ 317420 h 364576"/>
                    <a:gd name="csX40" fmla="*/ 80900 w 447300"/>
                    <a:gd name="csY40" fmla="*/ 323246 h 364576"/>
                    <a:gd name="csX41" fmla="*/ 86694 w 447300"/>
                    <a:gd name="csY41" fmla="*/ 329393 h 364576"/>
                    <a:gd name="csX42" fmla="*/ 116820 w 447300"/>
                    <a:gd name="csY42" fmla="*/ 340630 h 364576"/>
                    <a:gd name="csX43" fmla="*/ 129881 w 447300"/>
                    <a:gd name="csY43" fmla="*/ 328689 h 364576"/>
                    <a:gd name="csX44" fmla="*/ 151267 w 447300"/>
                    <a:gd name="csY44" fmla="*/ 319981 h 364576"/>
                    <a:gd name="csX45" fmla="*/ 183185 w 447300"/>
                    <a:gd name="csY45" fmla="*/ 338837 h 364576"/>
                    <a:gd name="csX46" fmla="*/ 200248 w 447300"/>
                    <a:gd name="csY46" fmla="*/ 340630 h 364576"/>
                    <a:gd name="csX47" fmla="*/ 207131 w 447300"/>
                    <a:gd name="csY47" fmla="*/ 341366 h 364576"/>
                    <a:gd name="csX48" fmla="*/ 201337 w 447300"/>
                    <a:gd name="csY48" fmla="*/ 334483 h 364576"/>
                    <a:gd name="csX49" fmla="*/ 202073 w 447300"/>
                    <a:gd name="csY49" fmla="*/ 330129 h 364576"/>
                    <a:gd name="csX50" fmla="*/ 206427 w 447300"/>
                    <a:gd name="csY50" fmla="*/ 328689 h 364576"/>
                    <a:gd name="csX51" fmla="*/ 279707 w 447300"/>
                    <a:gd name="csY51" fmla="*/ 361311 h 364576"/>
                    <a:gd name="csX52" fmla="*/ 297475 w 447300"/>
                    <a:gd name="csY52" fmla="*/ 364576 h 364576"/>
                    <a:gd name="csX53" fmla="*/ 301093 w 447300"/>
                    <a:gd name="csY53" fmla="*/ 357693 h 364576"/>
                    <a:gd name="csX54" fmla="*/ 298564 w 447300"/>
                    <a:gd name="csY54" fmla="*/ 327600 h 364576"/>
                    <a:gd name="csX55" fmla="*/ 313802 w 447300"/>
                    <a:gd name="csY55" fmla="*/ 301093 h 364576"/>
                    <a:gd name="csX56" fmla="*/ 328657 w 447300"/>
                    <a:gd name="csY56" fmla="*/ 301829 h 364576"/>
                    <a:gd name="csX57" fmla="*/ 330482 w 447300"/>
                    <a:gd name="csY57" fmla="*/ 301093 h 364576"/>
                    <a:gd name="csX58" fmla="*/ 328657 w 447300"/>
                    <a:gd name="csY58" fmla="*/ 293121 h 364576"/>
                    <a:gd name="csX59" fmla="*/ 336276 w 447300"/>
                    <a:gd name="csY59" fmla="*/ 284765 h 364576"/>
                    <a:gd name="csX60" fmla="*/ 339894 w 447300"/>
                    <a:gd name="csY60" fmla="*/ 289119 h 364576"/>
                    <a:gd name="csX61" fmla="*/ 345720 w 447300"/>
                    <a:gd name="csY61" fmla="*/ 284765 h 364576"/>
                    <a:gd name="csX62" fmla="*/ 356221 w 447300"/>
                    <a:gd name="csY62" fmla="*/ 286238 h 364576"/>
                    <a:gd name="csX63" fmla="*/ 355132 w 447300"/>
                    <a:gd name="csY63" fmla="*/ 268470 h 364576"/>
                    <a:gd name="csX64" fmla="*/ 371460 w 447300"/>
                    <a:gd name="csY64" fmla="*/ 254672 h 364576"/>
                    <a:gd name="csX65" fmla="*/ 380167 w 447300"/>
                    <a:gd name="csY65" fmla="*/ 241610 h 364576"/>
                    <a:gd name="csX66" fmla="*/ 385258 w 447300"/>
                    <a:gd name="csY66" fmla="*/ 243435 h 364576"/>
                    <a:gd name="csX67" fmla="*/ 395790 w 447300"/>
                    <a:gd name="csY67" fmla="*/ 234727 h 364576"/>
                    <a:gd name="csX68" fmla="*/ 405202 w 447300"/>
                    <a:gd name="csY68" fmla="*/ 232166 h 364576"/>
                    <a:gd name="csX69" fmla="*/ 420793 w 447300"/>
                    <a:gd name="csY69" fmla="*/ 219136 h 364576"/>
                    <a:gd name="csX70" fmla="*/ 432062 w 447300"/>
                    <a:gd name="csY70" fmla="*/ 217664 h 364576"/>
                    <a:gd name="csX71" fmla="*/ 427708 w 447300"/>
                    <a:gd name="csY71" fmla="*/ 192629 h 364576"/>
                    <a:gd name="csX72" fmla="*/ 415351 w 447300"/>
                    <a:gd name="csY72" fmla="*/ 196983 h 364576"/>
                    <a:gd name="csX73" fmla="*/ 412085 w 447300"/>
                    <a:gd name="csY73" fmla="*/ 180655 h 364576"/>
                    <a:gd name="csX74" fmla="*/ 416439 w 447300"/>
                    <a:gd name="csY74" fmla="*/ 167594 h 364576"/>
                    <a:gd name="csX75" fmla="*/ 423354 w 447300"/>
                    <a:gd name="csY75" fmla="*/ 164328 h 364576"/>
                    <a:gd name="csX76" fmla="*/ 426620 w 447300"/>
                    <a:gd name="csY76" fmla="*/ 168682 h 364576"/>
                    <a:gd name="csX77" fmla="*/ 430237 w 447300"/>
                    <a:gd name="csY77" fmla="*/ 160711 h 364576"/>
                    <a:gd name="csX78" fmla="*/ 427708 w 447300"/>
                    <a:gd name="csY78" fmla="*/ 151299 h 364576"/>
                    <a:gd name="csX79" fmla="*/ 388171 w 447300"/>
                    <a:gd name="csY79" fmla="*/ 141118 h 364576"/>
                    <a:gd name="csX80" fmla="*/ 389612 w 447300"/>
                    <a:gd name="csY80" fmla="*/ 126263 h 364576"/>
                    <a:gd name="csX81" fmla="*/ 402673 w 447300"/>
                    <a:gd name="csY81" fmla="*/ 125527 h 364576"/>
                    <a:gd name="csX82" fmla="*/ 396495 w 447300"/>
                    <a:gd name="csY82" fmla="*/ 119349 h 364576"/>
                    <a:gd name="csX83" fmla="*/ 400849 w 447300"/>
                    <a:gd name="csY83" fmla="*/ 108464 h 364576"/>
                    <a:gd name="csX84" fmla="*/ 397583 w 447300"/>
                    <a:gd name="csY84" fmla="*/ 98699 h 364576"/>
                    <a:gd name="csX85" fmla="*/ 402673 w 447300"/>
                    <a:gd name="csY85" fmla="*/ 91080 h 364576"/>
                    <a:gd name="csX86" fmla="*/ 411381 w 447300"/>
                    <a:gd name="csY86" fmla="*/ 91785 h 364576"/>
                    <a:gd name="csX87" fmla="*/ 414647 w 447300"/>
                    <a:gd name="csY87" fmla="*/ 76546 h 364576"/>
                    <a:gd name="csX88" fmla="*/ 421530 w 447300"/>
                    <a:gd name="csY88" fmla="*/ 78370 h 364576"/>
                    <a:gd name="csX89" fmla="*/ 421530 w 447300"/>
                    <a:gd name="csY89" fmla="*/ 72192 h 364576"/>
                    <a:gd name="csX90" fmla="*/ 420793 w 447300"/>
                    <a:gd name="csY90" fmla="*/ 68574 h 364576"/>
                    <a:gd name="csX91" fmla="*/ 425884 w 447300"/>
                    <a:gd name="csY91" fmla="*/ 66045 h 364576"/>
                    <a:gd name="csX92" fmla="*/ 418264 w 447300"/>
                    <a:gd name="csY92" fmla="*/ 58426 h 364576"/>
                    <a:gd name="csX93" fmla="*/ 424059 w 447300"/>
                    <a:gd name="csY93" fmla="*/ 46452 h 364576"/>
                    <a:gd name="csX94" fmla="*/ 432062 w 447300"/>
                    <a:gd name="csY94" fmla="*/ 48277 h 364576"/>
                    <a:gd name="csX95" fmla="*/ 439682 w 447300"/>
                    <a:gd name="csY95" fmla="*/ 42835 h 364576"/>
                    <a:gd name="csX96" fmla="*/ 446565 w 447300"/>
                    <a:gd name="csY96" fmla="*/ 46452 h 364576"/>
                    <a:gd name="csX97" fmla="*/ 447301 w 447300"/>
                    <a:gd name="csY97" fmla="*/ 39569 h 364576"/>
                    <a:gd name="csX98" fmla="*/ 442915 w 447300"/>
                    <a:gd name="csY98" fmla="*/ 24683 h 364576"/>
                    <a:gd name="csX99" fmla="*/ 425884 w 447300"/>
                    <a:gd name="csY99" fmla="*/ 25772 h 364576"/>
                    <a:gd name="csX100" fmla="*/ 412822 w 447300"/>
                    <a:gd name="csY100" fmla="*/ 14535 h 364576"/>
                    <a:gd name="csX101" fmla="*/ 405939 w 447300"/>
                    <a:gd name="csY101" fmla="*/ 5090 h 364576"/>
                    <a:gd name="csX102" fmla="*/ 388171 w 447300"/>
                    <a:gd name="csY102" fmla="*/ 3265 h 364576"/>
                    <a:gd name="csX103" fmla="*/ 370755 w 447300"/>
                    <a:gd name="csY103" fmla="*/ 14535 h 364576"/>
                    <a:gd name="csX104" fmla="*/ 381256 w 447300"/>
                    <a:gd name="csY104" fmla="*/ 23242 h 364576"/>
                    <a:gd name="csX105" fmla="*/ 376902 w 447300"/>
                    <a:gd name="csY105" fmla="*/ 26508 h 364576"/>
                    <a:gd name="csX106" fmla="*/ 378375 w 447300"/>
                    <a:gd name="csY106" fmla="*/ 38481 h 364576"/>
                    <a:gd name="csX107" fmla="*/ 364577 w 447300"/>
                    <a:gd name="csY107" fmla="*/ 40274 h 364576"/>
                    <a:gd name="csX108" fmla="*/ 360575 w 447300"/>
                    <a:gd name="csY108" fmla="*/ 37008 h 364576"/>
                    <a:gd name="csX109" fmla="*/ 355132 w 447300"/>
                    <a:gd name="csY109" fmla="*/ 42099 h 364576"/>
                    <a:gd name="csX110" fmla="*/ 352603 w 447300"/>
                    <a:gd name="csY110" fmla="*/ 42835 h 364576"/>
                    <a:gd name="csX111" fmla="*/ 343159 w 447300"/>
                    <a:gd name="csY111" fmla="*/ 48277 h 364576"/>
                    <a:gd name="csX112" fmla="*/ 342455 w 447300"/>
                    <a:gd name="csY112" fmla="*/ 58426 h 364576"/>
                    <a:gd name="csX113" fmla="*/ 333011 w 447300"/>
                    <a:gd name="csY113" fmla="*/ 60218 h 364576"/>
                    <a:gd name="csX114" fmla="*/ 337365 w 447300"/>
                    <a:gd name="csY114" fmla="*/ 67133 h 364576"/>
                    <a:gd name="csX115" fmla="*/ 322510 w 447300"/>
                    <a:gd name="csY115" fmla="*/ 77282 h 364576"/>
                    <a:gd name="csX116" fmla="*/ 326864 w 447300"/>
                    <a:gd name="csY116" fmla="*/ 83461 h 364576"/>
                    <a:gd name="csX117" fmla="*/ 310537 w 447300"/>
                    <a:gd name="csY117" fmla="*/ 97963 h 364576"/>
                    <a:gd name="csX118" fmla="*/ 306183 w 447300"/>
                    <a:gd name="csY118" fmla="*/ 89255 h 364576"/>
                    <a:gd name="csX119" fmla="*/ 299268 w 447300"/>
                    <a:gd name="csY119" fmla="*/ 88519 h 364576"/>
                    <a:gd name="csX120" fmla="*/ 290560 w 447300"/>
                    <a:gd name="csY120" fmla="*/ 87814 h 364576"/>
                    <a:gd name="csX121" fmla="*/ 276058 w 447300"/>
                    <a:gd name="csY121" fmla="*/ 105582 h 364576"/>
                    <a:gd name="csX122" fmla="*/ 267350 w 447300"/>
                    <a:gd name="csY122" fmla="*/ 102317 h 364576"/>
                    <a:gd name="csX123" fmla="*/ 261555 w 447300"/>
                    <a:gd name="csY123" fmla="*/ 111729 h 364576"/>
                    <a:gd name="csX124" fmla="*/ 237257 w 447300"/>
                    <a:gd name="csY124" fmla="*/ 123702 h 364576"/>
                    <a:gd name="csX125" fmla="*/ 229637 w 447300"/>
                    <a:gd name="csY125" fmla="*/ 116083 h 364576"/>
                    <a:gd name="csX126" fmla="*/ 245228 w 447300"/>
                    <a:gd name="csY126" fmla="*/ 95434 h 364576"/>
                    <a:gd name="csX127" fmla="*/ 249582 w 447300"/>
                    <a:gd name="csY127" fmla="*/ 81636 h 364576"/>
                    <a:gd name="csX128" fmla="*/ 240874 w 447300"/>
                    <a:gd name="csY128" fmla="*/ 68574 h 364576"/>
                    <a:gd name="csX129" fmla="*/ 233991 w 447300"/>
                    <a:gd name="csY129" fmla="*/ 77282 h 364576"/>
                    <a:gd name="csX130" fmla="*/ 217664 w 447300"/>
                    <a:gd name="csY130" fmla="*/ 72192 h 364576"/>
                    <a:gd name="csX131" fmla="*/ 211485 w 447300"/>
                    <a:gd name="csY131" fmla="*/ 76546 h 364576"/>
                    <a:gd name="csX132" fmla="*/ 202073 w 447300"/>
                    <a:gd name="csY132" fmla="*/ 72928 h 364576"/>
                    <a:gd name="csX133" fmla="*/ 185009 w 447300"/>
                    <a:gd name="csY133" fmla="*/ 81636 h 364576"/>
                    <a:gd name="csX134" fmla="*/ 178126 w 447300"/>
                    <a:gd name="csY134" fmla="*/ 77282 h 364576"/>
                    <a:gd name="csX135" fmla="*/ 171243 w 447300"/>
                    <a:gd name="csY135" fmla="*/ 66045 h 364576"/>
                    <a:gd name="csX136" fmla="*/ 165801 w 447300"/>
                    <a:gd name="csY136" fmla="*/ 46452 h 364576"/>
                    <a:gd name="csX137" fmla="*/ 119349 w 447300"/>
                    <a:gd name="csY137" fmla="*/ 42099 h 364576"/>
                    <a:gd name="csX138" fmla="*/ 120437 w 447300"/>
                    <a:gd name="csY138" fmla="*/ 37008 h 364576"/>
                    <a:gd name="csX139" fmla="*/ 109936 w 447300"/>
                    <a:gd name="csY139" fmla="*/ 25772 h 364576"/>
                    <a:gd name="csX140" fmla="*/ 100492 w 447300"/>
                    <a:gd name="csY140" fmla="*/ 22154 h 364576"/>
                    <a:gd name="csX141" fmla="*/ 100492 w 447300"/>
                    <a:gd name="csY141" fmla="*/ 16327 h 364576"/>
                    <a:gd name="csX142" fmla="*/ 91784 w 447300"/>
                    <a:gd name="csY142" fmla="*/ 15239 h 364576"/>
                    <a:gd name="csX143" fmla="*/ 86694 w 447300"/>
                    <a:gd name="csY143" fmla="*/ 9444 h 364576"/>
                    <a:gd name="csX144" fmla="*/ 74721 w 447300"/>
                    <a:gd name="csY144" fmla="*/ 8356 h 364576"/>
                    <a:gd name="csX145" fmla="*/ 66045 w 447300"/>
                    <a:gd name="csY145" fmla="*/ 13798 h 364576"/>
                    <a:gd name="csX146" fmla="*/ 44628 w 447300"/>
                    <a:gd name="csY146" fmla="*/ 0 h 3645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447300" h="364576">
                      <a:moveTo>
                        <a:pt x="44628" y="0"/>
                      </a:moveTo>
                      <a:lnTo>
                        <a:pt x="44628" y="7619"/>
                      </a:lnTo>
                      <a:lnTo>
                        <a:pt x="18856" y="5090"/>
                      </a:lnTo>
                      <a:lnTo>
                        <a:pt x="9444" y="8356"/>
                      </a:lnTo>
                      <a:lnTo>
                        <a:pt x="0" y="14535"/>
                      </a:lnTo>
                      <a:lnTo>
                        <a:pt x="12710" y="23242"/>
                      </a:lnTo>
                      <a:lnTo>
                        <a:pt x="12710" y="37008"/>
                      </a:lnTo>
                      <a:lnTo>
                        <a:pt x="22122" y="33390"/>
                      </a:lnTo>
                      <a:lnTo>
                        <a:pt x="37008" y="42835"/>
                      </a:lnTo>
                      <a:lnTo>
                        <a:pt x="33391" y="57689"/>
                      </a:lnTo>
                      <a:lnTo>
                        <a:pt x="28301" y="58426"/>
                      </a:lnTo>
                      <a:lnTo>
                        <a:pt x="30125" y="65309"/>
                      </a:lnTo>
                      <a:lnTo>
                        <a:pt x="38449" y="71487"/>
                      </a:lnTo>
                      <a:lnTo>
                        <a:pt x="37008" y="84165"/>
                      </a:lnTo>
                      <a:lnTo>
                        <a:pt x="47157" y="89255"/>
                      </a:lnTo>
                      <a:lnTo>
                        <a:pt x="48982" y="105582"/>
                      </a:lnTo>
                      <a:lnTo>
                        <a:pt x="43891" y="109200"/>
                      </a:lnTo>
                      <a:lnTo>
                        <a:pt x="47157" y="129881"/>
                      </a:lnTo>
                      <a:lnTo>
                        <a:pt x="40274" y="151299"/>
                      </a:lnTo>
                      <a:lnTo>
                        <a:pt x="50422" y="161799"/>
                      </a:lnTo>
                      <a:lnTo>
                        <a:pt x="47893" y="165064"/>
                      </a:lnTo>
                      <a:lnTo>
                        <a:pt x="51511" y="169419"/>
                      </a:lnTo>
                      <a:lnTo>
                        <a:pt x="48982" y="175597"/>
                      </a:lnTo>
                      <a:lnTo>
                        <a:pt x="40274" y="176301"/>
                      </a:lnTo>
                      <a:lnTo>
                        <a:pt x="35184" y="193365"/>
                      </a:lnTo>
                      <a:lnTo>
                        <a:pt x="50422" y="213310"/>
                      </a:lnTo>
                      <a:lnTo>
                        <a:pt x="43891" y="227812"/>
                      </a:lnTo>
                      <a:lnTo>
                        <a:pt x="48982" y="230373"/>
                      </a:lnTo>
                      <a:lnTo>
                        <a:pt x="56601" y="227108"/>
                      </a:lnTo>
                      <a:lnTo>
                        <a:pt x="67838" y="233991"/>
                      </a:lnTo>
                      <a:lnTo>
                        <a:pt x="77282" y="225283"/>
                      </a:lnTo>
                      <a:lnTo>
                        <a:pt x="81636" y="226019"/>
                      </a:lnTo>
                      <a:lnTo>
                        <a:pt x="107375" y="243435"/>
                      </a:lnTo>
                      <a:lnTo>
                        <a:pt x="113554" y="255409"/>
                      </a:lnTo>
                      <a:lnTo>
                        <a:pt x="111729" y="264820"/>
                      </a:lnTo>
                      <a:lnTo>
                        <a:pt x="107375" y="274265"/>
                      </a:lnTo>
                      <a:lnTo>
                        <a:pt x="104846" y="283677"/>
                      </a:lnTo>
                      <a:lnTo>
                        <a:pt x="91784" y="288031"/>
                      </a:lnTo>
                      <a:lnTo>
                        <a:pt x="80900" y="310537"/>
                      </a:lnTo>
                      <a:lnTo>
                        <a:pt x="84901" y="317420"/>
                      </a:lnTo>
                      <a:lnTo>
                        <a:pt x="80900" y="323246"/>
                      </a:lnTo>
                      <a:lnTo>
                        <a:pt x="86694" y="329393"/>
                      </a:lnTo>
                      <a:lnTo>
                        <a:pt x="116820" y="340630"/>
                      </a:lnTo>
                      <a:lnTo>
                        <a:pt x="129881" y="328689"/>
                      </a:lnTo>
                      <a:lnTo>
                        <a:pt x="151267" y="319981"/>
                      </a:lnTo>
                      <a:lnTo>
                        <a:pt x="183185" y="338837"/>
                      </a:lnTo>
                      <a:lnTo>
                        <a:pt x="200248" y="340630"/>
                      </a:lnTo>
                      <a:lnTo>
                        <a:pt x="207131" y="341366"/>
                      </a:lnTo>
                      <a:lnTo>
                        <a:pt x="201337" y="334483"/>
                      </a:lnTo>
                      <a:lnTo>
                        <a:pt x="202073" y="330129"/>
                      </a:lnTo>
                      <a:lnTo>
                        <a:pt x="206427" y="328689"/>
                      </a:lnTo>
                      <a:lnTo>
                        <a:pt x="279707" y="361311"/>
                      </a:lnTo>
                      <a:lnTo>
                        <a:pt x="297475" y="364576"/>
                      </a:lnTo>
                      <a:lnTo>
                        <a:pt x="301093" y="357693"/>
                      </a:lnTo>
                      <a:lnTo>
                        <a:pt x="298564" y="327600"/>
                      </a:lnTo>
                      <a:lnTo>
                        <a:pt x="313802" y="301093"/>
                      </a:lnTo>
                      <a:lnTo>
                        <a:pt x="328657" y="301829"/>
                      </a:lnTo>
                      <a:lnTo>
                        <a:pt x="330482" y="301093"/>
                      </a:lnTo>
                      <a:lnTo>
                        <a:pt x="328657" y="293121"/>
                      </a:lnTo>
                      <a:lnTo>
                        <a:pt x="336276" y="284765"/>
                      </a:lnTo>
                      <a:lnTo>
                        <a:pt x="339894" y="289119"/>
                      </a:lnTo>
                      <a:lnTo>
                        <a:pt x="345720" y="284765"/>
                      </a:lnTo>
                      <a:lnTo>
                        <a:pt x="356221" y="286238"/>
                      </a:lnTo>
                      <a:lnTo>
                        <a:pt x="355132" y="268470"/>
                      </a:lnTo>
                      <a:lnTo>
                        <a:pt x="371460" y="254672"/>
                      </a:lnTo>
                      <a:lnTo>
                        <a:pt x="380167" y="241610"/>
                      </a:lnTo>
                      <a:lnTo>
                        <a:pt x="385258" y="243435"/>
                      </a:lnTo>
                      <a:lnTo>
                        <a:pt x="395790" y="234727"/>
                      </a:lnTo>
                      <a:lnTo>
                        <a:pt x="405202" y="232166"/>
                      </a:lnTo>
                      <a:lnTo>
                        <a:pt x="420793" y="219136"/>
                      </a:lnTo>
                      <a:lnTo>
                        <a:pt x="432062" y="217664"/>
                      </a:lnTo>
                      <a:lnTo>
                        <a:pt x="427708" y="192629"/>
                      </a:lnTo>
                      <a:lnTo>
                        <a:pt x="415351" y="196983"/>
                      </a:lnTo>
                      <a:lnTo>
                        <a:pt x="412085" y="180655"/>
                      </a:lnTo>
                      <a:lnTo>
                        <a:pt x="416439" y="167594"/>
                      </a:lnTo>
                      <a:lnTo>
                        <a:pt x="423354" y="164328"/>
                      </a:lnTo>
                      <a:lnTo>
                        <a:pt x="426620" y="168682"/>
                      </a:lnTo>
                      <a:lnTo>
                        <a:pt x="430237" y="160711"/>
                      </a:lnTo>
                      <a:lnTo>
                        <a:pt x="427708" y="151299"/>
                      </a:lnTo>
                      <a:lnTo>
                        <a:pt x="388171" y="141118"/>
                      </a:lnTo>
                      <a:lnTo>
                        <a:pt x="389612" y="126263"/>
                      </a:lnTo>
                      <a:lnTo>
                        <a:pt x="402673" y="125527"/>
                      </a:lnTo>
                      <a:lnTo>
                        <a:pt x="396495" y="119349"/>
                      </a:lnTo>
                      <a:lnTo>
                        <a:pt x="400849" y="108464"/>
                      </a:lnTo>
                      <a:lnTo>
                        <a:pt x="397583" y="98699"/>
                      </a:lnTo>
                      <a:lnTo>
                        <a:pt x="402673" y="91080"/>
                      </a:lnTo>
                      <a:lnTo>
                        <a:pt x="411381" y="91785"/>
                      </a:lnTo>
                      <a:lnTo>
                        <a:pt x="414647" y="76546"/>
                      </a:lnTo>
                      <a:lnTo>
                        <a:pt x="421530" y="78370"/>
                      </a:lnTo>
                      <a:lnTo>
                        <a:pt x="421530" y="72192"/>
                      </a:lnTo>
                      <a:lnTo>
                        <a:pt x="420793" y="68574"/>
                      </a:lnTo>
                      <a:lnTo>
                        <a:pt x="425884" y="66045"/>
                      </a:lnTo>
                      <a:lnTo>
                        <a:pt x="418264" y="58426"/>
                      </a:lnTo>
                      <a:lnTo>
                        <a:pt x="424059" y="46452"/>
                      </a:lnTo>
                      <a:lnTo>
                        <a:pt x="432062" y="48277"/>
                      </a:lnTo>
                      <a:lnTo>
                        <a:pt x="439682" y="42835"/>
                      </a:lnTo>
                      <a:lnTo>
                        <a:pt x="446565" y="46452"/>
                      </a:lnTo>
                      <a:lnTo>
                        <a:pt x="447301" y="39569"/>
                      </a:lnTo>
                      <a:lnTo>
                        <a:pt x="442915" y="24683"/>
                      </a:lnTo>
                      <a:lnTo>
                        <a:pt x="425884" y="25772"/>
                      </a:lnTo>
                      <a:lnTo>
                        <a:pt x="412822" y="14535"/>
                      </a:lnTo>
                      <a:lnTo>
                        <a:pt x="405939" y="5090"/>
                      </a:lnTo>
                      <a:lnTo>
                        <a:pt x="388171" y="3265"/>
                      </a:lnTo>
                      <a:lnTo>
                        <a:pt x="370755" y="14535"/>
                      </a:lnTo>
                      <a:lnTo>
                        <a:pt x="381256" y="23242"/>
                      </a:lnTo>
                      <a:lnTo>
                        <a:pt x="376902" y="26508"/>
                      </a:lnTo>
                      <a:lnTo>
                        <a:pt x="378375" y="38481"/>
                      </a:lnTo>
                      <a:lnTo>
                        <a:pt x="364577" y="40274"/>
                      </a:lnTo>
                      <a:lnTo>
                        <a:pt x="360575" y="37008"/>
                      </a:lnTo>
                      <a:lnTo>
                        <a:pt x="355132" y="42099"/>
                      </a:lnTo>
                      <a:lnTo>
                        <a:pt x="352603" y="42835"/>
                      </a:lnTo>
                      <a:lnTo>
                        <a:pt x="343159" y="48277"/>
                      </a:lnTo>
                      <a:lnTo>
                        <a:pt x="342455" y="58426"/>
                      </a:lnTo>
                      <a:lnTo>
                        <a:pt x="333011" y="60218"/>
                      </a:lnTo>
                      <a:lnTo>
                        <a:pt x="337365" y="67133"/>
                      </a:lnTo>
                      <a:lnTo>
                        <a:pt x="322510" y="77282"/>
                      </a:lnTo>
                      <a:lnTo>
                        <a:pt x="326864" y="83461"/>
                      </a:lnTo>
                      <a:lnTo>
                        <a:pt x="310537" y="97963"/>
                      </a:lnTo>
                      <a:lnTo>
                        <a:pt x="306183" y="89255"/>
                      </a:lnTo>
                      <a:lnTo>
                        <a:pt x="299268" y="88519"/>
                      </a:lnTo>
                      <a:lnTo>
                        <a:pt x="290560" y="87814"/>
                      </a:lnTo>
                      <a:lnTo>
                        <a:pt x="276058" y="105582"/>
                      </a:lnTo>
                      <a:lnTo>
                        <a:pt x="267350" y="102317"/>
                      </a:lnTo>
                      <a:lnTo>
                        <a:pt x="261555" y="111729"/>
                      </a:lnTo>
                      <a:lnTo>
                        <a:pt x="237257" y="123702"/>
                      </a:lnTo>
                      <a:lnTo>
                        <a:pt x="229637" y="116083"/>
                      </a:lnTo>
                      <a:lnTo>
                        <a:pt x="245228" y="95434"/>
                      </a:lnTo>
                      <a:lnTo>
                        <a:pt x="249582" y="81636"/>
                      </a:lnTo>
                      <a:lnTo>
                        <a:pt x="240874" y="68574"/>
                      </a:lnTo>
                      <a:lnTo>
                        <a:pt x="233991" y="77282"/>
                      </a:lnTo>
                      <a:lnTo>
                        <a:pt x="217664" y="72192"/>
                      </a:lnTo>
                      <a:lnTo>
                        <a:pt x="211485" y="76546"/>
                      </a:lnTo>
                      <a:lnTo>
                        <a:pt x="202073" y="72928"/>
                      </a:lnTo>
                      <a:lnTo>
                        <a:pt x="185009" y="81636"/>
                      </a:lnTo>
                      <a:lnTo>
                        <a:pt x="178126" y="77282"/>
                      </a:lnTo>
                      <a:lnTo>
                        <a:pt x="171243" y="66045"/>
                      </a:lnTo>
                      <a:lnTo>
                        <a:pt x="165801" y="46452"/>
                      </a:lnTo>
                      <a:lnTo>
                        <a:pt x="119349" y="42099"/>
                      </a:lnTo>
                      <a:lnTo>
                        <a:pt x="120437" y="37008"/>
                      </a:lnTo>
                      <a:lnTo>
                        <a:pt x="109936" y="25772"/>
                      </a:lnTo>
                      <a:lnTo>
                        <a:pt x="100492" y="22154"/>
                      </a:lnTo>
                      <a:lnTo>
                        <a:pt x="100492" y="16327"/>
                      </a:lnTo>
                      <a:lnTo>
                        <a:pt x="91784" y="15239"/>
                      </a:lnTo>
                      <a:lnTo>
                        <a:pt x="86694" y="9444"/>
                      </a:lnTo>
                      <a:lnTo>
                        <a:pt x="74721" y="8356"/>
                      </a:lnTo>
                      <a:lnTo>
                        <a:pt x="66045" y="13798"/>
                      </a:lnTo>
                      <a:lnTo>
                        <a:pt x="4462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1" name="Forma Livre: Forma 190">
                  <a:extLst>
                    <a:ext uri="{FF2B5EF4-FFF2-40B4-BE49-F238E27FC236}">
                      <a16:creationId xmlns:a16="http://schemas.microsoft.com/office/drawing/2014/main" id="{F751FAF8-6624-E941-BD5D-AAE54469DD84}"/>
                    </a:ext>
                  </a:extLst>
                </p:cNvPr>
                <p:cNvSpPr/>
                <p:nvPr/>
              </p:nvSpPr>
              <p:spPr>
                <a:xfrm>
                  <a:off x="2635284" y="3423399"/>
                  <a:ext cx="233991" cy="242698"/>
                </a:xfrm>
                <a:custGeom>
                  <a:avLst/>
                  <a:gdLst>
                    <a:gd name="csX0" fmla="*/ 222018 w 233991"/>
                    <a:gd name="csY0" fmla="*/ 0 h 242698"/>
                    <a:gd name="csX1" fmla="*/ 194454 w 233991"/>
                    <a:gd name="csY1" fmla="*/ 1088 h 242698"/>
                    <a:gd name="csX2" fmla="*/ 96138 w 233991"/>
                    <a:gd name="csY2" fmla="*/ 4354 h 242698"/>
                    <a:gd name="csX3" fmla="*/ 17800 w 233991"/>
                    <a:gd name="csY3" fmla="*/ 6915 h 242698"/>
                    <a:gd name="csX4" fmla="*/ 9444 w 233991"/>
                    <a:gd name="csY4" fmla="*/ 6915 h 242698"/>
                    <a:gd name="csX5" fmla="*/ 9444 w 233991"/>
                    <a:gd name="csY5" fmla="*/ 15623 h 242698"/>
                    <a:gd name="csX6" fmla="*/ 13798 w 233991"/>
                    <a:gd name="csY6" fmla="*/ 37008 h 242698"/>
                    <a:gd name="csX7" fmla="*/ 27212 w 233991"/>
                    <a:gd name="csY7" fmla="*/ 35568 h 242698"/>
                    <a:gd name="csX8" fmla="*/ 26508 w 233991"/>
                    <a:gd name="csY8" fmla="*/ 45716 h 242698"/>
                    <a:gd name="csX9" fmla="*/ 41010 w 233991"/>
                    <a:gd name="csY9" fmla="*/ 54424 h 242698"/>
                    <a:gd name="csX10" fmla="*/ 50806 w 233991"/>
                    <a:gd name="csY10" fmla="*/ 53335 h 242698"/>
                    <a:gd name="csX11" fmla="*/ 54072 w 233991"/>
                    <a:gd name="csY11" fmla="*/ 46805 h 242698"/>
                    <a:gd name="csX12" fmla="*/ 71103 w 233991"/>
                    <a:gd name="csY12" fmla="*/ 44980 h 242698"/>
                    <a:gd name="csX13" fmla="*/ 72192 w 233991"/>
                    <a:gd name="csY13" fmla="*/ 52599 h 242698"/>
                    <a:gd name="csX14" fmla="*/ 66045 w 233991"/>
                    <a:gd name="csY14" fmla="*/ 56953 h 242698"/>
                    <a:gd name="csX15" fmla="*/ 52247 w 233991"/>
                    <a:gd name="csY15" fmla="*/ 68222 h 242698"/>
                    <a:gd name="csX16" fmla="*/ 24683 w 233991"/>
                    <a:gd name="csY16" fmla="*/ 80900 h 242698"/>
                    <a:gd name="csX17" fmla="*/ 6915 w 233991"/>
                    <a:gd name="csY17" fmla="*/ 88871 h 242698"/>
                    <a:gd name="csX18" fmla="*/ 7619 w 233991"/>
                    <a:gd name="csY18" fmla="*/ 101581 h 242698"/>
                    <a:gd name="csX19" fmla="*/ 0 w 233991"/>
                    <a:gd name="csY19" fmla="*/ 112113 h 242698"/>
                    <a:gd name="csX20" fmla="*/ 11973 w 233991"/>
                    <a:gd name="csY20" fmla="*/ 132762 h 242698"/>
                    <a:gd name="csX21" fmla="*/ 8356 w 233991"/>
                    <a:gd name="csY21" fmla="*/ 148001 h 242698"/>
                    <a:gd name="csX22" fmla="*/ 14534 w 233991"/>
                    <a:gd name="csY22" fmla="*/ 154180 h 242698"/>
                    <a:gd name="csX23" fmla="*/ 24683 w 233991"/>
                    <a:gd name="csY23" fmla="*/ 158534 h 242698"/>
                    <a:gd name="csX24" fmla="*/ 23946 w 233991"/>
                    <a:gd name="csY24" fmla="*/ 171243 h 242698"/>
                    <a:gd name="csX25" fmla="*/ 47893 w 233991"/>
                    <a:gd name="csY25" fmla="*/ 174861 h 242698"/>
                    <a:gd name="csX26" fmla="*/ 61691 w 233991"/>
                    <a:gd name="csY26" fmla="*/ 186098 h 242698"/>
                    <a:gd name="csX27" fmla="*/ 69663 w 233991"/>
                    <a:gd name="csY27" fmla="*/ 179951 h 242698"/>
                    <a:gd name="csX28" fmla="*/ 79107 w 233991"/>
                    <a:gd name="csY28" fmla="*/ 181040 h 242698"/>
                    <a:gd name="csX29" fmla="*/ 75457 w 233991"/>
                    <a:gd name="csY29" fmla="*/ 201337 h 242698"/>
                    <a:gd name="csX30" fmla="*/ 89255 w 233991"/>
                    <a:gd name="csY30" fmla="*/ 191188 h 242698"/>
                    <a:gd name="csX31" fmla="*/ 82372 w 233991"/>
                    <a:gd name="csY31" fmla="*/ 210044 h 242698"/>
                    <a:gd name="csX32" fmla="*/ 97227 w 233991"/>
                    <a:gd name="csY32" fmla="*/ 214398 h 242698"/>
                    <a:gd name="csX33" fmla="*/ 114995 w 233991"/>
                    <a:gd name="csY33" fmla="*/ 213662 h 242698"/>
                    <a:gd name="csX34" fmla="*/ 116083 w 233991"/>
                    <a:gd name="csY34" fmla="*/ 223106 h 242698"/>
                    <a:gd name="csX35" fmla="*/ 130617 w 233991"/>
                    <a:gd name="csY35" fmla="*/ 233255 h 242698"/>
                    <a:gd name="csX36" fmla="*/ 135676 w 233991"/>
                    <a:gd name="csY36" fmla="*/ 242699 h 242698"/>
                    <a:gd name="csX37" fmla="*/ 144384 w 233991"/>
                    <a:gd name="csY37" fmla="*/ 241226 h 242698"/>
                    <a:gd name="csX38" fmla="*/ 141854 w 233991"/>
                    <a:gd name="csY38" fmla="*/ 227460 h 242698"/>
                    <a:gd name="csX39" fmla="*/ 148033 w 233991"/>
                    <a:gd name="csY39" fmla="*/ 213662 h 242698"/>
                    <a:gd name="csX40" fmla="*/ 158182 w 233991"/>
                    <a:gd name="csY40" fmla="*/ 216223 h 242698"/>
                    <a:gd name="csX41" fmla="*/ 177038 w 233991"/>
                    <a:gd name="csY41" fmla="*/ 202425 h 242698"/>
                    <a:gd name="csX42" fmla="*/ 176302 w 233991"/>
                    <a:gd name="csY42" fmla="*/ 196246 h 242698"/>
                    <a:gd name="csX43" fmla="*/ 165801 w 233991"/>
                    <a:gd name="csY43" fmla="*/ 197335 h 242698"/>
                    <a:gd name="csX44" fmla="*/ 163240 w 233991"/>
                    <a:gd name="csY44" fmla="*/ 185009 h 242698"/>
                    <a:gd name="csX45" fmla="*/ 200248 w 233991"/>
                    <a:gd name="csY45" fmla="*/ 167242 h 242698"/>
                    <a:gd name="csX46" fmla="*/ 213310 w 233991"/>
                    <a:gd name="csY46" fmla="*/ 164328 h 242698"/>
                    <a:gd name="csX47" fmla="*/ 219489 w 233991"/>
                    <a:gd name="csY47" fmla="*/ 154916 h 242698"/>
                    <a:gd name="csX48" fmla="*/ 223458 w 233991"/>
                    <a:gd name="csY48" fmla="*/ 149826 h 242698"/>
                    <a:gd name="csX49" fmla="*/ 227812 w 233991"/>
                    <a:gd name="csY49" fmla="*/ 147297 h 242698"/>
                    <a:gd name="csX50" fmla="*/ 233991 w 233991"/>
                    <a:gd name="csY50" fmla="*/ 86342 h 242698"/>
                    <a:gd name="csX51" fmla="*/ 226372 w 233991"/>
                    <a:gd name="csY51" fmla="*/ 90344 h 242698"/>
                    <a:gd name="csX52" fmla="*/ 217664 w 233991"/>
                    <a:gd name="csY52" fmla="*/ 88871 h 242698"/>
                    <a:gd name="csX53" fmla="*/ 203898 w 233991"/>
                    <a:gd name="csY53" fmla="*/ 93961 h 242698"/>
                    <a:gd name="csX54" fmla="*/ 190100 w 233991"/>
                    <a:gd name="csY54" fmla="*/ 77634 h 242698"/>
                    <a:gd name="csX55" fmla="*/ 175597 w 233991"/>
                    <a:gd name="csY55" fmla="*/ 78370 h 242698"/>
                    <a:gd name="csX56" fmla="*/ 158886 w 233991"/>
                    <a:gd name="csY56" fmla="*/ 87783 h 242698"/>
                    <a:gd name="csX57" fmla="*/ 160711 w 233991"/>
                    <a:gd name="csY57" fmla="*/ 68222 h 242698"/>
                    <a:gd name="csX58" fmla="*/ 168682 w 233991"/>
                    <a:gd name="csY58" fmla="*/ 26860 h 242698"/>
                    <a:gd name="csX59" fmla="*/ 161799 w 233991"/>
                    <a:gd name="csY59" fmla="*/ 9796 h 242698"/>
                    <a:gd name="csX60" fmla="*/ 165065 w 233991"/>
                    <a:gd name="csY60" fmla="*/ 6179 h 242698"/>
                    <a:gd name="csX61" fmla="*/ 190836 w 233991"/>
                    <a:gd name="csY61" fmla="*/ 6915 h 242698"/>
                    <a:gd name="csX62" fmla="*/ 222018 w 233991"/>
                    <a:gd name="csY62" fmla="*/ 0 h 2426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233991" h="242698">
                      <a:moveTo>
                        <a:pt x="222018" y="0"/>
                      </a:moveTo>
                      <a:lnTo>
                        <a:pt x="194454" y="1088"/>
                      </a:lnTo>
                      <a:lnTo>
                        <a:pt x="96138" y="4354"/>
                      </a:lnTo>
                      <a:lnTo>
                        <a:pt x="17800" y="6915"/>
                      </a:lnTo>
                      <a:lnTo>
                        <a:pt x="9444" y="6915"/>
                      </a:lnTo>
                      <a:lnTo>
                        <a:pt x="9444" y="15623"/>
                      </a:lnTo>
                      <a:lnTo>
                        <a:pt x="13798" y="37008"/>
                      </a:lnTo>
                      <a:lnTo>
                        <a:pt x="27212" y="35568"/>
                      </a:lnTo>
                      <a:lnTo>
                        <a:pt x="26508" y="45716"/>
                      </a:lnTo>
                      <a:lnTo>
                        <a:pt x="41010" y="54424"/>
                      </a:lnTo>
                      <a:lnTo>
                        <a:pt x="50806" y="53335"/>
                      </a:lnTo>
                      <a:lnTo>
                        <a:pt x="54072" y="46805"/>
                      </a:lnTo>
                      <a:lnTo>
                        <a:pt x="71103" y="44980"/>
                      </a:lnTo>
                      <a:lnTo>
                        <a:pt x="72192" y="52599"/>
                      </a:lnTo>
                      <a:lnTo>
                        <a:pt x="66045" y="56953"/>
                      </a:lnTo>
                      <a:lnTo>
                        <a:pt x="52247" y="68222"/>
                      </a:lnTo>
                      <a:lnTo>
                        <a:pt x="24683" y="80900"/>
                      </a:lnTo>
                      <a:lnTo>
                        <a:pt x="6915" y="88871"/>
                      </a:lnTo>
                      <a:lnTo>
                        <a:pt x="7619" y="101581"/>
                      </a:lnTo>
                      <a:lnTo>
                        <a:pt x="0" y="112113"/>
                      </a:lnTo>
                      <a:lnTo>
                        <a:pt x="11973" y="132762"/>
                      </a:lnTo>
                      <a:lnTo>
                        <a:pt x="8356" y="148001"/>
                      </a:lnTo>
                      <a:lnTo>
                        <a:pt x="14534" y="154180"/>
                      </a:lnTo>
                      <a:lnTo>
                        <a:pt x="24683" y="158534"/>
                      </a:lnTo>
                      <a:lnTo>
                        <a:pt x="23946" y="171243"/>
                      </a:lnTo>
                      <a:lnTo>
                        <a:pt x="47893" y="174861"/>
                      </a:lnTo>
                      <a:lnTo>
                        <a:pt x="61691" y="186098"/>
                      </a:lnTo>
                      <a:lnTo>
                        <a:pt x="69663" y="179951"/>
                      </a:lnTo>
                      <a:lnTo>
                        <a:pt x="79107" y="181040"/>
                      </a:lnTo>
                      <a:lnTo>
                        <a:pt x="75457" y="201337"/>
                      </a:lnTo>
                      <a:lnTo>
                        <a:pt x="89255" y="191188"/>
                      </a:lnTo>
                      <a:lnTo>
                        <a:pt x="82372" y="210044"/>
                      </a:lnTo>
                      <a:lnTo>
                        <a:pt x="97227" y="214398"/>
                      </a:lnTo>
                      <a:lnTo>
                        <a:pt x="114995" y="213662"/>
                      </a:lnTo>
                      <a:lnTo>
                        <a:pt x="116083" y="223106"/>
                      </a:lnTo>
                      <a:lnTo>
                        <a:pt x="130617" y="233255"/>
                      </a:lnTo>
                      <a:lnTo>
                        <a:pt x="135676" y="242699"/>
                      </a:lnTo>
                      <a:lnTo>
                        <a:pt x="144384" y="241226"/>
                      </a:lnTo>
                      <a:lnTo>
                        <a:pt x="141854" y="227460"/>
                      </a:lnTo>
                      <a:lnTo>
                        <a:pt x="148033" y="213662"/>
                      </a:lnTo>
                      <a:lnTo>
                        <a:pt x="158182" y="216223"/>
                      </a:lnTo>
                      <a:lnTo>
                        <a:pt x="177038" y="202425"/>
                      </a:lnTo>
                      <a:lnTo>
                        <a:pt x="176302" y="196246"/>
                      </a:lnTo>
                      <a:lnTo>
                        <a:pt x="165801" y="197335"/>
                      </a:lnTo>
                      <a:lnTo>
                        <a:pt x="163240" y="185009"/>
                      </a:lnTo>
                      <a:lnTo>
                        <a:pt x="200248" y="167242"/>
                      </a:lnTo>
                      <a:lnTo>
                        <a:pt x="213310" y="164328"/>
                      </a:lnTo>
                      <a:lnTo>
                        <a:pt x="219489" y="154916"/>
                      </a:lnTo>
                      <a:lnTo>
                        <a:pt x="223458" y="149826"/>
                      </a:lnTo>
                      <a:lnTo>
                        <a:pt x="227812" y="147297"/>
                      </a:lnTo>
                      <a:lnTo>
                        <a:pt x="233991" y="86342"/>
                      </a:lnTo>
                      <a:lnTo>
                        <a:pt x="226372" y="90344"/>
                      </a:lnTo>
                      <a:lnTo>
                        <a:pt x="217664" y="88871"/>
                      </a:lnTo>
                      <a:lnTo>
                        <a:pt x="203898" y="93961"/>
                      </a:lnTo>
                      <a:lnTo>
                        <a:pt x="190100" y="77634"/>
                      </a:lnTo>
                      <a:lnTo>
                        <a:pt x="175597" y="78370"/>
                      </a:lnTo>
                      <a:lnTo>
                        <a:pt x="158886" y="87783"/>
                      </a:lnTo>
                      <a:lnTo>
                        <a:pt x="160711" y="68222"/>
                      </a:lnTo>
                      <a:lnTo>
                        <a:pt x="168682" y="26860"/>
                      </a:lnTo>
                      <a:lnTo>
                        <a:pt x="161799" y="9796"/>
                      </a:lnTo>
                      <a:lnTo>
                        <a:pt x="165065" y="6179"/>
                      </a:lnTo>
                      <a:lnTo>
                        <a:pt x="190836" y="6915"/>
                      </a:lnTo>
                      <a:lnTo>
                        <a:pt x="22201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2" name="Forma Livre: Forma 191">
                  <a:extLst>
                    <a:ext uri="{FF2B5EF4-FFF2-40B4-BE49-F238E27FC236}">
                      <a16:creationId xmlns:a16="http://schemas.microsoft.com/office/drawing/2014/main" id="{9A460221-444B-EEFA-E9DF-5309134ACE20}"/>
                    </a:ext>
                  </a:extLst>
                </p:cNvPr>
                <p:cNvSpPr/>
                <p:nvPr/>
              </p:nvSpPr>
              <p:spPr>
                <a:xfrm>
                  <a:off x="2635284" y="3423399"/>
                  <a:ext cx="233991" cy="242698"/>
                </a:xfrm>
                <a:custGeom>
                  <a:avLst/>
                  <a:gdLst>
                    <a:gd name="csX0" fmla="*/ 222018 w 233991"/>
                    <a:gd name="csY0" fmla="*/ 0 h 242698"/>
                    <a:gd name="csX1" fmla="*/ 194454 w 233991"/>
                    <a:gd name="csY1" fmla="*/ 1088 h 242698"/>
                    <a:gd name="csX2" fmla="*/ 96138 w 233991"/>
                    <a:gd name="csY2" fmla="*/ 4354 h 242698"/>
                    <a:gd name="csX3" fmla="*/ 17800 w 233991"/>
                    <a:gd name="csY3" fmla="*/ 6915 h 242698"/>
                    <a:gd name="csX4" fmla="*/ 9444 w 233991"/>
                    <a:gd name="csY4" fmla="*/ 6915 h 242698"/>
                    <a:gd name="csX5" fmla="*/ 9444 w 233991"/>
                    <a:gd name="csY5" fmla="*/ 15623 h 242698"/>
                    <a:gd name="csX6" fmla="*/ 13798 w 233991"/>
                    <a:gd name="csY6" fmla="*/ 37008 h 242698"/>
                    <a:gd name="csX7" fmla="*/ 27212 w 233991"/>
                    <a:gd name="csY7" fmla="*/ 35568 h 242698"/>
                    <a:gd name="csX8" fmla="*/ 26508 w 233991"/>
                    <a:gd name="csY8" fmla="*/ 45716 h 242698"/>
                    <a:gd name="csX9" fmla="*/ 41010 w 233991"/>
                    <a:gd name="csY9" fmla="*/ 54424 h 242698"/>
                    <a:gd name="csX10" fmla="*/ 50806 w 233991"/>
                    <a:gd name="csY10" fmla="*/ 53335 h 242698"/>
                    <a:gd name="csX11" fmla="*/ 54072 w 233991"/>
                    <a:gd name="csY11" fmla="*/ 46805 h 242698"/>
                    <a:gd name="csX12" fmla="*/ 71103 w 233991"/>
                    <a:gd name="csY12" fmla="*/ 44980 h 242698"/>
                    <a:gd name="csX13" fmla="*/ 72192 w 233991"/>
                    <a:gd name="csY13" fmla="*/ 52599 h 242698"/>
                    <a:gd name="csX14" fmla="*/ 66045 w 233991"/>
                    <a:gd name="csY14" fmla="*/ 56953 h 242698"/>
                    <a:gd name="csX15" fmla="*/ 52247 w 233991"/>
                    <a:gd name="csY15" fmla="*/ 68222 h 242698"/>
                    <a:gd name="csX16" fmla="*/ 24683 w 233991"/>
                    <a:gd name="csY16" fmla="*/ 80900 h 242698"/>
                    <a:gd name="csX17" fmla="*/ 6915 w 233991"/>
                    <a:gd name="csY17" fmla="*/ 88871 h 242698"/>
                    <a:gd name="csX18" fmla="*/ 7619 w 233991"/>
                    <a:gd name="csY18" fmla="*/ 101581 h 242698"/>
                    <a:gd name="csX19" fmla="*/ 0 w 233991"/>
                    <a:gd name="csY19" fmla="*/ 112113 h 242698"/>
                    <a:gd name="csX20" fmla="*/ 11973 w 233991"/>
                    <a:gd name="csY20" fmla="*/ 132762 h 242698"/>
                    <a:gd name="csX21" fmla="*/ 8356 w 233991"/>
                    <a:gd name="csY21" fmla="*/ 148001 h 242698"/>
                    <a:gd name="csX22" fmla="*/ 14534 w 233991"/>
                    <a:gd name="csY22" fmla="*/ 154180 h 242698"/>
                    <a:gd name="csX23" fmla="*/ 24683 w 233991"/>
                    <a:gd name="csY23" fmla="*/ 158534 h 242698"/>
                    <a:gd name="csX24" fmla="*/ 23946 w 233991"/>
                    <a:gd name="csY24" fmla="*/ 171243 h 242698"/>
                    <a:gd name="csX25" fmla="*/ 47893 w 233991"/>
                    <a:gd name="csY25" fmla="*/ 174861 h 242698"/>
                    <a:gd name="csX26" fmla="*/ 61691 w 233991"/>
                    <a:gd name="csY26" fmla="*/ 186098 h 242698"/>
                    <a:gd name="csX27" fmla="*/ 69663 w 233991"/>
                    <a:gd name="csY27" fmla="*/ 179951 h 242698"/>
                    <a:gd name="csX28" fmla="*/ 79107 w 233991"/>
                    <a:gd name="csY28" fmla="*/ 181040 h 242698"/>
                    <a:gd name="csX29" fmla="*/ 75457 w 233991"/>
                    <a:gd name="csY29" fmla="*/ 201337 h 242698"/>
                    <a:gd name="csX30" fmla="*/ 89255 w 233991"/>
                    <a:gd name="csY30" fmla="*/ 191188 h 242698"/>
                    <a:gd name="csX31" fmla="*/ 82372 w 233991"/>
                    <a:gd name="csY31" fmla="*/ 210044 h 242698"/>
                    <a:gd name="csX32" fmla="*/ 97227 w 233991"/>
                    <a:gd name="csY32" fmla="*/ 214398 h 242698"/>
                    <a:gd name="csX33" fmla="*/ 114995 w 233991"/>
                    <a:gd name="csY33" fmla="*/ 213662 h 242698"/>
                    <a:gd name="csX34" fmla="*/ 116083 w 233991"/>
                    <a:gd name="csY34" fmla="*/ 223106 h 242698"/>
                    <a:gd name="csX35" fmla="*/ 130617 w 233991"/>
                    <a:gd name="csY35" fmla="*/ 233255 h 242698"/>
                    <a:gd name="csX36" fmla="*/ 135676 w 233991"/>
                    <a:gd name="csY36" fmla="*/ 242699 h 242698"/>
                    <a:gd name="csX37" fmla="*/ 144384 w 233991"/>
                    <a:gd name="csY37" fmla="*/ 241226 h 242698"/>
                    <a:gd name="csX38" fmla="*/ 141854 w 233991"/>
                    <a:gd name="csY38" fmla="*/ 227460 h 242698"/>
                    <a:gd name="csX39" fmla="*/ 148033 w 233991"/>
                    <a:gd name="csY39" fmla="*/ 213662 h 242698"/>
                    <a:gd name="csX40" fmla="*/ 158182 w 233991"/>
                    <a:gd name="csY40" fmla="*/ 216223 h 242698"/>
                    <a:gd name="csX41" fmla="*/ 177038 w 233991"/>
                    <a:gd name="csY41" fmla="*/ 202425 h 242698"/>
                    <a:gd name="csX42" fmla="*/ 176302 w 233991"/>
                    <a:gd name="csY42" fmla="*/ 196246 h 242698"/>
                    <a:gd name="csX43" fmla="*/ 165801 w 233991"/>
                    <a:gd name="csY43" fmla="*/ 197335 h 242698"/>
                    <a:gd name="csX44" fmla="*/ 163240 w 233991"/>
                    <a:gd name="csY44" fmla="*/ 185009 h 242698"/>
                    <a:gd name="csX45" fmla="*/ 200248 w 233991"/>
                    <a:gd name="csY45" fmla="*/ 167242 h 242698"/>
                    <a:gd name="csX46" fmla="*/ 213310 w 233991"/>
                    <a:gd name="csY46" fmla="*/ 164328 h 242698"/>
                    <a:gd name="csX47" fmla="*/ 219489 w 233991"/>
                    <a:gd name="csY47" fmla="*/ 154916 h 242698"/>
                    <a:gd name="csX48" fmla="*/ 223458 w 233991"/>
                    <a:gd name="csY48" fmla="*/ 149826 h 242698"/>
                    <a:gd name="csX49" fmla="*/ 227812 w 233991"/>
                    <a:gd name="csY49" fmla="*/ 147297 h 242698"/>
                    <a:gd name="csX50" fmla="*/ 233991 w 233991"/>
                    <a:gd name="csY50" fmla="*/ 86342 h 242698"/>
                    <a:gd name="csX51" fmla="*/ 226372 w 233991"/>
                    <a:gd name="csY51" fmla="*/ 90344 h 242698"/>
                    <a:gd name="csX52" fmla="*/ 217664 w 233991"/>
                    <a:gd name="csY52" fmla="*/ 88871 h 242698"/>
                    <a:gd name="csX53" fmla="*/ 203898 w 233991"/>
                    <a:gd name="csY53" fmla="*/ 93961 h 242698"/>
                    <a:gd name="csX54" fmla="*/ 190100 w 233991"/>
                    <a:gd name="csY54" fmla="*/ 77634 h 242698"/>
                    <a:gd name="csX55" fmla="*/ 175597 w 233991"/>
                    <a:gd name="csY55" fmla="*/ 78370 h 242698"/>
                    <a:gd name="csX56" fmla="*/ 158886 w 233991"/>
                    <a:gd name="csY56" fmla="*/ 87783 h 242698"/>
                    <a:gd name="csX57" fmla="*/ 160711 w 233991"/>
                    <a:gd name="csY57" fmla="*/ 68222 h 242698"/>
                    <a:gd name="csX58" fmla="*/ 168682 w 233991"/>
                    <a:gd name="csY58" fmla="*/ 26860 h 242698"/>
                    <a:gd name="csX59" fmla="*/ 161799 w 233991"/>
                    <a:gd name="csY59" fmla="*/ 9796 h 242698"/>
                    <a:gd name="csX60" fmla="*/ 165065 w 233991"/>
                    <a:gd name="csY60" fmla="*/ 6179 h 242698"/>
                    <a:gd name="csX61" fmla="*/ 190836 w 233991"/>
                    <a:gd name="csY61" fmla="*/ 6915 h 242698"/>
                    <a:gd name="csX62" fmla="*/ 222018 w 233991"/>
                    <a:gd name="csY62" fmla="*/ 0 h 2426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233991" h="242698">
                      <a:moveTo>
                        <a:pt x="222018" y="0"/>
                      </a:moveTo>
                      <a:lnTo>
                        <a:pt x="194454" y="1088"/>
                      </a:lnTo>
                      <a:lnTo>
                        <a:pt x="96138" y="4354"/>
                      </a:lnTo>
                      <a:lnTo>
                        <a:pt x="17800" y="6915"/>
                      </a:lnTo>
                      <a:lnTo>
                        <a:pt x="9444" y="6915"/>
                      </a:lnTo>
                      <a:lnTo>
                        <a:pt x="9444" y="15623"/>
                      </a:lnTo>
                      <a:lnTo>
                        <a:pt x="13798" y="37008"/>
                      </a:lnTo>
                      <a:lnTo>
                        <a:pt x="27212" y="35568"/>
                      </a:lnTo>
                      <a:lnTo>
                        <a:pt x="26508" y="45716"/>
                      </a:lnTo>
                      <a:lnTo>
                        <a:pt x="41010" y="54424"/>
                      </a:lnTo>
                      <a:lnTo>
                        <a:pt x="50806" y="53335"/>
                      </a:lnTo>
                      <a:lnTo>
                        <a:pt x="54072" y="46805"/>
                      </a:lnTo>
                      <a:lnTo>
                        <a:pt x="71103" y="44980"/>
                      </a:lnTo>
                      <a:lnTo>
                        <a:pt x="72192" y="52599"/>
                      </a:lnTo>
                      <a:lnTo>
                        <a:pt x="66045" y="56953"/>
                      </a:lnTo>
                      <a:lnTo>
                        <a:pt x="52247" y="68222"/>
                      </a:lnTo>
                      <a:lnTo>
                        <a:pt x="24683" y="80900"/>
                      </a:lnTo>
                      <a:lnTo>
                        <a:pt x="6915" y="88871"/>
                      </a:lnTo>
                      <a:lnTo>
                        <a:pt x="7619" y="101581"/>
                      </a:lnTo>
                      <a:lnTo>
                        <a:pt x="0" y="112113"/>
                      </a:lnTo>
                      <a:lnTo>
                        <a:pt x="11973" y="132762"/>
                      </a:lnTo>
                      <a:lnTo>
                        <a:pt x="8356" y="148001"/>
                      </a:lnTo>
                      <a:lnTo>
                        <a:pt x="14534" y="154180"/>
                      </a:lnTo>
                      <a:lnTo>
                        <a:pt x="24683" y="158534"/>
                      </a:lnTo>
                      <a:lnTo>
                        <a:pt x="23946" y="171243"/>
                      </a:lnTo>
                      <a:lnTo>
                        <a:pt x="47893" y="174861"/>
                      </a:lnTo>
                      <a:lnTo>
                        <a:pt x="61691" y="186098"/>
                      </a:lnTo>
                      <a:lnTo>
                        <a:pt x="69663" y="179951"/>
                      </a:lnTo>
                      <a:lnTo>
                        <a:pt x="79107" y="181040"/>
                      </a:lnTo>
                      <a:lnTo>
                        <a:pt x="75457" y="201337"/>
                      </a:lnTo>
                      <a:lnTo>
                        <a:pt x="89255" y="191188"/>
                      </a:lnTo>
                      <a:lnTo>
                        <a:pt x="82372" y="210044"/>
                      </a:lnTo>
                      <a:lnTo>
                        <a:pt x="97227" y="214398"/>
                      </a:lnTo>
                      <a:lnTo>
                        <a:pt x="114995" y="213662"/>
                      </a:lnTo>
                      <a:lnTo>
                        <a:pt x="116083" y="223106"/>
                      </a:lnTo>
                      <a:lnTo>
                        <a:pt x="130617" y="233255"/>
                      </a:lnTo>
                      <a:lnTo>
                        <a:pt x="135676" y="242699"/>
                      </a:lnTo>
                      <a:lnTo>
                        <a:pt x="144384" y="241226"/>
                      </a:lnTo>
                      <a:lnTo>
                        <a:pt x="141854" y="227460"/>
                      </a:lnTo>
                      <a:lnTo>
                        <a:pt x="148033" y="213662"/>
                      </a:lnTo>
                      <a:lnTo>
                        <a:pt x="158182" y="216223"/>
                      </a:lnTo>
                      <a:lnTo>
                        <a:pt x="177038" y="202425"/>
                      </a:lnTo>
                      <a:lnTo>
                        <a:pt x="176302" y="196246"/>
                      </a:lnTo>
                      <a:lnTo>
                        <a:pt x="165801" y="197335"/>
                      </a:lnTo>
                      <a:lnTo>
                        <a:pt x="163240" y="185009"/>
                      </a:lnTo>
                      <a:lnTo>
                        <a:pt x="200248" y="167242"/>
                      </a:lnTo>
                      <a:lnTo>
                        <a:pt x="213310" y="164328"/>
                      </a:lnTo>
                      <a:lnTo>
                        <a:pt x="219489" y="154916"/>
                      </a:lnTo>
                      <a:lnTo>
                        <a:pt x="223458" y="149826"/>
                      </a:lnTo>
                      <a:lnTo>
                        <a:pt x="227812" y="147297"/>
                      </a:lnTo>
                      <a:lnTo>
                        <a:pt x="233991" y="86342"/>
                      </a:lnTo>
                      <a:lnTo>
                        <a:pt x="226372" y="90344"/>
                      </a:lnTo>
                      <a:lnTo>
                        <a:pt x="217664" y="88871"/>
                      </a:lnTo>
                      <a:lnTo>
                        <a:pt x="203898" y="93961"/>
                      </a:lnTo>
                      <a:lnTo>
                        <a:pt x="190100" y="77634"/>
                      </a:lnTo>
                      <a:lnTo>
                        <a:pt x="175597" y="78370"/>
                      </a:lnTo>
                      <a:lnTo>
                        <a:pt x="158886" y="87783"/>
                      </a:lnTo>
                      <a:lnTo>
                        <a:pt x="160711" y="68222"/>
                      </a:lnTo>
                      <a:lnTo>
                        <a:pt x="168682" y="26860"/>
                      </a:lnTo>
                      <a:lnTo>
                        <a:pt x="161799" y="9796"/>
                      </a:lnTo>
                      <a:lnTo>
                        <a:pt x="165065" y="6179"/>
                      </a:lnTo>
                      <a:lnTo>
                        <a:pt x="190836" y="6915"/>
                      </a:lnTo>
                      <a:lnTo>
                        <a:pt x="22201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3" name="Forma Livre: Forma 192">
                  <a:extLst>
                    <a:ext uri="{FF2B5EF4-FFF2-40B4-BE49-F238E27FC236}">
                      <a16:creationId xmlns:a16="http://schemas.microsoft.com/office/drawing/2014/main" id="{D3E4A5A0-CF68-079B-2FB8-07E359E91F9D}"/>
                    </a:ext>
                  </a:extLst>
                </p:cNvPr>
                <p:cNvSpPr/>
                <p:nvPr/>
              </p:nvSpPr>
              <p:spPr>
                <a:xfrm>
                  <a:off x="2635284" y="3423399"/>
                  <a:ext cx="233991" cy="242698"/>
                </a:xfrm>
                <a:custGeom>
                  <a:avLst/>
                  <a:gdLst>
                    <a:gd name="csX0" fmla="*/ 222018 w 233991"/>
                    <a:gd name="csY0" fmla="*/ 0 h 242698"/>
                    <a:gd name="csX1" fmla="*/ 194454 w 233991"/>
                    <a:gd name="csY1" fmla="*/ 1088 h 242698"/>
                    <a:gd name="csX2" fmla="*/ 96138 w 233991"/>
                    <a:gd name="csY2" fmla="*/ 4354 h 242698"/>
                    <a:gd name="csX3" fmla="*/ 17800 w 233991"/>
                    <a:gd name="csY3" fmla="*/ 6915 h 242698"/>
                    <a:gd name="csX4" fmla="*/ 9444 w 233991"/>
                    <a:gd name="csY4" fmla="*/ 6915 h 242698"/>
                    <a:gd name="csX5" fmla="*/ 9444 w 233991"/>
                    <a:gd name="csY5" fmla="*/ 15623 h 242698"/>
                    <a:gd name="csX6" fmla="*/ 13798 w 233991"/>
                    <a:gd name="csY6" fmla="*/ 37008 h 242698"/>
                    <a:gd name="csX7" fmla="*/ 27212 w 233991"/>
                    <a:gd name="csY7" fmla="*/ 35568 h 242698"/>
                    <a:gd name="csX8" fmla="*/ 26508 w 233991"/>
                    <a:gd name="csY8" fmla="*/ 45716 h 242698"/>
                    <a:gd name="csX9" fmla="*/ 41010 w 233991"/>
                    <a:gd name="csY9" fmla="*/ 54424 h 242698"/>
                    <a:gd name="csX10" fmla="*/ 50806 w 233991"/>
                    <a:gd name="csY10" fmla="*/ 53335 h 242698"/>
                    <a:gd name="csX11" fmla="*/ 54072 w 233991"/>
                    <a:gd name="csY11" fmla="*/ 46805 h 242698"/>
                    <a:gd name="csX12" fmla="*/ 71103 w 233991"/>
                    <a:gd name="csY12" fmla="*/ 44980 h 242698"/>
                    <a:gd name="csX13" fmla="*/ 72192 w 233991"/>
                    <a:gd name="csY13" fmla="*/ 52599 h 242698"/>
                    <a:gd name="csX14" fmla="*/ 66045 w 233991"/>
                    <a:gd name="csY14" fmla="*/ 56953 h 242698"/>
                    <a:gd name="csX15" fmla="*/ 52247 w 233991"/>
                    <a:gd name="csY15" fmla="*/ 68222 h 242698"/>
                    <a:gd name="csX16" fmla="*/ 24683 w 233991"/>
                    <a:gd name="csY16" fmla="*/ 80900 h 242698"/>
                    <a:gd name="csX17" fmla="*/ 6915 w 233991"/>
                    <a:gd name="csY17" fmla="*/ 88871 h 242698"/>
                    <a:gd name="csX18" fmla="*/ 7619 w 233991"/>
                    <a:gd name="csY18" fmla="*/ 101581 h 242698"/>
                    <a:gd name="csX19" fmla="*/ 0 w 233991"/>
                    <a:gd name="csY19" fmla="*/ 112113 h 242698"/>
                    <a:gd name="csX20" fmla="*/ 11973 w 233991"/>
                    <a:gd name="csY20" fmla="*/ 132762 h 242698"/>
                    <a:gd name="csX21" fmla="*/ 8356 w 233991"/>
                    <a:gd name="csY21" fmla="*/ 148001 h 242698"/>
                    <a:gd name="csX22" fmla="*/ 14534 w 233991"/>
                    <a:gd name="csY22" fmla="*/ 154180 h 242698"/>
                    <a:gd name="csX23" fmla="*/ 24683 w 233991"/>
                    <a:gd name="csY23" fmla="*/ 158534 h 242698"/>
                    <a:gd name="csX24" fmla="*/ 23946 w 233991"/>
                    <a:gd name="csY24" fmla="*/ 171243 h 242698"/>
                    <a:gd name="csX25" fmla="*/ 47893 w 233991"/>
                    <a:gd name="csY25" fmla="*/ 174861 h 242698"/>
                    <a:gd name="csX26" fmla="*/ 61691 w 233991"/>
                    <a:gd name="csY26" fmla="*/ 186098 h 242698"/>
                    <a:gd name="csX27" fmla="*/ 69663 w 233991"/>
                    <a:gd name="csY27" fmla="*/ 179951 h 242698"/>
                    <a:gd name="csX28" fmla="*/ 79107 w 233991"/>
                    <a:gd name="csY28" fmla="*/ 181040 h 242698"/>
                    <a:gd name="csX29" fmla="*/ 75457 w 233991"/>
                    <a:gd name="csY29" fmla="*/ 201337 h 242698"/>
                    <a:gd name="csX30" fmla="*/ 89255 w 233991"/>
                    <a:gd name="csY30" fmla="*/ 191188 h 242698"/>
                    <a:gd name="csX31" fmla="*/ 82372 w 233991"/>
                    <a:gd name="csY31" fmla="*/ 210044 h 242698"/>
                    <a:gd name="csX32" fmla="*/ 97227 w 233991"/>
                    <a:gd name="csY32" fmla="*/ 214398 h 242698"/>
                    <a:gd name="csX33" fmla="*/ 114995 w 233991"/>
                    <a:gd name="csY33" fmla="*/ 213662 h 242698"/>
                    <a:gd name="csX34" fmla="*/ 116083 w 233991"/>
                    <a:gd name="csY34" fmla="*/ 223106 h 242698"/>
                    <a:gd name="csX35" fmla="*/ 130617 w 233991"/>
                    <a:gd name="csY35" fmla="*/ 233255 h 242698"/>
                    <a:gd name="csX36" fmla="*/ 135676 w 233991"/>
                    <a:gd name="csY36" fmla="*/ 242699 h 242698"/>
                    <a:gd name="csX37" fmla="*/ 144384 w 233991"/>
                    <a:gd name="csY37" fmla="*/ 241226 h 242698"/>
                    <a:gd name="csX38" fmla="*/ 141854 w 233991"/>
                    <a:gd name="csY38" fmla="*/ 227460 h 242698"/>
                    <a:gd name="csX39" fmla="*/ 148033 w 233991"/>
                    <a:gd name="csY39" fmla="*/ 213662 h 242698"/>
                    <a:gd name="csX40" fmla="*/ 158182 w 233991"/>
                    <a:gd name="csY40" fmla="*/ 216223 h 242698"/>
                    <a:gd name="csX41" fmla="*/ 177038 w 233991"/>
                    <a:gd name="csY41" fmla="*/ 202425 h 242698"/>
                    <a:gd name="csX42" fmla="*/ 176302 w 233991"/>
                    <a:gd name="csY42" fmla="*/ 196246 h 242698"/>
                    <a:gd name="csX43" fmla="*/ 165801 w 233991"/>
                    <a:gd name="csY43" fmla="*/ 197335 h 242698"/>
                    <a:gd name="csX44" fmla="*/ 163240 w 233991"/>
                    <a:gd name="csY44" fmla="*/ 185009 h 242698"/>
                    <a:gd name="csX45" fmla="*/ 200248 w 233991"/>
                    <a:gd name="csY45" fmla="*/ 167242 h 242698"/>
                    <a:gd name="csX46" fmla="*/ 213310 w 233991"/>
                    <a:gd name="csY46" fmla="*/ 164328 h 242698"/>
                    <a:gd name="csX47" fmla="*/ 219489 w 233991"/>
                    <a:gd name="csY47" fmla="*/ 154916 h 242698"/>
                    <a:gd name="csX48" fmla="*/ 223458 w 233991"/>
                    <a:gd name="csY48" fmla="*/ 149826 h 242698"/>
                    <a:gd name="csX49" fmla="*/ 227812 w 233991"/>
                    <a:gd name="csY49" fmla="*/ 147297 h 242698"/>
                    <a:gd name="csX50" fmla="*/ 233991 w 233991"/>
                    <a:gd name="csY50" fmla="*/ 86342 h 242698"/>
                    <a:gd name="csX51" fmla="*/ 226372 w 233991"/>
                    <a:gd name="csY51" fmla="*/ 90344 h 242698"/>
                    <a:gd name="csX52" fmla="*/ 217664 w 233991"/>
                    <a:gd name="csY52" fmla="*/ 88871 h 242698"/>
                    <a:gd name="csX53" fmla="*/ 203898 w 233991"/>
                    <a:gd name="csY53" fmla="*/ 93961 h 242698"/>
                    <a:gd name="csX54" fmla="*/ 190100 w 233991"/>
                    <a:gd name="csY54" fmla="*/ 77634 h 242698"/>
                    <a:gd name="csX55" fmla="*/ 175597 w 233991"/>
                    <a:gd name="csY55" fmla="*/ 78370 h 242698"/>
                    <a:gd name="csX56" fmla="*/ 158886 w 233991"/>
                    <a:gd name="csY56" fmla="*/ 87783 h 242698"/>
                    <a:gd name="csX57" fmla="*/ 160711 w 233991"/>
                    <a:gd name="csY57" fmla="*/ 68222 h 242698"/>
                    <a:gd name="csX58" fmla="*/ 168682 w 233991"/>
                    <a:gd name="csY58" fmla="*/ 26860 h 242698"/>
                    <a:gd name="csX59" fmla="*/ 161799 w 233991"/>
                    <a:gd name="csY59" fmla="*/ 9796 h 242698"/>
                    <a:gd name="csX60" fmla="*/ 165065 w 233991"/>
                    <a:gd name="csY60" fmla="*/ 6179 h 242698"/>
                    <a:gd name="csX61" fmla="*/ 190836 w 233991"/>
                    <a:gd name="csY61" fmla="*/ 6915 h 242698"/>
                    <a:gd name="csX62" fmla="*/ 222018 w 233991"/>
                    <a:gd name="csY62" fmla="*/ 0 h 2426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233991" h="242698">
                      <a:moveTo>
                        <a:pt x="222018" y="0"/>
                      </a:moveTo>
                      <a:lnTo>
                        <a:pt x="194454" y="1088"/>
                      </a:lnTo>
                      <a:lnTo>
                        <a:pt x="96138" y="4354"/>
                      </a:lnTo>
                      <a:lnTo>
                        <a:pt x="17800" y="6915"/>
                      </a:lnTo>
                      <a:lnTo>
                        <a:pt x="9444" y="6915"/>
                      </a:lnTo>
                      <a:lnTo>
                        <a:pt x="9444" y="15623"/>
                      </a:lnTo>
                      <a:lnTo>
                        <a:pt x="13798" y="37008"/>
                      </a:lnTo>
                      <a:lnTo>
                        <a:pt x="27212" y="35568"/>
                      </a:lnTo>
                      <a:lnTo>
                        <a:pt x="26508" y="45716"/>
                      </a:lnTo>
                      <a:lnTo>
                        <a:pt x="41010" y="54424"/>
                      </a:lnTo>
                      <a:lnTo>
                        <a:pt x="50806" y="53335"/>
                      </a:lnTo>
                      <a:lnTo>
                        <a:pt x="54072" y="46805"/>
                      </a:lnTo>
                      <a:lnTo>
                        <a:pt x="71103" y="44980"/>
                      </a:lnTo>
                      <a:lnTo>
                        <a:pt x="72192" y="52599"/>
                      </a:lnTo>
                      <a:lnTo>
                        <a:pt x="66045" y="56953"/>
                      </a:lnTo>
                      <a:lnTo>
                        <a:pt x="52247" y="68222"/>
                      </a:lnTo>
                      <a:lnTo>
                        <a:pt x="24683" y="80900"/>
                      </a:lnTo>
                      <a:lnTo>
                        <a:pt x="6915" y="88871"/>
                      </a:lnTo>
                      <a:lnTo>
                        <a:pt x="7619" y="101581"/>
                      </a:lnTo>
                      <a:lnTo>
                        <a:pt x="0" y="112113"/>
                      </a:lnTo>
                      <a:lnTo>
                        <a:pt x="11973" y="132762"/>
                      </a:lnTo>
                      <a:lnTo>
                        <a:pt x="8356" y="148001"/>
                      </a:lnTo>
                      <a:lnTo>
                        <a:pt x="14534" y="154180"/>
                      </a:lnTo>
                      <a:lnTo>
                        <a:pt x="24683" y="158534"/>
                      </a:lnTo>
                      <a:lnTo>
                        <a:pt x="23946" y="171243"/>
                      </a:lnTo>
                      <a:lnTo>
                        <a:pt x="47893" y="174861"/>
                      </a:lnTo>
                      <a:lnTo>
                        <a:pt x="61691" y="186098"/>
                      </a:lnTo>
                      <a:lnTo>
                        <a:pt x="69663" y="179951"/>
                      </a:lnTo>
                      <a:lnTo>
                        <a:pt x="79107" y="181040"/>
                      </a:lnTo>
                      <a:lnTo>
                        <a:pt x="75457" y="201337"/>
                      </a:lnTo>
                      <a:lnTo>
                        <a:pt x="89255" y="191188"/>
                      </a:lnTo>
                      <a:lnTo>
                        <a:pt x="82372" y="210044"/>
                      </a:lnTo>
                      <a:lnTo>
                        <a:pt x="97227" y="214398"/>
                      </a:lnTo>
                      <a:lnTo>
                        <a:pt x="114995" y="213662"/>
                      </a:lnTo>
                      <a:lnTo>
                        <a:pt x="116083" y="223106"/>
                      </a:lnTo>
                      <a:lnTo>
                        <a:pt x="130617" y="233255"/>
                      </a:lnTo>
                      <a:lnTo>
                        <a:pt x="135676" y="242699"/>
                      </a:lnTo>
                      <a:lnTo>
                        <a:pt x="144384" y="241226"/>
                      </a:lnTo>
                      <a:lnTo>
                        <a:pt x="141854" y="227460"/>
                      </a:lnTo>
                      <a:lnTo>
                        <a:pt x="148033" y="213662"/>
                      </a:lnTo>
                      <a:lnTo>
                        <a:pt x="158182" y="216223"/>
                      </a:lnTo>
                      <a:lnTo>
                        <a:pt x="177038" y="202425"/>
                      </a:lnTo>
                      <a:lnTo>
                        <a:pt x="176302" y="196246"/>
                      </a:lnTo>
                      <a:lnTo>
                        <a:pt x="165801" y="197335"/>
                      </a:lnTo>
                      <a:lnTo>
                        <a:pt x="163240" y="185009"/>
                      </a:lnTo>
                      <a:lnTo>
                        <a:pt x="200248" y="167242"/>
                      </a:lnTo>
                      <a:lnTo>
                        <a:pt x="213310" y="164328"/>
                      </a:lnTo>
                      <a:lnTo>
                        <a:pt x="219489" y="154916"/>
                      </a:lnTo>
                      <a:lnTo>
                        <a:pt x="223458" y="149826"/>
                      </a:lnTo>
                      <a:lnTo>
                        <a:pt x="227812" y="147297"/>
                      </a:lnTo>
                      <a:lnTo>
                        <a:pt x="233991" y="86342"/>
                      </a:lnTo>
                      <a:lnTo>
                        <a:pt x="226372" y="90344"/>
                      </a:lnTo>
                      <a:lnTo>
                        <a:pt x="217664" y="88871"/>
                      </a:lnTo>
                      <a:lnTo>
                        <a:pt x="203898" y="93961"/>
                      </a:lnTo>
                      <a:lnTo>
                        <a:pt x="190100" y="77634"/>
                      </a:lnTo>
                      <a:lnTo>
                        <a:pt x="175597" y="78370"/>
                      </a:lnTo>
                      <a:lnTo>
                        <a:pt x="158886" y="87783"/>
                      </a:lnTo>
                      <a:lnTo>
                        <a:pt x="160711" y="68222"/>
                      </a:lnTo>
                      <a:lnTo>
                        <a:pt x="168682" y="26860"/>
                      </a:lnTo>
                      <a:lnTo>
                        <a:pt x="161799" y="9796"/>
                      </a:lnTo>
                      <a:lnTo>
                        <a:pt x="165065" y="6179"/>
                      </a:lnTo>
                      <a:lnTo>
                        <a:pt x="190836" y="6915"/>
                      </a:lnTo>
                      <a:lnTo>
                        <a:pt x="22201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4" name="Forma Livre: Forma 193">
                  <a:extLst>
                    <a:ext uri="{FF2B5EF4-FFF2-40B4-BE49-F238E27FC236}">
                      <a16:creationId xmlns:a16="http://schemas.microsoft.com/office/drawing/2014/main" id="{30D6B2E7-2F52-3E34-2685-7A08D7549B9E}"/>
                    </a:ext>
                  </a:extLst>
                </p:cNvPr>
                <p:cNvSpPr/>
                <p:nvPr/>
              </p:nvSpPr>
              <p:spPr>
                <a:xfrm>
                  <a:off x="2635284" y="3423399"/>
                  <a:ext cx="233991" cy="242698"/>
                </a:xfrm>
                <a:custGeom>
                  <a:avLst/>
                  <a:gdLst>
                    <a:gd name="csX0" fmla="*/ 222018 w 233991"/>
                    <a:gd name="csY0" fmla="*/ 0 h 242698"/>
                    <a:gd name="csX1" fmla="*/ 194454 w 233991"/>
                    <a:gd name="csY1" fmla="*/ 1088 h 242698"/>
                    <a:gd name="csX2" fmla="*/ 96138 w 233991"/>
                    <a:gd name="csY2" fmla="*/ 4354 h 242698"/>
                    <a:gd name="csX3" fmla="*/ 17800 w 233991"/>
                    <a:gd name="csY3" fmla="*/ 6915 h 242698"/>
                    <a:gd name="csX4" fmla="*/ 9444 w 233991"/>
                    <a:gd name="csY4" fmla="*/ 6915 h 242698"/>
                    <a:gd name="csX5" fmla="*/ 9444 w 233991"/>
                    <a:gd name="csY5" fmla="*/ 15623 h 242698"/>
                    <a:gd name="csX6" fmla="*/ 13798 w 233991"/>
                    <a:gd name="csY6" fmla="*/ 37008 h 242698"/>
                    <a:gd name="csX7" fmla="*/ 27212 w 233991"/>
                    <a:gd name="csY7" fmla="*/ 35568 h 242698"/>
                    <a:gd name="csX8" fmla="*/ 26508 w 233991"/>
                    <a:gd name="csY8" fmla="*/ 45716 h 242698"/>
                    <a:gd name="csX9" fmla="*/ 41010 w 233991"/>
                    <a:gd name="csY9" fmla="*/ 54424 h 242698"/>
                    <a:gd name="csX10" fmla="*/ 50806 w 233991"/>
                    <a:gd name="csY10" fmla="*/ 53335 h 242698"/>
                    <a:gd name="csX11" fmla="*/ 54072 w 233991"/>
                    <a:gd name="csY11" fmla="*/ 46805 h 242698"/>
                    <a:gd name="csX12" fmla="*/ 71103 w 233991"/>
                    <a:gd name="csY12" fmla="*/ 44980 h 242698"/>
                    <a:gd name="csX13" fmla="*/ 72192 w 233991"/>
                    <a:gd name="csY13" fmla="*/ 52599 h 242698"/>
                    <a:gd name="csX14" fmla="*/ 66045 w 233991"/>
                    <a:gd name="csY14" fmla="*/ 56953 h 242698"/>
                    <a:gd name="csX15" fmla="*/ 52247 w 233991"/>
                    <a:gd name="csY15" fmla="*/ 68222 h 242698"/>
                    <a:gd name="csX16" fmla="*/ 24683 w 233991"/>
                    <a:gd name="csY16" fmla="*/ 80900 h 242698"/>
                    <a:gd name="csX17" fmla="*/ 6915 w 233991"/>
                    <a:gd name="csY17" fmla="*/ 88871 h 242698"/>
                    <a:gd name="csX18" fmla="*/ 7619 w 233991"/>
                    <a:gd name="csY18" fmla="*/ 101581 h 242698"/>
                    <a:gd name="csX19" fmla="*/ 0 w 233991"/>
                    <a:gd name="csY19" fmla="*/ 112113 h 242698"/>
                    <a:gd name="csX20" fmla="*/ 11973 w 233991"/>
                    <a:gd name="csY20" fmla="*/ 132762 h 242698"/>
                    <a:gd name="csX21" fmla="*/ 8356 w 233991"/>
                    <a:gd name="csY21" fmla="*/ 148001 h 242698"/>
                    <a:gd name="csX22" fmla="*/ 14534 w 233991"/>
                    <a:gd name="csY22" fmla="*/ 154180 h 242698"/>
                    <a:gd name="csX23" fmla="*/ 24683 w 233991"/>
                    <a:gd name="csY23" fmla="*/ 158534 h 242698"/>
                    <a:gd name="csX24" fmla="*/ 23946 w 233991"/>
                    <a:gd name="csY24" fmla="*/ 171243 h 242698"/>
                    <a:gd name="csX25" fmla="*/ 47893 w 233991"/>
                    <a:gd name="csY25" fmla="*/ 174861 h 242698"/>
                    <a:gd name="csX26" fmla="*/ 61691 w 233991"/>
                    <a:gd name="csY26" fmla="*/ 186098 h 242698"/>
                    <a:gd name="csX27" fmla="*/ 69663 w 233991"/>
                    <a:gd name="csY27" fmla="*/ 179951 h 242698"/>
                    <a:gd name="csX28" fmla="*/ 79107 w 233991"/>
                    <a:gd name="csY28" fmla="*/ 181040 h 242698"/>
                    <a:gd name="csX29" fmla="*/ 75457 w 233991"/>
                    <a:gd name="csY29" fmla="*/ 201337 h 242698"/>
                    <a:gd name="csX30" fmla="*/ 89255 w 233991"/>
                    <a:gd name="csY30" fmla="*/ 191188 h 242698"/>
                    <a:gd name="csX31" fmla="*/ 82372 w 233991"/>
                    <a:gd name="csY31" fmla="*/ 210044 h 242698"/>
                    <a:gd name="csX32" fmla="*/ 97227 w 233991"/>
                    <a:gd name="csY32" fmla="*/ 214398 h 242698"/>
                    <a:gd name="csX33" fmla="*/ 114995 w 233991"/>
                    <a:gd name="csY33" fmla="*/ 213662 h 242698"/>
                    <a:gd name="csX34" fmla="*/ 116083 w 233991"/>
                    <a:gd name="csY34" fmla="*/ 223106 h 242698"/>
                    <a:gd name="csX35" fmla="*/ 130617 w 233991"/>
                    <a:gd name="csY35" fmla="*/ 233255 h 242698"/>
                    <a:gd name="csX36" fmla="*/ 135676 w 233991"/>
                    <a:gd name="csY36" fmla="*/ 242699 h 242698"/>
                    <a:gd name="csX37" fmla="*/ 144384 w 233991"/>
                    <a:gd name="csY37" fmla="*/ 241226 h 242698"/>
                    <a:gd name="csX38" fmla="*/ 141854 w 233991"/>
                    <a:gd name="csY38" fmla="*/ 227460 h 242698"/>
                    <a:gd name="csX39" fmla="*/ 148033 w 233991"/>
                    <a:gd name="csY39" fmla="*/ 213662 h 242698"/>
                    <a:gd name="csX40" fmla="*/ 158182 w 233991"/>
                    <a:gd name="csY40" fmla="*/ 216223 h 242698"/>
                    <a:gd name="csX41" fmla="*/ 177038 w 233991"/>
                    <a:gd name="csY41" fmla="*/ 202425 h 242698"/>
                    <a:gd name="csX42" fmla="*/ 176302 w 233991"/>
                    <a:gd name="csY42" fmla="*/ 196246 h 242698"/>
                    <a:gd name="csX43" fmla="*/ 165801 w 233991"/>
                    <a:gd name="csY43" fmla="*/ 197335 h 242698"/>
                    <a:gd name="csX44" fmla="*/ 163240 w 233991"/>
                    <a:gd name="csY44" fmla="*/ 185009 h 242698"/>
                    <a:gd name="csX45" fmla="*/ 200248 w 233991"/>
                    <a:gd name="csY45" fmla="*/ 167242 h 242698"/>
                    <a:gd name="csX46" fmla="*/ 213310 w 233991"/>
                    <a:gd name="csY46" fmla="*/ 164328 h 242698"/>
                    <a:gd name="csX47" fmla="*/ 219489 w 233991"/>
                    <a:gd name="csY47" fmla="*/ 154916 h 242698"/>
                    <a:gd name="csX48" fmla="*/ 223458 w 233991"/>
                    <a:gd name="csY48" fmla="*/ 149826 h 242698"/>
                    <a:gd name="csX49" fmla="*/ 227812 w 233991"/>
                    <a:gd name="csY49" fmla="*/ 147297 h 242698"/>
                    <a:gd name="csX50" fmla="*/ 233991 w 233991"/>
                    <a:gd name="csY50" fmla="*/ 86342 h 242698"/>
                    <a:gd name="csX51" fmla="*/ 226372 w 233991"/>
                    <a:gd name="csY51" fmla="*/ 90344 h 242698"/>
                    <a:gd name="csX52" fmla="*/ 217664 w 233991"/>
                    <a:gd name="csY52" fmla="*/ 88871 h 242698"/>
                    <a:gd name="csX53" fmla="*/ 203898 w 233991"/>
                    <a:gd name="csY53" fmla="*/ 93961 h 242698"/>
                    <a:gd name="csX54" fmla="*/ 190100 w 233991"/>
                    <a:gd name="csY54" fmla="*/ 77634 h 242698"/>
                    <a:gd name="csX55" fmla="*/ 175597 w 233991"/>
                    <a:gd name="csY55" fmla="*/ 78370 h 242698"/>
                    <a:gd name="csX56" fmla="*/ 158886 w 233991"/>
                    <a:gd name="csY56" fmla="*/ 87783 h 242698"/>
                    <a:gd name="csX57" fmla="*/ 160711 w 233991"/>
                    <a:gd name="csY57" fmla="*/ 68222 h 242698"/>
                    <a:gd name="csX58" fmla="*/ 168682 w 233991"/>
                    <a:gd name="csY58" fmla="*/ 26860 h 242698"/>
                    <a:gd name="csX59" fmla="*/ 161799 w 233991"/>
                    <a:gd name="csY59" fmla="*/ 9796 h 242698"/>
                    <a:gd name="csX60" fmla="*/ 165065 w 233991"/>
                    <a:gd name="csY60" fmla="*/ 6179 h 242698"/>
                    <a:gd name="csX61" fmla="*/ 190836 w 233991"/>
                    <a:gd name="csY61" fmla="*/ 6915 h 242698"/>
                    <a:gd name="csX62" fmla="*/ 222018 w 233991"/>
                    <a:gd name="csY62" fmla="*/ 0 h 2426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233991" h="242698">
                      <a:moveTo>
                        <a:pt x="222018" y="0"/>
                      </a:moveTo>
                      <a:lnTo>
                        <a:pt x="194454" y="1088"/>
                      </a:lnTo>
                      <a:lnTo>
                        <a:pt x="96138" y="4354"/>
                      </a:lnTo>
                      <a:lnTo>
                        <a:pt x="17800" y="6915"/>
                      </a:lnTo>
                      <a:lnTo>
                        <a:pt x="9444" y="6915"/>
                      </a:lnTo>
                      <a:lnTo>
                        <a:pt x="9444" y="15623"/>
                      </a:lnTo>
                      <a:lnTo>
                        <a:pt x="13798" y="37008"/>
                      </a:lnTo>
                      <a:lnTo>
                        <a:pt x="27212" y="35568"/>
                      </a:lnTo>
                      <a:lnTo>
                        <a:pt x="26508" y="45716"/>
                      </a:lnTo>
                      <a:lnTo>
                        <a:pt x="41010" y="54424"/>
                      </a:lnTo>
                      <a:lnTo>
                        <a:pt x="50806" y="53335"/>
                      </a:lnTo>
                      <a:lnTo>
                        <a:pt x="54072" y="46805"/>
                      </a:lnTo>
                      <a:lnTo>
                        <a:pt x="71103" y="44980"/>
                      </a:lnTo>
                      <a:lnTo>
                        <a:pt x="72192" y="52599"/>
                      </a:lnTo>
                      <a:lnTo>
                        <a:pt x="66045" y="56953"/>
                      </a:lnTo>
                      <a:lnTo>
                        <a:pt x="52247" y="68222"/>
                      </a:lnTo>
                      <a:lnTo>
                        <a:pt x="24683" y="80900"/>
                      </a:lnTo>
                      <a:lnTo>
                        <a:pt x="6915" y="88871"/>
                      </a:lnTo>
                      <a:lnTo>
                        <a:pt x="7619" y="101581"/>
                      </a:lnTo>
                      <a:lnTo>
                        <a:pt x="0" y="112113"/>
                      </a:lnTo>
                      <a:lnTo>
                        <a:pt x="11973" y="132762"/>
                      </a:lnTo>
                      <a:lnTo>
                        <a:pt x="8356" y="148001"/>
                      </a:lnTo>
                      <a:lnTo>
                        <a:pt x="14534" y="154180"/>
                      </a:lnTo>
                      <a:lnTo>
                        <a:pt x="24683" y="158534"/>
                      </a:lnTo>
                      <a:lnTo>
                        <a:pt x="23946" y="171243"/>
                      </a:lnTo>
                      <a:lnTo>
                        <a:pt x="47893" y="174861"/>
                      </a:lnTo>
                      <a:lnTo>
                        <a:pt x="61691" y="186098"/>
                      </a:lnTo>
                      <a:lnTo>
                        <a:pt x="69663" y="179951"/>
                      </a:lnTo>
                      <a:lnTo>
                        <a:pt x="79107" y="181040"/>
                      </a:lnTo>
                      <a:lnTo>
                        <a:pt x="75457" y="201337"/>
                      </a:lnTo>
                      <a:lnTo>
                        <a:pt x="89255" y="191188"/>
                      </a:lnTo>
                      <a:lnTo>
                        <a:pt x="82372" y="210044"/>
                      </a:lnTo>
                      <a:lnTo>
                        <a:pt x="97227" y="214398"/>
                      </a:lnTo>
                      <a:lnTo>
                        <a:pt x="114995" y="213662"/>
                      </a:lnTo>
                      <a:lnTo>
                        <a:pt x="116083" y="223106"/>
                      </a:lnTo>
                      <a:lnTo>
                        <a:pt x="130617" y="233255"/>
                      </a:lnTo>
                      <a:lnTo>
                        <a:pt x="135676" y="242699"/>
                      </a:lnTo>
                      <a:lnTo>
                        <a:pt x="144384" y="241226"/>
                      </a:lnTo>
                      <a:lnTo>
                        <a:pt x="141854" y="227460"/>
                      </a:lnTo>
                      <a:lnTo>
                        <a:pt x="148033" y="213662"/>
                      </a:lnTo>
                      <a:lnTo>
                        <a:pt x="158182" y="216223"/>
                      </a:lnTo>
                      <a:lnTo>
                        <a:pt x="177038" y="202425"/>
                      </a:lnTo>
                      <a:lnTo>
                        <a:pt x="176302" y="196246"/>
                      </a:lnTo>
                      <a:lnTo>
                        <a:pt x="165801" y="197335"/>
                      </a:lnTo>
                      <a:lnTo>
                        <a:pt x="163240" y="185009"/>
                      </a:lnTo>
                      <a:lnTo>
                        <a:pt x="200248" y="167242"/>
                      </a:lnTo>
                      <a:lnTo>
                        <a:pt x="213310" y="164328"/>
                      </a:lnTo>
                      <a:lnTo>
                        <a:pt x="219489" y="154916"/>
                      </a:lnTo>
                      <a:lnTo>
                        <a:pt x="223458" y="149826"/>
                      </a:lnTo>
                      <a:lnTo>
                        <a:pt x="227812" y="147297"/>
                      </a:lnTo>
                      <a:lnTo>
                        <a:pt x="233991" y="86342"/>
                      </a:lnTo>
                      <a:lnTo>
                        <a:pt x="226372" y="90344"/>
                      </a:lnTo>
                      <a:lnTo>
                        <a:pt x="217664" y="88871"/>
                      </a:lnTo>
                      <a:lnTo>
                        <a:pt x="203898" y="93961"/>
                      </a:lnTo>
                      <a:lnTo>
                        <a:pt x="190100" y="77634"/>
                      </a:lnTo>
                      <a:lnTo>
                        <a:pt x="175597" y="78370"/>
                      </a:lnTo>
                      <a:lnTo>
                        <a:pt x="158886" y="87783"/>
                      </a:lnTo>
                      <a:lnTo>
                        <a:pt x="160711" y="68222"/>
                      </a:lnTo>
                      <a:lnTo>
                        <a:pt x="168682" y="26860"/>
                      </a:lnTo>
                      <a:lnTo>
                        <a:pt x="161799" y="9796"/>
                      </a:lnTo>
                      <a:lnTo>
                        <a:pt x="165065" y="6179"/>
                      </a:lnTo>
                      <a:lnTo>
                        <a:pt x="190836" y="6915"/>
                      </a:lnTo>
                      <a:lnTo>
                        <a:pt x="22201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CF78E2BA-AF27-3A3E-FC5D-0913AE301F50}"/>
                    </a:ext>
                  </a:extLst>
                </p:cNvPr>
                <p:cNvSpPr/>
                <p:nvPr/>
              </p:nvSpPr>
              <p:spPr>
                <a:xfrm>
                  <a:off x="2938201" y="5554609"/>
                  <a:ext cx="361311" cy="391403"/>
                </a:xfrm>
                <a:custGeom>
                  <a:avLst/>
                  <a:gdLst>
                    <a:gd name="csX0" fmla="*/ 265909 w 361311"/>
                    <a:gd name="csY0" fmla="*/ 16327 h 391403"/>
                    <a:gd name="csX1" fmla="*/ 272792 w 361311"/>
                    <a:gd name="csY1" fmla="*/ 6146 h 391403"/>
                    <a:gd name="csX2" fmla="*/ 270263 w 361311"/>
                    <a:gd name="csY2" fmla="*/ 1088 h 391403"/>
                    <a:gd name="csX3" fmla="*/ 259730 w 361311"/>
                    <a:gd name="csY3" fmla="*/ 0 h 391403"/>
                    <a:gd name="csX4" fmla="*/ 233991 w 361311"/>
                    <a:gd name="csY4" fmla="*/ 15591 h 391403"/>
                    <a:gd name="csX5" fmla="*/ 220193 w 361311"/>
                    <a:gd name="csY5" fmla="*/ 26827 h 391403"/>
                    <a:gd name="csX6" fmla="*/ 226372 w 361311"/>
                    <a:gd name="csY6" fmla="*/ 37008 h 391403"/>
                    <a:gd name="csX7" fmla="*/ 214014 w 361311"/>
                    <a:gd name="csY7" fmla="*/ 43155 h 391403"/>
                    <a:gd name="csX8" fmla="*/ 226372 w 361311"/>
                    <a:gd name="csY8" fmla="*/ 38801 h 391403"/>
                    <a:gd name="csX9" fmla="*/ 230726 w 361311"/>
                    <a:gd name="csY9" fmla="*/ 63836 h 391403"/>
                    <a:gd name="csX10" fmla="*/ 219457 w 361311"/>
                    <a:gd name="csY10" fmla="*/ 65276 h 391403"/>
                    <a:gd name="csX11" fmla="*/ 203866 w 361311"/>
                    <a:gd name="csY11" fmla="*/ 78338 h 391403"/>
                    <a:gd name="csX12" fmla="*/ 194422 w 361311"/>
                    <a:gd name="csY12" fmla="*/ 80899 h 391403"/>
                    <a:gd name="csX13" fmla="*/ 183921 w 361311"/>
                    <a:gd name="csY13" fmla="*/ 89607 h 391403"/>
                    <a:gd name="csX14" fmla="*/ 178831 w 361311"/>
                    <a:gd name="csY14" fmla="*/ 87782 h 391403"/>
                    <a:gd name="csX15" fmla="*/ 170123 w 361311"/>
                    <a:gd name="csY15" fmla="*/ 100844 h 391403"/>
                    <a:gd name="csX16" fmla="*/ 153796 w 361311"/>
                    <a:gd name="csY16" fmla="*/ 114642 h 391403"/>
                    <a:gd name="csX17" fmla="*/ 154884 w 361311"/>
                    <a:gd name="csY17" fmla="*/ 132410 h 391403"/>
                    <a:gd name="csX18" fmla="*/ 144384 w 361311"/>
                    <a:gd name="csY18" fmla="*/ 130937 h 391403"/>
                    <a:gd name="csX19" fmla="*/ 138589 w 361311"/>
                    <a:gd name="csY19" fmla="*/ 135291 h 391403"/>
                    <a:gd name="csX20" fmla="*/ 136028 w 361311"/>
                    <a:gd name="csY20" fmla="*/ 130937 h 391403"/>
                    <a:gd name="csX21" fmla="*/ 127320 w 361311"/>
                    <a:gd name="csY21" fmla="*/ 139293 h 391403"/>
                    <a:gd name="csX22" fmla="*/ 129145 w 361311"/>
                    <a:gd name="csY22" fmla="*/ 147265 h 391403"/>
                    <a:gd name="csX23" fmla="*/ 127320 w 361311"/>
                    <a:gd name="csY23" fmla="*/ 148001 h 391403"/>
                    <a:gd name="csX24" fmla="*/ 112466 w 361311"/>
                    <a:gd name="csY24" fmla="*/ 147265 h 391403"/>
                    <a:gd name="csX25" fmla="*/ 97227 w 361311"/>
                    <a:gd name="csY25" fmla="*/ 173740 h 391403"/>
                    <a:gd name="csX26" fmla="*/ 99756 w 361311"/>
                    <a:gd name="csY26" fmla="*/ 203866 h 391403"/>
                    <a:gd name="csX27" fmla="*/ 96138 w 361311"/>
                    <a:gd name="csY27" fmla="*/ 210749 h 391403"/>
                    <a:gd name="csX28" fmla="*/ 78339 w 361311"/>
                    <a:gd name="csY28" fmla="*/ 207483 h 391403"/>
                    <a:gd name="csX29" fmla="*/ 5090 w 361311"/>
                    <a:gd name="csY29" fmla="*/ 174829 h 391403"/>
                    <a:gd name="csX30" fmla="*/ 736 w 361311"/>
                    <a:gd name="csY30" fmla="*/ 176301 h 391403"/>
                    <a:gd name="csX31" fmla="*/ 0 w 361311"/>
                    <a:gd name="csY31" fmla="*/ 180655 h 391403"/>
                    <a:gd name="csX32" fmla="*/ 5795 w 361311"/>
                    <a:gd name="csY32" fmla="*/ 187538 h 391403"/>
                    <a:gd name="csX33" fmla="*/ 12710 w 361311"/>
                    <a:gd name="csY33" fmla="*/ 192981 h 391403"/>
                    <a:gd name="csX34" fmla="*/ 20681 w 361311"/>
                    <a:gd name="csY34" fmla="*/ 191892 h 391403"/>
                    <a:gd name="csX35" fmla="*/ 49686 w 361311"/>
                    <a:gd name="csY35" fmla="*/ 225635 h 391403"/>
                    <a:gd name="csX36" fmla="*/ 62043 w 361311"/>
                    <a:gd name="csY36" fmla="*/ 221281 h 391403"/>
                    <a:gd name="csX37" fmla="*/ 67102 w 361311"/>
                    <a:gd name="csY37" fmla="*/ 224546 h 391403"/>
                    <a:gd name="csX38" fmla="*/ 64572 w 361311"/>
                    <a:gd name="csY38" fmla="*/ 236520 h 391403"/>
                    <a:gd name="csX39" fmla="*/ 48245 w 361311"/>
                    <a:gd name="csY39" fmla="*/ 252111 h 391403"/>
                    <a:gd name="csX40" fmla="*/ 48245 w 361311"/>
                    <a:gd name="csY40" fmla="*/ 258994 h 391403"/>
                    <a:gd name="csX41" fmla="*/ 43891 w 361311"/>
                    <a:gd name="csY41" fmla="*/ 270967 h 391403"/>
                    <a:gd name="csX42" fmla="*/ 51511 w 361311"/>
                    <a:gd name="csY42" fmla="*/ 277146 h 391403"/>
                    <a:gd name="csX43" fmla="*/ 79075 w 361311"/>
                    <a:gd name="csY43" fmla="*/ 268438 h 391403"/>
                    <a:gd name="csX44" fmla="*/ 89223 w 361311"/>
                    <a:gd name="csY44" fmla="*/ 278970 h 391403"/>
                    <a:gd name="csX45" fmla="*/ 84165 w 361311"/>
                    <a:gd name="csY45" fmla="*/ 288383 h 391403"/>
                    <a:gd name="csX46" fmla="*/ 92137 w 361311"/>
                    <a:gd name="csY46" fmla="*/ 289119 h 391403"/>
                    <a:gd name="csX47" fmla="*/ 96138 w 361311"/>
                    <a:gd name="csY47" fmla="*/ 295266 h 391403"/>
                    <a:gd name="csX48" fmla="*/ 90312 w 361311"/>
                    <a:gd name="csY48" fmla="*/ 301092 h 391403"/>
                    <a:gd name="csX49" fmla="*/ 97931 w 361311"/>
                    <a:gd name="csY49" fmla="*/ 321037 h 391403"/>
                    <a:gd name="csX50" fmla="*/ 122262 w 361311"/>
                    <a:gd name="csY50" fmla="*/ 320301 h 391403"/>
                    <a:gd name="csX51" fmla="*/ 126232 w 361311"/>
                    <a:gd name="csY51" fmla="*/ 334835 h 391403"/>
                    <a:gd name="csX52" fmla="*/ 134235 w 361311"/>
                    <a:gd name="csY52" fmla="*/ 340630 h 391403"/>
                    <a:gd name="csX53" fmla="*/ 143647 w 361311"/>
                    <a:gd name="csY53" fmla="*/ 346072 h 391403"/>
                    <a:gd name="csX54" fmla="*/ 150530 w 361311"/>
                    <a:gd name="csY54" fmla="*/ 344247 h 391403"/>
                    <a:gd name="csX55" fmla="*/ 161799 w 361311"/>
                    <a:gd name="csY55" fmla="*/ 360574 h 391403"/>
                    <a:gd name="csX56" fmla="*/ 176302 w 361311"/>
                    <a:gd name="csY56" fmla="*/ 363840 h 391403"/>
                    <a:gd name="csX57" fmla="*/ 178126 w 361311"/>
                    <a:gd name="csY57" fmla="*/ 373636 h 391403"/>
                    <a:gd name="csX58" fmla="*/ 180656 w 361311"/>
                    <a:gd name="csY58" fmla="*/ 377638 h 391403"/>
                    <a:gd name="csX59" fmla="*/ 189363 w 361311"/>
                    <a:gd name="csY59" fmla="*/ 381992 h 391403"/>
                    <a:gd name="csX60" fmla="*/ 198776 w 361311"/>
                    <a:gd name="csY60" fmla="*/ 381992 h 391403"/>
                    <a:gd name="csX61" fmla="*/ 203161 w 361311"/>
                    <a:gd name="csY61" fmla="*/ 373636 h 391403"/>
                    <a:gd name="csX62" fmla="*/ 213310 w 361311"/>
                    <a:gd name="csY62" fmla="*/ 371811 h 391403"/>
                    <a:gd name="csX63" fmla="*/ 212574 w 361311"/>
                    <a:gd name="csY63" fmla="*/ 366753 h 391403"/>
                    <a:gd name="csX64" fmla="*/ 226372 w 361311"/>
                    <a:gd name="csY64" fmla="*/ 364929 h 391403"/>
                    <a:gd name="csX65" fmla="*/ 227812 w 361311"/>
                    <a:gd name="csY65" fmla="*/ 359838 h 391403"/>
                    <a:gd name="csX66" fmla="*/ 234695 w 361311"/>
                    <a:gd name="csY66" fmla="*/ 358045 h 391403"/>
                    <a:gd name="csX67" fmla="*/ 235784 w 361311"/>
                    <a:gd name="csY67" fmla="*/ 352955 h 391403"/>
                    <a:gd name="csX68" fmla="*/ 257906 w 361311"/>
                    <a:gd name="csY68" fmla="*/ 346072 h 391403"/>
                    <a:gd name="csX69" fmla="*/ 275321 w 361311"/>
                    <a:gd name="csY69" fmla="*/ 352955 h 391403"/>
                    <a:gd name="csX70" fmla="*/ 284765 w 361311"/>
                    <a:gd name="csY70" fmla="*/ 362399 h 391403"/>
                    <a:gd name="csX71" fmla="*/ 278587 w 361311"/>
                    <a:gd name="csY71" fmla="*/ 375077 h 391403"/>
                    <a:gd name="csX72" fmla="*/ 281148 w 361311"/>
                    <a:gd name="csY72" fmla="*/ 390668 h 391403"/>
                    <a:gd name="csX73" fmla="*/ 285502 w 361311"/>
                    <a:gd name="csY73" fmla="*/ 391404 h 391403"/>
                    <a:gd name="csX74" fmla="*/ 296002 w 361311"/>
                    <a:gd name="csY74" fmla="*/ 379431 h 391403"/>
                    <a:gd name="csX75" fmla="*/ 313066 w 361311"/>
                    <a:gd name="csY75" fmla="*/ 343543 h 391403"/>
                    <a:gd name="csX76" fmla="*/ 336276 w 361311"/>
                    <a:gd name="csY76" fmla="*/ 339189 h 391403"/>
                    <a:gd name="csX77" fmla="*/ 340630 w 361311"/>
                    <a:gd name="csY77" fmla="*/ 344983 h 391403"/>
                    <a:gd name="csX78" fmla="*/ 347513 w 361311"/>
                    <a:gd name="csY78" fmla="*/ 339893 h 391403"/>
                    <a:gd name="csX79" fmla="*/ 344984 w 361311"/>
                    <a:gd name="csY79" fmla="*/ 335539 h 391403"/>
                    <a:gd name="csX80" fmla="*/ 352603 w 361311"/>
                    <a:gd name="csY80" fmla="*/ 324303 h 391403"/>
                    <a:gd name="csX81" fmla="*/ 352603 w 361311"/>
                    <a:gd name="csY81" fmla="*/ 307975 h 391403"/>
                    <a:gd name="csX82" fmla="*/ 361311 w 361311"/>
                    <a:gd name="csY82" fmla="*/ 291648 h 391403"/>
                    <a:gd name="csX83" fmla="*/ 354428 w 361311"/>
                    <a:gd name="csY83" fmla="*/ 279675 h 391403"/>
                    <a:gd name="csX84" fmla="*/ 343159 w 361311"/>
                    <a:gd name="csY84" fmla="*/ 258994 h 391403"/>
                    <a:gd name="csX85" fmla="*/ 275321 w 361311"/>
                    <a:gd name="csY85" fmla="*/ 138557 h 391403"/>
                    <a:gd name="csX86" fmla="*/ 259730 w 361311"/>
                    <a:gd name="csY86" fmla="*/ 108463 h 391403"/>
                    <a:gd name="csX87" fmla="*/ 259730 w 361311"/>
                    <a:gd name="csY87" fmla="*/ 93961 h 391403"/>
                    <a:gd name="csX88" fmla="*/ 263348 w 361311"/>
                    <a:gd name="csY88" fmla="*/ 52599 h 391403"/>
                    <a:gd name="csX89" fmla="*/ 263348 w 361311"/>
                    <a:gd name="csY89" fmla="*/ 51863 h 391403"/>
                    <a:gd name="csX90" fmla="*/ 265909 w 361311"/>
                    <a:gd name="csY90" fmla="*/ 16327 h 39140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</a:cxnLst>
                  <a:rect l="l" t="t" r="r" b="b"/>
                  <a:pathLst>
                    <a:path w="361311" h="391403">
                      <a:moveTo>
                        <a:pt x="265909" y="16327"/>
                      </a:moveTo>
                      <a:lnTo>
                        <a:pt x="272792" y="6146"/>
                      </a:lnTo>
                      <a:lnTo>
                        <a:pt x="270263" y="1088"/>
                      </a:lnTo>
                      <a:lnTo>
                        <a:pt x="259730" y="0"/>
                      </a:lnTo>
                      <a:lnTo>
                        <a:pt x="233991" y="15591"/>
                      </a:lnTo>
                      <a:lnTo>
                        <a:pt x="220193" y="26827"/>
                      </a:lnTo>
                      <a:lnTo>
                        <a:pt x="226372" y="37008"/>
                      </a:lnTo>
                      <a:lnTo>
                        <a:pt x="214014" y="43155"/>
                      </a:lnTo>
                      <a:lnTo>
                        <a:pt x="226372" y="38801"/>
                      </a:lnTo>
                      <a:lnTo>
                        <a:pt x="230726" y="63836"/>
                      </a:lnTo>
                      <a:lnTo>
                        <a:pt x="219457" y="65276"/>
                      </a:lnTo>
                      <a:lnTo>
                        <a:pt x="203866" y="78338"/>
                      </a:lnTo>
                      <a:lnTo>
                        <a:pt x="194422" y="80899"/>
                      </a:lnTo>
                      <a:lnTo>
                        <a:pt x="183921" y="89607"/>
                      </a:lnTo>
                      <a:lnTo>
                        <a:pt x="178831" y="87782"/>
                      </a:lnTo>
                      <a:lnTo>
                        <a:pt x="170123" y="100844"/>
                      </a:lnTo>
                      <a:lnTo>
                        <a:pt x="153796" y="114642"/>
                      </a:lnTo>
                      <a:lnTo>
                        <a:pt x="154884" y="132410"/>
                      </a:lnTo>
                      <a:lnTo>
                        <a:pt x="144384" y="130937"/>
                      </a:lnTo>
                      <a:lnTo>
                        <a:pt x="138589" y="135291"/>
                      </a:lnTo>
                      <a:lnTo>
                        <a:pt x="136028" y="130937"/>
                      </a:lnTo>
                      <a:lnTo>
                        <a:pt x="127320" y="139293"/>
                      </a:lnTo>
                      <a:lnTo>
                        <a:pt x="129145" y="147265"/>
                      </a:lnTo>
                      <a:lnTo>
                        <a:pt x="127320" y="148001"/>
                      </a:lnTo>
                      <a:lnTo>
                        <a:pt x="112466" y="147265"/>
                      </a:lnTo>
                      <a:lnTo>
                        <a:pt x="97227" y="173740"/>
                      </a:lnTo>
                      <a:lnTo>
                        <a:pt x="99756" y="203866"/>
                      </a:lnTo>
                      <a:lnTo>
                        <a:pt x="96138" y="210749"/>
                      </a:lnTo>
                      <a:lnTo>
                        <a:pt x="78339" y="207483"/>
                      </a:lnTo>
                      <a:lnTo>
                        <a:pt x="5090" y="174829"/>
                      </a:lnTo>
                      <a:lnTo>
                        <a:pt x="736" y="176301"/>
                      </a:lnTo>
                      <a:lnTo>
                        <a:pt x="0" y="180655"/>
                      </a:lnTo>
                      <a:lnTo>
                        <a:pt x="5795" y="187538"/>
                      </a:lnTo>
                      <a:lnTo>
                        <a:pt x="12710" y="192981"/>
                      </a:lnTo>
                      <a:lnTo>
                        <a:pt x="20681" y="191892"/>
                      </a:lnTo>
                      <a:lnTo>
                        <a:pt x="49686" y="225635"/>
                      </a:lnTo>
                      <a:lnTo>
                        <a:pt x="62043" y="221281"/>
                      </a:lnTo>
                      <a:lnTo>
                        <a:pt x="67102" y="224546"/>
                      </a:lnTo>
                      <a:lnTo>
                        <a:pt x="64572" y="236520"/>
                      </a:lnTo>
                      <a:lnTo>
                        <a:pt x="48245" y="252111"/>
                      </a:lnTo>
                      <a:lnTo>
                        <a:pt x="48245" y="258994"/>
                      </a:lnTo>
                      <a:lnTo>
                        <a:pt x="43891" y="270967"/>
                      </a:lnTo>
                      <a:lnTo>
                        <a:pt x="51511" y="277146"/>
                      </a:lnTo>
                      <a:lnTo>
                        <a:pt x="79075" y="268438"/>
                      </a:lnTo>
                      <a:lnTo>
                        <a:pt x="89223" y="278970"/>
                      </a:lnTo>
                      <a:lnTo>
                        <a:pt x="84165" y="288383"/>
                      </a:lnTo>
                      <a:lnTo>
                        <a:pt x="92137" y="289119"/>
                      </a:lnTo>
                      <a:lnTo>
                        <a:pt x="96138" y="295266"/>
                      </a:lnTo>
                      <a:lnTo>
                        <a:pt x="90312" y="301092"/>
                      </a:lnTo>
                      <a:lnTo>
                        <a:pt x="97931" y="321037"/>
                      </a:lnTo>
                      <a:lnTo>
                        <a:pt x="122262" y="320301"/>
                      </a:lnTo>
                      <a:lnTo>
                        <a:pt x="126232" y="334835"/>
                      </a:lnTo>
                      <a:lnTo>
                        <a:pt x="134235" y="340630"/>
                      </a:lnTo>
                      <a:lnTo>
                        <a:pt x="143647" y="346072"/>
                      </a:lnTo>
                      <a:lnTo>
                        <a:pt x="150530" y="344247"/>
                      </a:lnTo>
                      <a:lnTo>
                        <a:pt x="161799" y="360574"/>
                      </a:lnTo>
                      <a:lnTo>
                        <a:pt x="176302" y="363840"/>
                      </a:lnTo>
                      <a:lnTo>
                        <a:pt x="178126" y="373636"/>
                      </a:lnTo>
                      <a:lnTo>
                        <a:pt x="180656" y="377638"/>
                      </a:lnTo>
                      <a:lnTo>
                        <a:pt x="189363" y="381992"/>
                      </a:lnTo>
                      <a:lnTo>
                        <a:pt x="198776" y="381992"/>
                      </a:lnTo>
                      <a:lnTo>
                        <a:pt x="203161" y="373636"/>
                      </a:lnTo>
                      <a:lnTo>
                        <a:pt x="213310" y="371811"/>
                      </a:lnTo>
                      <a:lnTo>
                        <a:pt x="212574" y="366753"/>
                      </a:lnTo>
                      <a:lnTo>
                        <a:pt x="226372" y="364929"/>
                      </a:lnTo>
                      <a:lnTo>
                        <a:pt x="227812" y="359838"/>
                      </a:lnTo>
                      <a:lnTo>
                        <a:pt x="234695" y="358045"/>
                      </a:lnTo>
                      <a:lnTo>
                        <a:pt x="235784" y="352955"/>
                      </a:lnTo>
                      <a:lnTo>
                        <a:pt x="257906" y="346072"/>
                      </a:lnTo>
                      <a:lnTo>
                        <a:pt x="275321" y="352955"/>
                      </a:lnTo>
                      <a:lnTo>
                        <a:pt x="284765" y="362399"/>
                      </a:lnTo>
                      <a:lnTo>
                        <a:pt x="278587" y="375077"/>
                      </a:lnTo>
                      <a:lnTo>
                        <a:pt x="281148" y="390668"/>
                      </a:lnTo>
                      <a:lnTo>
                        <a:pt x="285502" y="391404"/>
                      </a:lnTo>
                      <a:lnTo>
                        <a:pt x="296002" y="379431"/>
                      </a:lnTo>
                      <a:lnTo>
                        <a:pt x="313066" y="343543"/>
                      </a:lnTo>
                      <a:lnTo>
                        <a:pt x="336276" y="339189"/>
                      </a:lnTo>
                      <a:lnTo>
                        <a:pt x="340630" y="344983"/>
                      </a:lnTo>
                      <a:lnTo>
                        <a:pt x="347513" y="339893"/>
                      </a:lnTo>
                      <a:lnTo>
                        <a:pt x="344984" y="335539"/>
                      </a:lnTo>
                      <a:lnTo>
                        <a:pt x="352603" y="324303"/>
                      </a:lnTo>
                      <a:lnTo>
                        <a:pt x="352603" y="307975"/>
                      </a:lnTo>
                      <a:lnTo>
                        <a:pt x="361311" y="291648"/>
                      </a:lnTo>
                      <a:lnTo>
                        <a:pt x="354428" y="279675"/>
                      </a:lnTo>
                      <a:lnTo>
                        <a:pt x="343159" y="258994"/>
                      </a:lnTo>
                      <a:lnTo>
                        <a:pt x="275321" y="138557"/>
                      </a:lnTo>
                      <a:lnTo>
                        <a:pt x="259730" y="108463"/>
                      </a:lnTo>
                      <a:lnTo>
                        <a:pt x="259730" y="93961"/>
                      </a:lnTo>
                      <a:lnTo>
                        <a:pt x="263348" y="52599"/>
                      </a:lnTo>
                      <a:lnTo>
                        <a:pt x="263348" y="51863"/>
                      </a:lnTo>
                      <a:lnTo>
                        <a:pt x="265909" y="1632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A82A53C0-D36A-6959-B6D1-AA1C0A0BBCD0}"/>
                    </a:ext>
                  </a:extLst>
                </p:cNvPr>
                <p:cNvSpPr/>
                <p:nvPr/>
              </p:nvSpPr>
              <p:spPr>
                <a:xfrm>
                  <a:off x="1873508" y="6100193"/>
                  <a:ext cx="199511" cy="298563"/>
                </a:xfrm>
                <a:custGeom>
                  <a:avLst/>
                  <a:gdLst>
                    <a:gd name="csX0" fmla="*/ 97931 w 199511"/>
                    <a:gd name="csY0" fmla="*/ 0 h 298563"/>
                    <a:gd name="csX1" fmla="*/ 86694 w 199511"/>
                    <a:gd name="csY1" fmla="*/ 5090 h 298563"/>
                    <a:gd name="csX2" fmla="*/ 81604 w 199511"/>
                    <a:gd name="csY2" fmla="*/ 16327 h 298563"/>
                    <a:gd name="csX3" fmla="*/ 85254 w 199511"/>
                    <a:gd name="csY3" fmla="*/ 27564 h 298563"/>
                    <a:gd name="csX4" fmla="*/ 84165 w 199511"/>
                    <a:gd name="csY4" fmla="*/ 43155 h 298563"/>
                    <a:gd name="csX5" fmla="*/ 70367 w 199511"/>
                    <a:gd name="csY5" fmla="*/ 67101 h 298563"/>
                    <a:gd name="csX6" fmla="*/ 76546 w 199511"/>
                    <a:gd name="csY6" fmla="*/ 66397 h 298563"/>
                    <a:gd name="csX7" fmla="*/ 80163 w 199511"/>
                    <a:gd name="csY7" fmla="*/ 76546 h 298563"/>
                    <a:gd name="csX8" fmla="*/ 97931 w 199511"/>
                    <a:gd name="csY8" fmla="*/ 87783 h 298563"/>
                    <a:gd name="csX9" fmla="*/ 95402 w 199511"/>
                    <a:gd name="csY9" fmla="*/ 109200 h 298563"/>
                    <a:gd name="csX10" fmla="*/ 77250 w 199511"/>
                    <a:gd name="csY10" fmla="*/ 129881 h 298563"/>
                    <a:gd name="csX11" fmla="*/ 83429 w 199511"/>
                    <a:gd name="csY11" fmla="*/ 137469 h 298563"/>
                    <a:gd name="csX12" fmla="*/ 80900 w 199511"/>
                    <a:gd name="csY12" fmla="*/ 142911 h 298563"/>
                    <a:gd name="csX13" fmla="*/ 94666 w 199511"/>
                    <a:gd name="csY13" fmla="*/ 148737 h 298563"/>
                    <a:gd name="csX14" fmla="*/ 97931 w 199511"/>
                    <a:gd name="csY14" fmla="*/ 157445 h 298563"/>
                    <a:gd name="csX15" fmla="*/ 74721 w 199511"/>
                    <a:gd name="csY15" fmla="*/ 171211 h 298563"/>
                    <a:gd name="csX16" fmla="*/ 73280 w 199511"/>
                    <a:gd name="csY16" fmla="*/ 180656 h 298563"/>
                    <a:gd name="csX17" fmla="*/ 55865 w 199511"/>
                    <a:gd name="csY17" fmla="*/ 198775 h 298563"/>
                    <a:gd name="csX18" fmla="*/ 46420 w 199511"/>
                    <a:gd name="csY18" fmla="*/ 198775 h 298563"/>
                    <a:gd name="csX19" fmla="*/ 26476 w 199511"/>
                    <a:gd name="csY19" fmla="*/ 212574 h 298563"/>
                    <a:gd name="csX20" fmla="*/ 0 w 199511"/>
                    <a:gd name="csY20" fmla="*/ 245932 h 298563"/>
                    <a:gd name="csX21" fmla="*/ 9444 w 199511"/>
                    <a:gd name="csY21" fmla="*/ 249582 h 298563"/>
                    <a:gd name="csX22" fmla="*/ 23210 w 199511"/>
                    <a:gd name="csY22" fmla="*/ 247021 h 298563"/>
                    <a:gd name="csX23" fmla="*/ 39537 w 199511"/>
                    <a:gd name="csY23" fmla="*/ 256465 h 298563"/>
                    <a:gd name="csX24" fmla="*/ 42803 w 199511"/>
                    <a:gd name="csY24" fmla="*/ 262260 h 298563"/>
                    <a:gd name="csX25" fmla="*/ 50774 w 199511"/>
                    <a:gd name="csY25" fmla="*/ 261555 h 298563"/>
                    <a:gd name="csX26" fmla="*/ 53335 w 199511"/>
                    <a:gd name="csY26" fmla="*/ 260819 h 298563"/>
                    <a:gd name="csX27" fmla="*/ 71455 w 199511"/>
                    <a:gd name="csY27" fmla="*/ 253936 h 298563"/>
                    <a:gd name="csX28" fmla="*/ 78339 w 199511"/>
                    <a:gd name="csY28" fmla="*/ 253936 h 298563"/>
                    <a:gd name="csX29" fmla="*/ 84165 w 199511"/>
                    <a:gd name="csY29" fmla="*/ 277146 h 298563"/>
                    <a:gd name="csX30" fmla="*/ 99756 w 199511"/>
                    <a:gd name="csY30" fmla="*/ 282941 h 298563"/>
                    <a:gd name="csX31" fmla="*/ 100492 w 199511"/>
                    <a:gd name="csY31" fmla="*/ 294210 h 298563"/>
                    <a:gd name="csX32" fmla="*/ 106639 w 199511"/>
                    <a:gd name="csY32" fmla="*/ 298563 h 298563"/>
                    <a:gd name="csX33" fmla="*/ 116083 w 199511"/>
                    <a:gd name="csY33" fmla="*/ 284766 h 298563"/>
                    <a:gd name="csX34" fmla="*/ 112818 w 199511"/>
                    <a:gd name="csY34" fmla="*/ 271704 h 298563"/>
                    <a:gd name="csX35" fmla="*/ 122262 w 199511"/>
                    <a:gd name="csY35" fmla="*/ 263348 h 298563"/>
                    <a:gd name="csX36" fmla="*/ 129145 w 199511"/>
                    <a:gd name="csY36" fmla="*/ 262260 h 298563"/>
                    <a:gd name="csX37" fmla="*/ 133499 w 199511"/>
                    <a:gd name="csY37" fmla="*/ 252847 h 298563"/>
                    <a:gd name="csX38" fmla="*/ 163592 w 199511"/>
                    <a:gd name="csY38" fmla="*/ 249582 h 298563"/>
                    <a:gd name="csX39" fmla="*/ 186834 w 199511"/>
                    <a:gd name="csY39" fmla="*/ 252111 h 298563"/>
                    <a:gd name="csX40" fmla="*/ 191892 w 199511"/>
                    <a:gd name="csY40" fmla="*/ 249582 h 298563"/>
                    <a:gd name="csX41" fmla="*/ 185746 w 199511"/>
                    <a:gd name="csY41" fmla="*/ 243403 h 298563"/>
                    <a:gd name="csX42" fmla="*/ 199512 w 199511"/>
                    <a:gd name="csY42" fmla="*/ 223811 h 298563"/>
                    <a:gd name="csX43" fmla="*/ 199512 w 199511"/>
                    <a:gd name="csY43" fmla="*/ 200600 h 298563"/>
                    <a:gd name="csX44" fmla="*/ 184273 w 199511"/>
                    <a:gd name="csY44" fmla="*/ 201337 h 298563"/>
                    <a:gd name="csX45" fmla="*/ 176302 w 199511"/>
                    <a:gd name="csY45" fmla="*/ 196983 h 298563"/>
                    <a:gd name="csX46" fmla="*/ 184273 w 199511"/>
                    <a:gd name="csY46" fmla="*/ 180656 h 298563"/>
                    <a:gd name="csX47" fmla="*/ 177390 w 199511"/>
                    <a:gd name="csY47" fmla="*/ 173036 h 298563"/>
                    <a:gd name="csX48" fmla="*/ 189363 w 199511"/>
                    <a:gd name="csY48" fmla="*/ 159974 h 298563"/>
                    <a:gd name="csX49" fmla="*/ 185746 w 199511"/>
                    <a:gd name="csY49" fmla="*/ 149826 h 298563"/>
                    <a:gd name="csX50" fmla="*/ 173036 w 199511"/>
                    <a:gd name="csY50" fmla="*/ 141823 h 298563"/>
                    <a:gd name="csX51" fmla="*/ 173036 w 199511"/>
                    <a:gd name="csY51" fmla="*/ 131674 h 298563"/>
                    <a:gd name="csX52" fmla="*/ 183185 w 199511"/>
                    <a:gd name="csY52" fmla="*/ 119701 h 298563"/>
                    <a:gd name="csX53" fmla="*/ 178831 w 199511"/>
                    <a:gd name="csY53" fmla="*/ 86694 h 298563"/>
                    <a:gd name="csX54" fmla="*/ 186834 w 199511"/>
                    <a:gd name="csY54" fmla="*/ 79075 h 298563"/>
                    <a:gd name="csX55" fmla="*/ 188275 w 199511"/>
                    <a:gd name="csY55" fmla="*/ 60955 h 298563"/>
                    <a:gd name="csX56" fmla="*/ 198071 w 199511"/>
                    <a:gd name="csY56" fmla="*/ 52599 h 298563"/>
                    <a:gd name="csX57" fmla="*/ 193717 w 199511"/>
                    <a:gd name="csY57" fmla="*/ 42067 h 298563"/>
                    <a:gd name="csX58" fmla="*/ 184273 w 199511"/>
                    <a:gd name="csY58" fmla="*/ 43891 h 298563"/>
                    <a:gd name="csX59" fmla="*/ 180656 w 199511"/>
                    <a:gd name="csY59" fmla="*/ 37008 h 298563"/>
                    <a:gd name="csX60" fmla="*/ 175565 w 199511"/>
                    <a:gd name="csY60" fmla="*/ 37713 h 298563"/>
                    <a:gd name="csX61" fmla="*/ 164328 w 199511"/>
                    <a:gd name="csY61" fmla="*/ 31918 h 298563"/>
                    <a:gd name="csX62" fmla="*/ 166153 w 199511"/>
                    <a:gd name="csY62" fmla="*/ 17064 h 298563"/>
                    <a:gd name="csX63" fmla="*/ 162504 w 199511"/>
                    <a:gd name="csY63" fmla="*/ 7619 h 298563"/>
                    <a:gd name="csX64" fmla="*/ 139293 w 199511"/>
                    <a:gd name="csY64" fmla="*/ 10149 h 298563"/>
                    <a:gd name="csX65" fmla="*/ 133499 w 199511"/>
                    <a:gd name="csY65" fmla="*/ 11973 h 298563"/>
                    <a:gd name="csX66" fmla="*/ 97931 w 199511"/>
                    <a:gd name="csY66" fmla="*/ 0 h 29856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199511" h="298563">
                      <a:moveTo>
                        <a:pt x="97931" y="0"/>
                      </a:moveTo>
                      <a:lnTo>
                        <a:pt x="86694" y="5090"/>
                      </a:lnTo>
                      <a:lnTo>
                        <a:pt x="81604" y="16327"/>
                      </a:lnTo>
                      <a:lnTo>
                        <a:pt x="85254" y="27564"/>
                      </a:lnTo>
                      <a:lnTo>
                        <a:pt x="84165" y="43155"/>
                      </a:lnTo>
                      <a:lnTo>
                        <a:pt x="70367" y="67101"/>
                      </a:lnTo>
                      <a:lnTo>
                        <a:pt x="76546" y="66397"/>
                      </a:lnTo>
                      <a:lnTo>
                        <a:pt x="80163" y="76546"/>
                      </a:lnTo>
                      <a:lnTo>
                        <a:pt x="97931" y="87783"/>
                      </a:lnTo>
                      <a:lnTo>
                        <a:pt x="95402" y="109200"/>
                      </a:lnTo>
                      <a:lnTo>
                        <a:pt x="77250" y="129881"/>
                      </a:lnTo>
                      <a:lnTo>
                        <a:pt x="83429" y="137469"/>
                      </a:lnTo>
                      <a:lnTo>
                        <a:pt x="80900" y="142911"/>
                      </a:lnTo>
                      <a:lnTo>
                        <a:pt x="94666" y="148737"/>
                      </a:lnTo>
                      <a:lnTo>
                        <a:pt x="97931" y="157445"/>
                      </a:lnTo>
                      <a:lnTo>
                        <a:pt x="74721" y="171211"/>
                      </a:lnTo>
                      <a:lnTo>
                        <a:pt x="73280" y="180656"/>
                      </a:lnTo>
                      <a:lnTo>
                        <a:pt x="55865" y="198775"/>
                      </a:lnTo>
                      <a:lnTo>
                        <a:pt x="46420" y="198775"/>
                      </a:lnTo>
                      <a:lnTo>
                        <a:pt x="26476" y="212574"/>
                      </a:lnTo>
                      <a:lnTo>
                        <a:pt x="0" y="245932"/>
                      </a:lnTo>
                      <a:lnTo>
                        <a:pt x="9444" y="249582"/>
                      </a:lnTo>
                      <a:lnTo>
                        <a:pt x="23210" y="247021"/>
                      </a:lnTo>
                      <a:lnTo>
                        <a:pt x="39537" y="256465"/>
                      </a:lnTo>
                      <a:lnTo>
                        <a:pt x="42803" y="262260"/>
                      </a:lnTo>
                      <a:lnTo>
                        <a:pt x="50774" y="261555"/>
                      </a:lnTo>
                      <a:lnTo>
                        <a:pt x="53335" y="260819"/>
                      </a:lnTo>
                      <a:lnTo>
                        <a:pt x="71455" y="253936"/>
                      </a:lnTo>
                      <a:lnTo>
                        <a:pt x="78339" y="253936"/>
                      </a:lnTo>
                      <a:lnTo>
                        <a:pt x="84165" y="277146"/>
                      </a:lnTo>
                      <a:lnTo>
                        <a:pt x="99756" y="282941"/>
                      </a:lnTo>
                      <a:lnTo>
                        <a:pt x="100492" y="294210"/>
                      </a:lnTo>
                      <a:lnTo>
                        <a:pt x="106639" y="298563"/>
                      </a:lnTo>
                      <a:lnTo>
                        <a:pt x="116083" y="284766"/>
                      </a:lnTo>
                      <a:lnTo>
                        <a:pt x="112818" y="271704"/>
                      </a:lnTo>
                      <a:lnTo>
                        <a:pt x="122262" y="263348"/>
                      </a:lnTo>
                      <a:lnTo>
                        <a:pt x="129145" y="262260"/>
                      </a:lnTo>
                      <a:lnTo>
                        <a:pt x="133499" y="252847"/>
                      </a:lnTo>
                      <a:lnTo>
                        <a:pt x="163592" y="249582"/>
                      </a:lnTo>
                      <a:lnTo>
                        <a:pt x="186834" y="252111"/>
                      </a:lnTo>
                      <a:lnTo>
                        <a:pt x="191892" y="249582"/>
                      </a:lnTo>
                      <a:lnTo>
                        <a:pt x="185746" y="243403"/>
                      </a:lnTo>
                      <a:lnTo>
                        <a:pt x="199512" y="223811"/>
                      </a:lnTo>
                      <a:lnTo>
                        <a:pt x="199512" y="200600"/>
                      </a:lnTo>
                      <a:lnTo>
                        <a:pt x="184273" y="201337"/>
                      </a:lnTo>
                      <a:lnTo>
                        <a:pt x="176302" y="196983"/>
                      </a:lnTo>
                      <a:lnTo>
                        <a:pt x="184273" y="180656"/>
                      </a:lnTo>
                      <a:lnTo>
                        <a:pt x="177390" y="173036"/>
                      </a:lnTo>
                      <a:lnTo>
                        <a:pt x="189363" y="159974"/>
                      </a:lnTo>
                      <a:lnTo>
                        <a:pt x="185746" y="149826"/>
                      </a:lnTo>
                      <a:lnTo>
                        <a:pt x="173036" y="141823"/>
                      </a:lnTo>
                      <a:lnTo>
                        <a:pt x="173036" y="131674"/>
                      </a:lnTo>
                      <a:lnTo>
                        <a:pt x="183185" y="119701"/>
                      </a:lnTo>
                      <a:lnTo>
                        <a:pt x="178831" y="86694"/>
                      </a:lnTo>
                      <a:lnTo>
                        <a:pt x="186834" y="79075"/>
                      </a:lnTo>
                      <a:lnTo>
                        <a:pt x="188275" y="60955"/>
                      </a:lnTo>
                      <a:lnTo>
                        <a:pt x="198071" y="52599"/>
                      </a:lnTo>
                      <a:lnTo>
                        <a:pt x="193717" y="42067"/>
                      </a:lnTo>
                      <a:lnTo>
                        <a:pt x="184273" y="43891"/>
                      </a:lnTo>
                      <a:lnTo>
                        <a:pt x="180656" y="37008"/>
                      </a:lnTo>
                      <a:lnTo>
                        <a:pt x="175565" y="37713"/>
                      </a:lnTo>
                      <a:lnTo>
                        <a:pt x="164328" y="31918"/>
                      </a:lnTo>
                      <a:lnTo>
                        <a:pt x="166153" y="17064"/>
                      </a:lnTo>
                      <a:lnTo>
                        <a:pt x="162504" y="7619"/>
                      </a:lnTo>
                      <a:lnTo>
                        <a:pt x="139293" y="10149"/>
                      </a:lnTo>
                      <a:lnTo>
                        <a:pt x="133499" y="11973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073802F5-2B02-B477-ED07-4AE20503511D}"/>
                    </a:ext>
                  </a:extLst>
                </p:cNvPr>
                <p:cNvSpPr/>
                <p:nvPr/>
              </p:nvSpPr>
              <p:spPr>
                <a:xfrm>
                  <a:off x="1873508" y="6100193"/>
                  <a:ext cx="199511" cy="298563"/>
                </a:xfrm>
                <a:custGeom>
                  <a:avLst/>
                  <a:gdLst>
                    <a:gd name="csX0" fmla="*/ 97931 w 199511"/>
                    <a:gd name="csY0" fmla="*/ 0 h 298563"/>
                    <a:gd name="csX1" fmla="*/ 86694 w 199511"/>
                    <a:gd name="csY1" fmla="*/ 5090 h 298563"/>
                    <a:gd name="csX2" fmla="*/ 81604 w 199511"/>
                    <a:gd name="csY2" fmla="*/ 16327 h 298563"/>
                    <a:gd name="csX3" fmla="*/ 85254 w 199511"/>
                    <a:gd name="csY3" fmla="*/ 27564 h 298563"/>
                    <a:gd name="csX4" fmla="*/ 84165 w 199511"/>
                    <a:gd name="csY4" fmla="*/ 43155 h 298563"/>
                    <a:gd name="csX5" fmla="*/ 70367 w 199511"/>
                    <a:gd name="csY5" fmla="*/ 67101 h 298563"/>
                    <a:gd name="csX6" fmla="*/ 76546 w 199511"/>
                    <a:gd name="csY6" fmla="*/ 66397 h 298563"/>
                    <a:gd name="csX7" fmla="*/ 80163 w 199511"/>
                    <a:gd name="csY7" fmla="*/ 76546 h 298563"/>
                    <a:gd name="csX8" fmla="*/ 97931 w 199511"/>
                    <a:gd name="csY8" fmla="*/ 87783 h 298563"/>
                    <a:gd name="csX9" fmla="*/ 95402 w 199511"/>
                    <a:gd name="csY9" fmla="*/ 109200 h 298563"/>
                    <a:gd name="csX10" fmla="*/ 77250 w 199511"/>
                    <a:gd name="csY10" fmla="*/ 129881 h 298563"/>
                    <a:gd name="csX11" fmla="*/ 83429 w 199511"/>
                    <a:gd name="csY11" fmla="*/ 137469 h 298563"/>
                    <a:gd name="csX12" fmla="*/ 80900 w 199511"/>
                    <a:gd name="csY12" fmla="*/ 142911 h 298563"/>
                    <a:gd name="csX13" fmla="*/ 94666 w 199511"/>
                    <a:gd name="csY13" fmla="*/ 148737 h 298563"/>
                    <a:gd name="csX14" fmla="*/ 97931 w 199511"/>
                    <a:gd name="csY14" fmla="*/ 157445 h 298563"/>
                    <a:gd name="csX15" fmla="*/ 74721 w 199511"/>
                    <a:gd name="csY15" fmla="*/ 171211 h 298563"/>
                    <a:gd name="csX16" fmla="*/ 73280 w 199511"/>
                    <a:gd name="csY16" fmla="*/ 180656 h 298563"/>
                    <a:gd name="csX17" fmla="*/ 55865 w 199511"/>
                    <a:gd name="csY17" fmla="*/ 198775 h 298563"/>
                    <a:gd name="csX18" fmla="*/ 46420 w 199511"/>
                    <a:gd name="csY18" fmla="*/ 198775 h 298563"/>
                    <a:gd name="csX19" fmla="*/ 26476 w 199511"/>
                    <a:gd name="csY19" fmla="*/ 212574 h 298563"/>
                    <a:gd name="csX20" fmla="*/ 0 w 199511"/>
                    <a:gd name="csY20" fmla="*/ 245932 h 298563"/>
                    <a:gd name="csX21" fmla="*/ 9444 w 199511"/>
                    <a:gd name="csY21" fmla="*/ 249582 h 298563"/>
                    <a:gd name="csX22" fmla="*/ 23210 w 199511"/>
                    <a:gd name="csY22" fmla="*/ 247021 h 298563"/>
                    <a:gd name="csX23" fmla="*/ 39537 w 199511"/>
                    <a:gd name="csY23" fmla="*/ 256465 h 298563"/>
                    <a:gd name="csX24" fmla="*/ 42803 w 199511"/>
                    <a:gd name="csY24" fmla="*/ 262260 h 298563"/>
                    <a:gd name="csX25" fmla="*/ 50774 w 199511"/>
                    <a:gd name="csY25" fmla="*/ 261555 h 298563"/>
                    <a:gd name="csX26" fmla="*/ 53335 w 199511"/>
                    <a:gd name="csY26" fmla="*/ 260819 h 298563"/>
                    <a:gd name="csX27" fmla="*/ 71455 w 199511"/>
                    <a:gd name="csY27" fmla="*/ 253936 h 298563"/>
                    <a:gd name="csX28" fmla="*/ 78339 w 199511"/>
                    <a:gd name="csY28" fmla="*/ 253936 h 298563"/>
                    <a:gd name="csX29" fmla="*/ 84165 w 199511"/>
                    <a:gd name="csY29" fmla="*/ 277146 h 298563"/>
                    <a:gd name="csX30" fmla="*/ 99756 w 199511"/>
                    <a:gd name="csY30" fmla="*/ 282941 h 298563"/>
                    <a:gd name="csX31" fmla="*/ 100492 w 199511"/>
                    <a:gd name="csY31" fmla="*/ 294210 h 298563"/>
                    <a:gd name="csX32" fmla="*/ 106639 w 199511"/>
                    <a:gd name="csY32" fmla="*/ 298563 h 298563"/>
                    <a:gd name="csX33" fmla="*/ 116083 w 199511"/>
                    <a:gd name="csY33" fmla="*/ 284766 h 298563"/>
                    <a:gd name="csX34" fmla="*/ 112818 w 199511"/>
                    <a:gd name="csY34" fmla="*/ 271704 h 298563"/>
                    <a:gd name="csX35" fmla="*/ 122262 w 199511"/>
                    <a:gd name="csY35" fmla="*/ 263348 h 298563"/>
                    <a:gd name="csX36" fmla="*/ 129145 w 199511"/>
                    <a:gd name="csY36" fmla="*/ 262260 h 298563"/>
                    <a:gd name="csX37" fmla="*/ 133499 w 199511"/>
                    <a:gd name="csY37" fmla="*/ 252847 h 298563"/>
                    <a:gd name="csX38" fmla="*/ 163592 w 199511"/>
                    <a:gd name="csY38" fmla="*/ 249582 h 298563"/>
                    <a:gd name="csX39" fmla="*/ 186834 w 199511"/>
                    <a:gd name="csY39" fmla="*/ 252111 h 298563"/>
                    <a:gd name="csX40" fmla="*/ 191892 w 199511"/>
                    <a:gd name="csY40" fmla="*/ 249582 h 298563"/>
                    <a:gd name="csX41" fmla="*/ 185746 w 199511"/>
                    <a:gd name="csY41" fmla="*/ 243403 h 298563"/>
                    <a:gd name="csX42" fmla="*/ 199512 w 199511"/>
                    <a:gd name="csY42" fmla="*/ 223811 h 298563"/>
                    <a:gd name="csX43" fmla="*/ 199512 w 199511"/>
                    <a:gd name="csY43" fmla="*/ 200600 h 298563"/>
                    <a:gd name="csX44" fmla="*/ 184273 w 199511"/>
                    <a:gd name="csY44" fmla="*/ 201337 h 298563"/>
                    <a:gd name="csX45" fmla="*/ 176302 w 199511"/>
                    <a:gd name="csY45" fmla="*/ 196983 h 298563"/>
                    <a:gd name="csX46" fmla="*/ 184273 w 199511"/>
                    <a:gd name="csY46" fmla="*/ 180656 h 298563"/>
                    <a:gd name="csX47" fmla="*/ 177390 w 199511"/>
                    <a:gd name="csY47" fmla="*/ 173036 h 298563"/>
                    <a:gd name="csX48" fmla="*/ 189363 w 199511"/>
                    <a:gd name="csY48" fmla="*/ 159974 h 298563"/>
                    <a:gd name="csX49" fmla="*/ 185746 w 199511"/>
                    <a:gd name="csY49" fmla="*/ 149826 h 298563"/>
                    <a:gd name="csX50" fmla="*/ 173036 w 199511"/>
                    <a:gd name="csY50" fmla="*/ 141823 h 298563"/>
                    <a:gd name="csX51" fmla="*/ 173036 w 199511"/>
                    <a:gd name="csY51" fmla="*/ 131674 h 298563"/>
                    <a:gd name="csX52" fmla="*/ 183185 w 199511"/>
                    <a:gd name="csY52" fmla="*/ 119701 h 298563"/>
                    <a:gd name="csX53" fmla="*/ 178831 w 199511"/>
                    <a:gd name="csY53" fmla="*/ 86694 h 298563"/>
                    <a:gd name="csX54" fmla="*/ 186834 w 199511"/>
                    <a:gd name="csY54" fmla="*/ 79075 h 298563"/>
                    <a:gd name="csX55" fmla="*/ 188275 w 199511"/>
                    <a:gd name="csY55" fmla="*/ 60955 h 298563"/>
                    <a:gd name="csX56" fmla="*/ 198071 w 199511"/>
                    <a:gd name="csY56" fmla="*/ 52599 h 298563"/>
                    <a:gd name="csX57" fmla="*/ 193717 w 199511"/>
                    <a:gd name="csY57" fmla="*/ 42067 h 298563"/>
                    <a:gd name="csX58" fmla="*/ 184273 w 199511"/>
                    <a:gd name="csY58" fmla="*/ 43891 h 298563"/>
                    <a:gd name="csX59" fmla="*/ 180656 w 199511"/>
                    <a:gd name="csY59" fmla="*/ 37008 h 298563"/>
                    <a:gd name="csX60" fmla="*/ 175565 w 199511"/>
                    <a:gd name="csY60" fmla="*/ 37713 h 298563"/>
                    <a:gd name="csX61" fmla="*/ 164328 w 199511"/>
                    <a:gd name="csY61" fmla="*/ 31918 h 298563"/>
                    <a:gd name="csX62" fmla="*/ 166153 w 199511"/>
                    <a:gd name="csY62" fmla="*/ 17064 h 298563"/>
                    <a:gd name="csX63" fmla="*/ 162504 w 199511"/>
                    <a:gd name="csY63" fmla="*/ 7619 h 298563"/>
                    <a:gd name="csX64" fmla="*/ 139293 w 199511"/>
                    <a:gd name="csY64" fmla="*/ 10149 h 298563"/>
                    <a:gd name="csX65" fmla="*/ 133499 w 199511"/>
                    <a:gd name="csY65" fmla="*/ 11973 h 298563"/>
                    <a:gd name="csX66" fmla="*/ 97931 w 199511"/>
                    <a:gd name="csY66" fmla="*/ 0 h 29856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199511" h="298563">
                      <a:moveTo>
                        <a:pt x="97931" y="0"/>
                      </a:moveTo>
                      <a:lnTo>
                        <a:pt x="86694" y="5090"/>
                      </a:lnTo>
                      <a:lnTo>
                        <a:pt x="81604" y="16327"/>
                      </a:lnTo>
                      <a:lnTo>
                        <a:pt x="85254" y="27564"/>
                      </a:lnTo>
                      <a:lnTo>
                        <a:pt x="84165" y="43155"/>
                      </a:lnTo>
                      <a:lnTo>
                        <a:pt x="70367" y="67101"/>
                      </a:lnTo>
                      <a:lnTo>
                        <a:pt x="76546" y="66397"/>
                      </a:lnTo>
                      <a:lnTo>
                        <a:pt x="80163" y="76546"/>
                      </a:lnTo>
                      <a:lnTo>
                        <a:pt x="97931" y="87783"/>
                      </a:lnTo>
                      <a:lnTo>
                        <a:pt x="95402" y="109200"/>
                      </a:lnTo>
                      <a:lnTo>
                        <a:pt x="77250" y="129881"/>
                      </a:lnTo>
                      <a:lnTo>
                        <a:pt x="83429" y="137469"/>
                      </a:lnTo>
                      <a:lnTo>
                        <a:pt x="80900" y="142911"/>
                      </a:lnTo>
                      <a:lnTo>
                        <a:pt x="94666" y="148737"/>
                      </a:lnTo>
                      <a:lnTo>
                        <a:pt x="97931" y="157445"/>
                      </a:lnTo>
                      <a:lnTo>
                        <a:pt x="74721" y="171211"/>
                      </a:lnTo>
                      <a:lnTo>
                        <a:pt x="73280" y="180656"/>
                      </a:lnTo>
                      <a:lnTo>
                        <a:pt x="55865" y="198775"/>
                      </a:lnTo>
                      <a:lnTo>
                        <a:pt x="46420" y="198775"/>
                      </a:lnTo>
                      <a:lnTo>
                        <a:pt x="26476" y="212574"/>
                      </a:lnTo>
                      <a:lnTo>
                        <a:pt x="0" y="245932"/>
                      </a:lnTo>
                      <a:lnTo>
                        <a:pt x="9444" y="249582"/>
                      </a:lnTo>
                      <a:lnTo>
                        <a:pt x="23210" y="247021"/>
                      </a:lnTo>
                      <a:lnTo>
                        <a:pt x="39537" y="256465"/>
                      </a:lnTo>
                      <a:lnTo>
                        <a:pt x="42803" y="262260"/>
                      </a:lnTo>
                      <a:lnTo>
                        <a:pt x="50774" y="261555"/>
                      </a:lnTo>
                      <a:lnTo>
                        <a:pt x="53335" y="260819"/>
                      </a:lnTo>
                      <a:lnTo>
                        <a:pt x="71455" y="253936"/>
                      </a:lnTo>
                      <a:lnTo>
                        <a:pt x="78339" y="253936"/>
                      </a:lnTo>
                      <a:lnTo>
                        <a:pt x="84165" y="277146"/>
                      </a:lnTo>
                      <a:lnTo>
                        <a:pt x="99756" y="282941"/>
                      </a:lnTo>
                      <a:lnTo>
                        <a:pt x="100492" y="294210"/>
                      </a:lnTo>
                      <a:lnTo>
                        <a:pt x="106639" y="298563"/>
                      </a:lnTo>
                      <a:lnTo>
                        <a:pt x="116083" y="284766"/>
                      </a:lnTo>
                      <a:lnTo>
                        <a:pt x="112818" y="271704"/>
                      </a:lnTo>
                      <a:lnTo>
                        <a:pt x="122262" y="263348"/>
                      </a:lnTo>
                      <a:lnTo>
                        <a:pt x="129145" y="262260"/>
                      </a:lnTo>
                      <a:lnTo>
                        <a:pt x="133499" y="252847"/>
                      </a:lnTo>
                      <a:lnTo>
                        <a:pt x="163592" y="249582"/>
                      </a:lnTo>
                      <a:lnTo>
                        <a:pt x="186834" y="252111"/>
                      </a:lnTo>
                      <a:lnTo>
                        <a:pt x="191892" y="249582"/>
                      </a:lnTo>
                      <a:lnTo>
                        <a:pt x="185746" y="243403"/>
                      </a:lnTo>
                      <a:lnTo>
                        <a:pt x="199512" y="223811"/>
                      </a:lnTo>
                      <a:lnTo>
                        <a:pt x="199512" y="200600"/>
                      </a:lnTo>
                      <a:lnTo>
                        <a:pt x="184273" y="201337"/>
                      </a:lnTo>
                      <a:lnTo>
                        <a:pt x="176302" y="196983"/>
                      </a:lnTo>
                      <a:lnTo>
                        <a:pt x="184273" y="180656"/>
                      </a:lnTo>
                      <a:lnTo>
                        <a:pt x="177390" y="173036"/>
                      </a:lnTo>
                      <a:lnTo>
                        <a:pt x="189363" y="159974"/>
                      </a:lnTo>
                      <a:lnTo>
                        <a:pt x="185746" y="149826"/>
                      </a:lnTo>
                      <a:lnTo>
                        <a:pt x="173036" y="141823"/>
                      </a:lnTo>
                      <a:lnTo>
                        <a:pt x="173036" y="131674"/>
                      </a:lnTo>
                      <a:lnTo>
                        <a:pt x="183185" y="119701"/>
                      </a:lnTo>
                      <a:lnTo>
                        <a:pt x="178831" y="86694"/>
                      </a:lnTo>
                      <a:lnTo>
                        <a:pt x="186834" y="79075"/>
                      </a:lnTo>
                      <a:lnTo>
                        <a:pt x="188275" y="60955"/>
                      </a:lnTo>
                      <a:lnTo>
                        <a:pt x="198071" y="52599"/>
                      </a:lnTo>
                      <a:lnTo>
                        <a:pt x="193717" y="42067"/>
                      </a:lnTo>
                      <a:lnTo>
                        <a:pt x="184273" y="43891"/>
                      </a:lnTo>
                      <a:lnTo>
                        <a:pt x="180656" y="37008"/>
                      </a:lnTo>
                      <a:lnTo>
                        <a:pt x="175565" y="37713"/>
                      </a:lnTo>
                      <a:lnTo>
                        <a:pt x="164328" y="31918"/>
                      </a:lnTo>
                      <a:lnTo>
                        <a:pt x="166153" y="17064"/>
                      </a:lnTo>
                      <a:lnTo>
                        <a:pt x="162504" y="7619"/>
                      </a:lnTo>
                      <a:lnTo>
                        <a:pt x="139293" y="10149"/>
                      </a:lnTo>
                      <a:lnTo>
                        <a:pt x="133499" y="11973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8" name="Forma Livre: Forma 197">
                  <a:extLst>
                    <a:ext uri="{FF2B5EF4-FFF2-40B4-BE49-F238E27FC236}">
                      <a16:creationId xmlns:a16="http://schemas.microsoft.com/office/drawing/2014/main" id="{6AB98DA3-1EED-D080-92EE-8C1D26226C38}"/>
                    </a:ext>
                  </a:extLst>
                </p:cNvPr>
                <p:cNvSpPr/>
                <p:nvPr/>
              </p:nvSpPr>
              <p:spPr>
                <a:xfrm>
                  <a:off x="1873508" y="6100193"/>
                  <a:ext cx="199511" cy="298563"/>
                </a:xfrm>
                <a:custGeom>
                  <a:avLst/>
                  <a:gdLst>
                    <a:gd name="csX0" fmla="*/ 97931 w 199511"/>
                    <a:gd name="csY0" fmla="*/ 0 h 298563"/>
                    <a:gd name="csX1" fmla="*/ 86694 w 199511"/>
                    <a:gd name="csY1" fmla="*/ 5090 h 298563"/>
                    <a:gd name="csX2" fmla="*/ 81604 w 199511"/>
                    <a:gd name="csY2" fmla="*/ 16327 h 298563"/>
                    <a:gd name="csX3" fmla="*/ 85254 w 199511"/>
                    <a:gd name="csY3" fmla="*/ 27564 h 298563"/>
                    <a:gd name="csX4" fmla="*/ 84165 w 199511"/>
                    <a:gd name="csY4" fmla="*/ 43155 h 298563"/>
                    <a:gd name="csX5" fmla="*/ 70367 w 199511"/>
                    <a:gd name="csY5" fmla="*/ 67101 h 298563"/>
                    <a:gd name="csX6" fmla="*/ 76546 w 199511"/>
                    <a:gd name="csY6" fmla="*/ 66397 h 298563"/>
                    <a:gd name="csX7" fmla="*/ 80163 w 199511"/>
                    <a:gd name="csY7" fmla="*/ 76546 h 298563"/>
                    <a:gd name="csX8" fmla="*/ 97931 w 199511"/>
                    <a:gd name="csY8" fmla="*/ 87783 h 298563"/>
                    <a:gd name="csX9" fmla="*/ 95402 w 199511"/>
                    <a:gd name="csY9" fmla="*/ 109200 h 298563"/>
                    <a:gd name="csX10" fmla="*/ 77250 w 199511"/>
                    <a:gd name="csY10" fmla="*/ 129881 h 298563"/>
                    <a:gd name="csX11" fmla="*/ 83429 w 199511"/>
                    <a:gd name="csY11" fmla="*/ 137469 h 298563"/>
                    <a:gd name="csX12" fmla="*/ 80900 w 199511"/>
                    <a:gd name="csY12" fmla="*/ 142911 h 298563"/>
                    <a:gd name="csX13" fmla="*/ 94666 w 199511"/>
                    <a:gd name="csY13" fmla="*/ 148737 h 298563"/>
                    <a:gd name="csX14" fmla="*/ 97931 w 199511"/>
                    <a:gd name="csY14" fmla="*/ 157445 h 298563"/>
                    <a:gd name="csX15" fmla="*/ 74721 w 199511"/>
                    <a:gd name="csY15" fmla="*/ 171211 h 298563"/>
                    <a:gd name="csX16" fmla="*/ 73280 w 199511"/>
                    <a:gd name="csY16" fmla="*/ 180656 h 298563"/>
                    <a:gd name="csX17" fmla="*/ 55865 w 199511"/>
                    <a:gd name="csY17" fmla="*/ 198775 h 298563"/>
                    <a:gd name="csX18" fmla="*/ 46420 w 199511"/>
                    <a:gd name="csY18" fmla="*/ 198775 h 298563"/>
                    <a:gd name="csX19" fmla="*/ 26476 w 199511"/>
                    <a:gd name="csY19" fmla="*/ 212574 h 298563"/>
                    <a:gd name="csX20" fmla="*/ 0 w 199511"/>
                    <a:gd name="csY20" fmla="*/ 245932 h 298563"/>
                    <a:gd name="csX21" fmla="*/ 9444 w 199511"/>
                    <a:gd name="csY21" fmla="*/ 249582 h 298563"/>
                    <a:gd name="csX22" fmla="*/ 23210 w 199511"/>
                    <a:gd name="csY22" fmla="*/ 247021 h 298563"/>
                    <a:gd name="csX23" fmla="*/ 39537 w 199511"/>
                    <a:gd name="csY23" fmla="*/ 256465 h 298563"/>
                    <a:gd name="csX24" fmla="*/ 42803 w 199511"/>
                    <a:gd name="csY24" fmla="*/ 262260 h 298563"/>
                    <a:gd name="csX25" fmla="*/ 50774 w 199511"/>
                    <a:gd name="csY25" fmla="*/ 261555 h 298563"/>
                    <a:gd name="csX26" fmla="*/ 53335 w 199511"/>
                    <a:gd name="csY26" fmla="*/ 260819 h 298563"/>
                    <a:gd name="csX27" fmla="*/ 71455 w 199511"/>
                    <a:gd name="csY27" fmla="*/ 253936 h 298563"/>
                    <a:gd name="csX28" fmla="*/ 78339 w 199511"/>
                    <a:gd name="csY28" fmla="*/ 253936 h 298563"/>
                    <a:gd name="csX29" fmla="*/ 84165 w 199511"/>
                    <a:gd name="csY29" fmla="*/ 277146 h 298563"/>
                    <a:gd name="csX30" fmla="*/ 99756 w 199511"/>
                    <a:gd name="csY30" fmla="*/ 282941 h 298563"/>
                    <a:gd name="csX31" fmla="*/ 100492 w 199511"/>
                    <a:gd name="csY31" fmla="*/ 294210 h 298563"/>
                    <a:gd name="csX32" fmla="*/ 106639 w 199511"/>
                    <a:gd name="csY32" fmla="*/ 298563 h 298563"/>
                    <a:gd name="csX33" fmla="*/ 116083 w 199511"/>
                    <a:gd name="csY33" fmla="*/ 284766 h 298563"/>
                    <a:gd name="csX34" fmla="*/ 112818 w 199511"/>
                    <a:gd name="csY34" fmla="*/ 271704 h 298563"/>
                    <a:gd name="csX35" fmla="*/ 122262 w 199511"/>
                    <a:gd name="csY35" fmla="*/ 263348 h 298563"/>
                    <a:gd name="csX36" fmla="*/ 129145 w 199511"/>
                    <a:gd name="csY36" fmla="*/ 262260 h 298563"/>
                    <a:gd name="csX37" fmla="*/ 133499 w 199511"/>
                    <a:gd name="csY37" fmla="*/ 252847 h 298563"/>
                    <a:gd name="csX38" fmla="*/ 163592 w 199511"/>
                    <a:gd name="csY38" fmla="*/ 249582 h 298563"/>
                    <a:gd name="csX39" fmla="*/ 186834 w 199511"/>
                    <a:gd name="csY39" fmla="*/ 252111 h 298563"/>
                    <a:gd name="csX40" fmla="*/ 191892 w 199511"/>
                    <a:gd name="csY40" fmla="*/ 249582 h 298563"/>
                    <a:gd name="csX41" fmla="*/ 185746 w 199511"/>
                    <a:gd name="csY41" fmla="*/ 243403 h 298563"/>
                    <a:gd name="csX42" fmla="*/ 199512 w 199511"/>
                    <a:gd name="csY42" fmla="*/ 223811 h 298563"/>
                    <a:gd name="csX43" fmla="*/ 199512 w 199511"/>
                    <a:gd name="csY43" fmla="*/ 200600 h 298563"/>
                    <a:gd name="csX44" fmla="*/ 184273 w 199511"/>
                    <a:gd name="csY44" fmla="*/ 201337 h 298563"/>
                    <a:gd name="csX45" fmla="*/ 176302 w 199511"/>
                    <a:gd name="csY45" fmla="*/ 196983 h 298563"/>
                    <a:gd name="csX46" fmla="*/ 184273 w 199511"/>
                    <a:gd name="csY46" fmla="*/ 180656 h 298563"/>
                    <a:gd name="csX47" fmla="*/ 177390 w 199511"/>
                    <a:gd name="csY47" fmla="*/ 173036 h 298563"/>
                    <a:gd name="csX48" fmla="*/ 189363 w 199511"/>
                    <a:gd name="csY48" fmla="*/ 159974 h 298563"/>
                    <a:gd name="csX49" fmla="*/ 185746 w 199511"/>
                    <a:gd name="csY49" fmla="*/ 149826 h 298563"/>
                    <a:gd name="csX50" fmla="*/ 173036 w 199511"/>
                    <a:gd name="csY50" fmla="*/ 141823 h 298563"/>
                    <a:gd name="csX51" fmla="*/ 173036 w 199511"/>
                    <a:gd name="csY51" fmla="*/ 131674 h 298563"/>
                    <a:gd name="csX52" fmla="*/ 183185 w 199511"/>
                    <a:gd name="csY52" fmla="*/ 119701 h 298563"/>
                    <a:gd name="csX53" fmla="*/ 178831 w 199511"/>
                    <a:gd name="csY53" fmla="*/ 86694 h 298563"/>
                    <a:gd name="csX54" fmla="*/ 186834 w 199511"/>
                    <a:gd name="csY54" fmla="*/ 79075 h 298563"/>
                    <a:gd name="csX55" fmla="*/ 188275 w 199511"/>
                    <a:gd name="csY55" fmla="*/ 60955 h 298563"/>
                    <a:gd name="csX56" fmla="*/ 198071 w 199511"/>
                    <a:gd name="csY56" fmla="*/ 52599 h 298563"/>
                    <a:gd name="csX57" fmla="*/ 193717 w 199511"/>
                    <a:gd name="csY57" fmla="*/ 42067 h 298563"/>
                    <a:gd name="csX58" fmla="*/ 184273 w 199511"/>
                    <a:gd name="csY58" fmla="*/ 43891 h 298563"/>
                    <a:gd name="csX59" fmla="*/ 180656 w 199511"/>
                    <a:gd name="csY59" fmla="*/ 37008 h 298563"/>
                    <a:gd name="csX60" fmla="*/ 175565 w 199511"/>
                    <a:gd name="csY60" fmla="*/ 37713 h 298563"/>
                    <a:gd name="csX61" fmla="*/ 164328 w 199511"/>
                    <a:gd name="csY61" fmla="*/ 31918 h 298563"/>
                    <a:gd name="csX62" fmla="*/ 166153 w 199511"/>
                    <a:gd name="csY62" fmla="*/ 17064 h 298563"/>
                    <a:gd name="csX63" fmla="*/ 162504 w 199511"/>
                    <a:gd name="csY63" fmla="*/ 7619 h 298563"/>
                    <a:gd name="csX64" fmla="*/ 139293 w 199511"/>
                    <a:gd name="csY64" fmla="*/ 10149 h 298563"/>
                    <a:gd name="csX65" fmla="*/ 133499 w 199511"/>
                    <a:gd name="csY65" fmla="*/ 11973 h 298563"/>
                    <a:gd name="csX66" fmla="*/ 97931 w 199511"/>
                    <a:gd name="csY66" fmla="*/ 0 h 29856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199511" h="298563">
                      <a:moveTo>
                        <a:pt x="97931" y="0"/>
                      </a:moveTo>
                      <a:lnTo>
                        <a:pt x="86694" y="5090"/>
                      </a:lnTo>
                      <a:lnTo>
                        <a:pt x="81604" y="16327"/>
                      </a:lnTo>
                      <a:lnTo>
                        <a:pt x="85254" y="27564"/>
                      </a:lnTo>
                      <a:lnTo>
                        <a:pt x="84165" y="43155"/>
                      </a:lnTo>
                      <a:lnTo>
                        <a:pt x="70367" y="67101"/>
                      </a:lnTo>
                      <a:lnTo>
                        <a:pt x="76546" y="66397"/>
                      </a:lnTo>
                      <a:lnTo>
                        <a:pt x="80163" y="76546"/>
                      </a:lnTo>
                      <a:lnTo>
                        <a:pt x="97931" y="87783"/>
                      </a:lnTo>
                      <a:lnTo>
                        <a:pt x="95402" y="109200"/>
                      </a:lnTo>
                      <a:lnTo>
                        <a:pt x="77250" y="129881"/>
                      </a:lnTo>
                      <a:lnTo>
                        <a:pt x="83429" y="137469"/>
                      </a:lnTo>
                      <a:lnTo>
                        <a:pt x="80900" y="142911"/>
                      </a:lnTo>
                      <a:lnTo>
                        <a:pt x="94666" y="148737"/>
                      </a:lnTo>
                      <a:lnTo>
                        <a:pt x="97931" y="157445"/>
                      </a:lnTo>
                      <a:lnTo>
                        <a:pt x="74721" y="171211"/>
                      </a:lnTo>
                      <a:lnTo>
                        <a:pt x="73280" y="180656"/>
                      </a:lnTo>
                      <a:lnTo>
                        <a:pt x="55865" y="198775"/>
                      </a:lnTo>
                      <a:lnTo>
                        <a:pt x="46420" y="198775"/>
                      </a:lnTo>
                      <a:lnTo>
                        <a:pt x="26476" y="212574"/>
                      </a:lnTo>
                      <a:lnTo>
                        <a:pt x="0" y="245932"/>
                      </a:lnTo>
                      <a:lnTo>
                        <a:pt x="9444" y="249582"/>
                      </a:lnTo>
                      <a:lnTo>
                        <a:pt x="23210" y="247021"/>
                      </a:lnTo>
                      <a:lnTo>
                        <a:pt x="39537" y="256465"/>
                      </a:lnTo>
                      <a:lnTo>
                        <a:pt x="42803" y="262260"/>
                      </a:lnTo>
                      <a:lnTo>
                        <a:pt x="50774" y="261555"/>
                      </a:lnTo>
                      <a:lnTo>
                        <a:pt x="53335" y="260819"/>
                      </a:lnTo>
                      <a:lnTo>
                        <a:pt x="71455" y="253936"/>
                      </a:lnTo>
                      <a:lnTo>
                        <a:pt x="78339" y="253936"/>
                      </a:lnTo>
                      <a:lnTo>
                        <a:pt x="84165" y="277146"/>
                      </a:lnTo>
                      <a:lnTo>
                        <a:pt x="99756" y="282941"/>
                      </a:lnTo>
                      <a:lnTo>
                        <a:pt x="100492" y="294210"/>
                      </a:lnTo>
                      <a:lnTo>
                        <a:pt x="106639" y="298563"/>
                      </a:lnTo>
                      <a:lnTo>
                        <a:pt x="116083" y="284766"/>
                      </a:lnTo>
                      <a:lnTo>
                        <a:pt x="112818" y="271704"/>
                      </a:lnTo>
                      <a:lnTo>
                        <a:pt x="122262" y="263348"/>
                      </a:lnTo>
                      <a:lnTo>
                        <a:pt x="129145" y="262260"/>
                      </a:lnTo>
                      <a:lnTo>
                        <a:pt x="133499" y="252847"/>
                      </a:lnTo>
                      <a:lnTo>
                        <a:pt x="163592" y="249582"/>
                      </a:lnTo>
                      <a:lnTo>
                        <a:pt x="186834" y="252111"/>
                      </a:lnTo>
                      <a:lnTo>
                        <a:pt x="191892" y="249582"/>
                      </a:lnTo>
                      <a:lnTo>
                        <a:pt x="185746" y="243403"/>
                      </a:lnTo>
                      <a:lnTo>
                        <a:pt x="199512" y="223811"/>
                      </a:lnTo>
                      <a:lnTo>
                        <a:pt x="199512" y="200600"/>
                      </a:lnTo>
                      <a:lnTo>
                        <a:pt x="184273" y="201337"/>
                      </a:lnTo>
                      <a:lnTo>
                        <a:pt x="176302" y="196983"/>
                      </a:lnTo>
                      <a:lnTo>
                        <a:pt x="184273" y="180656"/>
                      </a:lnTo>
                      <a:lnTo>
                        <a:pt x="177390" y="173036"/>
                      </a:lnTo>
                      <a:lnTo>
                        <a:pt x="189363" y="159974"/>
                      </a:lnTo>
                      <a:lnTo>
                        <a:pt x="185746" y="149826"/>
                      </a:lnTo>
                      <a:lnTo>
                        <a:pt x="173036" y="141823"/>
                      </a:lnTo>
                      <a:lnTo>
                        <a:pt x="173036" y="131674"/>
                      </a:lnTo>
                      <a:lnTo>
                        <a:pt x="183185" y="119701"/>
                      </a:lnTo>
                      <a:lnTo>
                        <a:pt x="178831" y="86694"/>
                      </a:lnTo>
                      <a:lnTo>
                        <a:pt x="186834" y="79075"/>
                      </a:lnTo>
                      <a:lnTo>
                        <a:pt x="188275" y="60955"/>
                      </a:lnTo>
                      <a:lnTo>
                        <a:pt x="198071" y="52599"/>
                      </a:lnTo>
                      <a:lnTo>
                        <a:pt x="193717" y="42067"/>
                      </a:lnTo>
                      <a:lnTo>
                        <a:pt x="184273" y="43891"/>
                      </a:lnTo>
                      <a:lnTo>
                        <a:pt x="180656" y="37008"/>
                      </a:lnTo>
                      <a:lnTo>
                        <a:pt x="175565" y="37713"/>
                      </a:lnTo>
                      <a:lnTo>
                        <a:pt x="164328" y="31918"/>
                      </a:lnTo>
                      <a:lnTo>
                        <a:pt x="166153" y="17064"/>
                      </a:lnTo>
                      <a:lnTo>
                        <a:pt x="162504" y="7619"/>
                      </a:lnTo>
                      <a:lnTo>
                        <a:pt x="139293" y="10149"/>
                      </a:lnTo>
                      <a:lnTo>
                        <a:pt x="133499" y="11973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56C2680F-A457-6AF9-E967-10475B8075C2}"/>
                    </a:ext>
                  </a:extLst>
                </p:cNvPr>
                <p:cNvSpPr/>
                <p:nvPr/>
              </p:nvSpPr>
              <p:spPr>
                <a:xfrm>
                  <a:off x="1873508" y="6100193"/>
                  <a:ext cx="199511" cy="298563"/>
                </a:xfrm>
                <a:custGeom>
                  <a:avLst/>
                  <a:gdLst>
                    <a:gd name="csX0" fmla="*/ 97931 w 199511"/>
                    <a:gd name="csY0" fmla="*/ 0 h 298563"/>
                    <a:gd name="csX1" fmla="*/ 86694 w 199511"/>
                    <a:gd name="csY1" fmla="*/ 5090 h 298563"/>
                    <a:gd name="csX2" fmla="*/ 81604 w 199511"/>
                    <a:gd name="csY2" fmla="*/ 16327 h 298563"/>
                    <a:gd name="csX3" fmla="*/ 85254 w 199511"/>
                    <a:gd name="csY3" fmla="*/ 27564 h 298563"/>
                    <a:gd name="csX4" fmla="*/ 84165 w 199511"/>
                    <a:gd name="csY4" fmla="*/ 43155 h 298563"/>
                    <a:gd name="csX5" fmla="*/ 70367 w 199511"/>
                    <a:gd name="csY5" fmla="*/ 67101 h 298563"/>
                    <a:gd name="csX6" fmla="*/ 76546 w 199511"/>
                    <a:gd name="csY6" fmla="*/ 66397 h 298563"/>
                    <a:gd name="csX7" fmla="*/ 80163 w 199511"/>
                    <a:gd name="csY7" fmla="*/ 76546 h 298563"/>
                    <a:gd name="csX8" fmla="*/ 97931 w 199511"/>
                    <a:gd name="csY8" fmla="*/ 87783 h 298563"/>
                    <a:gd name="csX9" fmla="*/ 95402 w 199511"/>
                    <a:gd name="csY9" fmla="*/ 109200 h 298563"/>
                    <a:gd name="csX10" fmla="*/ 77250 w 199511"/>
                    <a:gd name="csY10" fmla="*/ 129881 h 298563"/>
                    <a:gd name="csX11" fmla="*/ 83429 w 199511"/>
                    <a:gd name="csY11" fmla="*/ 137469 h 298563"/>
                    <a:gd name="csX12" fmla="*/ 80900 w 199511"/>
                    <a:gd name="csY12" fmla="*/ 142911 h 298563"/>
                    <a:gd name="csX13" fmla="*/ 94666 w 199511"/>
                    <a:gd name="csY13" fmla="*/ 148737 h 298563"/>
                    <a:gd name="csX14" fmla="*/ 97931 w 199511"/>
                    <a:gd name="csY14" fmla="*/ 157445 h 298563"/>
                    <a:gd name="csX15" fmla="*/ 74721 w 199511"/>
                    <a:gd name="csY15" fmla="*/ 171211 h 298563"/>
                    <a:gd name="csX16" fmla="*/ 73280 w 199511"/>
                    <a:gd name="csY16" fmla="*/ 180656 h 298563"/>
                    <a:gd name="csX17" fmla="*/ 55865 w 199511"/>
                    <a:gd name="csY17" fmla="*/ 198775 h 298563"/>
                    <a:gd name="csX18" fmla="*/ 46420 w 199511"/>
                    <a:gd name="csY18" fmla="*/ 198775 h 298563"/>
                    <a:gd name="csX19" fmla="*/ 26476 w 199511"/>
                    <a:gd name="csY19" fmla="*/ 212574 h 298563"/>
                    <a:gd name="csX20" fmla="*/ 0 w 199511"/>
                    <a:gd name="csY20" fmla="*/ 245932 h 298563"/>
                    <a:gd name="csX21" fmla="*/ 9444 w 199511"/>
                    <a:gd name="csY21" fmla="*/ 249582 h 298563"/>
                    <a:gd name="csX22" fmla="*/ 23210 w 199511"/>
                    <a:gd name="csY22" fmla="*/ 247021 h 298563"/>
                    <a:gd name="csX23" fmla="*/ 39537 w 199511"/>
                    <a:gd name="csY23" fmla="*/ 256465 h 298563"/>
                    <a:gd name="csX24" fmla="*/ 42803 w 199511"/>
                    <a:gd name="csY24" fmla="*/ 262260 h 298563"/>
                    <a:gd name="csX25" fmla="*/ 50774 w 199511"/>
                    <a:gd name="csY25" fmla="*/ 261555 h 298563"/>
                    <a:gd name="csX26" fmla="*/ 53335 w 199511"/>
                    <a:gd name="csY26" fmla="*/ 260819 h 298563"/>
                    <a:gd name="csX27" fmla="*/ 71455 w 199511"/>
                    <a:gd name="csY27" fmla="*/ 253936 h 298563"/>
                    <a:gd name="csX28" fmla="*/ 78339 w 199511"/>
                    <a:gd name="csY28" fmla="*/ 253936 h 298563"/>
                    <a:gd name="csX29" fmla="*/ 84165 w 199511"/>
                    <a:gd name="csY29" fmla="*/ 277146 h 298563"/>
                    <a:gd name="csX30" fmla="*/ 99756 w 199511"/>
                    <a:gd name="csY30" fmla="*/ 282941 h 298563"/>
                    <a:gd name="csX31" fmla="*/ 100492 w 199511"/>
                    <a:gd name="csY31" fmla="*/ 294210 h 298563"/>
                    <a:gd name="csX32" fmla="*/ 106639 w 199511"/>
                    <a:gd name="csY32" fmla="*/ 298563 h 298563"/>
                    <a:gd name="csX33" fmla="*/ 116083 w 199511"/>
                    <a:gd name="csY33" fmla="*/ 284766 h 298563"/>
                    <a:gd name="csX34" fmla="*/ 112818 w 199511"/>
                    <a:gd name="csY34" fmla="*/ 271704 h 298563"/>
                    <a:gd name="csX35" fmla="*/ 122262 w 199511"/>
                    <a:gd name="csY35" fmla="*/ 263348 h 298563"/>
                    <a:gd name="csX36" fmla="*/ 129145 w 199511"/>
                    <a:gd name="csY36" fmla="*/ 262260 h 298563"/>
                    <a:gd name="csX37" fmla="*/ 133499 w 199511"/>
                    <a:gd name="csY37" fmla="*/ 252847 h 298563"/>
                    <a:gd name="csX38" fmla="*/ 163592 w 199511"/>
                    <a:gd name="csY38" fmla="*/ 249582 h 298563"/>
                    <a:gd name="csX39" fmla="*/ 186834 w 199511"/>
                    <a:gd name="csY39" fmla="*/ 252111 h 298563"/>
                    <a:gd name="csX40" fmla="*/ 191892 w 199511"/>
                    <a:gd name="csY40" fmla="*/ 249582 h 298563"/>
                    <a:gd name="csX41" fmla="*/ 185746 w 199511"/>
                    <a:gd name="csY41" fmla="*/ 243403 h 298563"/>
                    <a:gd name="csX42" fmla="*/ 199512 w 199511"/>
                    <a:gd name="csY42" fmla="*/ 223811 h 298563"/>
                    <a:gd name="csX43" fmla="*/ 199512 w 199511"/>
                    <a:gd name="csY43" fmla="*/ 200600 h 298563"/>
                    <a:gd name="csX44" fmla="*/ 184273 w 199511"/>
                    <a:gd name="csY44" fmla="*/ 201337 h 298563"/>
                    <a:gd name="csX45" fmla="*/ 176302 w 199511"/>
                    <a:gd name="csY45" fmla="*/ 196983 h 298563"/>
                    <a:gd name="csX46" fmla="*/ 184273 w 199511"/>
                    <a:gd name="csY46" fmla="*/ 180656 h 298563"/>
                    <a:gd name="csX47" fmla="*/ 177390 w 199511"/>
                    <a:gd name="csY47" fmla="*/ 173036 h 298563"/>
                    <a:gd name="csX48" fmla="*/ 189363 w 199511"/>
                    <a:gd name="csY48" fmla="*/ 159974 h 298563"/>
                    <a:gd name="csX49" fmla="*/ 185746 w 199511"/>
                    <a:gd name="csY49" fmla="*/ 149826 h 298563"/>
                    <a:gd name="csX50" fmla="*/ 173036 w 199511"/>
                    <a:gd name="csY50" fmla="*/ 141823 h 298563"/>
                    <a:gd name="csX51" fmla="*/ 173036 w 199511"/>
                    <a:gd name="csY51" fmla="*/ 131674 h 298563"/>
                    <a:gd name="csX52" fmla="*/ 183185 w 199511"/>
                    <a:gd name="csY52" fmla="*/ 119701 h 298563"/>
                    <a:gd name="csX53" fmla="*/ 178831 w 199511"/>
                    <a:gd name="csY53" fmla="*/ 86694 h 298563"/>
                    <a:gd name="csX54" fmla="*/ 186834 w 199511"/>
                    <a:gd name="csY54" fmla="*/ 79075 h 298563"/>
                    <a:gd name="csX55" fmla="*/ 188275 w 199511"/>
                    <a:gd name="csY55" fmla="*/ 60955 h 298563"/>
                    <a:gd name="csX56" fmla="*/ 198071 w 199511"/>
                    <a:gd name="csY56" fmla="*/ 52599 h 298563"/>
                    <a:gd name="csX57" fmla="*/ 193717 w 199511"/>
                    <a:gd name="csY57" fmla="*/ 42067 h 298563"/>
                    <a:gd name="csX58" fmla="*/ 184273 w 199511"/>
                    <a:gd name="csY58" fmla="*/ 43891 h 298563"/>
                    <a:gd name="csX59" fmla="*/ 180656 w 199511"/>
                    <a:gd name="csY59" fmla="*/ 37008 h 298563"/>
                    <a:gd name="csX60" fmla="*/ 175565 w 199511"/>
                    <a:gd name="csY60" fmla="*/ 37713 h 298563"/>
                    <a:gd name="csX61" fmla="*/ 164328 w 199511"/>
                    <a:gd name="csY61" fmla="*/ 31918 h 298563"/>
                    <a:gd name="csX62" fmla="*/ 166153 w 199511"/>
                    <a:gd name="csY62" fmla="*/ 17064 h 298563"/>
                    <a:gd name="csX63" fmla="*/ 162504 w 199511"/>
                    <a:gd name="csY63" fmla="*/ 7619 h 298563"/>
                    <a:gd name="csX64" fmla="*/ 139293 w 199511"/>
                    <a:gd name="csY64" fmla="*/ 10149 h 298563"/>
                    <a:gd name="csX65" fmla="*/ 133499 w 199511"/>
                    <a:gd name="csY65" fmla="*/ 11973 h 298563"/>
                    <a:gd name="csX66" fmla="*/ 97931 w 199511"/>
                    <a:gd name="csY66" fmla="*/ 0 h 29856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199511" h="298563">
                      <a:moveTo>
                        <a:pt x="97931" y="0"/>
                      </a:moveTo>
                      <a:lnTo>
                        <a:pt x="86694" y="5090"/>
                      </a:lnTo>
                      <a:lnTo>
                        <a:pt x="81604" y="16327"/>
                      </a:lnTo>
                      <a:lnTo>
                        <a:pt x="85254" y="27564"/>
                      </a:lnTo>
                      <a:lnTo>
                        <a:pt x="84165" y="43155"/>
                      </a:lnTo>
                      <a:lnTo>
                        <a:pt x="70367" y="67101"/>
                      </a:lnTo>
                      <a:lnTo>
                        <a:pt x="76546" y="66397"/>
                      </a:lnTo>
                      <a:lnTo>
                        <a:pt x="80163" y="76546"/>
                      </a:lnTo>
                      <a:lnTo>
                        <a:pt x="97931" y="87783"/>
                      </a:lnTo>
                      <a:lnTo>
                        <a:pt x="95402" y="109200"/>
                      </a:lnTo>
                      <a:lnTo>
                        <a:pt x="77250" y="129881"/>
                      </a:lnTo>
                      <a:lnTo>
                        <a:pt x="83429" y="137469"/>
                      </a:lnTo>
                      <a:lnTo>
                        <a:pt x="80900" y="142911"/>
                      </a:lnTo>
                      <a:lnTo>
                        <a:pt x="94666" y="148737"/>
                      </a:lnTo>
                      <a:lnTo>
                        <a:pt x="97931" y="157445"/>
                      </a:lnTo>
                      <a:lnTo>
                        <a:pt x="74721" y="171211"/>
                      </a:lnTo>
                      <a:lnTo>
                        <a:pt x="73280" y="180656"/>
                      </a:lnTo>
                      <a:lnTo>
                        <a:pt x="55865" y="198775"/>
                      </a:lnTo>
                      <a:lnTo>
                        <a:pt x="46420" y="198775"/>
                      </a:lnTo>
                      <a:lnTo>
                        <a:pt x="26476" y="212574"/>
                      </a:lnTo>
                      <a:lnTo>
                        <a:pt x="0" y="245932"/>
                      </a:lnTo>
                      <a:lnTo>
                        <a:pt x="9444" y="249582"/>
                      </a:lnTo>
                      <a:lnTo>
                        <a:pt x="23210" y="247021"/>
                      </a:lnTo>
                      <a:lnTo>
                        <a:pt x="39537" y="256465"/>
                      </a:lnTo>
                      <a:lnTo>
                        <a:pt x="42803" y="262260"/>
                      </a:lnTo>
                      <a:lnTo>
                        <a:pt x="50774" y="261555"/>
                      </a:lnTo>
                      <a:lnTo>
                        <a:pt x="53335" y="260819"/>
                      </a:lnTo>
                      <a:lnTo>
                        <a:pt x="71455" y="253936"/>
                      </a:lnTo>
                      <a:lnTo>
                        <a:pt x="78339" y="253936"/>
                      </a:lnTo>
                      <a:lnTo>
                        <a:pt x="84165" y="277146"/>
                      </a:lnTo>
                      <a:lnTo>
                        <a:pt x="99756" y="282941"/>
                      </a:lnTo>
                      <a:lnTo>
                        <a:pt x="100492" y="294210"/>
                      </a:lnTo>
                      <a:lnTo>
                        <a:pt x="106639" y="298563"/>
                      </a:lnTo>
                      <a:lnTo>
                        <a:pt x="116083" y="284766"/>
                      </a:lnTo>
                      <a:lnTo>
                        <a:pt x="112818" y="271704"/>
                      </a:lnTo>
                      <a:lnTo>
                        <a:pt x="122262" y="263348"/>
                      </a:lnTo>
                      <a:lnTo>
                        <a:pt x="129145" y="262260"/>
                      </a:lnTo>
                      <a:lnTo>
                        <a:pt x="133499" y="252847"/>
                      </a:lnTo>
                      <a:lnTo>
                        <a:pt x="163592" y="249582"/>
                      </a:lnTo>
                      <a:lnTo>
                        <a:pt x="186834" y="252111"/>
                      </a:lnTo>
                      <a:lnTo>
                        <a:pt x="191892" y="249582"/>
                      </a:lnTo>
                      <a:lnTo>
                        <a:pt x="185746" y="243403"/>
                      </a:lnTo>
                      <a:lnTo>
                        <a:pt x="199512" y="223811"/>
                      </a:lnTo>
                      <a:lnTo>
                        <a:pt x="199512" y="200600"/>
                      </a:lnTo>
                      <a:lnTo>
                        <a:pt x="184273" y="201337"/>
                      </a:lnTo>
                      <a:lnTo>
                        <a:pt x="176302" y="196983"/>
                      </a:lnTo>
                      <a:lnTo>
                        <a:pt x="184273" y="180656"/>
                      </a:lnTo>
                      <a:lnTo>
                        <a:pt x="177390" y="173036"/>
                      </a:lnTo>
                      <a:lnTo>
                        <a:pt x="189363" y="159974"/>
                      </a:lnTo>
                      <a:lnTo>
                        <a:pt x="185746" y="149826"/>
                      </a:lnTo>
                      <a:lnTo>
                        <a:pt x="173036" y="141823"/>
                      </a:lnTo>
                      <a:lnTo>
                        <a:pt x="173036" y="131674"/>
                      </a:lnTo>
                      <a:lnTo>
                        <a:pt x="183185" y="119701"/>
                      </a:lnTo>
                      <a:lnTo>
                        <a:pt x="178831" y="86694"/>
                      </a:lnTo>
                      <a:lnTo>
                        <a:pt x="186834" y="79075"/>
                      </a:lnTo>
                      <a:lnTo>
                        <a:pt x="188275" y="60955"/>
                      </a:lnTo>
                      <a:lnTo>
                        <a:pt x="198071" y="52599"/>
                      </a:lnTo>
                      <a:lnTo>
                        <a:pt x="193717" y="42067"/>
                      </a:lnTo>
                      <a:lnTo>
                        <a:pt x="184273" y="43891"/>
                      </a:lnTo>
                      <a:lnTo>
                        <a:pt x="180656" y="37008"/>
                      </a:lnTo>
                      <a:lnTo>
                        <a:pt x="175565" y="37713"/>
                      </a:lnTo>
                      <a:lnTo>
                        <a:pt x="164328" y="31918"/>
                      </a:lnTo>
                      <a:lnTo>
                        <a:pt x="166153" y="17064"/>
                      </a:lnTo>
                      <a:lnTo>
                        <a:pt x="162504" y="7619"/>
                      </a:lnTo>
                      <a:lnTo>
                        <a:pt x="139293" y="10149"/>
                      </a:lnTo>
                      <a:lnTo>
                        <a:pt x="133499" y="11973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0" name="Forma Livre: Forma 199">
                  <a:extLst>
                    <a:ext uri="{FF2B5EF4-FFF2-40B4-BE49-F238E27FC236}">
                      <a16:creationId xmlns:a16="http://schemas.microsoft.com/office/drawing/2014/main" id="{DFB1FBA4-C988-0CB0-15C8-62029D1BC17D}"/>
                    </a:ext>
                  </a:extLst>
                </p:cNvPr>
                <p:cNvSpPr/>
                <p:nvPr/>
              </p:nvSpPr>
              <p:spPr>
                <a:xfrm>
                  <a:off x="3589720" y="4234155"/>
                  <a:ext cx="585121" cy="615983"/>
                </a:xfrm>
                <a:custGeom>
                  <a:avLst/>
                  <a:gdLst>
                    <a:gd name="csX0" fmla="*/ 245932 w 585121"/>
                    <a:gd name="csY0" fmla="*/ 3265 h 615983"/>
                    <a:gd name="csX1" fmla="*/ 242667 w 585121"/>
                    <a:gd name="csY1" fmla="*/ 10181 h 615983"/>
                    <a:gd name="csX2" fmla="*/ 233959 w 585121"/>
                    <a:gd name="csY2" fmla="*/ 12710 h 615983"/>
                    <a:gd name="csX3" fmla="*/ 222722 w 585121"/>
                    <a:gd name="csY3" fmla="*/ 14535 h 615983"/>
                    <a:gd name="csX4" fmla="*/ 213310 w 585121"/>
                    <a:gd name="csY4" fmla="*/ 20681 h 615983"/>
                    <a:gd name="csX5" fmla="*/ 212574 w 585121"/>
                    <a:gd name="csY5" fmla="*/ 26508 h 615983"/>
                    <a:gd name="csX6" fmla="*/ 203129 w 585121"/>
                    <a:gd name="csY6" fmla="*/ 27596 h 615983"/>
                    <a:gd name="csX7" fmla="*/ 201337 w 585121"/>
                    <a:gd name="csY7" fmla="*/ 35216 h 615983"/>
                    <a:gd name="csX8" fmla="*/ 190068 w 585121"/>
                    <a:gd name="csY8" fmla="*/ 46452 h 615983"/>
                    <a:gd name="csX9" fmla="*/ 182448 w 585121"/>
                    <a:gd name="csY9" fmla="*/ 43891 h 615983"/>
                    <a:gd name="csX10" fmla="*/ 166153 w 585121"/>
                    <a:gd name="csY10" fmla="*/ 44628 h 615983"/>
                    <a:gd name="csX11" fmla="*/ 149826 w 585121"/>
                    <a:gd name="csY11" fmla="*/ 57689 h 615983"/>
                    <a:gd name="csX12" fmla="*/ 128056 w 585121"/>
                    <a:gd name="csY12" fmla="*/ 62780 h 615983"/>
                    <a:gd name="csX13" fmla="*/ 124791 w 585121"/>
                    <a:gd name="csY13" fmla="*/ 74017 h 615983"/>
                    <a:gd name="csX14" fmla="*/ 113522 w 585121"/>
                    <a:gd name="csY14" fmla="*/ 79107 h 615983"/>
                    <a:gd name="csX15" fmla="*/ 105935 w 585121"/>
                    <a:gd name="csY15" fmla="*/ 96138 h 615983"/>
                    <a:gd name="csX16" fmla="*/ 83429 w 585121"/>
                    <a:gd name="csY16" fmla="*/ 97963 h 615983"/>
                    <a:gd name="csX17" fmla="*/ 85254 w 585121"/>
                    <a:gd name="csY17" fmla="*/ 111729 h 615983"/>
                    <a:gd name="csX18" fmla="*/ 57657 w 585121"/>
                    <a:gd name="csY18" fmla="*/ 128793 h 615983"/>
                    <a:gd name="csX19" fmla="*/ 63484 w 585121"/>
                    <a:gd name="csY19" fmla="*/ 146913 h 615983"/>
                    <a:gd name="csX20" fmla="*/ 25739 w 585121"/>
                    <a:gd name="csY20" fmla="*/ 121173 h 615983"/>
                    <a:gd name="csX21" fmla="*/ 10149 w 585121"/>
                    <a:gd name="csY21" fmla="*/ 134972 h 615983"/>
                    <a:gd name="csX22" fmla="*/ 4354 w 585121"/>
                    <a:gd name="csY22" fmla="*/ 153828 h 615983"/>
                    <a:gd name="csX23" fmla="*/ 3266 w 585121"/>
                    <a:gd name="csY23" fmla="*/ 165065 h 615983"/>
                    <a:gd name="csX24" fmla="*/ 0 w 585121"/>
                    <a:gd name="csY24" fmla="*/ 190100 h 615983"/>
                    <a:gd name="csX25" fmla="*/ 5058 w 585121"/>
                    <a:gd name="csY25" fmla="*/ 200248 h 615983"/>
                    <a:gd name="csX26" fmla="*/ 14502 w 585121"/>
                    <a:gd name="csY26" fmla="*/ 204602 h 615983"/>
                    <a:gd name="csX27" fmla="*/ 5058 w 585121"/>
                    <a:gd name="csY27" fmla="*/ 206427 h 615983"/>
                    <a:gd name="csX28" fmla="*/ 5058 w 585121"/>
                    <a:gd name="csY28" fmla="*/ 222018 h 615983"/>
                    <a:gd name="csX29" fmla="*/ 5058 w 585121"/>
                    <a:gd name="csY29" fmla="*/ 239081 h 615983"/>
                    <a:gd name="csX30" fmla="*/ 5795 w 585121"/>
                    <a:gd name="csY30" fmla="*/ 273528 h 615983"/>
                    <a:gd name="csX31" fmla="*/ 5795 w 585121"/>
                    <a:gd name="csY31" fmla="*/ 303654 h 615983"/>
                    <a:gd name="csX32" fmla="*/ 6883 w 585121"/>
                    <a:gd name="csY32" fmla="*/ 308008 h 615983"/>
                    <a:gd name="csX33" fmla="*/ 6883 w 585121"/>
                    <a:gd name="csY33" fmla="*/ 333747 h 615983"/>
                    <a:gd name="csX34" fmla="*/ 6883 w 585121"/>
                    <a:gd name="csY34" fmla="*/ 350810 h 615983"/>
                    <a:gd name="csX35" fmla="*/ 6883 w 585121"/>
                    <a:gd name="csY35" fmla="*/ 356957 h 615983"/>
                    <a:gd name="csX36" fmla="*/ 7619 w 585121"/>
                    <a:gd name="csY36" fmla="*/ 399760 h 615983"/>
                    <a:gd name="csX37" fmla="*/ 8324 w 585121"/>
                    <a:gd name="csY37" fmla="*/ 472336 h 615983"/>
                    <a:gd name="csX38" fmla="*/ 19593 w 585121"/>
                    <a:gd name="csY38" fmla="*/ 466894 h 615983"/>
                    <a:gd name="csX39" fmla="*/ 26476 w 585121"/>
                    <a:gd name="csY39" fmla="*/ 471247 h 615983"/>
                    <a:gd name="csX40" fmla="*/ 27564 w 585121"/>
                    <a:gd name="csY40" fmla="*/ 506783 h 615983"/>
                    <a:gd name="csX41" fmla="*/ 40274 w 585121"/>
                    <a:gd name="csY41" fmla="*/ 521286 h 615983"/>
                    <a:gd name="csX42" fmla="*/ 52215 w 585121"/>
                    <a:gd name="csY42" fmla="*/ 520581 h 615983"/>
                    <a:gd name="csX43" fmla="*/ 48950 w 585121"/>
                    <a:gd name="csY43" fmla="*/ 527112 h 615983"/>
                    <a:gd name="csX44" fmla="*/ 56569 w 585121"/>
                    <a:gd name="csY44" fmla="*/ 530730 h 615983"/>
                    <a:gd name="csX45" fmla="*/ 57657 w 585121"/>
                    <a:gd name="csY45" fmla="*/ 541967 h 615983"/>
                    <a:gd name="csX46" fmla="*/ 62748 w 585121"/>
                    <a:gd name="csY46" fmla="*/ 546321 h 615983"/>
                    <a:gd name="csX47" fmla="*/ 65277 w 585121"/>
                    <a:gd name="csY47" fmla="*/ 557558 h 615983"/>
                    <a:gd name="csX48" fmla="*/ 94666 w 585121"/>
                    <a:gd name="csY48" fmla="*/ 565177 h 615983"/>
                    <a:gd name="csX49" fmla="*/ 99020 w 585121"/>
                    <a:gd name="csY49" fmla="*/ 583329 h 615983"/>
                    <a:gd name="csX50" fmla="*/ 107375 w 585121"/>
                    <a:gd name="csY50" fmla="*/ 583329 h 615983"/>
                    <a:gd name="csX51" fmla="*/ 111729 w 585121"/>
                    <a:gd name="csY51" fmla="*/ 588419 h 615983"/>
                    <a:gd name="csX52" fmla="*/ 109904 w 585121"/>
                    <a:gd name="csY52" fmla="*/ 599656 h 615983"/>
                    <a:gd name="csX53" fmla="*/ 114258 w 585121"/>
                    <a:gd name="csY53" fmla="*/ 601097 h 615983"/>
                    <a:gd name="csX54" fmla="*/ 114258 w 585121"/>
                    <a:gd name="csY54" fmla="*/ 609068 h 615983"/>
                    <a:gd name="csX55" fmla="*/ 122966 w 585121"/>
                    <a:gd name="csY55" fmla="*/ 609068 h 615983"/>
                    <a:gd name="csX56" fmla="*/ 133115 w 585121"/>
                    <a:gd name="csY56" fmla="*/ 597831 h 615983"/>
                    <a:gd name="csX57" fmla="*/ 150530 w 585121"/>
                    <a:gd name="csY57" fmla="*/ 607980 h 615983"/>
                    <a:gd name="csX58" fmla="*/ 176302 w 585121"/>
                    <a:gd name="csY58" fmla="*/ 600392 h 615983"/>
                    <a:gd name="csX59" fmla="*/ 217632 w 585121"/>
                    <a:gd name="csY59" fmla="*/ 612334 h 615983"/>
                    <a:gd name="csX60" fmla="*/ 231430 w 585121"/>
                    <a:gd name="csY60" fmla="*/ 614158 h 615983"/>
                    <a:gd name="csX61" fmla="*/ 241578 w 585121"/>
                    <a:gd name="csY61" fmla="*/ 615983 h 615983"/>
                    <a:gd name="csX62" fmla="*/ 249582 w 585121"/>
                    <a:gd name="csY62" fmla="*/ 607980 h 615983"/>
                    <a:gd name="csX63" fmla="*/ 263348 w 585121"/>
                    <a:gd name="csY63" fmla="*/ 613422 h 615983"/>
                    <a:gd name="csX64" fmla="*/ 271704 w 585121"/>
                    <a:gd name="csY64" fmla="*/ 604714 h 615983"/>
                    <a:gd name="csX65" fmla="*/ 272792 w 585121"/>
                    <a:gd name="csY65" fmla="*/ 582240 h 615983"/>
                    <a:gd name="csX66" fmla="*/ 279675 w 585121"/>
                    <a:gd name="csY66" fmla="*/ 577150 h 615983"/>
                    <a:gd name="csX67" fmla="*/ 285470 w 585121"/>
                    <a:gd name="csY67" fmla="*/ 555765 h 615983"/>
                    <a:gd name="csX68" fmla="*/ 294178 w 585121"/>
                    <a:gd name="csY68" fmla="*/ 554676 h 615983"/>
                    <a:gd name="csX69" fmla="*/ 282204 w 585121"/>
                    <a:gd name="csY69" fmla="*/ 537613 h 615983"/>
                    <a:gd name="csX70" fmla="*/ 282204 w 585121"/>
                    <a:gd name="csY70" fmla="*/ 528201 h 615983"/>
                    <a:gd name="csX71" fmla="*/ 293473 w 585121"/>
                    <a:gd name="csY71" fmla="*/ 510785 h 615983"/>
                    <a:gd name="csX72" fmla="*/ 310505 w 585121"/>
                    <a:gd name="csY72" fmla="*/ 505695 h 615983"/>
                    <a:gd name="csX73" fmla="*/ 336276 w 585121"/>
                    <a:gd name="csY73" fmla="*/ 487575 h 615983"/>
                    <a:gd name="csX74" fmla="*/ 338069 w 585121"/>
                    <a:gd name="csY74" fmla="*/ 469775 h 615983"/>
                    <a:gd name="csX75" fmla="*/ 347513 w 585121"/>
                    <a:gd name="csY75" fmla="*/ 463628 h 615983"/>
                    <a:gd name="csX76" fmla="*/ 345688 w 585121"/>
                    <a:gd name="csY76" fmla="*/ 456713 h 615983"/>
                    <a:gd name="csX77" fmla="*/ 351867 w 585121"/>
                    <a:gd name="csY77" fmla="*/ 454184 h 615983"/>
                    <a:gd name="csX78" fmla="*/ 353692 w 585121"/>
                    <a:gd name="csY78" fmla="*/ 440386 h 615983"/>
                    <a:gd name="csX79" fmla="*/ 363104 w 585121"/>
                    <a:gd name="csY79" fmla="*/ 428413 h 615983"/>
                    <a:gd name="csX80" fmla="*/ 383785 w 585121"/>
                    <a:gd name="csY80" fmla="*/ 400849 h 615983"/>
                    <a:gd name="csX81" fmla="*/ 390668 w 585121"/>
                    <a:gd name="csY81" fmla="*/ 375109 h 615983"/>
                    <a:gd name="csX82" fmla="*/ 393229 w 585121"/>
                    <a:gd name="csY82" fmla="*/ 354428 h 615983"/>
                    <a:gd name="csX83" fmla="*/ 406291 w 585121"/>
                    <a:gd name="csY83" fmla="*/ 333747 h 615983"/>
                    <a:gd name="csX84" fmla="*/ 462156 w 585121"/>
                    <a:gd name="csY84" fmla="*/ 274265 h 615983"/>
                    <a:gd name="csX85" fmla="*/ 502397 w 585121"/>
                    <a:gd name="csY85" fmla="*/ 239081 h 615983"/>
                    <a:gd name="csX86" fmla="*/ 559382 w 585121"/>
                    <a:gd name="csY86" fmla="*/ 196983 h 615983"/>
                    <a:gd name="csX87" fmla="*/ 585122 w 585121"/>
                    <a:gd name="csY87" fmla="*/ 180656 h 615983"/>
                    <a:gd name="csX88" fmla="*/ 578943 w 585121"/>
                    <a:gd name="csY88" fmla="*/ 176302 h 615983"/>
                    <a:gd name="csX89" fmla="*/ 553204 w 585121"/>
                    <a:gd name="csY89" fmla="*/ 158918 h 615983"/>
                    <a:gd name="csX90" fmla="*/ 425884 w 585121"/>
                    <a:gd name="csY90" fmla="*/ 74017 h 615983"/>
                    <a:gd name="csX91" fmla="*/ 401937 w 585121"/>
                    <a:gd name="csY91" fmla="*/ 44628 h 615983"/>
                    <a:gd name="csX92" fmla="*/ 381256 w 585121"/>
                    <a:gd name="csY92" fmla="*/ 45364 h 615983"/>
                    <a:gd name="csX93" fmla="*/ 367458 w 585121"/>
                    <a:gd name="csY93" fmla="*/ 37008 h 615983"/>
                    <a:gd name="csX94" fmla="*/ 352603 w 585121"/>
                    <a:gd name="csY94" fmla="*/ 18888 h 615983"/>
                    <a:gd name="csX95" fmla="*/ 319213 w 585121"/>
                    <a:gd name="csY95" fmla="*/ 3265 h 615983"/>
                    <a:gd name="csX96" fmla="*/ 302886 w 585121"/>
                    <a:gd name="csY96" fmla="*/ 0 h 615983"/>
                    <a:gd name="csX97" fmla="*/ 282941 w 585121"/>
                    <a:gd name="csY97" fmla="*/ 736 h 615983"/>
                    <a:gd name="csX98" fmla="*/ 280412 w 585121"/>
                    <a:gd name="csY98" fmla="*/ 6915 h 615983"/>
                    <a:gd name="csX99" fmla="*/ 274617 w 585121"/>
                    <a:gd name="csY99" fmla="*/ 7619 h 615983"/>
                    <a:gd name="csX100" fmla="*/ 245932 w 585121"/>
                    <a:gd name="csY100" fmla="*/ 3265 h 6159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</a:cxnLst>
                  <a:rect l="l" t="t" r="r" b="b"/>
                  <a:pathLst>
                    <a:path w="585121" h="615983">
                      <a:moveTo>
                        <a:pt x="245932" y="3265"/>
                      </a:moveTo>
                      <a:lnTo>
                        <a:pt x="242667" y="10181"/>
                      </a:lnTo>
                      <a:lnTo>
                        <a:pt x="233959" y="12710"/>
                      </a:lnTo>
                      <a:lnTo>
                        <a:pt x="222722" y="14535"/>
                      </a:lnTo>
                      <a:lnTo>
                        <a:pt x="213310" y="20681"/>
                      </a:lnTo>
                      <a:lnTo>
                        <a:pt x="212574" y="26508"/>
                      </a:lnTo>
                      <a:lnTo>
                        <a:pt x="203129" y="27596"/>
                      </a:lnTo>
                      <a:lnTo>
                        <a:pt x="201337" y="35216"/>
                      </a:lnTo>
                      <a:lnTo>
                        <a:pt x="190068" y="46452"/>
                      </a:lnTo>
                      <a:lnTo>
                        <a:pt x="182448" y="43891"/>
                      </a:lnTo>
                      <a:lnTo>
                        <a:pt x="166153" y="44628"/>
                      </a:lnTo>
                      <a:lnTo>
                        <a:pt x="149826" y="57689"/>
                      </a:lnTo>
                      <a:lnTo>
                        <a:pt x="128056" y="62780"/>
                      </a:lnTo>
                      <a:lnTo>
                        <a:pt x="124791" y="74017"/>
                      </a:lnTo>
                      <a:lnTo>
                        <a:pt x="113522" y="79107"/>
                      </a:lnTo>
                      <a:lnTo>
                        <a:pt x="105935" y="96138"/>
                      </a:lnTo>
                      <a:lnTo>
                        <a:pt x="83429" y="97963"/>
                      </a:lnTo>
                      <a:lnTo>
                        <a:pt x="85254" y="111729"/>
                      </a:lnTo>
                      <a:lnTo>
                        <a:pt x="57657" y="128793"/>
                      </a:lnTo>
                      <a:lnTo>
                        <a:pt x="63484" y="146913"/>
                      </a:lnTo>
                      <a:lnTo>
                        <a:pt x="25739" y="121173"/>
                      </a:lnTo>
                      <a:lnTo>
                        <a:pt x="10149" y="134972"/>
                      </a:lnTo>
                      <a:lnTo>
                        <a:pt x="4354" y="153828"/>
                      </a:lnTo>
                      <a:lnTo>
                        <a:pt x="3266" y="165065"/>
                      </a:lnTo>
                      <a:lnTo>
                        <a:pt x="0" y="190100"/>
                      </a:lnTo>
                      <a:lnTo>
                        <a:pt x="5058" y="200248"/>
                      </a:lnTo>
                      <a:lnTo>
                        <a:pt x="14502" y="204602"/>
                      </a:lnTo>
                      <a:lnTo>
                        <a:pt x="5058" y="206427"/>
                      </a:lnTo>
                      <a:lnTo>
                        <a:pt x="5058" y="222018"/>
                      </a:lnTo>
                      <a:lnTo>
                        <a:pt x="5058" y="239081"/>
                      </a:lnTo>
                      <a:lnTo>
                        <a:pt x="5795" y="273528"/>
                      </a:lnTo>
                      <a:lnTo>
                        <a:pt x="5795" y="303654"/>
                      </a:lnTo>
                      <a:lnTo>
                        <a:pt x="6883" y="308008"/>
                      </a:lnTo>
                      <a:lnTo>
                        <a:pt x="6883" y="333747"/>
                      </a:lnTo>
                      <a:lnTo>
                        <a:pt x="6883" y="350810"/>
                      </a:lnTo>
                      <a:lnTo>
                        <a:pt x="6883" y="356957"/>
                      </a:lnTo>
                      <a:lnTo>
                        <a:pt x="7619" y="399760"/>
                      </a:lnTo>
                      <a:lnTo>
                        <a:pt x="8324" y="472336"/>
                      </a:lnTo>
                      <a:lnTo>
                        <a:pt x="19593" y="466894"/>
                      </a:lnTo>
                      <a:lnTo>
                        <a:pt x="26476" y="471247"/>
                      </a:lnTo>
                      <a:lnTo>
                        <a:pt x="27564" y="506783"/>
                      </a:lnTo>
                      <a:lnTo>
                        <a:pt x="40274" y="521286"/>
                      </a:lnTo>
                      <a:lnTo>
                        <a:pt x="52215" y="520581"/>
                      </a:lnTo>
                      <a:lnTo>
                        <a:pt x="48950" y="527112"/>
                      </a:lnTo>
                      <a:lnTo>
                        <a:pt x="56569" y="530730"/>
                      </a:lnTo>
                      <a:lnTo>
                        <a:pt x="57657" y="541967"/>
                      </a:lnTo>
                      <a:lnTo>
                        <a:pt x="62748" y="546321"/>
                      </a:lnTo>
                      <a:lnTo>
                        <a:pt x="65277" y="557558"/>
                      </a:lnTo>
                      <a:lnTo>
                        <a:pt x="94666" y="565177"/>
                      </a:lnTo>
                      <a:lnTo>
                        <a:pt x="99020" y="583329"/>
                      </a:lnTo>
                      <a:lnTo>
                        <a:pt x="107375" y="583329"/>
                      </a:lnTo>
                      <a:lnTo>
                        <a:pt x="111729" y="588419"/>
                      </a:lnTo>
                      <a:lnTo>
                        <a:pt x="109904" y="599656"/>
                      </a:lnTo>
                      <a:lnTo>
                        <a:pt x="114258" y="601097"/>
                      </a:lnTo>
                      <a:lnTo>
                        <a:pt x="114258" y="609068"/>
                      </a:lnTo>
                      <a:lnTo>
                        <a:pt x="122966" y="609068"/>
                      </a:lnTo>
                      <a:lnTo>
                        <a:pt x="133115" y="597831"/>
                      </a:lnTo>
                      <a:lnTo>
                        <a:pt x="150530" y="607980"/>
                      </a:lnTo>
                      <a:lnTo>
                        <a:pt x="176302" y="600392"/>
                      </a:lnTo>
                      <a:lnTo>
                        <a:pt x="217632" y="612334"/>
                      </a:lnTo>
                      <a:lnTo>
                        <a:pt x="231430" y="614158"/>
                      </a:lnTo>
                      <a:lnTo>
                        <a:pt x="241578" y="615983"/>
                      </a:lnTo>
                      <a:lnTo>
                        <a:pt x="249582" y="607980"/>
                      </a:lnTo>
                      <a:lnTo>
                        <a:pt x="263348" y="613422"/>
                      </a:lnTo>
                      <a:lnTo>
                        <a:pt x="271704" y="604714"/>
                      </a:lnTo>
                      <a:lnTo>
                        <a:pt x="272792" y="582240"/>
                      </a:lnTo>
                      <a:lnTo>
                        <a:pt x="279675" y="577150"/>
                      </a:lnTo>
                      <a:lnTo>
                        <a:pt x="285470" y="555765"/>
                      </a:lnTo>
                      <a:lnTo>
                        <a:pt x="294178" y="554676"/>
                      </a:lnTo>
                      <a:lnTo>
                        <a:pt x="282204" y="537613"/>
                      </a:lnTo>
                      <a:lnTo>
                        <a:pt x="282204" y="528201"/>
                      </a:lnTo>
                      <a:lnTo>
                        <a:pt x="293473" y="510785"/>
                      </a:lnTo>
                      <a:lnTo>
                        <a:pt x="310505" y="505695"/>
                      </a:lnTo>
                      <a:lnTo>
                        <a:pt x="336276" y="487575"/>
                      </a:lnTo>
                      <a:lnTo>
                        <a:pt x="338069" y="469775"/>
                      </a:lnTo>
                      <a:lnTo>
                        <a:pt x="347513" y="463628"/>
                      </a:lnTo>
                      <a:lnTo>
                        <a:pt x="345688" y="456713"/>
                      </a:lnTo>
                      <a:lnTo>
                        <a:pt x="351867" y="454184"/>
                      </a:lnTo>
                      <a:lnTo>
                        <a:pt x="353692" y="440386"/>
                      </a:lnTo>
                      <a:lnTo>
                        <a:pt x="363104" y="428413"/>
                      </a:lnTo>
                      <a:lnTo>
                        <a:pt x="383785" y="400849"/>
                      </a:lnTo>
                      <a:lnTo>
                        <a:pt x="390668" y="375109"/>
                      </a:lnTo>
                      <a:lnTo>
                        <a:pt x="393229" y="354428"/>
                      </a:lnTo>
                      <a:lnTo>
                        <a:pt x="406291" y="333747"/>
                      </a:lnTo>
                      <a:lnTo>
                        <a:pt x="462156" y="274265"/>
                      </a:lnTo>
                      <a:lnTo>
                        <a:pt x="502397" y="239081"/>
                      </a:lnTo>
                      <a:lnTo>
                        <a:pt x="559382" y="196983"/>
                      </a:lnTo>
                      <a:lnTo>
                        <a:pt x="585122" y="180656"/>
                      </a:lnTo>
                      <a:lnTo>
                        <a:pt x="578943" y="176302"/>
                      </a:lnTo>
                      <a:lnTo>
                        <a:pt x="553204" y="158918"/>
                      </a:lnTo>
                      <a:lnTo>
                        <a:pt x="425884" y="74017"/>
                      </a:lnTo>
                      <a:lnTo>
                        <a:pt x="401937" y="44628"/>
                      </a:lnTo>
                      <a:lnTo>
                        <a:pt x="381256" y="45364"/>
                      </a:lnTo>
                      <a:lnTo>
                        <a:pt x="367458" y="37008"/>
                      </a:lnTo>
                      <a:lnTo>
                        <a:pt x="352603" y="18888"/>
                      </a:lnTo>
                      <a:lnTo>
                        <a:pt x="319213" y="3265"/>
                      </a:lnTo>
                      <a:lnTo>
                        <a:pt x="302886" y="0"/>
                      </a:lnTo>
                      <a:lnTo>
                        <a:pt x="282941" y="736"/>
                      </a:lnTo>
                      <a:lnTo>
                        <a:pt x="280412" y="6915"/>
                      </a:lnTo>
                      <a:lnTo>
                        <a:pt x="274617" y="7619"/>
                      </a:lnTo>
                      <a:lnTo>
                        <a:pt x="245932" y="326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1" name="Forma Livre: Forma 200">
                  <a:extLst>
                    <a:ext uri="{FF2B5EF4-FFF2-40B4-BE49-F238E27FC236}">
                      <a16:creationId xmlns:a16="http://schemas.microsoft.com/office/drawing/2014/main" id="{2911BD0F-B3CD-8653-CF09-D3E36D4688AD}"/>
                    </a:ext>
                  </a:extLst>
                </p:cNvPr>
                <p:cNvSpPr/>
                <p:nvPr/>
              </p:nvSpPr>
              <p:spPr>
                <a:xfrm>
                  <a:off x="2350166" y="5981581"/>
                  <a:ext cx="247052" cy="266613"/>
                </a:xfrm>
                <a:custGeom>
                  <a:avLst/>
                  <a:gdLst>
                    <a:gd name="csX0" fmla="*/ 60219 w 247052"/>
                    <a:gd name="csY0" fmla="*/ 14502 h 266613"/>
                    <a:gd name="csX1" fmla="*/ 55160 w 247052"/>
                    <a:gd name="csY1" fmla="*/ 0 h 266613"/>
                    <a:gd name="csX2" fmla="*/ 36272 w 247052"/>
                    <a:gd name="csY2" fmla="*/ 11973 h 266613"/>
                    <a:gd name="csX3" fmla="*/ 29389 w 247052"/>
                    <a:gd name="csY3" fmla="*/ 24651 h 266613"/>
                    <a:gd name="csX4" fmla="*/ 29389 w 247052"/>
                    <a:gd name="csY4" fmla="*/ 31566 h 266613"/>
                    <a:gd name="csX5" fmla="*/ 38097 w 247052"/>
                    <a:gd name="csY5" fmla="*/ 40242 h 266613"/>
                    <a:gd name="csX6" fmla="*/ 27564 w 247052"/>
                    <a:gd name="csY6" fmla="*/ 46420 h 266613"/>
                    <a:gd name="csX7" fmla="*/ 18152 w 247052"/>
                    <a:gd name="csY7" fmla="*/ 75457 h 266613"/>
                    <a:gd name="csX8" fmla="*/ 11973 w 247052"/>
                    <a:gd name="csY8" fmla="*/ 79075 h 266613"/>
                    <a:gd name="csX9" fmla="*/ 11237 w 247052"/>
                    <a:gd name="csY9" fmla="*/ 84869 h 266613"/>
                    <a:gd name="csX10" fmla="*/ 13062 w 247052"/>
                    <a:gd name="csY10" fmla="*/ 99756 h 266613"/>
                    <a:gd name="csX11" fmla="*/ 0 w 247052"/>
                    <a:gd name="csY11" fmla="*/ 108079 h 266613"/>
                    <a:gd name="csX12" fmla="*/ 11973 w 247052"/>
                    <a:gd name="csY12" fmla="*/ 118612 h 266613"/>
                    <a:gd name="csX13" fmla="*/ 22506 w 247052"/>
                    <a:gd name="csY13" fmla="*/ 111729 h 266613"/>
                    <a:gd name="csX14" fmla="*/ 38801 w 247052"/>
                    <a:gd name="csY14" fmla="*/ 113522 h 266613"/>
                    <a:gd name="csX15" fmla="*/ 45716 w 247052"/>
                    <a:gd name="csY15" fmla="*/ 120437 h 266613"/>
                    <a:gd name="csX16" fmla="*/ 77634 w 247052"/>
                    <a:gd name="csY16" fmla="*/ 131674 h 266613"/>
                    <a:gd name="csX17" fmla="*/ 84517 w 247052"/>
                    <a:gd name="csY17" fmla="*/ 141118 h 266613"/>
                    <a:gd name="csX18" fmla="*/ 83429 w 247052"/>
                    <a:gd name="csY18" fmla="*/ 155620 h 266613"/>
                    <a:gd name="csX19" fmla="*/ 87783 w 247052"/>
                    <a:gd name="csY19" fmla="*/ 157413 h 266613"/>
                    <a:gd name="csX20" fmla="*/ 77634 w 247052"/>
                    <a:gd name="csY20" fmla="*/ 183185 h 266613"/>
                    <a:gd name="csX21" fmla="*/ 84517 w 247052"/>
                    <a:gd name="csY21" fmla="*/ 200216 h 266613"/>
                    <a:gd name="csX22" fmla="*/ 110289 w 247052"/>
                    <a:gd name="csY22" fmla="*/ 239049 h 266613"/>
                    <a:gd name="csX23" fmla="*/ 118996 w 247052"/>
                    <a:gd name="csY23" fmla="*/ 242314 h 266613"/>
                    <a:gd name="csX24" fmla="*/ 123350 w 247052"/>
                    <a:gd name="csY24" fmla="*/ 256081 h 266613"/>
                    <a:gd name="csX25" fmla="*/ 133499 w 247052"/>
                    <a:gd name="csY25" fmla="*/ 266613 h 266613"/>
                    <a:gd name="csX26" fmla="*/ 146561 w 247052"/>
                    <a:gd name="csY26" fmla="*/ 257905 h 266613"/>
                    <a:gd name="csX27" fmla="*/ 168682 w 247052"/>
                    <a:gd name="csY27" fmla="*/ 254640 h 266613"/>
                    <a:gd name="csX28" fmla="*/ 176654 w 247052"/>
                    <a:gd name="csY28" fmla="*/ 248493 h 266613"/>
                    <a:gd name="csX29" fmla="*/ 174861 w 247052"/>
                    <a:gd name="csY29" fmla="*/ 242314 h 266613"/>
                    <a:gd name="csX30" fmla="*/ 182480 w 247052"/>
                    <a:gd name="csY30" fmla="*/ 240874 h 266613"/>
                    <a:gd name="csX31" fmla="*/ 177390 w 247052"/>
                    <a:gd name="csY31" fmla="*/ 234695 h 266613"/>
                    <a:gd name="csX32" fmla="*/ 180656 w 247052"/>
                    <a:gd name="csY32" fmla="*/ 225987 h 266613"/>
                    <a:gd name="csX33" fmla="*/ 189363 w 247052"/>
                    <a:gd name="csY33" fmla="*/ 225251 h 266613"/>
                    <a:gd name="csX34" fmla="*/ 192981 w 247052"/>
                    <a:gd name="csY34" fmla="*/ 219104 h 266613"/>
                    <a:gd name="csX35" fmla="*/ 205691 w 247052"/>
                    <a:gd name="csY35" fmla="*/ 214014 h 266613"/>
                    <a:gd name="csX36" fmla="*/ 212574 w 247052"/>
                    <a:gd name="csY36" fmla="*/ 192596 h 266613"/>
                    <a:gd name="csX37" fmla="*/ 225635 w 247052"/>
                    <a:gd name="csY37" fmla="*/ 192596 h 266613"/>
                    <a:gd name="csX38" fmla="*/ 229989 w 247052"/>
                    <a:gd name="csY38" fmla="*/ 195158 h 266613"/>
                    <a:gd name="csX39" fmla="*/ 244492 w 247052"/>
                    <a:gd name="csY39" fmla="*/ 192596 h 266613"/>
                    <a:gd name="csX40" fmla="*/ 247053 w 247052"/>
                    <a:gd name="csY40" fmla="*/ 182096 h 266613"/>
                    <a:gd name="csX41" fmla="*/ 232518 w 247052"/>
                    <a:gd name="csY41" fmla="*/ 166857 h 266613"/>
                    <a:gd name="csX42" fmla="*/ 236872 w 247052"/>
                    <a:gd name="csY42" fmla="*/ 151971 h 266613"/>
                    <a:gd name="csX43" fmla="*/ 243787 w 247052"/>
                    <a:gd name="csY43" fmla="*/ 146912 h 266613"/>
                    <a:gd name="csX44" fmla="*/ 237609 w 247052"/>
                    <a:gd name="csY44" fmla="*/ 140030 h 266613"/>
                    <a:gd name="csX45" fmla="*/ 231430 w 247052"/>
                    <a:gd name="csY45" fmla="*/ 141822 h 266613"/>
                    <a:gd name="csX46" fmla="*/ 232518 w 247052"/>
                    <a:gd name="csY46" fmla="*/ 133114 h 266613"/>
                    <a:gd name="csX47" fmla="*/ 222018 w 247052"/>
                    <a:gd name="csY47" fmla="*/ 130585 h 266613"/>
                    <a:gd name="csX48" fmla="*/ 223811 w 247052"/>
                    <a:gd name="csY48" fmla="*/ 123702 h 266613"/>
                    <a:gd name="csX49" fmla="*/ 214398 w 247052"/>
                    <a:gd name="csY49" fmla="*/ 116083 h 266613"/>
                    <a:gd name="csX50" fmla="*/ 223106 w 247052"/>
                    <a:gd name="csY50" fmla="*/ 100460 h 266613"/>
                    <a:gd name="csX51" fmla="*/ 215103 w 247052"/>
                    <a:gd name="csY51" fmla="*/ 94665 h 266613"/>
                    <a:gd name="csX52" fmla="*/ 219457 w 247052"/>
                    <a:gd name="csY52" fmla="*/ 84133 h 266613"/>
                    <a:gd name="csX53" fmla="*/ 203161 w 247052"/>
                    <a:gd name="csY53" fmla="*/ 81604 h 266613"/>
                    <a:gd name="csX54" fmla="*/ 198071 w 247052"/>
                    <a:gd name="csY54" fmla="*/ 53303 h 266613"/>
                    <a:gd name="csX55" fmla="*/ 186834 w 247052"/>
                    <a:gd name="csY55" fmla="*/ 48949 h 266613"/>
                    <a:gd name="csX56" fmla="*/ 188627 w 247052"/>
                    <a:gd name="csY56" fmla="*/ 40978 h 266613"/>
                    <a:gd name="csX57" fmla="*/ 179919 w 247052"/>
                    <a:gd name="csY57" fmla="*/ 33358 h 266613"/>
                    <a:gd name="csX58" fmla="*/ 170507 w 247052"/>
                    <a:gd name="csY58" fmla="*/ 32654 h 266613"/>
                    <a:gd name="csX59" fmla="*/ 161063 w 247052"/>
                    <a:gd name="csY59" fmla="*/ 42066 h 266613"/>
                    <a:gd name="csX60" fmla="*/ 147297 w 247052"/>
                    <a:gd name="csY60" fmla="*/ 37008 h 266613"/>
                    <a:gd name="csX61" fmla="*/ 136764 w 247052"/>
                    <a:gd name="csY61" fmla="*/ 37008 h 266613"/>
                    <a:gd name="csX62" fmla="*/ 129145 w 247052"/>
                    <a:gd name="csY62" fmla="*/ 30830 h 266613"/>
                    <a:gd name="csX63" fmla="*/ 124055 w 247052"/>
                    <a:gd name="csY63" fmla="*/ 37008 h 266613"/>
                    <a:gd name="csX64" fmla="*/ 120437 w 247052"/>
                    <a:gd name="csY64" fmla="*/ 19561 h 266613"/>
                    <a:gd name="csX65" fmla="*/ 113554 w 247052"/>
                    <a:gd name="csY65" fmla="*/ 16327 h 266613"/>
                    <a:gd name="csX66" fmla="*/ 110993 w 247052"/>
                    <a:gd name="csY66" fmla="*/ 19561 h 266613"/>
                    <a:gd name="csX67" fmla="*/ 95786 w 247052"/>
                    <a:gd name="csY67" fmla="*/ 28300 h 266613"/>
                    <a:gd name="csX68" fmla="*/ 85990 w 247052"/>
                    <a:gd name="csY68" fmla="*/ 25739 h 266613"/>
                    <a:gd name="csX69" fmla="*/ 85254 w 247052"/>
                    <a:gd name="csY69" fmla="*/ 17768 h 266613"/>
                    <a:gd name="csX70" fmla="*/ 70751 w 247052"/>
                    <a:gd name="csY70" fmla="*/ 21385 h 266613"/>
                    <a:gd name="csX71" fmla="*/ 60219 w 247052"/>
                    <a:gd name="csY71" fmla="*/ 14502 h 2666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</a:cxnLst>
                  <a:rect l="l" t="t" r="r" b="b"/>
                  <a:pathLst>
                    <a:path w="247052" h="266613">
                      <a:moveTo>
                        <a:pt x="60219" y="14502"/>
                      </a:moveTo>
                      <a:lnTo>
                        <a:pt x="55160" y="0"/>
                      </a:lnTo>
                      <a:lnTo>
                        <a:pt x="36272" y="11973"/>
                      </a:lnTo>
                      <a:lnTo>
                        <a:pt x="29389" y="24651"/>
                      </a:lnTo>
                      <a:lnTo>
                        <a:pt x="29389" y="31566"/>
                      </a:lnTo>
                      <a:lnTo>
                        <a:pt x="38097" y="40242"/>
                      </a:lnTo>
                      <a:lnTo>
                        <a:pt x="27564" y="46420"/>
                      </a:lnTo>
                      <a:lnTo>
                        <a:pt x="18152" y="75457"/>
                      </a:lnTo>
                      <a:lnTo>
                        <a:pt x="11973" y="79075"/>
                      </a:lnTo>
                      <a:lnTo>
                        <a:pt x="11237" y="84869"/>
                      </a:lnTo>
                      <a:lnTo>
                        <a:pt x="13062" y="99756"/>
                      </a:lnTo>
                      <a:lnTo>
                        <a:pt x="0" y="108079"/>
                      </a:lnTo>
                      <a:lnTo>
                        <a:pt x="11973" y="118612"/>
                      </a:lnTo>
                      <a:lnTo>
                        <a:pt x="22506" y="111729"/>
                      </a:lnTo>
                      <a:lnTo>
                        <a:pt x="38801" y="113522"/>
                      </a:lnTo>
                      <a:lnTo>
                        <a:pt x="45716" y="120437"/>
                      </a:lnTo>
                      <a:lnTo>
                        <a:pt x="77634" y="131674"/>
                      </a:lnTo>
                      <a:lnTo>
                        <a:pt x="84517" y="141118"/>
                      </a:lnTo>
                      <a:lnTo>
                        <a:pt x="83429" y="155620"/>
                      </a:lnTo>
                      <a:lnTo>
                        <a:pt x="87783" y="157413"/>
                      </a:lnTo>
                      <a:lnTo>
                        <a:pt x="77634" y="183185"/>
                      </a:lnTo>
                      <a:lnTo>
                        <a:pt x="84517" y="200216"/>
                      </a:lnTo>
                      <a:lnTo>
                        <a:pt x="110289" y="239049"/>
                      </a:lnTo>
                      <a:lnTo>
                        <a:pt x="118996" y="242314"/>
                      </a:lnTo>
                      <a:lnTo>
                        <a:pt x="123350" y="256081"/>
                      </a:lnTo>
                      <a:lnTo>
                        <a:pt x="133499" y="266613"/>
                      </a:lnTo>
                      <a:lnTo>
                        <a:pt x="146561" y="257905"/>
                      </a:lnTo>
                      <a:lnTo>
                        <a:pt x="168682" y="254640"/>
                      </a:lnTo>
                      <a:lnTo>
                        <a:pt x="176654" y="248493"/>
                      </a:lnTo>
                      <a:lnTo>
                        <a:pt x="174861" y="242314"/>
                      </a:lnTo>
                      <a:lnTo>
                        <a:pt x="182480" y="240874"/>
                      </a:lnTo>
                      <a:lnTo>
                        <a:pt x="177390" y="234695"/>
                      </a:lnTo>
                      <a:lnTo>
                        <a:pt x="180656" y="225987"/>
                      </a:lnTo>
                      <a:lnTo>
                        <a:pt x="189363" y="225251"/>
                      </a:lnTo>
                      <a:lnTo>
                        <a:pt x="192981" y="219104"/>
                      </a:lnTo>
                      <a:lnTo>
                        <a:pt x="205691" y="214014"/>
                      </a:lnTo>
                      <a:lnTo>
                        <a:pt x="212574" y="192596"/>
                      </a:lnTo>
                      <a:lnTo>
                        <a:pt x="225635" y="192596"/>
                      </a:lnTo>
                      <a:lnTo>
                        <a:pt x="229989" y="195158"/>
                      </a:lnTo>
                      <a:lnTo>
                        <a:pt x="244492" y="192596"/>
                      </a:lnTo>
                      <a:lnTo>
                        <a:pt x="247053" y="182096"/>
                      </a:lnTo>
                      <a:lnTo>
                        <a:pt x="232518" y="166857"/>
                      </a:lnTo>
                      <a:lnTo>
                        <a:pt x="236872" y="151971"/>
                      </a:lnTo>
                      <a:lnTo>
                        <a:pt x="243787" y="146912"/>
                      </a:lnTo>
                      <a:lnTo>
                        <a:pt x="237609" y="140030"/>
                      </a:lnTo>
                      <a:lnTo>
                        <a:pt x="231430" y="141822"/>
                      </a:lnTo>
                      <a:lnTo>
                        <a:pt x="232518" y="133114"/>
                      </a:lnTo>
                      <a:lnTo>
                        <a:pt x="222018" y="130585"/>
                      </a:lnTo>
                      <a:lnTo>
                        <a:pt x="223811" y="123702"/>
                      </a:lnTo>
                      <a:lnTo>
                        <a:pt x="214398" y="116083"/>
                      </a:lnTo>
                      <a:lnTo>
                        <a:pt x="223106" y="100460"/>
                      </a:lnTo>
                      <a:lnTo>
                        <a:pt x="215103" y="94665"/>
                      </a:lnTo>
                      <a:lnTo>
                        <a:pt x="219457" y="84133"/>
                      </a:lnTo>
                      <a:lnTo>
                        <a:pt x="203161" y="81604"/>
                      </a:lnTo>
                      <a:lnTo>
                        <a:pt x="198071" y="53303"/>
                      </a:lnTo>
                      <a:lnTo>
                        <a:pt x="186834" y="48949"/>
                      </a:lnTo>
                      <a:lnTo>
                        <a:pt x="188627" y="40978"/>
                      </a:lnTo>
                      <a:lnTo>
                        <a:pt x="179919" y="33358"/>
                      </a:lnTo>
                      <a:lnTo>
                        <a:pt x="170507" y="32654"/>
                      </a:lnTo>
                      <a:lnTo>
                        <a:pt x="161063" y="42066"/>
                      </a:lnTo>
                      <a:lnTo>
                        <a:pt x="147297" y="37008"/>
                      </a:lnTo>
                      <a:lnTo>
                        <a:pt x="136764" y="37008"/>
                      </a:lnTo>
                      <a:lnTo>
                        <a:pt x="129145" y="30830"/>
                      </a:lnTo>
                      <a:lnTo>
                        <a:pt x="124055" y="37008"/>
                      </a:lnTo>
                      <a:lnTo>
                        <a:pt x="120437" y="19561"/>
                      </a:lnTo>
                      <a:lnTo>
                        <a:pt x="113554" y="16327"/>
                      </a:lnTo>
                      <a:lnTo>
                        <a:pt x="110993" y="19561"/>
                      </a:lnTo>
                      <a:lnTo>
                        <a:pt x="95786" y="28300"/>
                      </a:lnTo>
                      <a:lnTo>
                        <a:pt x="85990" y="25739"/>
                      </a:lnTo>
                      <a:lnTo>
                        <a:pt x="85254" y="17768"/>
                      </a:lnTo>
                      <a:lnTo>
                        <a:pt x="70751" y="21385"/>
                      </a:lnTo>
                      <a:lnTo>
                        <a:pt x="60219" y="1450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2" name="Forma Livre: Forma 201">
                  <a:extLst>
                    <a:ext uri="{FF2B5EF4-FFF2-40B4-BE49-F238E27FC236}">
                      <a16:creationId xmlns:a16="http://schemas.microsoft.com/office/drawing/2014/main" id="{3C8E109F-2283-B8D0-CAB0-2248596AC3A0}"/>
                    </a:ext>
                  </a:extLst>
                </p:cNvPr>
                <p:cNvSpPr/>
                <p:nvPr/>
              </p:nvSpPr>
              <p:spPr>
                <a:xfrm>
                  <a:off x="2350166" y="5981581"/>
                  <a:ext cx="247052" cy="266613"/>
                </a:xfrm>
                <a:custGeom>
                  <a:avLst/>
                  <a:gdLst>
                    <a:gd name="csX0" fmla="*/ 60219 w 247052"/>
                    <a:gd name="csY0" fmla="*/ 14502 h 266613"/>
                    <a:gd name="csX1" fmla="*/ 55160 w 247052"/>
                    <a:gd name="csY1" fmla="*/ 0 h 266613"/>
                    <a:gd name="csX2" fmla="*/ 36272 w 247052"/>
                    <a:gd name="csY2" fmla="*/ 11973 h 266613"/>
                    <a:gd name="csX3" fmla="*/ 29389 w 247052"/>
                    <a:gd name="csY3" fmla="*/ 24651 h 266613"/>
                    <a:gd name="csX4" fmla="*/ 29389 w 247052"/>
                    <a:gd name="csY4" fmla="*/ 31566 h 266613"/>
                    <a:gd name="csX5" fmla="*/ 38097 w 247052"/>
                    <a:gd name="csY5" fmla="*/ 40242 h 266613"/>
                    <a:gd name="csX6" fmla="*/ 27564 w 247052"/>
                    <a:gd name="csY6" fmla="*/ 46420 h 266613"/>
                    <a:gd name="csX7" fmla="*/ 18152 w 247052"/>
                    <a:gd name="csY7" fmla="*/ 75457 h 266613"/>
                    <a:gd name="csX8" fmla="*/ 11973 w 247052"/>
                    <a:gd name="csY8" fmla="*/ 79075 h 266613"/>
                    <a:gd name="csX9" fmla="*/ 11237 w 247052"/>
                    <a:gd name="csY9" fmla="*/ 84869 h 266613"/>
                    <a:gd name="csX10" fmla="*/ 13062 w 247052"/>
                    <a:gd name="csY10" fmla="*/ 99756 h 266613"/>
                    <a:gd name="csX11" fmla="*/ 0 w 247052"/>
                    <a:gd name="csY11" fmla="*/ 108079 h 266613"/>
                    <a:gd name="csX12" fmla="*/ 11973 w 247052"/>
                    <a:gd name="csY12" fmla="*/ 118612 h 266613"/>
                    <a:gd name="csX13" fmla="*/ 22506 w 247052"/>
                    <a:gd name="csY13" fmla="*/ 111729 h 266613"/>
                    <a:gd name="csX14" fmla="*/ 38801 w 247052"/>
                    <a:gd name="csY14" fmla="*/ 113522 h 266613"/>
                    <a:gd name="csX15" fmla="*/ 45716 w 247052"/>
                    <a:gd name="csY15" fmla="*/ 120437 h 266613"/>
                    <a:gd name="csX16" fmla="*/ 77634 w 247052"/>
                    <a:gd name="csY16" fmla="*/ 131674 h 266613"/>
                    <a:gd name="csX17" fmla="*/ 84517 w 247052"/>
                    <a:gd name="csY17" fmla="*/ 141118 h 266613"/>
                    <a:gd name="csX18" fmla="*/ 83429 w 247052"/>
                    <a:gd name="csY18" fmla="*/ 155620 h 266613"/>
                    <a:gd name="csX19" fmla="*/ 87783 w 247052"/>
                    <a:gd name="csY19" fmla="*/ 157413 h 266613"/>
                    <a:gd name="csX20" fmla="*/ 77634 w 247052"/>
                    <a:gd name="csY20" fmla="*/ 183185 h 266613"/>
                    <a:gd name="csX21" fmla="*/ 84517 w 247052"/>
                    <a:gd name="csY21" fmla="*/ 200216 h 266613"/>
                    <a:gd name="csX22" fmla="*/ 110289 w 247052"/>
                    <a:gd name="csY22" fmla="*/ 239049 h 266613"/>
                    <a:gd name="csX23" fmla="*/ 118996 w 247052"/>
                    <a:gd name="csY23" fmla="*/ 242314 h 266613"/>
                    <a:gd name="csX24" fmla="*/ 123350 w 247052"/>
                    <a:gd name="csY24" fmla="*/ 256081 h 266613"/>
                    <a:gd name="csX25" fmla="*/ 133499 w 247052"/>
                    <a:gd name="csY25" fmla="*/ 266613 h 266613"/>
                    <a:gd name="csX26" fmla="*/ 146561 w 247052"/>
                    <a:gd name="csY26" fmla="*/ 257905 h 266613"/>
                    <a:gd name="csX27" fmla="*/ 168682 w 247052"/>
                    <a:gd name="csY27" fmla="*/ 254640 h 266613"/>
                    <a:gd name="csX28" fmla="*/ 176654 w 247052"/>
                    <a:gd name="csY28" fmla="*/ 248493 h 266613"/>
                    <a:gd name="csX29" fmla="*/ 174861 w 247052"/>
                    <a:gd name="csY29" fmla="*/ 242314 h 266613"/>
                    <a:gd name="csX30" fmla="*/ 182480 w 247052"/>
                    <a:gd name="csY30" fmla="*/ 240874 h 266613"/>
                    <a:gd name="csX31" fmla="*/ 177390 w 247052"/>
                    <a:gd name="csY31" fmla="*/ 234695 h 266613"/>
                    <a:gd name="csX32" fmla="*/ 180656 w 247052"/>
                    <a:gd name="csY32" fmla="*/ 225987 h 266613"/>
                    <a:gd name="csX33" fmla="*/ 189363 w 247052"/>
                    <a:gd name="csY33" fmla="*/ 225251 h 266613"/>
                    <a:gd name="csX34" fmla="*/ 192981 w 247052"/>
                    <a:gd name="csY34" fmla="*/ 219104 h 266613"/>
                    <a:gd name="csX35" fmla="*/ 205691 w 247052"/>
                    <a:gd name="csY35" fmla="*/ 214014 h 266613"/>
                    <a:gd name="csX36" fmla="*/ 212574 w 247052"/>
                    <a:gd name="csY36" fmla="*/ 192596 h 266613"/>
                    <a:gd name="csX37" fmla="*/ 225635 w 247052"/>
                    <a:gd name="csY37" fmla="*/ 192596 h 266613"/>
                    <a:gd name="csX38" fmla="*/ 229989 w 247052"/>
                    <a:gd name="csY38" fmla="*/ 195158 h 266613"/>
                    <a:gd name="csX39" fmla="*/ 244492 w 247052"/>
                    <a:gd name="csY39" fmla="*/ 192596 h 266613"/>
                    <a:gd name="csX40" fmla="*/ 247053 w 247052"/>
                    <a:gd name="csY40" fmla="*/ 182096 h 266613"/>
                    <a:gd name="csX41" fmla="*/ 232518 w 247052"/>
                    <a:gd name="csY41" fmla="*/ 166857 h 266613"/>
                    <a:gd name="csX42" fmla="*/ 236872 w 247052"/>
                    <a:gd name="csY42" fmla="*/ 151971 h 266613"/>
                    <a:gd name="csX43" fmla="*/ 243787 w 247052"/>
                    <a:gd name="csY43" fmla="*/ 146912 h 266613"/>
                    <a:gd name="csX44" fmla="*/ 237609 w 247052"/>
                    <a:gd name="csY44" fmla="*/ 140030 h 266613"/>
                    <a:gd name="csX45" fmla="*/ 231430 w 247052"/>
                    <a:gd name="csY45" fmla="*/ 141822 h 266613"/>
                    <a:gd name="csX46" fmla="*/ 232518 w 247052"/>
                    <a:gd name="csY46" fmla="*/ 133114 h 266613"/>
                    <a:gd name="csX47" fmla="*/ 222018 w 247052"/>
                    <a:gd name="csY47" fmla="*/ 130585 h 266613"/>
                    <a:gd name="csX48" fmla="*/ 223811 w 247052"/>
                    <a:gd name="csY48" fmla="*/ 123702 h 266613"/>
                    <a:gd name="csX49" fmla="*/ 214398 w 247052"/>
                    <a:gd name="csY49" fmla="*/ 116083 h 266613"/>
                    <a:gd name="csX50" fmla="*/ 223106 w 247052"/>
                    <a:gd name="csY50" fmla="*/ 100460 h 266613"/>
                    <a:gd name="csX51" fmla="*/ 215103 w 247052"/>
                    <a:gd name="csY51" fmla="*/ 94665 h 266613"/>
                    <a:gd name="csX52" fmla="*/ 219457 w 247052"/>
                    <a:gd name="csY52" fmla="*/ 84133 h 266613"/>
                    <a:gd name="csX53" fmla="*/ 203161 w 247052"/>
                    <a:gd name="csY53" fmla="*/ 81604 h 266613"/>
                    <a:gd name="csX54" fmla="*/ 198071 w 247052"/>
                    <a:gd name="csY54" fmla="*/ 53303 h 266613"/>
                    <a:gd name="csX55" fmla="*/ 186834 w 247052"/>
                    <a:gd name="csY55" fmla="*/ 48949 h 266613"/>
                    <a:gd name="csX56" fmla="*/ 188627 w 247052"/>
                    <a:gd name="csY56" fmla="*/ 40978 h 266613"/>
                    <a:gd name="csX57" fmla="*/ 179919 w 247052"/>
                    <a:gd name="csY57" fmla="*/ 33358 h 266613"/>
                    <a:gd name="csX58" fmla="*/ 170507 w 247052"/>
                    <a:gd name="csY58" fmla="*/ 32654 h 266613"/>
                    <a:gd name="csX59" fmla="*/ 161063 w 247052"/>
                    <a:gd name="csY59" fmla="*/ 42066 h 266613"/>
                    <a:gd name="csX60" fmla="*/ 147297 w 247052"/>
                    <a:gd name="csY60" fmla="*/ 37008 h 266613"/>
                    <a:gd name="csX61" fmla="*/ 136764 w 247052"/>
                    <a:gd name="csY61" fmla="*/ 37008 h 266613"/>
                    <a:gd name="csX62" fmla="*/ 129145 w 247052"/>
                    <a:gd name="csY62" fmla="*/ 30830 h 266613"/>
                    <a:gd name="csX63" fmla="*/ 124055 w 247052"/>
                    <a:gd name="csY63" fmla="*/ 37008 h 266613"/>
                    <a:gd name="csX64" fmla="*/ 120437 w 247052"/>
                    <a:gd name="csY64" fmla="*/ 19561 h 266613"/>
                    <a:gd name="csX65" fmla="*/ 113554 w 247052"/>
                    <a:gd name="csY65" fmla="*/ 16327 h 266613"/>
                    <a:gd name="csX66" fmla="*/ 110993 w 247052"/>
                    <a:gd name="csY66" fmla="*/ 19561 h 266613"/>
                    <a:gd name="csX67" fmla="*/ 95786 w 247052"/>
                    <a:gd name="csY67" fmla="*/ 28300 h 266613"/>
                    <a:gd name="csX68" fmla="*/ 85990 w 247052"/>
                    <a:gd name="csY68" fmla="*/ 25739 h 266613"/>
                    <a:gd name="csX69" fmla="*/ 85254 w 247052"/>
                    <a:gd name="csY69" fmla="*/ 17768 h 266613"/>
                    <a:gd name="csX70" fmla="*/ 70751 w 247052"/>
                    <a:gd name="csY70" fmla="*/ 21385 h 266613"/>
                    <a:gd name="csX71" fmla="*/ 60219 w 247052"/>
                    <a:gd name="csY71" fmla="*/ 14502 h 2666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</a:cxnLst>
                  <a:rect l="l" t="t" r="r" b="b"/>
                  <a:pathLst>
                    <a:path w="247052" h="266613">
                      <a:moveTo>
                        <a:pt x="60219" y="14502"/>
                      </a:moveTo>
                      <a:lnTo>
                        <a:pt x="55160" y="0"/>
                      </a:lnTo>
                      <a:lnTo>
                        <a:pt x="36272" y="11973"/>
                      </a:lnTo>
                      <a:lnTo>
                        <a:pt x="29389" y="24651"/>
                      </a:lnTo>
                      <a:lnTo>
                        <a:pt x="29389" y="31566"/>
                      </a:lnTo>
                      <a:lnTo>
                        <a:pt x="38097" y="40242"/>
                      </a:lnTo>
                      <a:lnTo>
                        <a:pt x="27564" y="46420"/>
                      </a:lnTo>
                      <a:lnTo>
                        <a:pt x="18152" y="75457"/>
                      </a:lnTo>
                      <a:lnTo>
                        <a:pt x="11973" y="79075"/>
                      </a:lnTo>
                      <a:lnTo>
                        <a:pt x="11237" y="84869"/>
                      </a:lnTo>
                      <a:lnTo>
                        <a:pt x="13062" y="99756"/>
                      </a:lnTo>
                      <a:lnTo>
                        <a:pt x="0" y="108079"/>
                      </a:lnTo>
                      <a:lnTo>
                        <a:pt x="11973" y="118612"/>
                      </a:lnTo>
                      <a:lnTo>
                        <a:pt x="22506" y="111729"/>
                      </a:lnTo>
                      <a:lnTo>
                        <a:pt x="38801" y="113522"/>
                      </a:lnTo>
                      <a:lnTo>
                        <a:pt x="45716" y="120437"/>
                      </a:lnTo>
                      <a:lnTo>
                        <a:pt x="77634" y="131674"/>
                      </a:lnTo>
                      <a:lnTo>
                        <a:pt x="84517" y="141118"/>
                      </a:lnTo>
                      <a:lnTo>
                        <a:pt x="83429" y="155620"/>
                      </a:lnTo>
                      <a:lnTo>
                        <a:pt x="87783" y="157413"/>
                      </a:lnTo>
                      <a:lnTo>
                        <a:pt x="77634" y="183185"/>
                      </a:lnTo>
                      <a:lnTo>
                        <a:pt x="84517" y="200216"/>
                      </a:lnTo>
                      <a:lnTo>
                        <a:pt x="110289" y="239049"/>
                      </a:lnTo>
                      <a:lnTo>
                        <a:pt x="118996" y="242314"/>
                      </a:lnTo>
                      <a:lnTo>
                        <a:pt x="123350" y="256081"/>
                      </a:lnTo>
                      <a:lnTo>
                        <a:pt x="133499" y="266613"/>
                      </a:lnTo>
                      <a:lnTo>
                        <a:pt x="146561" y="257905"/>
                      </a:lnTo>
                      <a:lnTo>
                        <a:pt x="168682" y="254640"/>
                      </a:lnTo>
                      <a:lnTo>
                        <a:pt x="176654" y="248493"/>
                      </a:lnTo>
                      <a:lnTo>
                        <a:pt x="174861" y="242314"/>
                      </a:lnTo>
                      <a:lnTo>
                        <a:pt x="182480" y="240874"/>
                      </a:lnTo>
                      <a:lnTo>
                        <a:pt x="177390" y="234695"/>
                      </a:lnTo>
                      <a:lnTo>
                        <a:pt x="180656" y="225987"/>
                      </a:lnTo>
                      <a:lnTo>
                        <a:pt x="189363" y="225251"/>
                      </a:lnTo>
                      <a:lnTo>
                        <a:pt x="192981" y="219104"/>
                      </a:lnTo>
                      <a:lnTo>
                        <a:pt x="205691" y="214014"/>
                      </a:lnTo>
                      <a:lnTo>
                        <a:pt x="212574" y="192596"/>
                      </a:lnTo>
                      <a:lnTo>
                        <a:pt x="225635" y="192596"/>
                      </a:lnTo>
                      <a:lnTo>
                        <a:pt x="229989" y="195158"/>
                      </a:lnTo>
                      <a:lnTo>
                        <a:pt x="244492" y="192596"/>
                      </a:lnTo>
                      <a:lnTo>
                        <a:pt x="247053" y="182096"/>
                      </a:lnTo>
                      <a:lnTo>
                        <a:pt x="232518" y="166857"/>
                      </a:lnTo>
                      <a:lnTo>
                        <a:pt x="236872" y="151971"/>
                      </a:lnTo>
                      <a:lnTo>
                        <a:pt x="243787" y="146912"/>
                      </a:lnTo>
                      <a:lnTo>
                        <a:pt x="237609" y="140030"/>
                      </a:lnTo>
                      <a:lnTo>
                        <a:pt x="231430" y="141822"/>
                      </a:lnTo>
                      <a:lnTo>
                        <a:pt x="232518" y="133114"/>
                      </a:lnTo>
                      <a:lnTo>
                        <a:pt x="222018" y="130585"/>
                      </a:lnTo>
                      <a:lnTo>
                        <a:pt x="223811" y="123702"/>
                      </a:lnTo>
                      <a:lnTo>
                        <a:pt x="214398" y="116083"/>
                      </a:lnTo>
                      <a:lnTo>
                        <a:pt x="223106" y="100460"/>
                      </a:lnTo>
                      <a:lnTo>
                        <a:pt x="215103" y="94665"/>
                      </a:lnTo>
                      <a:lnTo>
                        <a:pt x="219457" y="84133"/>
                      </a:lnTo>
                      <a:lnTo>
                        <a:pt x="203161" y="81604"/>
                      </a:lnTo>
                      <a:lnTo>
                        <a:pt x="198071" y="53303"/>
                      </a:lnTo>
                      <a:lnTo>
                        <a:pt x="186834" y="48949"/>
                      </a:lnTo>
                      <a:lnTo>
                        <a:pt x="188627" y="40978"/>
                      </a:lnTo>
                      <a:lnTo>
                        <a:pt x="179919" y="33358"/>
                      </a:lnTo>
                      <a:lnTo>
                        <a:pt x="170507" y="32654"/>
                      </a:lnTo>
                      <a:lnTo>
                        <a:pt x="161063" y="42066"/>
                      </a:lnTo>
                      <a:lnTo>
                        <a:pt x="147297" y="37008"/>
                      </a:lnTo>
                      <a:lnTo>
                        <a:pt x="136764" y="37008"/>
                      </a:lnTo>
                      <a:lnTo>
                        <a:pt x="129145" y="30830"/>
                      </a:lnTo>
                      <a:lnTo>
                        <a:pt x="124055" y="37008"/>
                      </a:lnTo>
                      <a:lnTo>
                        <a:pt x="120437" y="19561"/>
                      </a:lnTo>
                      <a:lnTo>
                        <a:pt x="113554" y="16327"/>
                      </a:lnTo>
                      <a:lnTo>
                        <a:pt x="110993" y="19561"/>
                      </a:lnTo>
                      <a:lnTo>
                        <a:pt x="95786" y="28300"/>
                      </a:lnTo>
                      <a:lnTo>
                        <a:pt x="85990" y="25739"/>
                      </a:lnTo>
                      <a:lnTo>
                        <a:pt x="85254" y="17768"/>
                      </a:lnTo>
                      <a:lnTo>
                        <a:pt x="70751" y="21385"/>
                      </a:lnTo>
                      <a:lnTo>
                        <a:pt x="60219" y="1450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3" name="Forma Livre: Forma 202">
                  <a:extLst>
                    <a:ext uri="{FF2B5EF4-FFF2-40B4-BE49-F238E27FC236}">
                      <a16:creationId xmlns:a16="http://schemas.microsoft.com/office/drawing/2014/main" id="{F10E4332-9B7F-F631-8780-627999AA9107}"/>
                    </a:ext>
                  </a:extLst>
                </p:cNvPr>
                <p:cNvSpPr/>
                <p:nvPr/>
              </p:nvSpPr>
              <p:spPr>
                <a:xfrm>
                  <a:off x="2350166" y="5981581"/>
                  <a:ext cx="247052" cy="266613"/>
                </a:xfrm>
                <a:custGeom>
                  <a:avLst/>
                  <a:gdLst>
                    <a:gd name="csX0" fmla="*/ 60219 w 247052"/>
                    <a:gd name="csY0" fmla="*/ 14502 h 266613"/>
                    <a:gd name="csX1" fmla="*/ 55160 w 247052"/>
                    <a:gd name="csY1" fmla="*/ 0 h 266613"/>
                    <a:gd name="csX2" fmla="*/ 36272 w 247052"/>
                    <a:gd name="csY2" fmla="*/ 11973 h 266613"/>
                    <a:gd name="csX3" fmla="*/ 29389 w 247052"/>
                    <a:gd name="csY3" fmla="*/ 24651 h 266613"/>
                    <a:gd name="csX4" fmla="*/ 29389 w 247052"/>
                    <a:gd name="csY4" fmla="*/ 31566 h 266613"/>
                    <a:gd name="csX5" fmla="*/ 38097 w 247052"/>
                    <a:gd name="csY5" fmla="*/ 40242 h 266613"/>
                    <a:gd name="csX6" fmla="*/ 27564 w 247052"/>
                    <a:gd name="csY6" fmla="*/ 46420 h 266613"/>
                    <a:gd name="csX7" fmla="*/ 18152 w 247052"/>
                    <a:gd name="csY7" fmla="*/ 75457 h 266613"/>
                    <a:gd name="csX8" fmla="*/ 11973 w 247052"/>
                    <a:gd name="csY8" fmla="*/ 79075 h 266613"/>
                    <a:gd name="csX9" fmla="*/ 11237 w 247052"/>
                    <a:gd name="csY9" fmla="*/ 84869 h 266613"/>
                    <a:gd name="csX10" fmla="*/ 13062 w 247052"/>
                    <a:gd name="csY10" fmla="*/ 99756 h 266613"/>
                    <a:gd name="csX11" fmla="*/ 0 w 247052"/>
                    <a:gd name="csY11" fmla="*/ 108079 h 266613"/>
                    <a:gd name="csX12" fmla="*/ 11973 w 247052"/>
                    <a:gd name="csY12" fmla="*/ 118612 h 266613"/>
                    <a:gd name="csX13" fmla="*/ 22506 w 247052"/>
                    <a:gd name="csY13" fmla="*/ 111729 h 266613"/>
                    <a:gd name="csX14" fmla="*/ 38801 w 247052"/>
                    <a:gd name="csY14" fmla="*/ 113522 h 266613"/>
                    <a:gd name="csX15" fmla="*/ 45716 w 247052"/>
                    <a:gd name="csY15" fmla="*/ 120437 h 266613"/>
                    <a:gd name="csX16" fmla="*/ 77634 w 247052"/>
                    <a:gd name="csY16" fmla="*/ 131674 h 266613"/>
                    <a:gd name="csX17" fmla="*/ 84517 w 247052"/>
                    <a:gd name="csY17" fmla="*/ 141118 h 266613"/>
                    <a:gd name="csX18" fmla="*/ 83429 w 247052"/>
                    <a:gd name="csY18" fmla="*/ 155620 h 266613"/>
                    <a:gd name="csX19" fmla="*/ 87783 w 247052"/>
                    <a:gd name="csY19" fmla="*/ 157413 h 266613"/>
                    <a:gd name="csX20" fmla="*/ 77634 w 247052"/>
                    <a:gd name="csY20" fmla="*/ 183185 h 266613"/>
                    <a:gd name="csX21" fmla="*/ 84517 w 247052"/>
                    <a:gd name="csY21" fmla="*/ 200216 h 266613"/>
                    <a:gd name="csX22" fmla="*/ 110289 w 247052"/>
                    <a:gd name="csY22" fmla="*/ 239049 h 266613"/>
                    <a:gd name="csX23" fmla="*/ 118996 w 247052"/>
                    <a:gd name="csY23" fmla="*/ 242314 h 266613"/>
                    <a:gd name="csX24" fmla="*/ 123350 w 247052"/>
                    <a:gd name="csY24" fmla="*/ 256081 h 266613"/>
                    <a:gd name="csX25" fmla="*/ 133499 w 247052"/>
                    <a:gd name="csY25" fmla="*/ 266613 h 266613"/>
                    <a:gd name="csX26" fmla="*/ 146561 w 247052"/>
                    <a:gd name="csY26" fmla="*/ 257905 h 266613"/>
                    <a:gd name="csX27" fmla="*/ 168682 w 247052"/>
                    <a:gd name="csY27" fmla="*/ 254640 h 266613"/>
                    <a:gd name="csX28" fmla="*/ 176654 w 247052"/>
                    <a:gd name="csY28" fmla="*/ 248493 h 266613"/>
                    <a:gd name="csX29" fmla="*/ 174861 w 247052"/>
                    <a:gd name="csY29" fmla="*/ 242314 h 266613"/>
                    <a:gd name="csX30" fmla="*/ 182480 w 247052"/>
                    <a:gd name="csY30" fmla="*/ 240874 h 266613"/>
                    <a:gd name="csX31" fmla="*/ 177390 w 247052"/>
                    <a:gd name="csY31" fmla="*/ 234695 h 266613"/>
                    <a:gd name="csX32" fmla="*/ 180656 w 247052"/>
                    <a:gd name="csY32" fmla="*/ 225987 h 266613"/>
                    <a:gd name="csX33" fmla="*/ 189363 w 247052"/>
                    <a:gd name="csY33" fmla="*/ 225251 h 266613"/>
                    <a:gd name="csX34" fmla="*/ 192981 w 247052"/>
                    <a:gd name="csY34" fmla="*/ 219104 h 266613"/>
                    <a:gd name="csX35" fmla="*/ 205691 w 247052"/>
                    <a:gd name="csY35" fmla="*/ 214014 h 266613"/>
                    <a:gd name="csX36" fmla="*/ 212574 w 247052"/>
                    <a:gd name="csY36" fmla="*/ 192596 h 266613"/>
                    <a:gd name="csX37" fmla="*/ 225635 w 247052"/>
                    <a:gd name="csY37" fmla="*/ 192596 h 266613"/>
                    <a:gd name="csX38" fmla="*/ 229989 w 247052"/>
                    <a:gd name="csY38" fmla="*/ 195158 h 266613"/>
                    <a:gd name="csX39" fmla="*/ 244492 w 247052"/>
                    <a:gd name="csY39" fmla="*/ 192596 h 266613"/>
                    <a:gd name="csX40" fmla="*/ 247053 w 247052"/>
                    <a:gd name="csY40" fmla="*/ 182096 h 266613"/>
                    <a:gd name="csX41" fmla="*/ 232518 w 247052"/>
                    <a:gd name="csY41" fmla="*/ 166857 h 266613"/>
                    <a:gd name="csX42" fmla="*/ 236872 w 247052"/>
                    <a:gd name="csY42" fmla="*/ 151971 h 266613"/>
                    <a:gd name="csX43" fmla="*/ 243787 w 247052"/>
                    <a:gd name="csY43" fmla="*/ 146912 h 266613"/>
                    <a:gd name="csX44" fmla="*/ 237609 w 247052"/>
                    <a:gd name="csY44" fmla="*/ 140030 h 266613"/>
                    <a:gd name="csX45" fmla="*/ 231430 w 247052"/>
                    <a:gd name="csY45" fmla="*/ 141822 h 266613"/>
                    <a:gd name="csX46" fmla="*/ 232518 w 247052"/>
                    <a:gd name="csY46" fmla="*/ 133114 h 266613"/>
                    <a:gd name="csX47" fmla="*/ 222018 w 247052"/>
                    <a:gd name="csY47" fmla="*/ 130585 h 266613"/>
                    <a:gd name="csX48" fmla="*/ 223811 w 247052"/>
                    <a:gd name="csY48" fmla="*/ 123702 h 266613"/>
                    <a:gd name="csX49" fmla="*/ 214398 w 247052"/>
                    <a:gd name="csY49" fmla="*/ 116083 h 266613"/>
                    <a:gd name="csX50" fmla="*/ 223106 w 247052"/>
                    <a:gd name="csY50" fmla="*/ 100460 h 266613"/>
                    <a:gd name="csX51" fmla="*/ 215103 w 247052"/>
                    <a:gd name="csY51" fmla="*/ 94665 h 266613"/>
                    <a:gd name="csX52" fmla="*/ 219457 w 247052"/>
                    <a:gd name="csY52" fmla="*/ 84133 h 266613"/>
                    <a:gd name="csX53" fmla="*/ 203161 w 247052"/>
                    <a:gd name="csY53" fmla="*/ 81604 h 266613"/>
                    <a:gd name="csX54" fmla="*/ 198071 w 247052"/>
                    <a:gd name="csY54" fmla="*/ 53303 h 266613"/>
                    <a:gd name="csX55" fmla="*/ 186834 w 247052"/>
                    <a:gd name="csY55" fmla="*/ 48949 h 266613"/>
                    <a:gd name="csX56" fmla="*/ 188627 w 247052"/>
                    <a:gd name="csY56" fmla="*/ 40978 h 266613"/>
                    <a:gd name="csX57" fmla="*/ 179919 w 247052"/>
                    <a:gd name="csY57" fmla="*/ 33358 h 266613"/>
                    <a:gd name="csX58" fmla="*/ 170507 w 247052"/>
                    <a:gd name="csY58" fmla="*/ 32654 h 266613"/>
                    <a:gd name="csX59" fmla="*/ 161063 w 247052"/>
                    <a:gd name="csY59" fmla="*/ 42066 h 266613"/>
                    <a:gd name="csX60" fmla="*/ 147297 w 247052"/>
                    <a:gd name="csY60" fmla="*/ 37008 h 266613"/>
                    <a:gd name="csX61" fmla="*/ 136764 w 247052"/>
                    <a:gd name="csY61" fmla="*/ 37008 h 266613"/>
                    <a:gd name="csX62" fmla="*/ 129145 w 247052"/>
                    <a:gd name="csY62" fmla="*/ 30830 h 266613"/>
                    <a:gd name="csX63" fmla="*/ 124055 w 247052"/>
                    <a:gd name="csY63" fmla="*/ 37008 h 266613"/>
                    <a:gd name="csX64" fmla="*/ 120437 w 247052"/>
                    <a:gd name="csY64" fmla="*/ 19561 h 266613"/>
                    <a:gd name="csX65" fmla="*/ 113554 w 247052"/>
                    <a:gd name="csY65" fmla="*/ 16327 h 266613"/>
                    <a:gd name="csX66" fmla="*/ 110993 w 247052"/>
                    <a:gd name="csY66" fmla="*/ 19561 h 266613"/>
                    <a:gd name="csX67" fmla="*/ 95786 w 247052"/>
                    <a:gd name="csY67" fmla="*/ 28300 h 266613"/>
                    <a:gd name="csX68" fmla="*/ 85990 w 247052"/>
                    <a:gd name="csY68" fmla="*/ 25739 h 266613"/>
                    <a:gd name="csX69" fmla="*/ 85254 w 247052"/>
                    <a:gd name="csY69" fmla="*/ 17768 h 266613"/>
                    <a:gd name="csX70" fmla="*/ 70751 w 247052"/>
                    <a:gd name="csY70" fmla="*/ 21385 h 266613"/>
                    <a:gd name="csX71" fmla="*/ 60219 w 247052"/>
                    <a:gd name="csY71" fmla="*/ 14502 h 2666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</a:cxnLst>
                  <a:rect l="l" t="t" r="r" b="b"/>
                  <a:pathLst>
                    <a:path w="247052" h="266613">
                      <a:moveTo>
                        <a:pt x="60219" y="14502"/>
                      </a:moveTo>
                      <a:lnTo>
                        <a:pt x="55160" y="0"/>
                      </a:lnTo>
                      <a:lnTo>
                        <a:pt x="36272" y="11973"/>
                      </a:lnTo>
                      <a:lnTo>
                        <a:pt x="29389" y="24651"/>
                      </a:lnTo>
                      <a:lnTo>
                        <a:pt x="29389" y="31566"/>
                      </a:lnTo>
                      <a:lnTo>
                        <a:pt x="38097" y="40242"/>
                      </a:lnTo>
                      <a:lnTo>
                        <a:pt x="27564" y="46420"/>
                      </a:lnTo>
                      <a:lnTo>
                        <a:pt x="18152" y="75457"/>
                      </a:lnTo>
                      <a:lnTo>
                        <a:pt x="11973" y="79075"/>
                      </a:lnTo>
                      <a:lnTo>
                        <a:pt x="11237" y="84869"/>
                      </a:lnTo>
                      <a:lnTo>
                        <a:pt x="13062" y="99756"/>
                      </a:lnTo>
                      <a:lnTo>
                        <a:pt x="0" y="108079"/>
                      </a:lnTo>
                      <a:lnTo>
                        <a:pt x="11973" y="118612"/>
                      </a:lnTo>
                      <a:lnTo>
                        <a:pt x="22506" y="111729"/>
                      </a:lnTo>
                      <a:lnTo>
                        <a:pt x="38801" y="113522"/>
                      </a:lnTo>
                      <a:lnTo>
                        <a:pt x="45716" y="120437"/>
                      </a:lnTo>
                      <a:lnTo>
                        <a:pt x="77634" y="131674"/>
                      </a:lnTo>
                      <a:lnTo>
                        <a:pt x="84517" y="141118"/>
                      </a:lnTo>
                      <a:lnTo>
                        <a:pt x="83429" y="155620"/>
                      </a:lnTo>
                      <a:lnTo>
                        <a:pt x="87783" y="157413"/>
                      </a:lnTo>
                      <a:lnTo>
                        <a:pt x="77634" y="183185"/>
                      </a:lnTo>
                      <a:lnTo>
                        <a:pt x="84517" y="200216"/>
                      </a:lnTo>
                      <a:lnTo>
                        <a:pt x="110289" y="239049"/>
                      </a:lnTo>
                      <a:lnTo>
                        <a:pt x="118996" y="242314"/>
                      </a:lnTo>
                      <a:lnTo>
                        <a:pt x="123350" y="256081"/>
                      </a:lnTo>
                      <a:lnTo>
                        <a:pt x="133499" y="266613"/>
                      </a:lnTo>
                      <a:lnTo>
                        <a:pt x="146561" y="257905"/>
                      </a:lnTo>
                      <a:lnTo>
                        <a:pt x="168682" y="254640"/>
                      </a:lnTo>
                      <a:lnTo>
                        <a:pt x="176654" y="248493"/>
                      </a:lnTo>
                      <a:lnTo>
                        <a:pt x="174861" y="242314"/>
                      </a:lnTo>
                      <a:lnTo>
                        <a:pt x="182480" y="240874"/>
                      </a:lnTo>
                      <a:lnTo>
                        <a:pt x="177390" y="234695"/>
                      </a:lnTo>
                      <a:lnTo>
                        <a:pt x="180656" y="225987"/>
                      </a:lnTo>
                      <a:lnTo>
                        <a:pt x="189363" y="225251"/>
                      </a:lnTo>
                      <a:lnTo>
                        <a:pt x="192981" y="219104"/>
                      </a:lnTo>
                      <a:lnTo>
                        <a:pt x="205691" y="214014"/>
                      </a:lnTo>
                      <a:lnTo>
                        <a:pt x="212574" y="192596"/>
                      </a:lnTo>
                      <a:lnTo>
                        <a:pt x="225635" y="192596"/>
                      </a:lnTo>
                      <a:lnTo>
                        <a:pt x="229989" y="195158"/>
                      </a:lnTo>
                      <a:lnTo>
                        <a:pt x="244492" y="192596"/>
                      </a:lnTo>
                      <a:lnTo>
                        <a:pt x="247053" y="182096"/>
                      </a:lnTo>
                      <a:lnTo>
                        <a:pt x="232518" y="166857"/>
                      </a:lnTo>
                      <a:lnTo>
                        <a:pt x="236872" y="151971"/>
                      </a:lnTo>
                      <a:lnTo>
                        <a:pt x="243787" y="146912"/>
                      </a:lnTo>
                      <a:lnTo>
                        <a:pt x="237609" y="140030"/>
                      </a:lnTo>
                      <a:lnTo>
                        <a:pt x="231430" y="141822"/>
                      </a:lnTo>
                      <a:lnTo>
                        <a:pt x="232518" y="133114"/>
                      </a:lnTo>
                      <a:lnTo>
                        <a:pt x="222018" y="130585"/>
                      </a:lnTo>
                      <a:lnTo>
                        <a:pt x="223811" y="123702"/>
                      </a:lnTo>
                      <a:lnTo>
                        <a:pt x="214398" y="116083"/>
                      </a:lnTo>
                      <a:lnTo>
                        <a:pt x="223106" y="100460"/>
                      </a:lnTo>
                      <a:lnTo>
                        <a:pt x="215103" y="94665"/>
                      </a:lnTo>
                      <a:lnTo>
                        <a:pt x="219457" y="84133"/>
                      </a:lnTo>
                      <a:lnTo>
                        <a:pt x="203161" y="81604"/>
                      </a:lnTo>
                      <a:lnTo>
                        <a:pt x="198071" y="53303"/>
                      </a:lnTo>
                      <a:lnTo>
                        <a:pt x="186834" y="48949"/>
                      </a:lnTo>
                      <a:lnTo>
                        <a:pt x="188627" y="40978"/>
                      </a:lnTo>
                      <a:lnTo>
                        <a:pt x="179919" y="33358"/>
                      </a:lnTo>
                      <a:lnTo>
                        <a:pt x="170507" y="32654"/>
                      </a:lnTo>
                      <a:lnTo>
                        <a:pt x="161063" y="42066"/>
                      </a:lnTo>
                      <a:lnTo>
                        <a:pt x="147297" y="37008"/>
                      </a:lnTo>
                      <a:lnTo>
                        <a:pt x="136764" y="37008"/>
                      </a:lnTo>
                      <a:lnTo>
                        <a:pt x="129145" y="30830"/>
                      </a:lnTo>
                      <a:lnTo>
                        <a:pt x="124055" y="37008"/>
                      </a:lnTo>
                      <a:lnTo>
                        <a:pt x="120437" y="19561"/>
                      </a:lnTo>
                      <a:lnTo>
                        <a:pt x="113554" y="16327"/>
                      </a:lnTo>
                      <a:lnTo>
                        <a:pt x="110993" y="19561"/>
                      </a:lnTo>
                      <a:lnTo>
                        <a:pt x="95786" y="28300"/>
                      </a:lnTo>
                      <a:lnTo>
                        <a:pt x="85990" y="25739"/>
                      </a:lnTo>
                      <a:lnTo>
                        <a:pt x="85254" y="17768"/>
                      </a:lnTo>
                      <a:lnTo>
                        <a:pt x="70751" y="21385"/>
                      </a:lnTo>
                      <a:lnTo>
                        <a:pt x="60219" y="1450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4" name="Forma Livre: Forma 203">
                  <a:extLst>
                    <a:ext uri="{FF2B5EF4-FFF2-40B4-BE49-F238E27FC236}">
                      <a16:creationId xmlns:a16="http://schemas.microsoft.com/office/drawing/2014/main" id="{7780C514-C46F-ADB4-BBC8-5D9CAA1984B6}"/>
                    </a:ext>
                  </a:extLst>
                </p:cNvPr>
                <p:cNvSpPr/>
                <p:nvPr/>
              </p:nvSpPr>
              <p:spPr>
                <a:xfrm>
                  <a:off x="2350166" y="5981581"/>
                  <a:ext cx="247052" cy="266613"/>
                </a:xfrm>
                <a:custGeom>
                  <a:avLst/>
                  <a:gdLst>
                    <a:gd name="csX0" fmla="*/ 60219 w 247052"/>
                    <a:gd name="csY0" fmla="*/ 14502 h 266613"/>
                    <a:gd name="csX1" fmla="*/ 55160 w 247052"/>
                    <a:gd name="csY1" fmla="*/ 0 h 266613"/>
                    <a:gd name="csX2" fmla="*/ 36272 w 247052"/>
                    <a:gd name="csY2" fmla="*/ 11973 h 266613"/>
                    <a:gd name="csX3" fmla="*/ 29389 w 247052"/>
                    <a:gd name="csY3" fmla="*/ 24651 h 266613"/>
                    <a:gd name="csX4" fmla="*/ 29389 w 247052"/>
                    <a:gd name="csY4" fmla="*/ 31566 h 266613"/>
                    <a:gd name="csX5" fmla="*/ 38097 w 247052"/>
                    <a:gd name="csY5" fmla="*/ 40242 h 266613"/>
                    <a:gd name="csX6" fmla="*/ 27564 w 247052"/>
                    <a:gd name="csY6" fmla="*/ 46420 h 266613"/>
                    <a:gd name="csX7" fmla="*/ 18152 w 247052"/>
                    <a:gd name="csY7" fmla="*/ 75457 h 266613"/>
                    <a:gd name="csX8" fmla="*/ 11973 w 247052"/>
                    <a:gd name="csY8" fmla="*/ 79075 h 266613"/>
                    <a:gd name="csX9" fmla="*/ 11237 w 247052"/>
                    <a:gd name="csY9" fmla="*/ 84869 h 266613"/>
                    <a:gd name="csX10" fmla="*/ 13062 w 247052"/>
                    <a:gd name="csY10" fmla="*/ 99756 h 266613"/>
                    <a:gd name="csX11" fmla="*/ 0 w 247052"/>
                    <a:gd name="csY11" fmla="*/ 108079 h 266613"/>
                    <a:gd name="csX12" fmla="*/ 11973 w 247052"/>
                    <a:gd name="csY12" fmla="*/ 118612 h 266613"/>
                    <a:gd name="csX13" fmla="*/ 22506 w 247052"/>
                    <a:gd name="csY13" fmla="*/ 111729 h 266613"/>
                    <a:gd name="csX14" fmla="*/ 38801 w 247052"/>
                    <a:gd name="csY14" fmla="*/ 113522 h 266613"/>
                    <a:gd name="csX15" fmla="*/ 45716 w 247052"/>
                    <a:gd name="csY15" fmla="*/ 120437 h 266613"/>
                    <a:gd name="csX16" fmla="*/ 77634 w 247052"/>
                    <a:gd name="csY16" fmla="*/ 131674 h 266613"/>
                    <a:gd name="csX17" fmla="*/ 84517 w 247052"/>
                    <a:gd name="csY17" fmla="*/ 141118 h 266613"/>
                    <a:gd name="csX18" fmla="*/ 83429 w 247052"/>
                    <a:gd name="csY18" fmla="*/ 155620 h 266613"/>
                    <a:gd name="csX19" fmla="*/ 87783 w 247052"/>
                    <a:gd name="csY19" fmla="*/ 157413 h 266613"/>
                    <a:gd name="csX20" fmla="*/ 77634 w 247052"/>
                    <a:gd name="csY20" fmla="*/ 183185 h 266613"/>
                    <a:gd name="csX21" fmla="*/ 84517 w 247052"/>
                    <a:gd name="csY21" fmla="*/ 200216 h 266613"/>
                    <a:gd name="csX22" fmla="*/ 110289 w 247052"/>
                    <a:gd name="csY22" fmla="*/ 239049 h 266613"/>
                    <a:gd name="csX23" fmla="*/ 118996 w 247052"/>
                    <a:gd name="csY23" fmla="*/ 242314 h 266613"/>
                    <a:gd name="csX24" fmla="*/ 123350 w 247052"/>
                    <a:gd name="csY24" fmla="*/ 256081 h 266613"/>
                    <a:gd name="csX25" fmla="*/ 133499 w 247052"/>
                    <a:gd name="csY25" fmla="*/ 266613 h 266613"/>
                    <a:gd name="csX26" fmla="*/ 146561 w 247052"/>
                    <a:gd name="csY26" fmla="*/ 257905 h 266613"/>
                    <a:gd name="csX27" fmla="*/ 168682 w 247052"/>
                    <a:gd name="csY27" fmla="*/ 254640 h 266613"/>
                    <a:gd name="csX28" fmla="*/ 176654 w 247052"/>
                    <a:gd name="csY28" fmla="*/ 248493 h 266613"/>
                    <a:gd name="csX29" fmla="*/ 174861 w 247052"/>
                    <a:gd name="csY29" fmla="*/ 242314 h 266613"/>
                    <a:gd name="csX30" fmla="*/ 182480 w 247052"/>
                    <a:gd name="csY30" fmla="*/ 240874 h 266613"/>
                    <a:gd name="csX31" fmla="*/ 177390 w 247052"/>
                    <a:gd name="csY31" fmla="*/ 234695 h 266613"/>
                    <a:gd name="csX32" fmla="*/ 180656 w 247052"/>
                    <a:gd name="csY32" fmla="*/ 225987 h 266613"/>
                    <a:gd name="csX33" fmla="*/ 189363 w 247052"/>
                    <a:gd name="csY33" fmla="*/ 225251 h 266613"/>
                    <a:gd name="csX34" fmla="*/ 192981 w 247052"/>
                    <a:gd name="csY34" fmla="*/ 219104 h 266613"/>
                    <a:gd name="csX35" fmla="*/ 205691 w 247052"/>
                    <a:gd name="csY35" fmla="*/ 214014 h 266613"/>
                    <a:gd name="csX36" fmla="*/ 212574 w 247052"/>
                    <a:gd name="csY36" fmla="*/ 192596 h 266613"/>
                    <a:gd name="csX37" fmla="*/ 225635 w 247052"/>
                    <a:gd name="csY37" fmla="*/ 192596 h 266613"/>
                    <a:gd name="csX38" fmla="*/ 229989 w 247052"/>
                    <a:gd name="csY38" fmla="*/ 195158 h 266613"/>
                    <a:gd name="csX39" fmla="*/ 244492 w 247052"/>
                    <a:gd name="csY39" fmla="*/ 192596 h 266613"/>
                    <a:gd name="csX40" fmla="*/ 247053 w 247052"/>
                    <a:gd name="csY40" fmla="*/ 182096 h 266613"/>
                    <a:gd name="csX41" fmla="*/ 232518 w 247052"/>
                    <a:gd name="csY41" fmla="*/ 166857 h 266613"/>
                    <a:gd name="csX42" fmla="*/ 236872 w 247052"/>
                    <a:gd name="csY42" fmla="*/ 151971 h 266613"/>
                    <a:gd name="csX43" fmla="*/ 243787 w 247052"/>
                    <a:gd name="csY43" fmla="*/ 146912 h 266613"/>
                    <a:gd name="csX44" fmla="*/ 237609 w 247052"/>
                    <a:gd name="csY44" fmla="*/ 140030 h 266613"/>
                    <a:gd name="csX45" fmla="*/ 231430 w 247052"/>
                    <a:gd name="csY45" fmla="*/ 141822 h 266613"/>
                    <a:gd name="csX46" fmla="*/ 232518 w 247052"/>
                    <a:gd name="csY46" fmla="*/ 133114 h 266613"/>
                    <a:gd name="csX47" fmla="*/ 222018 w 247052"/>
                    <a:gd name="csY47" fmla="*/ 130585 h 266613"/>
                    <a:gd name="csX48" fmla="*/ 223811 w 247052"/>
                    <a:gd name="csY48" fmla="*/ 123702 h 266613"/>
                    <a:gd name="csX49" fmla="*/ 214398 w 247052"/>
                    <a:gd name="csY49" fmla="*/ 116083 h 266613"/>
                    <a:gd name="csX50" fmla="*/ 223106 w 247052"/>
                    <a:gd name="csY50" fmla="*/ 100460 h 266613"/>
                    <a:gd name="csX51" fmla="*/ 215103 w 247052"/>
                    <a:gd name="csY51" fmla="*/ 94665 h 266613"/>
                    <a:gd name="csX52" fmla="*/ 219457 w 247052"/>
                    <a:gd name="csY52" fmla="*/ 84133 h 266613"/>
                    <a:gd name="csX53" fmla="*/ 203161 w 247052"/>
                    <a:gd name="csY53" fmla="*/ 81604 h 266613"/>
                    <a:gd name="csX54" fmla="*/ 198071 w 247052"/>
                    <a:gd name="csY54" fmla="*/ 53303 h 266613"/>
                    <a:gd name="csX55" fmla="*/ 186834 w 247052"/>
                    <a:gd name="csY55" fmla="*/ 48949 h 266613"/>
                    <a:gd name="csX56" fmla="*/ 188627 w 247052"/>
                    <a:gd name="csY56" fmla="*/ 40978 h 266613"/>
                    <a:gd name="csX57" fmla="*/ 179919 w 247052"/>
                    <a:gd name="csY57" fmla="*/ 33358 h 266613"/>
                    <a:gd name="csX58" fmla="*/ 170507 w 247052"/>
                    <a:gd name="csY58" fmla="*/ 32654 h 266613"/>
                    <a:gd name="csX59" fmla="*/ 161063 w 247052"/>
                    <a:gd name="csY59" fmla="*/ 42066 h 266613"/>
                    <a:gd name="csX60" fmla="*/ 147297 w 247052"/>
                    <a:gd name="csY60" fmla="*/ 37008 h 266613"/>
                    <a:gd name="csX61" fmla="*/ 136764 w 247052"/>
                    <a:gd name="csY61" fmla="*/ 37008 h 266613"/>
                    <a:gd name="csX62" fmla="*/ 129145 w 247052"/>
                    <a:gd name="csY62" fmla="*/ 30830 h 266613"/>
                    <a:gd name="csX63" fmla="*/ 124055 w 247052"/>
                    <a:gd name="csY63" fmla="*/ 37008 h 266613"/>
                    <a:gd name="csX64" fmla="*/ 120437 w 247052"/>
                    <a:gd name="csY64" fmla="*/ 19561 h 266613"/>
                    <a:gd name="csX65" fmla="*/ 113554 w 247052"/>
                    <a:gd name="csY65" fmla="*/ 16327 h 266613"/>
                    <a:gd name="csX66" fmla="*/ 110993 w 247052"/>
                    <a:gd name="csY66" fmla="*/ 19561 h 266613"/>
                    <a:gd name="csX67" fmla="*/ 95786 w 247052"/>
                    <a:gd name="csY67" fmla="*/ 28300 h 266613"/>
                    <a:gd name="csX68" fmla="*/ 85990 w 247052"/>
                    <a:gd name="csY68" fmla="*/ 25739 h 266613"/>
                    <a:gd name="csX69" fmla="*/ 85254 w 247052"/>
                    <a:gd name="csY69" fmla="*/ 17768 h 266613"/>
                    <a:gd name="csX70" fmla="*/ 70751 w 247052"/>
                    <a:gd name="csY70" fmla="*/ 21385 h 266613"/>
                    <a:gd name="csX71" fmla="*/ 60219 w 247052"/>
                    <a:gd name="csY71" fmla="*/ 14502 h 2666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</a:cxnLst>
                  <a:rect l="l" t="t" r="r" b="b"/>
                  <a:pathLst>
                    <a:path w="247052" h="266613">
                      <a:moveTo>
                        <a:pt x="60219" y="14502"/>
                      </a:moveTo>
                      <a:lnTo>
                        <a:pt x="55160" y="0"/>
                      </a:lnTo>
                      <a:lnTo>
                        <a:pt x="36272" y="11973"/>
                      </a:lnTo>
                      <a:lnTo>
                        <a:pt x="29389" y="24651"/>
                      </a:lnTo>
                      <a:lnTo>
                        <a:pt x="29389" y="31566"/>
                      </a:lnTo>
                      <a:lnTo>
                        <a:pt x="38097" y="40242"/>
                      </a:lnTo>
                      <a:lnTo>
                        <a:pt x="27564" y="46420"/>
                      </a:lnTo>
                      <a:lnTo>
                        <a:pt x="18152" y="75457"/>
                      </a:lnTo>
                      <a:lnTo>
                        <a:pt x="11973" y="79075"/>
                      </a:lnTo>
                      <a:lnTo>
                        <a:pt x="11237" y="84869"/>
                      </a:lnTo>
                      <a:lnTo>
                        <a:pt x="13062" y="99756"/>
                      </a:lnTo>
                      <a:lnTo>
                        <a:pt x="0" y="108079"/>
                      </a:lnTo>
                      <a:lnTo>
                        <a:pt x="11973" y="118612"/>
                      </a:lnTo>
                      <a:lnTo>
                        <a:pt x="22506" y="111729"/>
                      </a:lnTo>
                      <a:lnTo>
                        <a:pt x="38801" y="113522"/>
                      </a:lnTo>
                      <a:lnTo>
                        <a:pt x="45716" y="120437"/>
                      </a:lnTo>
                      <a:lnTo>
                        <a:pt x="77634" y="131674"/>
                      </a:lnTo>
                      <a:lnTo>
                        <a:pt x="84517" y="141118"/>
                      </a:lnTo>
                      <a:lnTo>
                        <a:pt x="83429" y="155620"/>
                      </a:lnTo>
                      <a:lnTo>
                        <a:pt x="87783" y="157413"/>
                      </a:lnTo>
                      <a:lnTo>
                        <a:pt x="77634" y="183185"/>
                      </a:lnTo>
                      <a:lnTo>
                        <a:pt x="84517" y="200216"/>
                      </a:lnTo>
                      <a:lnTo>
                        <a:pt x="110289" y="239049"/>
                      </a:lnTo>
                      <a:lnTo>
                        <a:pt x="118996" y="242314"/>
                      </a:lnTo>
                      <a:lnTo>
                        <a:pt x="123350" y="256081"/>
                      </a:lnTo>
                      <a:lnTo>
                        <a:pt x="133499" y="266613"/>
                      </a:lnTo>
                      <a:lnTo>
                        <a:pt x="146561" y="257905"/>
                      </a:lnTo>
                      <a:lnTo>
                        <a:pt x="168682" y="254640"/>
                      </a:lnTo>
                      <a:lnTo>
                        <a:pt x="176654" y="248493"/>
                      </a:lnTo>
                      <a:lnTo>
                        <a:pt x="174861" y="242314"/>
                      </a:lnTo>
                      <a:lnTo>
                        <a:pt x="182480" y="240874"/>
                      </a:lnTo>
                      <a:lnTo>
                        <a:pt x="177390" y="234695"/>
                      </a:lnTo>
                      <a:lnTo>
                        <a:pt x="180656" y="225987"/>
                      </a:lnTo>
                      <a:lnTo>
                        <a:pt x="189363" y="225251"/>
                      </a:lnTo>
                      <a:lnTo>
                        <a:pt x="192981" y="219104"/>
                      </a:lnTo>
                      <a:lnTo>
                        <a:pt x="205691" y="214014"/>
                      </a:lnTo>
                      <a:lnTo>
                        <a:pt x="212574" y="192596"/>
                      </a:lnTo>
                      <a:lnTo>
                        <a:pt x="225635" y="192596"/>
                      </a:lnTo>
                      <a:lnTo>
                        <a:pt x="229989" y="195158"/>
                      </a:lnTo>
                      <a:lnTo>
                        <a:pt x="244492" y="192596"/>
                      </a:lnTo>
                      <a:lnTo>
                        <a:pt x="247053" y="182096"/>
                      </a:lnTo>
                      <a:lnTo>
                        <a:pt x="232518" y="166857"/>
                      </a:lnTo>
                      <a:lnTo>
                        <a:pt x="236872" y="151971"/>
                      </a:lnTo>
                      <a:lnTo>
                        <a:pt x="243787" y="146912"/>
                      </a:lnTo>
                      <a:lnTo>
                        <a:pt x="237609" y="140030"/>
                      </a:lnTo>
                      <a:lnTo>
                        <a:pt x="231430" y="141822"/>
                      </a:lnTo>
                      <a:lnTo>
                        <a:pt x="232518" y="133114"/>
                      </a:lnTo>
                      <a:lnTo>
                        <a:pt x="222018" y="130585"/>
                      </a:lnTo>
                      <a:lnTo>
                        <a:pt x="223811" y="123702"/>
                      </a:lnTo>
                      <a:lnTo>
                        <a:pt x="214398" y="116083"/>
                      </a:lnTo>
                      <a:lnTo>
                        <a:pt x="223106" y="100460"/>
                      </a:lnTo>
                      <a:lnTo>
                        <a:pt x="215103" y="94665"/>
                      </a:lnTo>
                      <a:lnTo>
                        <a:pt x="219457" y="84133"/>
                      </a:lnTo>
                      <a:lnTo>
                        <a:pt x="203161" y="81604"/>
                      </a:lnTo>
                      <a:lnTo>
                        <a:pt x="198071" y="53303"/>
                      </a:lnTo>
                      <a:lnTo>
                        <a:pt x="186834" y="48949"/>
                      </a:lnTo>
                      <a:lnTo>
                        <a:pt x="188627" y="40978"/>
                      </a:lnTo>
                      <a:lnTo>
                        <a:pt x="179919" y="33358"/>
                      </a:lnTo>
                      <a:lnTo>
                        <a:pt x="170507" y="32654"/>
                      </a:lnTo>
                      <a:lnTo>
                        <a:pt x="161063" y="42066"/>
                      </a:lnTo>
                      <a:lnTo>
                        <a:pt x="147297" y="37008"/>
                      </a:lnTo>
                      <a:lnTo>
                        <a:pt x="136764" y="37008"/>
                      </a:lnTo>
                      <a:lnTo>
                        <a:pt x="129145" y="30830"/>
                      </a:lnTo>
                      <a:lnTo>
                        <a:pt x="124055" y="37008"/>
                      </a:lnTo>
                      <a:lnTo>
                        <a:pt x="120437" y="19561"/>
                      </a:lnTo>
                      <a:lnTo>
                        <a:pt x="113554" y="16327"/>
                      </a:lnTo>
                      <a:lnTo>
                        <a:pt x="110993" y="19561"/>
                      </a:lnTo>
                      <a:lnTo>
                        <a:pt x="95786" y="28300"/>
                      </a:lnTo>
                      <a:lnTo>
                        <a:pt x="85990" y="25739"/>
                      </a:lnTo>
                      <a:lnTo>
                        <a:pt x="85254" y="17768"/>
                      </a:lnTo>
                      <a:lnTo>
                        <a:pt x="70751" y="21385"/>
                      </a:lnTo>
                      <a:lnTo>
                        <a:pt x="60219" y="1450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5" name="Forma Livre: Forma 204">
                  <a:extLst>
                    <a:ext uri="{FF2B5EF4-FFF2-40B4-BE49-F238E27FC236}">
                      <a16:creationId xmlns:a16="http://schemas.microsoft.com/office/drawing/2014/main" id="{C90DCC7F-A518-84BB-760A-2466EAB1A3C2}"/>
                    </a:ext>
                  </a:extLst>
                </p:cNvPr>
                <p:cNvSpPr/>
                <p:nvPr/>
              </p:nvSpPr>
              <p:spPr>
                <a:xfrm>
                  <a:off x="2477486" y="3798860"/>
                  <a:ext cx="492280" cy="772307"/>
                </a:xfrm>
                <a:custGeom>
                  <a:avLst/>
                  <a:gdLst>
                    <a:gd name="csX0" fmla="*/ 339189 w 492280"/>
                    <a:gd name="csY0" fmla="*/ 0 h 772307"/>
                    <a:gd name="csX1" fmla="*/ 330482 w 492280"/>
                    <a:gd name="csY1" fmla="*/ 10148 h 772307"/>
                    <a:gd name="csX2" fmla="*/ 329745 w 492280"/>
                    <a:gd name="csY2" fmla="*/ 14502 h 772307"/>
                    <a:gd name="csX3" fmla="*/ 341718 w 492280"/>
                    <a:gd name="csY3" fmla="*/ 26476 h 772307"/>
                    <a:gd name="csX4" fmla="*/ 334835 w 492280"/>
                    <a:gd name="csY4" fmla="*/ 35183 h 772307"/>
                    <a:gd name="csX5" fmla="*/ 344280 w 492280"/>
                    <a:gd name="csY5" fmla="*/ 37745 h 772307"/>
                    <a:gd name="csX6" fmla="*/ 359134 w 492280"/>
                    <a:gd name="csY6" fmla="*/ 38449 h 772307"/>
                    <a:gd name="csX7" fmla="*/ 363488 w 492280"/>
                    <a:gd name="csY7" fmla="*/ 45332 h 772307"/>
                    <a:gd name="csX8" fmla="*/ 359134 w 492280"/>
                    <a:gd name="csY8" fmla="*/ 64220 h 772307"/>
                    <a:gd name="csX9" fmla="*/ 339189 w 492280"/>
                    <a:gd name="csY9" fmla="*/ 65309 h 772307"/>
                    <a:gd name="csX10" fmla="*/ 326480 w 492280"/>
                    <a:gd name="csY10" fmla="*/ 75457 h 772307"/>
                    <a:gd name="csX11" fmla="*/ 334835 w 492280"/>
                    <a:gd name="csY11" fmla="*/ 84165 h 772307"/>
                    <a:gd name="csX12" fmla="*/ 348634 w 492280"/>
                    <a:gd name="csY12" fmla="*/ 84165 h 772307"/>
                    <a:gd name="csX13" fmla="*/ 342807 w 492280"/>
                    <a:gd name="csY13" fmla="*/ 97227 h 772307"/>
                    <a:gd name="csX14" fmla="*/ 344280 w 492280"/>
                    <a:gd name="csY14" fmla="*/ 102285 h 772307"/>
                    <a:gd name="csX15" fmla="*/ 352987 w 492280"/>
                    <a:gd name="csY15" fmla="*/ 105550 h 772307"/>
                    <a:gd name="csX16" fmla="*/ 366753 w 492280"/>
                    <a:gd name="csY16" fmla="*/ 103758 h 772307"/>
                    <a:gd name="csX17" fmla="*/ 374373 w 492280"/>
                    <a:gd name="csY17" fmla="*/ 110641 h 772307"/>
                    <a:gd name="csX18" fmla="*/ 366017 w 492280"/>
                    <a:gd name="csY18" fmla="*/ 126232 h 772307"/>
                    <a:gd name="csX19" fmla="*/ 359134 w 492280"/>
                    <a:gd name="csY19" fmla="*/ 128056 h 772307"/>
                    <a:gd name="csX20" fmla="*/ 356605 w 492280"/>
                    <a:gd name="csY20" fmla="*/ 140766 h 772307"/>
                    <a:gd name="csX21" fmla="*/ 347897 w 492280"/>
                    <a:gd name="csY21" fmla="*/ 141854 h 772307"/>
                    <a:gd name="csX22" fmla="*/ 334099 w 492280"/>
                    <a:gd name="csY22" fmla="*/ 166857 h 772307"/>
                    <a:gd name="csX23" fmla="*/ 333395 w 492280"/>
                    <a:gd name="csY23" fmla="*/ 180655 h 772307"/>
                    <a:gd name="csX24" fmla="*/ 348634 w 492280"/>
                    <a:gd name="csY24" fmla="*/ 193365 h 772307"/>
                    <a:gd name="csX25" fmla="*/ 343543 w 492280"/>
                    <a:gd name="csY25" fmla="*/ 199512 h 772307"/>
                    <a:gd name="csX26" fmla="*/ 347897 w 492280"/>
                    <a:gd name="csY26" fmla="*/ 211485 h 772307"/>
                    <a:gd name="csX27" fmla="*/ 309800 w 492280"/>
                    <a:gd name="csY27" fmla="*/ 233991 h 772307"/>
                    <a:gd name="csX28" fmla="*/ 303270 w 492280"/>
                    <a:gd name="csY28" fmla="*/ 246669 h 772307"/>
                    <a:gd name="csX29" fmla="*/ 305831 w 492280"/>
                    <a:gd name="csY29" fmla="*/ 260467 h 772307"/>
                    <a:gd name="csX30" fmla="*/ 295298 w 492280"/>
                    <a:gd name="csY30" fmla="*/ 269175 h 772307"/>
                    <a:gd name="csX31" fmla="*/ 307271 w 492280"/>
                    <a:gd name="csY31" fmla="*/ 288031 h 772307"/>
                    <a:gd name="csX32" fmla="*/ 309096 w 492280"/>
                    <a:gd name="csY32" fmla="*/ 301829 h 772307"/>
                    <a:gd name="csX33" fmla="*/ 326480 w 492280"/>
                    <a:gd name="csY33" fmla="*/ 314859 h 772307"/>
                    <a:gd name="csX34" fmla="*/ 317772 w 492280"/>
                    <a:gd name="csY34" fmla="*/ 322478 h 772307"/>
                    <a:gd name="csX35" fmla="*/ 320333 w 492280"/>
                    <a:gd name="csY35" fmla="*/ 331922 h 772307"/>
                    <a:gd name="csX36" fmla="*/ 315243 w 492280"/>
                    <a:gd name="csY36" fmla="*/ 332658 h 772307"/>
                    <a:gd name="csX37" fmla="*/ 302181 w 492280"/>
                    <a:gd name="csY37" fmla="*/ 345720 h 772307"/>
                    <a:gd name="csX38" fmla="*/ 290944 w 492280"/>
                    <a:gd name="csY38" fmla="*/ 360223 h 772307"/>
                    <a:gd name="csX39" fmla="*/ 290944 w 492280"/>
                    <a:gd name="csY39" fmla="*/ 373284 h 772307"/>
                    <a:gd name="csX40" fmla="*/ 268822 w 492280"/>
                    <a:gd name="csY40" fmla="*/ 378343 h 772307"/>
                    <a:gd name="csX41" fmla="*/ 246316 w 492280"/>
                    <a:gd name="csY41" fmla="*/ 377638 h 772307"/>
                    <a:gd name="csX42" fmla="*/ 240170 w 492280"/>
                    <a:gd name="csY42" fmla="*/ 377638 h 772307"/>
                    <a:gd name="csX43" fmla="*/ 226372 w 492280"/>
                    <a:gd name="csY43" fmla="*/ 373284 h 772307"/>
                    <a:gd name="csX44" fmla="*/ 215487 w 492280"/>
                    <a:gd name="csY44" fmla="*/ 366401 h 772307"/>
                    <a:gd name="csX45" fmla="*/ 191925 w 492280"/>
                    <a:gd name="csY45" fmla="*/ 351867 h 772307"/>
                    <a:gd name="csX46" fmla="*/ 186834 w 492280"/>
                    <a:gd name="csY46" fmla="*/ 371459 h 772307"/>
                    <a:gd name="csX47" fmla="*/ 198808 w 492280"/>
                    <a:gd name="csY47" fmla="*/ 388875 h 772307"/>
                    <a:gd name="csX48" fmla="*/ 198071 w 492280"/>
                    <a:gd name="csY48" fmla="*/ 400849 h 772307"/>
                    <a:gd name="csX49" fmla="*/ 193717 w 492280"/>
                    <a:gd name="csY49" fmla="*/ 418968 h 772307"/>
                    <a:gd name="csX50" fmla="*/ 204250 w 492280"/>
                    <a:gd name="csY50" fmla="*/ 442915 h 772307"/>
                    <a:gd name="csX51" fmla="*/ 204986 w 492280"/>
                    <a:gd name="csY51" fmla="*/ 458538 h 772307"/>
                    <a:gd name="csX52" fmla="*/ 176686 w 492280"/>
                    <a:gd name="csY52" fmla="*/ 471215 h 772307"/>
                    <a:gd name="csX53" fmla="*/ 178126 w 492280"/>
                    <a:gd name="csY53" fmla="*/ 479923 h 772307"/>
                    <a:gd name="csX54" fmla="*/ 157798 w 492280"/>
                    <a:gd name="csY54" fmla="*/ 479923 h 772307"/>
                    <a:gd name="csX55" fmla="*/ 156005 w 492280"/>
                    <a:gd name="csY55" fmla="*/ 498075 h 772307"/>
                    <a:gd name="csX56" fmla="*/ 148001 w 492280"/>
                    <a:gd name="csY56" fmla="*/ 498075 h 772307"/>
                    <a:gd name="csX57" fmla="*/ 132795 w 492280"/>
                    <a:gd name="csY57" fmla="*/ 495514 h 772307"/>
                    <a:gd name="csX58" fmla="*/ 130233 w 492280"/>
                    <a:gd name="csY58" fmla="*/ 503133 h 772307"/>
                    <a:gd name="csX59" fmla="*/ 121525 w 492280"/>
                    <a:gd name="csY59" fmla="*/ 505695 h 772307"/>
                    <a:gd name="csX60" fmla="*/ 109552 w 492280"/>
                    <a:gd name="csY60" fmla="*/ 553203 h 772307"/>
                    <a:gd name="csX61" fmla="*/ 100844 w 492280"/>
                    <a:gd name="csY61" fmla="*/ 555733 h 772307"/>
                    <a:gd name="csX62" fmla="*/ 94698 w 492280"/>
                    <a:gd name="csY62" fmla="*/ 553203 h 772307"/>
                    <a:gd name="csX63" fmla="*/ 88903 w 492280"/>
                    <a:gd name="csY63" fmla="*/ 553940 h 772307"/>
                    <a:gd name="csX64" fmla="*/ 80900 w 492280"/>
                    <a:gd name="csY64" fmla="*/ 557205 h 772307"/>
                    <a:gd name="csX65" fmla="*/ 68926 w 492280"/>
                    <a:gd name="csY65" fmla="*/ 577886 h 772307"/>
                    <a:gd name="csX66" fmla="*/ 55160 w 492280"/>
                    <a:gd name="csY66" fmla="*/ 584769 h 772307"/>
                    <a:gd name="csX67" fmla="*/ 42451 w 492280"/>
                    <a:gd name="csY67" fmla="*/ 581504 h 772307"/>
                    <a:gd name="csX68" fmla="*/ 29389 w 492280"/>
                    <a:gd name="csY68" fmla="*/ 596006 h 772307"/>
                    <a:gd name="csX69" fmla="*/ 22506 w 492280"/>
                    <a:gd name="csY69" fmla="*/ 617424 h 772307"/>
                    <a:gd name="csX70" fmla="*/ 25035 w 492280"/>
                    <a:gd name="csY70" fmla="*/ 623570 h 772307"/>
                    <a:gd name="csX71" fmla="*/ 17416 w 492280"/>
                    <a:gd name="csY71" fmla="*/ 637368 h 772307"/>
                    <a:gd name="csX72" fmla="*/ 21770 w 492280"/>
                    <a:gd name="csY72" fmla="*/ 653696 h 772307"/>
                    <a:gd name="csX73" fmla="*/ 15623 w 492280"/>
                    <a:gd name="csY73" fmla="*/ 659842 h 772307"/>
                    <a:gd name="csX74" fmla="*/ 11269 w 492280"/>
                    <a:gd name="csY74" fmla="*/ 676170 h 772307"/>
                    <a:gd name="csX75" fmla="*/ 14887 w 492280"/>
                    <a:gd name="csY75" fmla="*/ 686350 h 772307"/>
                    <a:gd name="csX76" fmla="*/ 0 w 492280"/>
                    <a:gd name="csY76" fmla="*/ 695026 h 772307"/>
                    <a:gd name="csX77" fmla="*/ 4354 w 492280"/>
                    <a:gd name="csY77" fmla="*/ 710649 h 772307"/>
                    <a:gd name="csX78" fmla="*/ 20681 w 492280"/>
                    <a:gd name="csY78" fmla="*/ 721534 h 772307"/>
                    <a:gd name="csX79" fmla="*/ 22506 w 492280"/>
                    <a:gd name="csY79" fmla="*/ 715707 h 772307"/>
                    <a:gd name="csX80" fmla="*/ 31214 w 492280"/>
                    <a:gd name="csY80" fmla="*/ 716443 h 772307"/>
                    <a:gd name="csX81" fmla="*/ 41362 w 492280"/>
                    <a:gd name="csY81" fmla="*/ 718268 h 772307"/>
                    <a:gd name="csX82" fmla="*/ 47541 w 492280"/>
                    <a:gd name="csY82" fmla="*/ 712089 h 772307"/>
                    <a:gd name="csX83" fmla="*/ 56249 w 492280"/>
                    <a:gd name="csY83" fmla="*/ 721534 h 772307"/>
                    <a:gd name="csX84" fmla="*/ 74017 w 492280"/>
                    <a:gd name="csY84" fmla="*/ 730946 h 772307"/>
                    <a:gd name="csX85" fmla="*/ 85254 w 492280"/>
                    <a:gd name="csY85" fmla="*/ 728417 h 772307"/>
                    <a:gd name="csX86" fmla="*/ 90344 w 492280"/>
                    <a:gd name="csY86" fmla="*/ 738949 h 772307"/>
                    <a:gd name="csX87" fmla="*/ 87078 w 492280"/>
                    <a:gd name="csY87" fmla="*/ 750923 h 772307"/>
                    <a:gd name="csX88" fmla="*/ 100140 w 492280"/>
                    <a:gd name="csY88" fmla="*/ 758510 h 772307"/>
                    <a:gd name="csX89" fmla="*/ 105198 w 492280"/>
                    <a:gd name="csY89" fmla="*/ 757069 h 772307"/>
                    <a:gd name="csX90" fmla="*/ 107023 w 492280"/>
                    <a:gd name="csY90" fmla="*/ 745832 h 772307"/>
                    <a:gd name="csX91" fmla="*/ 117908 w 492280"/>
                    <a:gd name="csY91" fmla="*/ 743303 h 772307"/>
                    <a:gd name="csX92" fmla="*/ 124791 w 492280"/>
                    <a:gd name="csY92" fmla="*/ 748361 h 772307"/>
                    <a:gd name="csX93" fmla="*/ 154180 w 492280"/>
                    <a:gd name="csY93" fmla="*/ 730946 h 772307"/>
                    <a:gd name="csX94" fmla="*/ 161799 w 492280"/>
                    <a:gd name="csY94" fmla="*/ 734595 h 772307"/>
                    <a:gd name="csX95" fmla="*/ 181040 w 492280"/>
                    <a:gd name="csY95" fmla="*/ 715707 h 772307"/>
                    <a:gd name="csX96" fmla="*/ 181744 w 492280"/>
                    <a:gd name="csY96" fmla="*/ 715707 h 772307"/>
                    <a:gd name="csX97" fmla="*/ 196278 w 492280"/>
                    <a:gd name="csY97" fmla="*/ 717532 h 772307"/>
                    <a:gd name="csX98" fmla="*/ 190452 w 492280"/>
                    <a:gd name="csY98" fmla="*/ 725151 h 772307"/>
                    <a:gd name="csX99" fmla="*/ 182480 w 492280"/>
                    <a:gd name="csY99" fmla="*/ 725151 h 772307"/>
                    <a:gd name="csX100" fmla="*/ 179951 w 492280"/>
                    <a:gd name="csY100" fmla="*/ 734595 h 772307"/>
                    <a:gd name="csX101" fmla="*/ 191925 w 492280"/>
                    <a:gd name="csY101" fmla="*/ 736388 h 772307"/>
                    <a:gd name="csX102" fmla="*/ 204986 w 492280"/>
                    <a:gd name="csY102" fmla="*/ 754540 h 772307"/>
                    <a:gd name="csX103" fmla="*/ 223106 w 492280"/>
                    <a:gd name="csY103" fmla="*/ 741478 h 772307"/>
                    <a:gd name="csX104" fmla="*/ 229989 w 492280"/>
                    <a:gd name="csY104" fmla="*/ 746569 h 772307"/>
                    <a:gd name="csX105" fmla="*/ 238697 w 492280"/>
                    <a:gd name="csY105" fmla="*/ 772308 h 772307"/>
                    <a:gd name="csX106" fmla="*/ 262644 w 492280"/>
                    <a:gd name="csY106" fmla="*/ 770867 h 772307"/>
                    <a:gd name="csX107" fmla="*/ 257553 w 492280"/>
                    <a:gd name="csY107" fmla="*/ 752715 h 772307"/>
                    <a:gd name="csX108" fmla="*/ 261907 w 492280"/>
                    <a:gd name="csY108" fmla="*/ 747657 h 772307"/>
                    <a:gd name="csX109" fmla="*/ 264469 w 492280"/>
                    <a:gd name="csY109" fmla="*/ 712089 h 772307"/>
                    <a:gd name="csX110" fmla="*/ 277146 w 492280"/>
                    <a:gd name="csY110" fmla="*/ 707736 h 772307"/>
                    <a:gd name="csX111" fmla="*/ 278971 w 492280"/>
                    <a:gd name="csY111" fmla="*/ 692497 h 772307"/>
                    <a:gd name="csX112" fmla="*/ 278971 w 492280"/>
                    <a:gd name="csY112" fmla="*/ 679435 h 772307"/>
                    <a:gd name="csX113" fmla="*/ 286590 w 492280"/>
                    <a:gd name="csY113" fmla="*/ 670023 h 772307"/>
                    <a:gd name="csX114" fmla="*/ 293473 w 492280"/>
                    <a:gd name="csY114" fmla="*/ 666758 h 772307"/>
                    <a:gd name="csX115" fmla="*/ 306535 w 492280"/>
                    <a:gd name="csY115" fmla="*/ 672552 h 772307"/>
                    <a:gd name="csX116" fmla="*/ 323599 w 492280"/>
                    <a:gd name="csY116" fmla="*/ 670727 h 772307"/>
                    <a:gd name="csX117" fmla="*/ 327952 w 492280"/>
                    <a:gd name="csY117" fmla="*/ 646813 h 772307"/>
                    <a:gd name="csX118" fmla="*/ 337365 w 492280"/>
                    <a:gd name="csY118" fmla="*/ 642459 h 772307"/>
                    <a:gd name="csX119" fmla="*/ 346072 w 492280"/>
                    <a:gd name="csY119" fmla="*/ 627220 h 772307"/>
                    <a:gd name="csX120" fmla="*/ 357341 w 492280"/>
                    <a:gd name="csY120" fmla="*/ 627220 h 772307"/>
                    <a:gd name="csX121" fmla="*/ 349722 w 492280"/>
                    <a:gd name="csY121" fmla="*/ 617424 h 772307"/>
                    <a:gd name="csX122" fmla="*/ 352251 w 492280"/>
                    <a:gd name="csY122" fmla="*/ 602185 h 772307"/>
                    <a:gd name="csX123" fmla="*/ 347161 w 492280"/>
                    <a:gd name="csY123" fmla="*/ 596006 h 772307"/>
                    <a:gd name="csX124" fmla="*/ 339189 w 492280"/>
                    <a:gd name="csY124" fmla="*/ 570971 h 772307"/>
                    <a:gd name="csX125" fmla="*/ 336660 w 492280"/>
                    <a:gd name="csY125" fmla="*/ 555733 h 772307"/>
                    <a:gd name="csX126" fmla="*/ 348634 w 492280"/>
                    <a:gd name="csY126" fmla="*/ 542671 h 772307"/>
                    <a:gd name="csX127" fmla="*/ 340278 w 492280"/>
                    <a:gd name="csY127" fmla="*/ 535084 h 772307"/>
                    <a:gd name="csX128" fmla="*/ 342807 w 492280"/>
                    <a:gd name="csY128" fmla="*/ 529993 h 772307"/>
                    <a:gd name="csX129" fmla="*/ 334835 w 492280"/>
                    <a:gd name="csY129" fmla="*/ 523815 h 772307"/>
                    <a:gd name="csX130" fmla="*/ 345368 w 492280"/>
                    <a:gd name="csY130" fmla="*/ 523110 h 772307"/>
                    <a:gd name="csX131" fmla="*/ 347161 w 492280"/>
                    <a:gd name="csY131" fmla="*/ 516195 h 772307"/>
                    <a:gd name="csX132" fmla="*/ 357341 w 492280"/>
                    <a:gd name="csY132" fmla="*/ 510049 h 772307"/>
                    <a:gd name="csX133" fmla="*/ 357341 w 492280"/>
                    <a:gd name="csY133" fmla="*/ 504958 h 772307"/>
                    <a:gd name="csX134" fmla="*/ 369283 w 492280"/>
                    <a:gd name="csY134" fmla="*/ 499516 h 772307"/>
                    <a:gd name="csX135" fmla="*/ 387435 w 492280"/>
                    <a:gd name="csY135" fmla="*/ 498780 h 772307"/>
                    <a:gd name="csX136" fmla="*/ 396142 w 492280"/>
                    <a:gd name="csY136" fmla="*/ 491897 h 772307"/>
                    <a:gd name="csX137" fmla="*/ 408116 w 492280"/>
                    <a:gd name="csY137" fmla="*/ 489367 h 772307"/>
                    <a:gd name="csX138" fmla="*/ 417560 w 492280"/>
                    <a:gd name="csY138" fmla="*/ 466157 h 772307"/>
                    <a:gd name="csX139" fmla="*/ 430590 w 492280"/>
                    <a:gd name="csY139" fmla="*/ 462892 h 772307"/>
                    <a:gd name="csX140" fmla="*/ 452007 w 492280"/>
                    <a:gd name="csY140" fmla="*/ 445476 h 772307"/>
                    <a:gd name="csX141" fmla="*/ 463980 w 492280"/>
                    <a:gd name="csY141" fmla="*/ 449094 h 772307"/>
                    <a:gd name="csX142" fmla="*/ 457097 w 492280"/>
                    <a:gd name="csY142" fmla="*/ 454184 h 772307"/>
                    <a:gd name="csX143" fmla="*/ 459626 w 492280"/>
                    <a:gd name="csY143" fmla="*/ 457449 h 772307"/>
                    <a:gd name="csX144" fmla="*/ 474513 w 492280"/>
                    <a:gd name="csY144" fmla="*/ 457449 h 772307"/>
                    <a:gd name="csX145" fmla="*/ 480307 w 492280"/>
                    <a:gd name="csY145" fmla="*/ 449094 h 772307"/>
                    <a:gd name="csX146" fmla="*/ 478867 w 492280"/>
                    <a:gd name="csY146" fmla="*/ 431678 h 772307"/>
                    <a:gd name="csX147" fmla="*/ 483925 w 492280"/>
                    <a:gd name="csY147" fmla="*/ 412085 h 772307"/>
                    <a:gd name="csX148" fmla="*/ 492281 w 492280"/>
                    <a:gd name="csY148" fmla="*/ 408468 h 772307"/>
                    <a:gd name="csX149" fmla="*/ 484661 w 492280"/>
                    <a:gd name="csY149" fmla="*/ 399024 h 772307"/>
                    <a:gd name="csX150" fmla="*/ 445828 w 492280"/>
                    <a:gd name="csY150" fmla="*/ 381992 h 772307"/>
                    <a:gd name="csX151" fmla="*/ 445124 w 492280"/>
                    <a:gd name="csY151" fmla="*/ 378343 h 772307"/>
                    <a:gd name="csX152" fmla="*/ 462156 w 492280"/>
                    <a:gd name="csY152" fmla="*/ 368930 h 772307"/>
                    <a:gd name="csX153" fmla="*/ 470159 w 492280"/>
                    <a:gd name="csY153" fmla="*/ 358782 h 772307"/>
                    <a:gd name="csX154" fmla="*/ 465805 w 492280"/>
                    <a:gd name="csY154" fmla="*/ 341366 h 772307"/>
                    <a:gd name="csX155" fmla="*/ 460715 w 492280"/>
                    <a:gd name="csY155" fmla="*/ 337012 h 772307"/>
                    <a:gd name="csX156" fmla="*/ 434944 w 492280"/>
                    <a:gd name="csY156" fmla="*/ 336276 h 772307"/>
                    <a:gd name="csX157" fmla="*/ 425179 w 492280"/>
                    <a:gd name="csY157" fmla="*/ 339541 h 772307"/>
                    <a:gd name="csX158" fmla="*/ 416824 w 492280"/>
                    <a:gd name="csY158" fmla="*/ 337012 h 772307"/>
                    <a:gd name="csX159" fmla="*/ 415735 w 492280"/>
                    <a:gd name="csY159" fmla="*/ 323214 h 772307"/>
                    <a:gd name="csX160" fmla="*/ 420089 w 492280"/>
                    <a:gd name="csY160" fmla="*/ 320685 h 772307"/>
                    <a:gd name="csX161" fmla="*/ 414294 w 492280"/>
                    <a:gd name="csY161" fmla="*/ 318860 h 772307"/>
                    <a:gd name="csX162" fmla="*/ 415735 w 492280"/>
                    <a:gd name="csY162" fmla="*/ 310505 h 772307"/>
                    <a:gd name="csX163" fmla="*/ 405587 w 492280"/>
                    <a:gd name="csY163" fmla="*/ 300004 h 772307"/>
                    <a:gd name="csX164" fmla="*/ 428060 w 492280"/>
                    <a:gd name="csY164" fmla="*/ 279323 h 772307"/>
                    <a:gd name="csX165" fmla="*/ 424443 w 492280"/>
                    <a:gd name="csY165" fmla="*/ 268086 h 772307"/>
                    <a:gd name="csX166" fmla="*/ 438945 w 492280"/>
                    <a:gd name="csY166" fmla="*/ 264084 h 772307"/>
                    <a:gd name="csX167" fmla="*/ 443299 w 492280"/>
                    <a:gd name="csY167" fmla="*/ 247757 h 772307"/>
                    <a:gd name="csX168" fmla="*/ 441474 w 492280"/>
                    <a:gd name="csY168" fmla="*/ 233991 h 772307"/>
                    <a:gd name="csX169" fmla="*/ 451271 w 492280"/>
                    <a:gd name="csY169" fmla="*/ 229637 h 772307"/>
                    <a:gd name="csX170" fmla="*/ 456361 w 492280"/>
                    <a:gd name="csY170" fmla="*/ 207131 h 772307"/>
                    <a:gd name="csX171" fmla="*/ 489752 w 492280"/>
                    <a:gd name="csY171" fmla="*/ 198423 h 772307"/>
                    <a:gd name="csX172" fmla="*/ 492281 w 492280"/>
                    <a:gd name="csY172" fmla="*/ 178831 h 772307"/>
                    <a:gd name="csX173" fmla="*/ 482837 w 492280"/>
                    <a:gd name="csY173" fmla="*/ 175213 h 772307"/>
                    <a:gd name="csX174" fmla="*/ 478867 w 492280"/>
                    <a:gd name="csY174" fmla="*/ 153091 h 772307"/>
                    <a:gd name="csX175" fmla="*/ 451271 w 492280"/>
                    <a:gd name="csY175" fmla="*/ 147649 h 772307"/>
                    <a:gd name="csX176" fmla="*/ 441474 w 492280"/>
                    <a:gd name="csY176" fmla="*/ 132410 h 772307"/>
                    <a:gd name="csX177" fmla="*/ 433151 w 492280"/>
                    <a:gd name="csY177" fmla="*/ 143647 h 772307"/>
                    <a:gd name="csX178" fmla="*/ 416824 w 492280"/>
                    <a:gd name="csY178" fmla="*/ 148738 h 772307"/>
                    <a:gd name="csX179" fmla="*/ 408852 w 492280"/>
                    <a:gd name="csY179" fmla="*/ 145120 h 772307"/>
                    <a:gd name="csX180" fmla="*/ 409940 w 492280"/>
                    <a:gd name="csY180" fmla="*/ 141854 h 772307"/>
                    <a:gd name="csX181" fmla="*/ 421914 w 492280"/>
                    <a:gd name="csY181" fmla="*/ 117524 h 772307"/>
                    <a:gd name="csX182" fmla="*/ 435680 w 492280"/>
                    <a:gd name="csY182" fmla="*/ 110641 h 772307"/>
                    <a:gd name="csX183" fmla="*/ 430590 w 492280"/>
                    <a:gd name="csY183" fmla="*/ 94314 h 772307"/>
                    <a:gd name="csX184" fmla="*/ 441474 w 492280"/>
                    <a:gd name="csY184" fmla="*/ 83429 h 772307"/>
                    <a:gd name="csX185" fmla="*/ 435680 w 492280"/>
                    <a:gd name="csY185" fmla="*/ 67838 h 772307"/>
                    <a:gd name="csX186" fmla="*/ 422618 w 492280"/>
                    <a:gd name="csY186" fmla="*/ 51511 h 772307"/>
                    <a:gd name="csX187" fmla="*/ 397583 w 492280"/>
                    <a:gd name="csY187" fmla="*/ 37745 h 772307"/>
                    <a:gd name="csX188" fmla="*/ 400496 w 492280"/>
                    <a:gd name="csY188" fmla="*/ 24651 h 772307"/>
                    <a:gd name="csX189" fmla="*/ 410645 w 492280"/>
                    <a:gd name="csY189" fmla="*/ 27212 h 772307"/>
                    <a:gd name="csX190" fmla="*/ 418264 w 492280"/>
                    <a:gd name="csY190" fmla="*/ 22122 h 772307"/>
                    <a:gd name="csX191" fmla="*/ 416824 w 492280"/>
                    <a:gd name="csY191" fmla="*/ 14502 h 772307"/>
                    <a:gd name="csX192" fmla="*/ 372932 w 492280"/>
                    <a:gd name="csY192" fmla="*/ 17768 h 772307"/>
                    <a:gd name="csX193" fmla="*/ 339189 w 492280"/>
                    <a:gd name="csY193" fmla="*/ 0 h 7723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</a:cxnLst>
                  <a:rect l="l" t="t" r="r" b="b"/>
                  <a:pathLst>
                    <a:path w="492280" h="772307">
                      <a:moveTo>
                        <a:pt x="339189" y="0"/>
                      </a:moveTo>
                      <a:lnTo>
                        <a:pt x="330482" y="10148"/>
                      </a:lnTo>
                      <a:lnTo>
                        <a:pt x="329745" y="14502"/>
                      </a:lnTo>
                      <a:lnTo>
                        <a:pt x="341718" y="26476"/>
                      </a:lnTo>
                      <a:lnTo>
                        <a:pt x="334835" y="35183"/>
                      </a:lnTo>
                      <a:lnTo>
                        <a:pt x="344280" y="37745"/>
                      </a:lnTo>
                      <a:lnTo>
                        <a:pt x="359134" y="38449"/>
                      </a:lnTo>
                      <a:lnTo>
                        <a:pt x="363488" y="45332"/>
                      </a:lnTo>
                      <a:lnTo>
                        <a:pt x="359134" y="64220"/>
                      </a:lnTo>
                      <a:lnTo>
                        <a:pt x="339189" y="65309"/>
                      </a:lnTo>
                      <a:lnTo>
                        <a:pt x="326480" y="75457"/>
                      </a:lnTo>
                      <a:lnTo>
                        <a:pt x="334835" y="84165"/>
                      </a:lnTo>
                      <a:lnTo>
                        <a:pt x="348634" y="84165"/>
                      </a:lnTo>
                      <a:lnTo>
                        <a:pt x="342807" y="97227"/>
                      </a:lnTo>
                      <a:lnTo>
                        <a:pt x="344280" y="102285"/>
                      </a:lnTo>
                      <a:lnTo>
                        <a:pt x="352987" y="105550"/>
                      </a:lnTo>
                      <a:lnTo>
                        <a:pt x="366753" y="103758"/>
                      </a:lnTo>
                      <a:lnTo>
                        <a:pt x="374373" y="110641"/>
                      </a:lnTo>
                      <a:lnTo>
                        <a:pt x="366017" y="126232"/>
                      </a:lnTo>
                      <a:lnTo>
                        <a:pt x="359134" y="128056"/>
                      </a:lnTo>
                      <a:lnTo>
                        <a:pt x="356605" y="140766"/>
                      </a:lnTo>
                      <a:lnTo>
                        <a:pt x="347897" y="141854"/>
                      </a:lnTo>
                      <a:lnTo>
                        <a:pt x="334099" y="166857"/>
                      </a:lnTo>
                      <a:lnTo>
                        <a:pt x="333395" y="180655"/>
                      </a:lnTo>
                      <a:lnTo>
                        <a:pt x="348634" y="193365"/>
                      </a:lnTo>
                      <a:lnTo>
                        <a:pt x="343543" y="199512"/>
                      </a:lnTo>
                      <a:lnTo>
                        <a:pt x="347897" y="211485"/>
                      </a:lnTo>
                      <a:lnTo>
                        <a:pt x="309800" y="233991"/>
                      </a:lnTo>
                      <a:lnTo>
                        <a:pt x="303270" y="246669"/>
                      </a:lnTo>
                      <a:lnTo>
                        <a:pt x="305831" y="260467"/>
                      </a:lnTo>
                      <a:lnTo>
                        <a:pt x="295298" y="269175"/>
                      </a:lnTo>
                      <a:lnTo>
                        <a:pt x="307271" y="288031"/>
                      </a:lnTo>
                      <a:lnTo>
                        <a:pt x="309096" y="301829"/>
                      </a:lnTo>
                      <a:lnTo>
                        <a:pt x="326480" y="314859"/>
                      </a:lnTo>
                      <a:lnTo>
                        <a:pt x="317772" y="322478"/>
                      </a:lnTo>
                      <a:lnTo>
                        <a:pt x="320333" y="331922"/>
                      </a:lnTo>
                      <a:lnTo>
                        <a:pt x="315243" y="332658"/>
                      </a:lnTo>
                      <a:lnTo>
                        <a:pt x="302181" y="345720"/>
                      </a:lnTo>
                      <a:lnTo>
                        <a:pt x="290944" y="360223"/>
                      </a:lnTo>
                      <a:lnTo>
                        <a:pt x="290944" y="373284"/>
                      </a:lnTo>
                      <a:lnTo>
                        <a:pt x="268822" y="378343"/>
                      </a:lnTo>
                      <a:lnTo>
                        <a:pt x="246316" y="377638"/>
                      </a:lnTo>
                      <a:lnTo>
                        <a:pt x="240170" y="377638"/>
                      </a:lnTo>
                      <a:lnTo>
                        <a:pt x="226372" y="373284"/>
                      </a:lnTo>
                      <a:lnTo>
                        <a:pt x="215487" y="366401"/>
                      </a:lnTo>
                      <a:lnTo>
                        <a:pt x="191925" y="351867"/>
                      </a:lnTo>
                      <a:lnTo>
                        <a:pt x="186834" y="371459"/>
                      </a:lnTo>
                      <a:lnTo>
                        <a:pt x="198808" y="388875"/>
                      </a:lnTo>
                      <a:lnTo>
                        <a:pt x="198071" y="400849"/>
                      </a:lnTo>
                      <a:lnTo>
                        <a:pt x="193717" y="418968"/>
                      </a:lnTo>
                      <a:lnTo>
                        <a:pt x="204250" y="442915"/>
                      </a:lnTo>
                      <a:lnTo>
                        <a:pt x="204986" y="458538"/>
                      </a:lnTo>
                      <a:lnTo>
                        <a:pt x="176686" y="471215"/>
                      </a:lnTo>
                      <a:lnTo>
                        <a:pt x="178126" y="479923"/>
                      </a:lnTo>
                      <a:lnTo>
                        <a:pt x="157798" y="479923"/>
                      </a:lnTo>
                      <a:lnTo>
                        <a:pt x="156005" y="498075"/>
                      </a:lnTo>
                      <a:lnTo>
                        <a:pt x="148001" y="498075"/>
                      </a:lnTo>
                      <a:lnTo>
                        <a:pt x="132795" y="495514"/>
                      </a:lnTo>
                      <a:lnTo>
                        <a:pt x="130233" y="503133"/>
                      </a:lnTo>
                      <a:lnTo>
                        <a:pt x="121525" y="505695"/>
                      </a:lnTo>
                      <a:lnTo>
                        <a:pt x="109552" y="553203"/>
                      </a:lnTo>
                      <a:lnTo>
                        <a:pt x="100844" y="555733"/>
                      </a:lnTo>
                      <a:lnTo>
                        <a:pt x="94698" y="553203"/>
                      </a:lnTo>
                      <a:lnTo>
                        <a:pt x="88903" y="553940"/>
                      </a:lnTo>
                      <a:lnTo>
                        <a:pt x="80900" y="557205"/>
                      </a:lnTo>
                      <a:lnTo>
                        <a:pt x="68926" y="577886"/>
                      </a:lnTo>
                      <a:lnTo>
                        <a:pt x="55160" y="584769"/>
                      </a:lnTo>
                      <a:lnTo>
                        <a:pt x="42451" y="581504"/>
                      </a:lnTo>
                      <a:lnTo>
                        <a:pt x="29389" y="596006"/>
                      </a:lnTo>
                      <a:lnTo>
                        <a:pt x="22506" y="617424"/>
                      </a:lnTo>
                      <a:lnTo>
                        <a:pt x="25035" y="623570"/>
                      </a:lnTo>
                      <a:lnTo>
                        <a:pt x="17416" y="637368"/>
                      </a:lnTo>
                      <a:lnTo>
                        <a:pt x="21770" y="653696"/>
                      </a:lnTo>
                      <a:lnTo>
                        <a:pt x="15623" y="659842"/>
                      </a:lnTo>
                      <a:lnTo>
                        <a:pt x="11269" y="676170"/>
                      </a:lnTo>
                      <a:lnTo>
                        <a:pt x="14887" y="686350"/>
                      </a:lnTo>
                      <a:lnTo>
                        <a:pt x="0" y="695026"/>
                      </a:lnTo>
                      <a:lnTo>
                        <a:pt x="4354" y="710649"/>
                      </a:lnTo>
                      <a:lnTo>
                        <a:pt x="20681" y="721534"/>
                      </a:lnTo>
                      <a:lnTo>
                        <a:pt x="22506" y="715707"/>
                      </a:lnTo>
                      <a:lnTo>
                        <a:pt x="31214" y="716443"/>
                      </a:lnTo>
                      <a:lnTo>
                        <a:pt x="41362" y="718268"/>
                      </a:lnTo>
                      <a:lnTo>
                        <a:pt x="47541" y="712089"/>
                      </a:lnTo>
                      <a:lnTo>
                        <a:pt x="56249" y="721534"/>
                      </a:lnTo>
                      <a:lnTo>
                        <a:pt x="74017" y="730946"/>
                      </a:lnTo>
                      <a:lnTo>
                        <a:pt x="85254" y="728417"/>
                      </a:lnTo>
                      <a:lnTo>
                        <a:pt x="90344" y="738949"/>
                      </a:lnTo>
                      <a:lnTo>
                        <a:pt x="87078" y="750923"/>
                      </a:lnTo>
                      <a:lnTo>
                        <a:pt x="100140" y="758510"/>
                      </a:lnTo>
                      <a:lnTo>
                        <a:pt x="105198" y="757069"/>
                      </a:lnTo>
                      <a:lnTo>
                        <a:pt x="107023" y="745832"/>
                      </a:lnTo>
                      <a:lnTo>
                        <a:pt x="117908" y="743303"/>
                      </a:lnTo>
                      <a:lnTo>
                        <a:pt x="124791" y="748361"/>
                      </a:lnTo>
                      <a:lnTo>
                        <a:pt x="154180" y="730946"/>
                      </a:lnTo>
                      <a:lnTo>
                        <a:pt x="161799" y="734595"/>
                      </a:lnTo>
                      <a:lnTo>
                        <a:pt x="181040" y="715707"/>
                      </a:lnTo>
                      <a:lnTo>
                        <a:pt x="181744" y="715707"/>
                      </a:lnTo>
                      <a:lnTo>
                        <a:pt x="196278" y="717532"/>
                      </a:lnTo>
                      <a:lnTo>
                        <a:pt x="190452" y="725151"/>
                      </a:lnTo>
                      <a:lnTo>
                        <a:pt x="182480" y="725151"/>
                      </a:lnTo>
                      <a:lnTo>
                        <a:pt x="179951" y="734595"/>
                      </a:lnTo>
                      <a:lnTo>
                        <a:pt x="191925" y="736388"/>
                      </a:lnTo>
                      <a:lnTo>
                        <a:pt x="204986" y="754540"/>
                      </a:lnTo>
                      <a:lnTo>
                        <a:pt x="223106" y="741478"/>
                      </a:lnTo>
                      <a:lnTo>
                        <a:pt x="229989" y="746569"/>
                      </a:lnTo>
                      <a:lnTo>
                        <a:pt x="238697" y="772308"/>
                      </a:lnTo>
                      <a:lnTo>
                        <a:pt x="262644" y="770867"/>
                      </a:lnTo>
                      <a:lnTo>
                        <a:pt x="257553" y="752715"/>
                      </a:lnTo>
                      <a:lnTo>
                        <a:pt x="261907" y="747657"/>
                      </a:lnTo>
                      <a:lnTo>
                        <a:pt x="264469" y="712089"/>
                      </a:lnTo>
                      <a:lnTo>
                        <a:pt x="277146" y="707736"/>
                      </a:lnTo>
                      <a:lnTo>
                        <a:pt x="278971" y="692497"/>
                      </a:lnTo>
                      <a:lnTo>
                        <a:pt x="278971" y="679435"/>
                      </a:lnTo>
                      <a:lnTo>
                        <a:pt x="286590" y="670023"/>
                      </a:lnTo>
                      <a:lnTo>
                        <a:pt x="293473" y="666758"/>
                      </a:lnTo>
                      <a:lnTo>
                        <a:pt x="306535" y="672552"/>
                      </a:lnTo>
                      <a:lnTo>
                        <a:pt x="323599" y="670727"/>
                      </a:lnTo>
                      <a:lnTo>
                        <a:pt x="327952" y="646813"/>
                      </a:lnTo>
                      <a:lnTo>
                        <a:pt x="337365" y="642459"/>
                      </a:lnTo>
                      <a:lnTo>
                        <a:pt x="346072" y="627220"/>
                      </a:lnTo>
                      <a:lnTo>
                        <a:pt x="357341" y="627220"/>
                      </a:lnTo>
                      <a:lnTo>
                        <a:pt x="349722" y="617424"/>
                      </a:lnTo>
                      <a:lnTo>
                        <a:pt x="352251" y="602185"/>
                      </a:lnTo>
                      <a:lnTo>
                        <a:pt x="347161" y="596006"/>
                      </a:lnTo>
                      <a:lnTo>
                        <a:pt x="339189" y="570971"/>
                      </a:lnTo>
                      <a:lnTo>
                        <a:pt x="336660" y="555733"/>
                      </a:lnTo>
                      <a:lnTo>
                        <a:pt x="348634" y="542671"/>
                      </a:lnTo>
                      <a:lnTo>
                        <a:pt x="340278" y="535084"/>
                      </a:lnTo>
                      <a:lnTo>
                        <a:pt x="342807" y="529993"/>
                      </a:lnTo>
                      <a:lnTo>
                        <a:pt x="334835" y="523815"/>
                      </a:lnTo>
                      <a:lnTo>
                        <a:pt x="345368" y="523110"/>
                      </a:lnTo>
                      <a:lnTo>
                        <a:pt x="347161" y="516195"/>
                      </a:lnTo>
                      <a:lnTo>
                        <a:pt x="357341" y="510049"/>
                      </a:lnTo>
                      <a:lnTo>
                        <a:pt x="357341" y="504958"/>
                      </a:lnTo>
                      <a:lnTo>
                        <a:pt x="369283" y="499516"/>
                      </a:lnTo>
                      <a:lnTo>
                        <a:pt x="387435" y="498780"/>
                      </a:lnTo>
                      <a:lnTo>
                        <a:pt x="396142" y="491897"/>
                      </a:lnTo>
                      <a:lnTo>
                        <a:pt x="408116" y="489367"/>
                      </a:lnTo>
                      <a:lnTo>
                        <a:pt x="417560" y="466157"/>
                      </a:lnTo>
                      <a:lnTo>
                        <a:pt x="430590" y="462892"/>
                      </a:lnTo>
                      <a:lnTo>
                        <a:pt x="452007" y="445476"/>
                      </a:lnTo>
                      <a:lnTo>
                        <a:pt x="463980" y="449094"/>
                      </a:lnTo>
                      <a:lnTo>
                        <a:pt x="457097" y="454184"/>
                      </a:lnTo>
                      <a:lnTo>
                        <a:pt x="459626" y="457449"/>
                      </a:lnTo>
                      <a:lnTo>
                        <a:pt x="474513" y="457449"/>
                      </a:lnTo>
                      <a:lnTo>
                        <a:pt x="480307" y="449094"/>
                      </a:lnTo>
                      <a:lnTo>
                        <a:pt x="478867" y="431678"/>
                      </a:lnTo>
                      <a:lnTo>
                        <a:pt x="483925" y="412085"/>
                      </a:lnTo>
                      <a:lnTo>
                        <a:pt x="492281" y="408468"/>
                      </a:lnTo>
                      <a:lnTo>
                        <a:pt x="484661" y="399024"/>
                      </a:lnTo>
                      <a:lnTo>
                        <a:pt x="445828" y="381992"/>
                      </a:lnTo>
                      <a:lnTo>
                        <a:pt x="445124" y="378343"/>
                      </a:lnTo>
                      <a:lnTo>
                        <a:pt x="462156" y="368930"/>
                      </a:lnTo>
                      <a:lnTo>
                        <a:pt x="470159" y="358782"/>
                      </a:lnTo>
                      <a:lnTo>
                        <a:pt x="465805" y="341366"/>
                      </a:lnTo>
                      <a:lnTo>
                        <a:pt x="460715" y="337012"/>
                      </a:lnTo>
                      <a:lnTo>
                        <a:pt x="434944" y="336276"/>
                      </a:lnTo>
                      <a:lnTo>
                        <a:pt x="425179" y="339541"/>
                      </a:lnTo>
                      <a:lnTo>
                        <a:pt x="416824" y="337012"/>
                      </a:lnTo>
                      <a:lnTo>
                        <a:pt x="415735" y="323214"/>
                      </a:lnTo>
                      <a:lnTo>
                        <a:pt x="420089" y="320685"/>
                      </a:lnTo>
                      <a:lnTo>
                        <a:pt x="414294" y="318860"/>
                      </a:lnTo>
                      <a:lnTo>
                        <a:pt x="415735" y="310505"/>
                      </a:lnTo>
                      <a:lnTo>
                        <a:pt x="405587" y="300004"/>
                      </a:lnTo>
                      <a:lnTo>
                        <a:pt x="428060" y="279323"/>
                      </a:lnTo>
                      <a:lnTo>
                        <a:pt x="424443" y="268086"/>
                      </a:lnTo>
                      <a:lnTo>
                        <a:pt x="438945" y="264084"/>
                      </a:lnTo>
                      <a:lnTo>
                        <a:pt x="443299" y="247757"/>
                      </a:lnTo>
                      <a:lnTo>
                        <a:pt x="441474" y="233991"/>
                      </a:lnTo>
                      <a:lnTo>
                        <a:pt x="451271" y="229637"/>
                      </a:lnTo>
                      <a:lnTo>
                        <a:pt x="456361" y="207131"/>
                      </a:lnTo>
                      <a:lnTo>
                        <a:pt x="489752" y="198423"/>
                      </a:lnTo>
                      <a:lnTo>
                        <a:pt x="492281" y="178831"/>
                      </a:lnTo>
                      <a:lnTo>
                        <a:pt x="482837" y="175213"/>
                      </a:lnTo>
                      <a:lnTo>
                        <a:pt x="478867" y="153091"/>
                      </a:lnTo>
                      <a:lnTo>
                        <a:pt x="451271" y="147649"/>
                      </a:lnTo>
                      <a:lnTo>
                        <a:pt x="441474" y="132410"/>
                      </a:lnTo>
                      <a:lnTo>
                        <a:pt x="433151" y="143647"/>
                      </a:lnTo>
                      <a:lnTo>
                        <a:pt x="416824" y="148738"/>
                      </a:lnTo>
                      <a:lnTo>
                        <a:pt x="408852" y="145120"/>
                      </a:lnTo>
                      <a:lnTo>
                        <a:pt x="409940" y="141854"/>
                      </a:lnTo>
                      <a:lnTo>
                        <a:pt x="421914" y="117524"/>
                      </a:lnTo>
                      <a:lnTo>
                        <a:pt x="435680" y="110641"/>
                      </a:lnTo>
                      <a:lnTo>
                        <a:pt x="430590" y="94314"/>
                      </a:lnTo>
                      <a:lnTo>
                        <a:pt x="441474" y="83429"/>
                      </a:lnTo>
                      <a:lnTo>
                        <a:pt x="435680" y="67838"/>
                      </a:lnTo>
                      <a:lnTo>
                        <a:pt x="422618" y="51511"/>
                      </a:lnTo>
                      <a:lnTo>
                        <a:pt x="397583" y="37745"/>
                      </a:lnTo>
                      <a:lnTo>
                        <a:pt x="400496" y="24651"/>
                      </a:lnTo>
                      <a:lnTo>
                        <a:pt x="410645" y="27212"/>
                      </a:lnTo>
                      <a:lnTo>
                        <a:pt x="418264" y="22122"/>
                      </a:lnTo>
                      <a:lnTo>
                        <a:pt x="416824" y="14502"/>
                      </a:lnTo>
                      <a:lnTo>
                        <a:pt x="372932" y="17768"/>
                      </a:lnTo>
                      <a:lnTo>
                        <a:pt x="33918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6" name="Forma Livre: Forma 205">
                  <a:extLst>
                    <a:ext uri="{FF2B5EF4-FFF2-40B4-BE49-F238E27FC236}">
                      <a16:creationId xmlns:a16="http://schemas.microsoft.com/office/drawing/2014/main" id="{1304673B-4081-2140-4AB1-0B30B0A2B280}"/>
                    </a:ext>
                  </a:extLst>
                </p:cNvPr>
                <p:cNvSpPr/>
                <p:nvPr/>
              </p:nvSpPr>
              <p:spPr>
                <a:xfrm>
                  <a:off x="2477486" y="3798860"/>
                  <a:ext cx="492280" cy="772307"/>
                </a:xfrm>
                <a:custGeom>
                  <a:avLst/>
                  <a:gdLst>
                    <a:gd name="csX0" fmla="*/ 339189 w 492280"/>
                    <a:gd name="csY0" fmla="*/ 0 h 772307"/>
                    <a:gd name="csX1" fmla="*/ 330482 w 492280"/>
                    <a:gd name="csY1" fmla="*/ 10148 h 772307"/>
                    <a:gd name="csX2" fmla="*/ 329745 w 492280"/>
                    <a:gd name="csY2" fmla="*/ 14502 h 772307"/>
                    <a:gd name="csX3" fmla="*/ 341718 w 492280"/>
                    <a:gd name="csY3" fmla="*/ 26476 h 772307"/>
                    <a:gd name="csX4" fmla="*/ 334835 w 492280"/>
                    <a:gd name="csY4" fmla="*/ 35183 h 772307"/>
                    <a:gd name="csX5" fmla="*/ 344280 w 492280"/>
                    <a:gd name="csY5" fmla="*/ 37745 h 772307"/>
                    <a:gd name="csX6" fmla="*/ 359134 w 492280"/>
                    <a:gd name="csY6" fmla="*/ 38449 h 772307"/>
                    <a:gd name="csX7" fmla="*/ 363488 w 492280"/>
                    <a:gd name="csY7" fmla="*/ 45332 h 772307"/>
                    <a:gd name="csX8" fmla="*/ 359134 w 492280"/>
                    <a:gd name="csY8" fmla="*/ 64220 h 772307"/>
                    <a:gd name="csX9" fmla="*/ 339189 w 492280"/>
                    <a:gd name="csY9" fmla="*/ 65309 h 772307"/>
                    <a:gd name="csX10" fmla="*/ 326480 w 492280"/>
                    <a:gd name="csY10" fmla="*/ 75457 h 772307"/>
                    <a:gd name="csX11" fmla="*/ 334835 w 492280"/>
                    <a:gd name="csY11" fmla="*/ 84165 h 772307"/>
                    <a:gd name="csX12" fmla="*/ 348634 w 492280"/>
                    <a:gd name="csY12" fmla="*/ 84165 h 772307"/>
                    <a:gd name="csX13" fmla="*/ 342807 w 492280"/>
                    <a:gd name="csY13" fmla="*/ 97227 h 772307"/>
                    <a:gd name="csX14" fmla="*/ 344280 w 492280"/>
                    <a:gd name="csY14" fmla="*/ 102285 h 772307"/>
                    <a:gd name="csX15" fmla="*/ 352987 w 492280"/>
                    <a:gd name="csY15" fmla="*/ 105550 h 772307"/>
                    <a:gd name="csX16" fmla="*/ 366753 w 492280"/>
                    <a:gd name="csY16" fmla="*/ 103758 h 772307"/>
                    <a:gd name="csX17" fmla="*/ 374373 w 492280"/>
                    <a:gd name="csY17" fmla="*/ 110641 h 772307"/>
                    <a:gd name="csX18" fmla="*/ 366017 w 492280"/>
                    <a:gd name="csY18" fmla="*/ 126232 h 772307"/>
                    <a:gd name="csX19" fmla="*/ 359134 w 492280"/>
                    <a:gd name="csY19" fmla="*/ 128056 h 772307"/>
                    <a:gd name="csX20" fmla="*/ 356605 w 492280"/>
                    <a:gd name="csY20" fmla="*/ 140766 h 772307"/>
                    <a:gd name="csX21" fmla="*/ 347897 w 492280"/>
                    <a:gd name="csY21" fmla="*/ 141854 h 772307"/>
                    <a:gd name="csX22" fmla="*/ 334099 w 492280"/>
                    <a:gd name="csY22" fmla="*/ 166857 h 772307"/>
                    <a:gd name="csX23" fmla="*/ 333395 w 492280"/>
                    <a:gd name="csY23" fmla="*/ 180655 h 772307"/>
                    <a:gd name="csX24" fmla="*/ 348634 w 492280"/>
                    <a:gd name="csY24" fmla="*/ 193365 h 772307"/>
                    <a:gd name="csX25" fmla="*/ 343543 w 492280"/>
                    <a:gd name="csY25" fmla="*/ 199512 h 772307"/>
                    <a:gd name="csX26" fmla="*/ 347897 w 492280"/>
                    <a:gd name="csY26" fmla="*/ 211485 h 772307"/>
                    <a:gd name="csX27" fmla="*/ 309800 w 492280"/>
                    <a:gd name="csY27" fmla="*/ 233991 h 772307"/>
                    <a:gd name="csX28" fmla="*/ 303270 w 492280"/>
                    <a:gd name="csY28" fmla="*/ 246669 h 772307"/>
                    <a:gd name="csX29" fmla="*/ 305831 w 492280"/>
                    <a:gd name="csY29" fmla="*/ 260467 h 772307"/>
                    <a:gd name="csX30" fmla="*/ 295298 w 492280"/>
                    <a:gd name="csY30" fmla="*/ 269175 h 772307"/>
                    <a:gd name="csX31" fmla="*/ 307271 w 492280"/>
                    <a:gd name="csY31" fmla="*/ 288031 h 772307"/>
                    <a:gd name="csX32" fmla="*/ 309096 w 492280"/>
                    <a:gd name="csY32" fmla="*/ 301829 h 772307"/>
                    <a:gd name="csX33" fmla="*/ 326480 w 492280"/>
                    <a:gd name="csY33" fmla="*/ 314859 h 772307"/>
                    <a:gd name="csX34" fmla="*/ 317772 w 492280"/>
                    <a:gd name="csY34" fmla="*/ 322478 h 772307"/>
                    <a:gd name="csX35" fmla="*/ 320333 w 492280"/>
                    <a:gd name="csY35" fmla="*/ 331922 h 772307"/>
                    <a:gd name="csX36" fmla="*/ 315243 w 492280"/>
                    <a:gd name="csY36" fmla="*/ 332658 h 772307"/>
                    <a:gd name="csX37" fmla="*/ 302181 w 492280"/>
                    <a:gd name="csY37" fmla="*/ 345720 h 772307"/>
                    <a:gd name="csX38" fmla="*/ 290944 w 492280"/>
                    <a:gd name="csY38" fmla="*/ 360223 h 772307"/>
                    <a:gd name="csX39" fmla="*/ 290944 w 492280"/>
                    <a:gd name="csY39" fmla="*/ 373284 h 772307"/>
                    <a:gd name="csX40" fmla="*/ 268822 w 492280"/>
                    <a:gd name="csY40" fmla="*/ 378343 h 772307"/>
                    <a:gd name="csX41" fmla="*/ 246316 w 492280"/>
                    <a:gd name="csY41" fmla="*/ 377638 h 772307"/>
                    <a:gd name="csX42" fmla="*/ 240170 w 492280"/>
                    <a:gd name="csY42" fmla="*/ 377638 h 772307"/>
                    <a:gd name="csX43" fmla="*/ 226372 w 492280"/>
                    <a:gd name="csY43" fmla="*/ 373284 h 772307"/>
                    <a:gd name="csX44" fmla="*/ 215487 w 492280"/>
                    <a:gd name="csY44" fmla="*/ 366401 h 772307"/>
                    <a:gd name="csX45" fmla="*/ 191925 w 492280"/>
                    <a:gd name="csY45" fmla="*/ 351867 h 772307"/>
                    <a:gd name="csX46" fmla="*/ 186834 w 492280"/>
                    <a:gd name="csY46" fmla="*/ 371459 h 772307"/>
                    <a:gd name="csX47" fmla="*/ 198808 w 492280"/>
                    <a:gd name="csY47" fmla="*/ 388875 h 772307"/>
                    <a:gd name="csX48" fmla="*/ 198071 w 492280"/>
                    <a:gd name="csY48" fmla="*/ 400849 h 772307"/>
                    <a:gd name="csX49" fmla="*/ 193717 w 492280"/>
                    <a:gd name="csY49" fmla="*/ 418968 h 772307"/>
                    <a:gd name="csX50" fmla="*/ 204250 w 492280"/>
                    <a:gd name="csY50" fmla="*/ 442915 h 772307"/>
                    <a:gd name="csX51" fmla="*/ 204986 w 492280"/>
                    <a:gd name="csY51" fmla="*/ 458538 h 772307"/>
                    <a:gd name="csX52" fmla="*/ 176686 w 492280"/>
                    <a:gd name="csY52" fmla="*/ 471215 h 772307"/>
                    <a:gd name="csX53" fmla="*/ 178126 w 492280"/>
                    <a:gd name="csY53" fmla="*/ 479923 h 772307"/>
                    <a:gd name="csX54" fmla="*/ 157798 w 492280"/>
                    <a:gd name="csY54" fmla="*/ 479923 h 772307"/>
                    <a:gd name="csX55" fmla="*/ 156005 w 492280"/>
                    <a:gd name="csY55" fmla="*/ 498075 h 772307"/>
                    <a:gd name="csX56" fmla="*/ 148001 w 492280"/>
                    <a:gd name="csY56" fmla="*/ 498075 h 772307"/>
                    <a:gd name="csX57" fmla="*/ 132795 w 492280"/>
                    <a:gd name="csY57" fmla="*/ 495514 h 772307"/>
                    <a:gd name="csX58" fmla="*/ 130233 w 492280"/>
                    <a:gd name="csY58" fmla="*/ 503133 h 772307"/>
                    <a:gd name="csX59" fmla="*/ 121525 w 492280"/>
                    <a:gd name="csY59" fmla="*/ 505695 h 772307"/>
                    <a:gd name="csX60" fmla="*/ 109552 w 492280"/>
                    <a:gd name="csY60" fmla="*/ 553203 h 772307"/>
                    <a:gd name="csX61" fmla="*/ 100844 w 492280"/>
                    <a:gd name="csY61" fmla="*/ 555733 h 772307"/>
                    <a:gd name="csX62" fmla="*/ 94698 w 492280"/>
                    <a:gd name="csY62" fmla="*/ 553203 h 772307"/>
                    <a:gd name="csX63" fmla="*/ 88903 w 492280"/>
                    <a:gd name="csY63" fmla="*/ 553940 h 772307"/>
                    <a:gd name="csX64" fmla="*/ 80900 w 492280"/>
                    <a:gd name="csY64" fmla="*/ 557205 h 772307"/>
                    <a:gd name="csX65" fmla="*/ 68926 w 492280"/>
                    <a:gd name="csY65" fmla="*/ 577886 h 772307"/>
                    <a:gd name="csX66" fmla="*/ 55160 w 492280"/>
                    <a:gd name="csY66" fmla="*/ 584769 h 772307"/>
                    <a:gd name="csX67" fmla="*/ 42451 w 492280"/>
                    <a:gd name="csY67" fmla="*/ 581504 h 772307"/>
                    <a:gd name="csX68" fmla="*/ 29389 w 492280"/>
                    <a:gd name="csY68" fmla="*/ 596006 h 772307"/>
                    <a:gd name="csX69" fmla="*/ 22506 w 492280"/>
                    <a:gd name="csY69" fmla="*/ 617424 h 772307"/>
                    <a:gd name="csX70" fmla="*/ 25035 w 492280"/>
                    <a:gd name="csY70" fmla="*/ 623570 h 772307"/>
                    <a:gd name="csX71" fmla="*/ 17416 w 492280"/>
                    <a:gd name="csY71" fmla="*/ 637368 h 772307"/>
                    <a:gd name="csX72" fmla="*/ 21770 w 492280"/>
                    <a:gd name="csY72" fmla="*/ 653696 h 772307"/>
                    <a:gd name="csX73" fmla="*/ 15623 w 492280"/>
                    <a:gd name="csY73" fmla="*/ 659842 h 772307"/>
                    <a:gd name="csX74" fmla="*/ 11269 w 492280"/>
                    <a:gd name="csY74" fmla="*/ 676170 h 772307"/>
                    <a:gd name="csX75" fmla="*/ 14887 w 492280"/>
                    <a:gd name="csY75" fmla="*/ 686350 h 772307"/>
                    <a:gd name="csX76" fmla="*/ 0 w 492280"/>
                    <a:gd name="csY76" fmla="*/ 695026 h 772307"/>
                    <a:gd name="csX77" fmla="*/ 4354 w 492280"/>
                    <a:gd name="csY77" fmla="*/ 710649 h 772307"/>
                    <a:gd name="csX78" fmla="*/ 20681 w 492280"/>
                    <a:gd name="csY78" fmla="*/ 721534 h 772307"/>
                    <a:gd name="csX79" fmla="*/ 22506 w 492280"/>
                    <a:gd name="csY79" fmla="*/ 715707 h 772307"/>
                    <a:gd name="csX80" fmla="*/ 31214 w 492280"/>
                    <a:gd name="csY80" fmla="*/ 716443 h 772307"/>
                    <a:gd name="csX81" fmla="*/ 41362 w 492280"/>
                    <a:gd name="csY81" fmla="*/ 718268 h 772307"/>
                    <a:gd name="csX82" fmla="*/ 47541 w 492280"/>
                    <a:gd name="csY82" fmla="*/ 712089 h 772307"/>
                    <a:gd name="csX83" fmla="*/ 56249 w 492280"/>
                    <a:gd name="csY83" fmla="*/ 721534 h 772307"/>
                    <a:gd name="csX84" fmla="*/ 74017 w 492280"/>
                    <a:gd name="csY84" fmla="*/ 730946 h 772307"/>
                    <a:gd name="csX85" fmla="*/ 85254 w 492280"/>
                    <a:gd name="csY85" fmla="*/ 728417 h 772307"/>
                    <a:gd name="csX86" fmla="*/ 90344 w 492280"/>
                    <a:gd name="csY86" fmla="*/ 738949 h 772307"/>
                    <a:gd name="csX87" fmla="*/ 87078 w 492280"/>
                    <a:gd name="csY87" fmla="*/ 750923 h 772307"/>
                    <a:gd name="csX88" fmla="*/ 100140 w 492280"/>
                    <a:gd name="csY88" fmla="*/ 758510 h 772307"/>
                    <a:gd name="csX89" fmla="*/ 105198 w 492280"/>
                    <a:gd name="csY89" fmla="*/ 757069 h 772307"/>
                    <a:gd name="csX90" fmla="*/ 107023 w 492280"/>
                    <a:gd name="csY90" fmla="*/ 745832 h 772307"/>
                    <a:gd name="csX91" fmla="*/ 117908 w 492280"/>
                    <a:gd name="csY91" fmla="*/ 743303 h 772307"/>
                    <a:gd name="csX92" fmla="*/ 124791 w 492280"/>
                    <a:gd name="csY92" fmla="*/ 748361 h 772307"/>
                    <a:gd name="csX93" fmla="*/ 154180 w 492280"/>
                    <a:gd name="csY93" fmla="*/ 730946 h 772307"/>
                    <a:gd name="csX94" fmla="*/ 161799 w 492280"/>
                    <a:gd name="csY94" fmla="*/ 734595 h 772307"/>
                    <a:gd name="csX95" fmla="*/ 181040 w 492280"/>
                    <a:gd name="csY95" fmla="*/ 715707 h 772307"/>
                    <a:gd name="csX96" fmla="*/ 181744 w 492280"/>
                    <a:gd name="csY96" fmla="*/ 715707 h 772307"/>
                    <a:gd name="csX97" fmla="*/ 196278 w 492280"/>
                    <a:gd name="csY97" fmla="*/ 717532 h 772307"/>
                    <a:gd name="csX98" fmla="*/ 190452 w 492280"/>
                    <a:gd name="csY98" fmla="*/ 725151 h 772307"/>
                    <a:gd name="csX99" fmla="*/ 182480 w 492280"/>
                    <a:gd name="csY99" fmla="*/ 725151 h 772307"/>
                    <a:gd name="csX100" fmla="*/ 179951 w 492280"/>
                    <a:gd name="csY100" fmla="*/ 734595 h 772307"/>
                    <a:gd name="csX101" fmla="*/ 191925 w 492280"/>
                    <a:gd name="csY101" fmla="*/ 736388 h 772307"/>
                    <a:gd name="csX102" fmla="*/ 204986 w 492280"/>
                    <a:gd name="csY102" fmla="*/ 754540 h 772307"/>
                    <a:gd name="csX103" fmla="*/ 223106 w 492280"/>
                    <a:gd name="csY103" fmla="*/ 741478 h 772307"/>
                    <a:gd name="csX104" fmla="*/ 229989 w 492280"/>
                    <a:gd name="csY104" fmla="*/ 746569 h 772307"/>
                    <a:gd name="csX105" fmla="*/ 238697 w 492280"/>
                    <a:gd name="csY105" fmla="*/ 772308 h 772307"/>
                    <a:gd name="csX106" fmla="*/ 262644 w 492280"/>
                    <a:gd name="csY106" fmla="*/ 770867 h 772307"/>
                    <a:gd name="csX107" fmla="*/ 257553 w 492280"/>
                    <a:gd name="csY107" fmla="*/ 752715 h 772307"/>
                    <a:gd name="csX108" fmla="*/ 261907 w 492280"/>
                    <a:gd name="csY108" fmla="*/ 747657 h 772307"/>
                    <a:gd name="csX109" fmla="*/ 264469 w 492280"/>
                    <a:gd name="csY109" fmla="*/ 712089 h 772307"/>
                    <a:gd name="csX110" fmla="*/ 277146 w 492280"/>
                    <a:gd name="csY110" fmla="*/ 707736 h 772307"/>
                    <a:gd name="csX111" fmla="*/ 278971 w 492280"/>
                    <a:gd name="csY111" fmla="*/ 692497 h 772307"/>
                    <a:gd name="csX112" fmla="*/ 278971 w 492280"/>
                    <a:gd name="csY112" fmla="*/ 679435 h 772307"/>
                    <a:gd name="csX113" fmla="*/ 286590 w 492280"/>
                    <a:gd name="csY113" fmla="*/ 670023 h 772307"/>
                    <a:gd name="csX114" fmla="*/ 293473 w 492280"/>
                    <a:gd name="csY114" fmla="*/ 666758 h 772307"/>
                    <a:gd name="csX115" fmla="*/ 306535 w 492280"/>
                    <a:gd name="csY115" fmla="*/ 672552 h 772307"/>
                    <a:gd name="csX116" fmla="*/ 323599 w 492280"/>
                    <a:gd name="csY116" fmla="*/ 670727 h 772307"/>
                    <a:gd name="csX117" fmla="*/ 327952 w 492280"/>
                    <a:gd name="csY117" fmla="*/ 646813 h 772307"/>
                    <a:gd name="csX118" fmla="*/ 337365 w 492280"/>
                    <a:gd name="csY118" fmla="*/ 642459 h 772307"/>
                    <a:gd name="csX119" fmla="*/ 346072 w 492280"/>
                    <a:gd name="csY119" fmla="*/ 627220 h 772307"/>
                    <a:gd name="csX120" fmla="*/ 357341 w 492280"/>
                    <a:gd name="csY120" fmla="*/ 627220 h 772307"/>
                    <a:gd name="csX121" fmla="*/ 349722 w 492280"/>
                    <a:gd name="csY121" fmla="*/ 617424 h 772307"/>
                    <a:gd name="csX122" fmla="*/ 352251 w 492280"/>
                    <a:gd name="csY122" fmla="*/ 602185 h 772307"/>
                    <a:gd name="csX123" fmla="*/ 347161 w 492280"/>
                    <a:gd name="csY123" fmla="*/ 596006 h 772307"/>
                    <a:gd name="csX124" fmla="*/ 339189 w 492280"/>
                    <a:gd name="csY124" fmla="*/ 570971 h 772307"/>
                    <a:gd name="csX125" fmla="*/ 336660 w 492280"/>
                    <a:gd name="csY125" fmla="*/ 555733 h 772307"/>
                    <a:gd name="csX126" fmla="*/ 348634 w 492280"/>
                    <a:gd name="csY126" fmla="*/ 542671 h 772307"/>
                    <a:gd name="csX127" fmla="*/ 340278 w 492280"/>
                    <a:gd name="csY127" fmla="*/ 535084 h 772307"/>
                    <a:gd name="csX128" fmla="*/ 342807 w 492280"/>
                    <a:gd name="csY128" fmla="*/ 529993 h 772307"/>
                    <a:gd name="csX129" fmla="*/ 334835 w 492280"/>
                    <a:gd name="csY129" fmla="*/ 523815 h 772307"/>
                    <a:gd name="csX130" fmla="*/ 345368 w 492280"/>
                    <a:gd name="csY130" fmla="*/ 523110 h 772307"/>
                    <a:gd name="csX131" fmla="*/ 347161 w 492280"/>
                    <a:gd name="csY131" fmla="*/ 516195 h 772307"/>
                    <a:gd name="csX132" fmla="*/ 357341 w 492280"/>
                    <a:gd name="csY132" fmla="*/ 510049 h 772307"/>
                    <a:gd name="csX133" fmla="*/ 357341 w 492280"/>
                    <a:gd name="csY133" fmla="*/ 504958 h 772307"/>
                    <a:gd name="csX134" fmla="*/ 369283 w 492280"/>
                    <a:gd name="csY134" fmla="*/ 499516 h 772307"/>
                    <a:gd name="csX135" fmla="*/ 387435 w 492280"/>
                    <a:gd name="csY135" fmla="*/ 498780 h 772307"/>
                    <a:gd name="csX136" fmla="*/ 396142 w 492280"/>
                    <a:gd name="csY136" fmla="*/ 491897 h 772307"/>
                    <a:gd name="csX137" fmla="*/ 408116 w 492280"/>
                    <a:gd name="csY137" fmla="*/ 489367 h 772307"/>
                    <a:gd name="csX138" fmla="*/ 417560 w 492280"/>
                    <a:gd name="csY138" fmla="*/ 466157 h 772307"/>
                    <a:gd name="csX139" fmla="*/ 430590 w 492280"/>
                    <a:gd name="csY139" fmla="*/ 462892 h 772307"/>
                    <a:gd name="csX140" fmla="*/ 452007 w 492280"/>
                    <a:gd name="csY140" fmla="*/ 445476 h 772307"/>
                    <a:gd name="csX141" fmla="*/ 463980 w 492280"/>
                    <a:gd name="csY141" fmla="*/ 449094 h 772307"/>
                    <a:gd name="csX142" fmla="*/ 457097 w 492280"/>
                    <a:gd name="csY142" fmla="*/ 454184 h 772307"/>
                    <a:gd name="csX143" fmla="*/ 459626 w 492280"/>
                    <a:gd name="csY143" fmla="*/ 457449 h 772307"/>
                    <a:gd name="csX144" fmla="*/ 474513 w 492280"/>
                    <a:gd name="csY144" fmla="*/ 457449 h 772307"/>
                    <a:gd name="csX145" fmla="*/ 480307 w 492280"/>
                    <a:gd name="csY145" fmla="*/ 449094 h 772307"/>
                    <a:gd name="csX146" fmla="*/ 478867 w 492280"/>
                    <a:gd name="csY146" fmla="*/ 431678 h 772307"/>
                    <a:gd name="csX147" fmla="*/ 483925 w 492280"/>
                    <a:gd name="csY147" fmla="*/ 412085 h 772307"/>
                    <a:gd name="csX148" fmla="*/ 492281 w 492280"/>
                    <a:gd name="csY148" fmla="*/ 408468 h 772307"/>
                    <a:gd name="csX149" fmla="*/ 484661 w 492280"/>
                    <a:gd name="csY149" fmla="*/ 399024 h 772307"/>
                    <a:gd name="csX150" fmla="*/ 445828 w 492280"/>
                    <a:gd name="csY150" fmla="*/ 381992 h 772307"/>
                    <a:gd name="csX151" fmla="*/ 445124 w 492280"/>
                    <a:gd name="csY151" fmla="*/ 378343 h 772307"/>
                    <a:gd name="csX152" fmla="*/ 462156 w 492280"/>
                    <a:gd name="csY152" fmla="*/ 368930 h 772307"/>
                    <a:gd name="csX153" fmla="*/ 470159 w 492280"/>
                    <a:gd name="csY153" fmla="*/ 358782 h 772307"/>
                    <a:gd name="csX154" fmla="*/ 465805 w 492280"/>
                    <a:gd name="csY154" fmla="*/ 341366 h 772307"/>
                    <a:gd name="csX155" fmla="*/ 460715 w 492280"/>
                    <a:gd name="csY155" fmla="*/ 337012 h 772307"/>
                    <a:gd name="csX156" fmla="*/ 434944 w 492280"/>
                    <a:gd name="csY156" fmla="*/ 336276 h 772307"/>
                    <a:gd name="csX157" fmla="*/ 425179 w 492280"/>
                    <a:gd name="csY157" fmla="*/ 339541 h 772307"/>
                    <a:gd name="csX158" fmla="*/ 416824 w 492280"/>
                    <a:gd name="csY158" fmla="*/ 337012 h 772307"/>
                    <a:gd name="csX159" fmla="*/ 415735 w 492280"/>
                    <a:gd name="csY159" fmla="*/ 323214 h 772307"/>
                    <a:gd name="csX160" fmla="*/ 420089 w 492280"/>
                    <a:gd name="csY160" fmla="*/ 320685 h 772307"/>
                    <a:gd name="csX161" fmla="*/ 414294 w 492280"/>
                    <a:gd name="csY161" fmla="*/ 318860 h 772307"/>
                    <a:gd name="csX162" fmla="*/ 415735 w 492280"/>
                    <a:gd name="csY162" fmla="*/ 310505 h 772307"/>
                    <a:gd name="csX163" fmla="*/ 405587 w 492280"/>
                    <a:gd name="csY163" fmla="*/ 300004 h 772307"/>
                    <a:gd name="csX164" fmla="*/ 428060 w 492280"/>
                    <a:gd name="csY164" fmla="*/ 279323 h 772307"/>
                    <a:gd name="csX165" fmla="*/ 424443 w 492280"/>
                    <a:gd name="csY165" fmla="*/ 268086 h 772307"/>
                    <a:gd name="csX166" fmla="*/ 438945 w 492280"/>
                    <a:gd name="csY166" fmla="*/ 264084 h 772307"/>
                    <a:gd name="csX167" fmla="*/ 443299 w 492280"/>
                    <a:gd name="csY167" fmla="*/ 247757 h 772307"/>
                    <a:gd name="csX168" fmla="*/ 441474 w 492280"/>
                    <a:gd name="csY168" fmla="*/ 233991 h 772307"/>
                    <a:gd name="csX169" fmla="*/ 451271 w 492280"/>
                    <a:gd name="csY169" fmla="*/ 229637 h 772307"/>
                    <a:gd name="csX170" fmla="*/ 456361 w 492280"/>
                    <a:gd name="csY170" fmla="*/ 207131 h 772307"/>
                    <a:gd name="csX171" fmla="*/ 489752 w 492280"/>
                    <a:gd name="csY171" fmla="*/ 198423 h 772307"/>
                    <a:gd name="csX172" fmla="*/ 492281 w 492280"/>
                    <a:gd name="csY172" fmla="*/ 178831 h 772307"/>
                    <a:gd name="csX173" fmla="*/ 482837 w 492280"/>
                    <a:gd name="csY173" fmla="*/ 175213 h 772307"/>
                    <a:gd name="csX174" fmla="*/ 478867 w 492280"/>
                    <a:gd name="csY174" fmla="*/ 153091 h 772307"/>
                    <a:gd name="csX175" fmla="*/ 451271 w 492280"/>
                    <a:gd name="csY175" fmla="*/ 147649 h 772307"/>
                    <a:gd name="csX176" fmla="*/ 441474 w 492280"/>
                    <a:gd name="csY176" fmla="*/ 132410 h 772307"/>
                    <a:gd name="csX177" fmla="*/ 433151 w 492280"/>
                    <a:gd name="csY177" fmla="*/ 143647 h 772307"/>
                    <a:gd name="csX178" fmla="*/ 416824 w 492280"/>
                    <a:gd name="csY178" fmla="*/ 148738 h 772307"/>
                    <a:gd name="csX179" fmla="*/ 408852 w 492280"/>
                    <a:gd name="csY179" fmla="*/ 145120 h 772307"/>
                    <a:gd name="csX180" fmla="*/ 409940 w 492280"/>
                    <a:gd name="csY180" fmla="*/ 141854 h 772307"/>
                    <a:gd name="csX181" fmla="*/ 421914 w 492280"/>
                    <a:gd name="csY181" fmla="*/ 117524 h 772307"/>
                    <a:gd name="csX182" fmla="*/ 435680 w 492280"/>
                    <a:gd name="csY182" fmla="*/ 110641 h 772307"/>
                    <a:gd name="csX183" fmla="*/ 430590 w 492280"/>
                    <a:gd name="csY183" fmla="*/ 94314 h 772307"/>
                    <a:gd name="csX184" fmla="*/ 441474 w 492280"/>
                    <a:gd name="csY184" fmla="*/ 83429 h 772307"/>
                    <a:gd name="csX185" fmla="*/ 435680 w 492280"/>
                    <a:gd name="csY185" fmla="*/ 67838 h 772307"/>
                    <a:gd name="csX186" fmla="*/ 422618 w 492280"/>
                    <a:gd name="csY186" fmla="*/ 51511 h 772307"/>
                    <a:gd name="csX187" fmla="*/ 397583 w 492280"/>
                    <a:gd name="csY187" fmla="*/ 37745 h 772307"/>
                    <a:gd name="csX188" fmla="*/ 400496 w 492280"/>
                    <a:gd name="csY188" fmla="*/ 24651 h 772307"/>
                    <a:gd name="csX189" fmla="*/ 410645 w 492280"/>
                    <a:gd name="csY189" fmla="*/ 27212 h 772307"/>
                    <a:gd name="csX190" fmla="*/ 418264 w 492280"/>
                    <a:gd name="csY190" fmla="*/ 22122 h 772307"/>
                    <a:gd name="csX191" fmla="*/ 416824 w 492280"/>
                    <a:gd name="csY191" fmla="*/ 14502 h 772307"/>
                    <a:gd name="csX192" fmla="*/ 372932 w 492280"/>
                    <a:gd name="csY192" fmla="*/ 17768 h 772307"/>
                    <a:gd name="csX193" fmla="*/ 339189 w 492280"/>
                    <a:gd name="csY193" fmla="*/ 0 h 7723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</a:cxnLst>
                  <a:rect l="l" t="t" r="r" b="b"/>
                  <a:pathLst>
                    <a:path w="492280" h="772307">
                      <a:moveTo>
                        <a:pt x="339189" y="0"/>
                      </a:moveTo>
                      <a:lnTo>
                        <a:pt x="330482" y="10148"/>
                      </a:lnTo>
                      <a:lnTo>
                        <a:pt x="329745" y="14502"/>
                      </a:lnTo>
                      <a:lnTo>
                        <a:pt x="341718" y="26476"/>
                      </a:lnTo>
                      <a:lnTo>
                        <a:pt x="334835" y="35183"/>
                      </a:lnTo>
                      <a:lnTo>
                        <a:pt x="344280" y="37745"/>
                      </a:lnTo>
                      <a:lnTo>
                        <a:pt x="359134" y="38449"/>
                      </a:lnTo>
                      <a:lnTo>
                        <a:pt x="363488" y="45332"/>
                      </a:lnTo>
                      <a:lnTo>
                        <a:pt x="359134" y="64220"/>
                      </a:lnTo>
                      <a:lnTo>
                        <a:pt x="339189" y="65309"/>
                      </a:lnTo>
                      <a:lnTo>
                        <a:pt x="326480" y="75457"/>
                      </a:lnTo>
                      <a:lnTo>
                        <a:pt x="334835" y="84165"/>
                      </a:lnTo>
                      <a:lnTo>
                        <a:pt x="348634" y="84165"/>
                      </a:lnTo>
                      <a:lnTo>
                        <a:pt x="342807" y="97227"/>
                      </a:lnTo>
                      <a:lnTo>
                        <a:pt x="344280" y="102285"/>
                      </a:lnTo>
                      <a:lnTo>
                        <a:pt x="352987" y="105550"/>
                      </a:lnTo>
                      <a:lnTo>
                        <a:pt x="366753" y="103758"/>
                      </a:lnTo>
                      <a:lnTo>
                        <a:pt x="374373" y="110641"/>
                      </a:lnTo>
                      <a:lnTo>
                        <a:pt x="366017" y="126232"/>
                      </a:lnTo>
                      <a:lnTo>
                        <a:pt x="359134" y="128056"/>
                      </a:lnTo>
                      <a:lnTo>
                        <a:pt x="356605" y="140766"/>
                      </a:lnTo>
                      <a:lnTo>
                        <a:pt x="347897" y="141854"/>
                      </a:lnTo>
                      <a:lnTo>
                        <a:pt x="334099" y="166857"/>
                      </a:lnTo>
                      <a:lnTo>
                        <a:pt x="333395" y="180655"/>
                      </a:lnTo>
                      <a:lnTo>
                        <a:pt x="348634" y="193365"/>
                      </a:lnTo>
                      <a:lnTo>
                        <a:pt x="343543" y="199512"/>
                      </a:lnTo>
                      <a:lnTo>
                        <a:pt x="347897" y="211485"/>
                      </a:lnTo>
                      <a:lnTo>
                        <a:pt x="309800" y="233991"/>
                      </a:lnTo>
                      <a:lnTo>
                        <a:pt x="303270" y="246669"/>
                      </a:lnTo>
                      <a:lnTo>
                        <a:pt x="305831" y="260467"/>
                      </a:lnTo>
                      <a:lnTo>
                        <a:pt x="295298" y="269175"/>
                      </a:lnTo>
                      <a:lnTo>
                        <a:pt x="307271" y="288031"/>
                      </a:lnTo>
                      <a:lnTo>
                        <a:pt x="309096" y="301829"/>
                      </a:lnTo>
                      <a:lnTo>
                        <a:pt x="326480" y="314859"/>
                      </a:lnTo>
                      <a:lnTo>
                        <a:pt x="317772" y="322478"/>
                      </a:lnTo>
                      <a:lnTo>
                        <a:pt x="320333" y="331922"/>
                      </a:lnTo>
                      <a:lnTo>
                        <a:pt x="315243" y="332658"/>
                      </a:lnTo>
                      <a:lnTo>
                        <a:pt x="302181" y="345720"/>
                      </a:lnTo>
                      <a:lnTo>
                        <a:pt x="290944" y="360223"/>
                      </a:lnTo>
                      <a:lnTo>
                        <a:pt x="290944" y="373284"/>
                      </a:lnTo>
                      <a:lnTo>
                        <a:pt x="268822" y="378343"/>
                      </a:lnTo>
                      <a:lnTo>
                        <a:pt x="246316" y="377638"/>
                      </a:lnTo>
                      <a:lnTo>
                        <a:pt x="240170" y="377638"/>
                      </a:lnTo>
                      <a:lnTo>
                        <a:pt x="226372" y="373284"/>
                      </a:lnTo>
                      <a:lnTo>
                        <a:pt x="215487" y="366401"/>
                      </a:lnTo>
                      <a:lnTo>
                        <a:pt x="191925" y="351867"/>
                      </a:lnTo>
                      <a:lnTo>
                        <a:pt x="186834" y="371459"/>
                      </a:lnTo>
                      <a:lnTo>
                        <a:pt x="198808" y="388875"/>
                      </a:lnTo>
                      <a:lnTo>
                        <a:pt x="198071" y="400849"/>
                      </a:lnTo>
                      <a:lnTo>
                        <a:pt x="193717" y="418968"/>
                      </a:lnTo>
                      <a:lnTo>
                        <a:pt x="204250" y="442915"/>
                      </a:lnTo>
                      <a:lnTo>
                        <a:pt x="204986" y="458538"/>
                      </a:lnTo>
                      <a:lnTo>
                        <a:pt x="176686" y="471215"/>
                      </a:lnTo>
                      <a:lnTo>
                        <a:pt x="178126" y="479923"/>
                      </a:lnTo>
                      <a:lnTo>
                        <a:pt x="157798" y="479923"/>
                      </a:lnTo>
                      <a:lnTo>
                        <a:pt x="156005" y="498075"/>
                      </a:lnTo>
                      <a:lnTo>
                        <a:pt x="148001" y="498075"/>
                      </a:lnTo>
                      <a:lnTo>
                        <a:pt x="132795" y="495514"/>
                      </a:lnTo>
                      <a:lnTo>
                        <a:pt x="130233" y="503133"/>
                      </a:lnTo>
                      <a:lnTo>
                        <a:pt x="121525" y="505695"/>
                      </a:lnTo>
                      <a:lnTo>
                        <a:pt x="109552" y="553203"/>
                      </a:lnTo>
                      <a:lnTo>
                        <a:pt x="100844" y="555733"/>
                      </a:lnTo>
                      <a:lnTo>
                        <a:pt x="94698" y="553203"/>
                      </a:lnTo>
                      <a:lnTo>
                        <a:pt x="88903" y="553940"/>
                      </a:lnTo>
                      <a:lnTo>
                        <a:pt x="80900" y="557205"/>
                      </a:lnTo>
                      <a:lnTo>
                        <a:pt x="68926" y="577886"/>
                      </a:lnTo>
                      <a:lnTo>
                        <a:pt x="55160" y="584769"/>
                      </a:lnTo>
                      <a:lnTo>
                        <a:pt x="42451" y="581504"/>
                      </a:lnTo>
                      <a:lnTo>
                        <a:pt x="29389" y="596006"/>
                      </a:lnTo>
                      <a:lnTo>
                        <a:pt x="22506" y="617424"/>
                      </a:lnTo>
                      <a:lnTo>
                        <a:pt x="25035" y="623570"/>
                      </a:lnTo>
                      <a:lnTo>
                        <a:pt x="17416" y="637368"/>
                      </a:lnTo>
                      <a:lnTo>
                        <a:pt x="21770" y="653696"/>
                      </a:lnTo>
                      <a:lnTo>
                        <a:pt x="15623" y="659842"/>
                      </a:lnTo>
                      <a:lnTo>
                        <a:pt x="11269" y="676170"/>
                      </a:lnTo>
                      <a:lnTo>
                        <a:pt x="14887" y="686350"/>
                      </a:lnTo>
                      <a:lnTo>
                        <a:pt x="0" y="695026"/>
                      </a:lnTo>
                      <a:lnTo>
                        <a:pt x="4354" y="710649"/>
                      </a:lnTo>
                      <a:lnTo>
                        <a:pt x="20681" y="721534"/>
                      </a:lnTo>
                      <a:lnTo>
                        <a:pt x="22506" y="715707"/>
                      </a:lnTo>
                      <a:lnTo>
                        <a:pt x="31214" y="716443"/>
                      </a:lnTo>
                      <a:lnTo>
                        <a:pt x="41362" y="718268"/>
                      </a:lnTo>
                      <a:lnTo>
                        <a:pt x="47541" y="712089"/>
                      </a:lnTo>
                      <a:lnTo>
                        <a:pt x="56249" y="721534"/>
                      </a:lnTo>
                      <a:lnTo>
                        <a:pt x="74017" y="730946"/>
                      </a:lnTo>
                      <a:lnTo>
                        <a:pt x="85254" y="728417"/>
                      </a:lnTo>
                      <a:lnTo>
                        <a:pt x="90344" y="738949"/>
                      </a:lnTo>
                      <a:lnTo>
                        <a:pt x="87078" y="750923"/>
                      </a:lnTo>
                      <a:lnTo>
                        <a:pt x="100140" y="758510"/>
                      </a:lnTo>
                      <a:lnTo>
                        <a:pt x="105198" y="757069"/>
                      </a:lnTo>
                      <a:lnTo>
                        <a:pt x="107023" y="745832"/>
                      </a:lnTo>
                      <a:lnTo>
                        <a:pt x="117908" y="743303"/>
                      </a:lnTo>
                      <a:lnTo>
                        <a:pt x="124791" y="748361"/>
                      </a:lnTo>
                      <a:lnTo>
                        <a:pt x="154180" y="730946"/>
                      </a:lnTo>
                      <a:lnTo>
                        <a:pt x="161799" y="734595"/>
                      </a:lnTo>
                      <a:lnTo>
                        <a:pt x="181040" y="715707"/>
                      </a:lnTo>
                      <a:lnTo>
                        <a:pt x="181744" y="715707"/>
                      </a:lnTo>
                      <a:lnTo>
                        <a:pt x="196278" y="717532"/>
                      </a:lnTo>
                      <a:lnTo>
                        <a:pt x="190452" y="725151"/>
                      </a:lnTo>
                      <a:lnTo>
                        <a:pt x="182480" y="725151"/>
                      </a:lnTo>
                      <a:lnTo>
                        <a:pt x="179951" y="734595"/>
                      </a:lnTo>
                      <a:lnTo>
                        <a:pt x="191925" y="736388"/>
                      </a:lnTo>
                      <a:lnTo>
                        <a:pt x="204986" y="754540"/>
                      </a:lnTo>
                      <a:lnTo>
                        <a:pt x="223106" y="741478"/>
                      </a:lnTo>
                      <a:lnTo>
                        <a:pt x="229989" y="746569"/>
                      </a:lnTo>
                      <a:lnTo>
                        <a:pt x="238697" y="772308"/>
                      </a:lnTo>
                      <a:lnTo>
                        <a:pt x="262644" y="770867"/>
                      </a:lnTo>
                      <a:lnTo>
                        <a:pt x="257553" y="752715"/>
                      </a:lnTo>
                      <a:lnTo>
                        <a:pt x="261907" y="747657"/>
                      </a:lnTo>
                      <a:lnTo>
                        <a:pt x="264469" y="712089"/>
                      </a:lnTo>
                      <a:lnTo>
                        <a:pt x="277146" y="707736"/>
                      </a:lnTo>
                      <a:lnTo>
                        <a:pt x="278971" y="692497"/>
                      </a:lnTo>
                      <a:lnTo>
                        <a:pt x="278971" y="679435"/>
                      </a:lnTo>
                      <a:lnTo>
                        <a:pt x="286590" y="670023"/>
                      </a:lnTo>
                      <a:lnTo>
                        <a:pt x="293473" y="666758"/>
                      </a:lnTo>
                      <a:lnTo>
                        <a:pt x="306535" y="672552"/>
                      </a:lnTo>
                      <a:lnTo>
                        <a:pt x="323599" y="670727"/>
                      </a:lnTo>
                      <a:lnTo>
                        <a:pt x="327952" y="646813"/>
                      </a:lnTo>
                      <a:lnTo>
                        <a:pt x="337365" y="642459"/>
                      </a:lnTo>
                      <a:lnTo>
                        <a:pt x="346072" y="627220"/>
                      </a:lnTo>
                      <a:lnTo>
                        <a:pt x="357341" y="627220"/>
                      </a:lnTo>
                      <a:lnTo>
                        <a:pt x="349722" y="617424"/>
                      </a:lnTo>
                      <a:lnTo>
                        <a:pt x="352251" y="602185"/>
                      </a:lnTo>
                      <a:lnTo>
                        <a:pt x="347161" y="596006"/>
                      </a:lnTo>
                      <a:lnTo>
                        <a:pt x="339189" y="570971"/>
                      </a:lnTo>
                      <a:lnTo>
                        <a:pt x="336660" y="555733"/>
                      </a:lnTo>
                      <a:lnTo>
                        <a:pt x="348634" y="542671"/>
                      </a:lnTo>
                      <a:lnTo>
                        <a:pt x="340278" y="535084"/>
                      </a:lnTo>
                      <a:lnTo>
                        <a:pt x="342807" y="529993"/>
                      </a:lnTo>
                      <a:lnTo>
                        <a:pt x="334835" y="523815"/>
                      </a:lnTo>
                      <a:lnTo>
                        <a:pt x="345368" y="523110"/>
                      </a:lnTo>
                      <a:lnTo>
                        <a:pt x="347161" y="516195"/>
                      </a:lnTo>
                      <a:lnTo>
                        <a:pt x="357341" y="510049"/>
                      </a:lnTo>
                      <a:lnTo>
                        <a:pt x="357341" y="504958"/>
                      </a:lnTo>
                      <a:lnTo>
                        <a:pt x="369283" y="499516"/>
                      </a:lnTo>
                      <a:lnTo>
                        <a:pt x="387435" y="498780"/>
                      </a:lnTo>
                      <a:lnTo>
                        <a:pt x="396142" y="491897"/>
                      </a:lnTo>
                      <a:lnTo>
                        <a:pt x="408116" y="489367"/>
                      </a:lnTo>
                      <a:lnTo>
                        <a:pt x="417560" y="466157"/>
                      </a:lnTo>
                      <a:lnTo>
                        <a:pt x="430590" y="462892"/>
                      </a:lnTo>
                      <a:lnTo>
                        <a:pt x="452007" y="445476"/>
                      </a:lnTo>
                      <a:lnTo>
                        <a:pt x="463980" y="449094"/>
                      </a:lnTo>
                      <a:lnTo>
                        <a:pt x="457097" y="454184"/>
                      </a:lnTo>
                      <a:lnTo>
                        <a:pt x="459626" y="457449"/>
                      </a:lnTo>
                      <a:lnTo>
                        <a:pt x="474513" y="457449"/>
                      </a:lnTo>
                      <a:lnTo>
                        <a:pt x="480307" y="449094"/>
                      </a:lnTo>
                      <a:lnTo>
                        <a:pt x="478867" y="431678"/>
                      </a:lnTo>
                      <a:lnTo>
                        <a:pt x="483925" y="412085"/>
                      </a:lnTo>
                      <a:lnTo>
                        <a:pt x="492281" y="408468"/>
                      </a:lnTo>
                      <a:lnTo>
                        <a:pt x="484661" y="399024"/>
                      </a:lnTo>
                      <a:lnTo>
                        <a:pt x="445828" y="381992"/>
                      </a:lnTo>
                      <a:lnTo>
                        <a:pt x="445124" y="378343"/>
                      </a:lnTo>
                      <a:lnTo>
                        <a:pt x="462156" y="368930"/>
                      </a:lnTo>
                      <a:lnTo>
                        <a:pt x="470159" y="358782"/>
                      </a:lnTo>
                      <a:lnTo>
                        <a:pt x="465805" y="341366"/>
                      </a:lnTo>
                      <a:lnTo>
                        <a:pt x="460715" y="337012"/>
                      </a:lnTo>
                      <a:lnTo>
                        <a:pt x="434944" y="336276"/>
                      </a:lnTo>
                      <a:lnTo>
                        <a:pt x="425179" y="339541"/>
                      </a:lnTo>
                      <a:lnTo>
                        <a:pt x="416824" y="337012"/>
                      </a:lnTo>
                      <a:lnTo>
                        <a:pt x="415735" y="323214"/>
                      </a:lnTo>
                      <a:lnTo>
                        <a:pt x="420089" y="320685"/>
                      </a:lnTo>
                      <a:lnTo>
                        <a:pt x="414294" y="318860"/>
                      </a:lnTo>
                      <a:lnTo>
                        <a:pt x="415735" y="310505"/>
                      </a:lnTo>
                      <a:lnTo>
                        <a:pt x="405587" y="300004"/>
                      </a:lnTo>
                      <a:lnTo>
                        <a:pt x="428060" y="279323"/>
                      </a:lnTo>
                      <a:lnTo>
                        <a:pt x="424443" y="268086"/>
                      </a:lnTo>
                      <a:lnTo>
                        <a:pt x="438945" y="264084"/>
                      </a:lnTo>
                      <a:lnTo>
                        <a:pt x="443299" y="247757"/>
                      </a:lnTo>
                      <a:lnTo>
                        <a:pt x="441474" y="233991"/>
                      </a:lnTo>
                      <a:lnTo>
                        <a:pt x="451271" y="229637"/>
                      </a:lnTo>
                      <a:lnTo>
                        <a:pt x="456361" y="207131"/>
                      </a:lnTo>
                      <a:lnTo>
                        <a:pt x="489752" y="198423"/>
                      </a:lnTo>
                      <a:lnTo>
                        <a:pt x="492281" y="178831"/>
                      </a:lnTo>
                      <a:lnTo>
                        <a:pt x="482837" y="175213"/>
                      </a:lnTo>
                      <a:lnTo>
                        <a:pt x="478867" y="153091"/>
                      </a:lnTo>
                      <a:lnTo>
                        <a:pt x="451271" y="147649"/>
                      </a:lnTo>
                      <a:lnTo>
                        <a:pt x="441474" y="132410"/>
                      </a:lnTo>
                      <a:lnTo>
                        <a:pt x="433151" y="143647"/>
                      </a:lnTo>
                      <a:lnTo>
                        <a:pt x="416824" y="148738"/>
                      </a:lnTo>
                      <a:lnTo>
                        <a:pt x="408852" y="145120"/>
                      </a:lnTo>
                      <a:lnTo>
                        <a:pt x="409940" y="141854"/>
                      </a:lnTo>
                      <a:lnTo>
                        <a:pt x="421914" y="117524"/>
                      </a:lnTo>
                      <a:lnTo>
                        <a:pt x="435680" y="110641"/>
                      </a:lnTo>
                      <a:lnTo>
                        <a:pt x="430590" y="94314"/>
                      </a:lnTo>
                      <a:lnTo>
                        <a:pt x="441474" y="83429"/>
                      </a:lnTo>
                      <a:lnTo>
                        <a:pt x="435680" y="67838"/>
                      </a:lnTo>
                      <a:lnTo>
                        <a:pt x="422618" y="51511"/>
                      </a:lnTo>
                      <a:lnTo>
                        <a:pt x="397583" y="37745"/>
                      </a:lnTo>
                      <a:lnTo>
                        <a:pt x="400496" y="24651"/>
                      </a:lnTo>
                      <a:lnTo>
                        <a:pt x="410645" y="27212"/>
                      </a:lnTo>
                      <a:lnTo>
                        <a:pt x="418264" y="22122"/>
                      </a:lnTo>
                      <a:lnTo>
                        <a:pt x="416824" y="14502"/>
                      </a:lnTo>
                      <a:lnTo>
                        <a:pt x="372932" y="17768"/>
                      </a:lnTo>
                      <a:lnTo>
                        <a:pt x="33918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7" name="Forma Livre: Forma 206">
                  <a:extLst>
                    <a:ext uri="{FF2B5EF4-FFF2-40B4-BE49-F238E27FC236}">
                      <a16:creationId xmlns:a16="http://schemas.microsoft.com/office/drawing/2014/main" id="{0F4E2B28-C609-35DF-F374-6DCCCFFBD903}"/>
                    </a:ext>
                  </a:extLst>
                </p:cNvPr>
                <p:cNvSpPr/>
                <p:nvPr/>
              </p:nvSpPr>
              <p:spPr>
                <a:xfrm>
                  <a:off x="2477486" y="3798860"/>
                  <a:ext cx="492280" cy="772307"/>
                </a:xfrm>
                <a:custGeom>
                  <a:avLst/>
                  <a:gdLst>
                    <a:gd name="csX0" fmla="*/ 339189 w 492280"/>
                    <a:gd name="csY0" fmla="*/ 0 h 772307"/>
                    <a:gd name="csX1" fmla="*/ 330482 w 492280"/>
                    <a:gd name="csY1" fmla="*/ 10148 h 772307"/>
                    <a:gd name="csX2" fmla="*/ 329745 w 492280"/>
                    <a:gd name="csY2" fmla="*/ 14502 h 772307"/>
                    <a:gd name="csX3" fmla="*/ 341718 w 492280"/>
                    <a:gd name="csY3" fmla="*/ 26476 h 772307"/>
                    <a:gd name="csX4" fmla="*/ 334835 w 492280"/>
                    <a:gd name="csY4" fmla="*/ 35183 h 772307"/>
                    <a:gd name="csX5" fmla="*/ 344280 w 492280"/>
                    <a:gd name="csY5" fmla="*/ 37745 h 772307"/>
                    <a:gd name="csX6" fmla="*/ 359134 w 492280"/>
                    <a:gd name="csY6" fmla="*/ 38449 h 772307"/>
                    <a:gd name="csX7" fmla="*/ 363488 w 492280"/>
                    <a:gd name="csY7" fmla="*/ 45332 h 772307"/>
                    <a:gd name="csX8" fmla="*/ 359134 w 492280"/>
                    <a:gd name="csY8" fmla="*/ 64220 h 772307"/>
                    <a:gd name="csX9" fmla="*/ 339189 w 492280"/>
                    <a:gd name="csY9" fmla="*/ 65309 h 772307"/>
                    <a:gd name="csX10" fmla="*/ 326480 w 492280"/>
                    <a:gd name="csY10" fmla="*/ 75457 h 772307"/>
                    <a:gd name="csX11" fmla="*/ 334835 w 492280"/>
                    <a:gd name="csY11" fmla="*/ 84165 h 772307"/>
                    <a:gd name="csX12" fmla="*/ 348634 w 492280"/>
                    <a:gd name="csY12" fmla="*/ 84165 h 772307"/>
                    <a:gd name="csX13" fmla="*/ 342807 w 492280"/>
                    <a:gd name="csY13" fmla="*/ 97227 h 772307"/>
                    <a:gd name="csX14" fmla="*/ 344280 w 492280"/>
                    <a:gd name="csY14" fmla="*/ 102285 h 772307"/>
                    <a:gd name="csX15" fmla="*/ 352987 w 492280"/>
                    <a:gd name="csY15" fmla="*/ 105550 h 772307"/>
                    <a:gd name="csX16" fmla="*/ 366753 w 492280"/>
                    <a:gd name="csY16" fmla="*/ 103758 h 772307"/>
                    <a:gd name="csX17" fmla="*/ 374373 w 492280"/>
                    <a:gd name="csY17" fmla="*/ 110641 h 772307"/>
                    <a:gd name="csX18" fmla="*/ 366017 w 492280"/>
                    <a:gd name="csY18" fmla="*/ 126232 h 772307"/>
                    <a:gd name="csX19" fmla="*/ 359134 w 492280"/>
                    <a:gd name="csY19" fmla="*/ 128056 h 772307"/>
                    <a:gd name="csX20" fmla="*/ 356605 w 492280"/>
                    <a:gd name="csY20" fmla="*/ 140766 h 772307"/>
                    <a:gd name="csX21" fmla="*/ 347897 w 492280"/>
                    <a:gd name="csY21" fmla="*/ 141854 h 772307"/>
                    <a:gd name="csX22" fmla="*/ 334099 w 492280"/>
                    <a:gd name="csY22" fmla="*/ 166857 h 772307"/>
                    <a:gd name="csX23" fmla="*/ 333395 w 492280"/>
                    <a:gd name="csY23" fmla="*/ 180655 h 772307"/>
                    <a:gd name="csX24" fmla="*/ 348634 w 492280"/>
                    <a:gd name="csY24" fmla="*/ 193365 h 772307"/>
                    <a:gd name="csX25" fmla="*/ 343543 w 492280"/>
                    <a:gd name="csY25" fmla="*/ 199512 h 772307"/>
                    <a:gd name="csX26" fmla="*/ 347897 w 492280"/>
                    <a:gd name="csY26" fmla="*/ 211485 h 772307"/>
                    <a:gd name="csX27" fmla="*/ 309800 w 492280"/>
                    <a:gd name="csY27" fmla="*/ 233991 h 772307"/>
                    <a:gd name="csX28" fmla="*/ 303270 w 492280"/>
                    <a:gd name="csY28" fmla="*/ 246669 h 772307"/>
                    <a:gd name="csX29" fmla="*/ 305831 w 492280"/>
                    <a:gd name="csY29" fmla="*/ 260467 h 772307"/>
                    <a:gd name="csX30" fmla="*/ 295298 w 492280"/>
                    <a:gd name="csY30" fmla="*/ 269175 h 772307"/>
                    <a:gd name="csX31" fmla="*/ 307271 w 492280"/>
                    <a:gd name="csY31" fmla="*/ 288031 h 772307"/>
                    <a:gd name="csX32" fmla="*/ 309096 w 492280"/>
                    <a:gd name="csY32" fmla="*/ 301829 h 772307"/>
                    <a:gd name="csX33" fmla="*/ 326480 w 492280"/>
                    <a:gd name="csY33" fmla="*/ 314859 h 772307"/>
                    <a:gd name="csX34" fmla="*/ 317772 w 492280"/>
                    <a:gd name="csY34" fmla="*/ 322478 h 772307"/>
                    <a:gd name="csX35" fmla="*/ 320333 w 492280"/>
                    <a:gd name="csY35" fmla="*/ 331922 h 772307"/>
                    <a:gd name="csX36" fmla="*/ 315243 w 492280"/>
                    <a:gd name="csY36" fmla="*/ 332658 h 772307"/>
                    <a:gd name="csX37" fmla="*/ 302181 w 492280"/>
                    <a:gd name="csY37" fmla="*/ 345720 h 772307"/>
                    <a:gd name="csX38" fmla="*/ 290944 w 492280"/>
                    <a:gd name="csY38" fmla="*/ 360223 h 772307"/>
                    <a:gd name="csX39" fmla="*/ 290944 w 492280"/>
                    <a:gd name="csY39" fmla="*/ 373284 h 772307"/>
                    <a:gd name="csX40" fmla="*/ 268822 w 492280"/>
                    <a:gd name="csY40" fmla="*/ 378343 h 772307"/>
                    <a:gd name="csX41" fmla="*/ 246316 w 492280"/>
                    <a:gd name="csY41" fmla="*/ 377638 h 772307"/>
                    <a:gd name="csX42" fmla="*/ 240170 w 492280"/>
                    <a:gd name="csY42" fmla="*/ 377638 h 772307"/>
                    <a:gd name="csX43" fmla="*/ 226372 w 492280"/>
                    <a:gd name="csY43" fmla="*/ 373284 h 772307"/>
                    <a:gd name="csX44" fmla="*/ 215487 w 492280"/>
                    <a:gd name="csY44" fmla="*/ 366401 h 772307"/>
                    <a:gd name="csX45" fmla="*/ 191925 w 492280"/>
                    <a:gd name="csY45" fmla="*/ 351867 h 772307"/>
                    <a:gd name="csX46" fmla="*/ 186834 w 492280"/>
                    <a:gd name="csY46" fmla="*/ 371459 h 772307"/>
                    <a:gd name="csX47" fmla="*/ 198808 w 492280"/>
                    <a:gd name="csY47" fmla="*/ 388875 h 772307"/>
                    <a:gd name="csX48" fmla="*/ 198071 w 492280"/>
                    <a:gd name="csY48" fmla="*/ 400849 h 772307"/>
                    <a:gd name="csX49" fmla="*/ 193717 w 492280"/>
                    <a:gd name="csY49" fmla="*/ 418968 h 772307"/>
                    <a:gd name="csX50" fmla="*/ 204250 w 492280"/>
                    <a:gd name="csY50" fmla="*/ 442915 h 772307"/>
                    <a:gd name="csX51" fmla="*/ 204986 w 492280"/>
                    <a:gd name="csY51" fmla="*/ 458538 h 772307"/>
                    <a:gd name="csX52" fmla="*/ 176686 w 492280"/>
                    <a:gd name="csY52" fmla="*/ 471215 h 772307"/>
                    <a:gd name="csX53" fmla="*/ 178126 w 492280"/>
                    <a:gd name="csY53" fmla="*/ 479923 h 772307"/>
                    <a:gd name="csX54" fmla="*/ 157798 w 492280"/>
                    <a:gd name="csY54" fmla="*/ 479923 h 772307"/>
                    <a:gd name="csX55" fmla="*/ 156005 w 492280"/>
                    <a:gd name="csY55" fmla="*/ 498075 h 772307"/>
                    <a:gd name="csX56" fmla="*/ 148001 w 492280"/>
                    <a:gd name="csY56" fmla="*/ 498075 h 772307"/>
                    <a:gd name="csX57" fmla="*/ 132795 w 492280"/>
                    <a:gd name="csY57" fmla="*/ 495514 h 772307"/>
                    <a:gd name="csX58" fmla="*/ 130233 w 492280"/>
                    <a:gd name="csY58" fmla="*/ 503133 h 772307"/>
                    <a:gd name="csX59" fmla="*/ 121525 w 492280"/>
                    <a:gd name="csY59" fmla="*/ 505695 h 772307"/>
                    <a:gd name="csX60" fmla="*/ 109552 w 492280"/>
                    <a:gd name="csY60" fmla="*/ 553203 h 772307"/>
                    <a:gd name="csX61" fmla="*/ 100844 w 492280"/>
                    <a:gd name="csY61" fmla="*/ 555733 h 772307"/>
                    <a:gd name="csX62" fmla="*/ 94698 w 492280"/>
                    <a:gd name="csY62" fmla="*/ 553203 h 772307"/>
                    <a:gd name="csX63" fmla="*/ 88903 w 492280"/>
                    <a:gd name="csY63" fmla="*/ 553940 h 772307"/>
                    <a:gd name="csX64" fmla="*/ 80900 w 492280"/>
                    <a:gd name="csY64" fmla="*/ 557205 h 772307"/>
                    <a:gd name="csX65" fmla="*/ 68926 w 492280"/>
                    <a:gd name="csY65" fmla="*/ 577886 h 772307"/>
                    <a:gd name="csX66" fmla="*/ 55160 w 492280"/>
                    <a:gd name="csY66" fmla="*/ 584769 h 772307"/>
                    <a:gd name="csX67" fmla="*/ 42451 w 492280"/>
                    <a:gd name="csY67" fmla="*/ 581504 h 772307"/>
                    <a:gd name="csX68" fmla="*/ 29389 w 492280"/>
                    <a:gd name="csY68" fmla="*/ 596006 h 772307"/>
                    <a:gd name="csX69" fmla="*/ 22506 w 492280"/>
                    <a:gd name="csY69" fmla="*/ 617424 h 772307"/>
                    <a:gd name="csX70" fmla="*/ 25035 w 492280"/>
                    <a:gd name="csY70" fmla="*/ 623570 h 772307"/>
                    <a:gd name="csX71" fmla="*/ 17416 w 492280"/>
                    <a:gd name="csY71" fmla="*/ 637368 h 772307"/>
                    <a:gd name="csX72" fmla="*/ 21770 w 492280"/>
                    <a:gd name="csY72" fmla="*/ 653696 h 772307"/>
                    <a:gd name="csX73" fmla="*/ 15623 w 492280"/>
                    <a:gd name="csY73" fmla="*/ 659842 h 772307"/>
                    <a:gd name="csX74" fmla="*/ 11269 w 492280"/>
                    <a:gd name="csY74" fmla="*/ 676170 h 772307"/>
                    <a:gd name="csX75" fmla="*/ 14887 w 492280"/>
                    <a:gd name="csY75" fmla="*/ 686350 h 772307"/>
                    <a:gd name="csX76" fmla="*/ 0 w 492280"/>
                    <a:gd name="csY76" fmla="*/ 695026 h 772307"/>
                    <a:gd name="csX77" fmla="*/ 4354 w 492280"/>
                    <a:gd name="csY77" fmla="*/ 710649 h 772307"/>
                    <a:gd name="csX78" fmla="*/ 20681 w 492280"/>
                    <a:gd name="csY78" fmla="*/ 721534 h 772307"/>
                    <a:gd name="csX79" fmla="*/ 22506 w 492280"/>
                    <a:gd name="csY79" fmla="*/ 715707 h 772307"/>
                    <a:gd name="csX80" fmla="*/ 31214 w 492280"/>
                    <a:gd name="csY80" fmla="*/ 716443 h 772307"/>
                    <a:gd name="csX81" fmla="*/ 41362 w 492280"/>
                    <a:gd name="csY81" fmla="*/ 718268 h 772307"/>
                    <a:gd name="csX82" fmla="*/ 47541 w 492280"/>
                    <a:gd name="csY82" fmla="*/ 712089 h 772307"/>
                    <a:gd name="csX83" fmla="*/ 56249 w 492280"/>
                    <a:gd name="csY83" fmla="*/ 721534 h 772307"/>
                    <a:gd name="csX84" fmla="*/ 74017 w 492280"/>
                    <a:gd name="csY84" fmla="*/ 730946 h 772307"/>
                    <a:gd name="csX85" fmla="*/ 85254 w 492280"/>
                    <a:gd name="csY85" fmla="*/ 728417 h 772307"/>
                    <a:gd name="csX86" fmla="*/ 90344 w 492280"/>
                    <a:gd name="csY86" fmla="*/ 738949 h 772307"/>
                    <a:gd name="csX87" fmla="*/ 87078 w 492280"/>
                    <a:gd name="csY87" fmla="*/ 750923 h 772307"/>
                    <a:gd name="csX88" fmla="*/ 100140 w 492280"/>
                    <a:gd name="csY88" fmla="*/ 758510 h 772307"/>
                    <a:gd name="csX89" fmla="*/ 105198 w 492280"/>
                    <a:gd name="csY89" fmla="*/ 757069 h 772307"/>
                    <a:gd name="csX90" fmla="*/ 107023 w 492280"/>
                    <a:gd name="csY90" fmla="*/ 745832 h 772307"/>
                    <a:gd name="csX91" fmla="*/ 117908 w 492280"/>
                    <a:gd name="csY91" fmla="*/ 743303 h 772307"/>
                    <a:gd name="csX92" fmla="*/ 124791 w 492280"/>
                    <a:gd name="csY92" fmla="*/ 748361 h 772307"/>
                    <a:gd name="csX93" fmla="*/ 154180 w 492280"/>
                    <a:gd name="csY93" fmla="*/ 730946 h 772307"/>
                    <a:gd name="csX94" fmla="*/ 161799 w 492280"/>
                    <a:gd name="csY94" fmla="*/ 734595 h 772307"/>
                    <a:gd name="csX95" fmla="*/ 181040 w 492280"/>
                    <a:gd name="csY95" fmla="*/ 715707 h 772307"/>
                    <a:gd name="csX96" fmla="*/ 181744 w 492280"/>
                    <a:gd name="csY96" fmla="*/ 715707 h 772307"/>
                    <a:gd name="csX97" fmla="*/ 196278 w 492280"/>
                    <a:gd name="csY97" fmla="*/ 717532 h 772307"/>
                    <a:gd name="csX98" fmla="*/ 190452 w 492280"/>
                    <a:gd name="csY98" fmla="*/ 725151 h 772307"/>
                    <a:gd name="csX99" fmla="*/ 182480 w 492280"/>
                    <a:gd name="csY99" fmla="*/ 725151 h 772307"/>
                    <a:gd name="csX100" fmla="*/ 179951 w 492280"/>
                    <a:gd name="csY100" fmla="*/ 734595 h 772307"/>
                    <a:gd name="csX101" fmla="*/ 191925 w 492280"/>
                    <a:gd name="csY101" fmla="*/ 736388 h 772307"/>
                    <a:gd name="csX102" fmla="*/ 204986 w 492280"/>
                    <a:gd name="csY102" fmla="*/ 754540 h 772307"/>
                    <a:gd name="csX103" fmla="*/ 223106 w 492280"/>
                    <a:gd name="csY103" fmla="*/ 741478 h 772307"/>
                    <a:gd name="csX104" fmla="*/ 229989 w 492280"/>
                    <a:gd name="csY104" fmla="*/ 746569 h 772307"/>
                    <a:gd name="csX105" fmla="*/ 238697 w 492280"/>
                    <a:gd name="csY105" fmla="*/ 772308 h 772307"/>
                    <a:gd name="csX106" fmla="*/ 262644 w 492280"/>
                    <a:gd name="csY106" fmla="*/ 770867 h 772307"/>
                    <a:gd name="csX107" fmla="*/ 257553 w 492280"/>
                    <a:gd name="csY107" fmla="*/ 752715 h 772307"/>
                    <a:gd name="csX108" fmla="*/ 261907 w 492280"/>
                    <a:gd name="csY108" fmla="*/ 747657 h 772307"/>
                    <a:gd name="csX109" fmla="*/ 264469 w 492280"/>
                    <a:gd name="csY109" fmla="*/ 712089 h 772307"/>
                    <a:gd name="csX110" fmla="*/ 277146 w 492280"/>
                    <a:gd name="csY110" fmla="*/ 707736 h 772307"/>
                    <a:gd name="csX111" fmla="*/ 278971 w 492280"/>
                    <a:gd name="csY111" fmla="*/ 692497 h 772307"/>
                    <a:gd name="csX112" fmla="*/ 278971 w 492280"/>
                    <a:gd name="csY112" fmla="*/ 679435 h 772307"/>
                    <a:gd name="csX113" fmla="*/ 286590 w 492280"/>
                    <a:gd name="csY113" fmla="*/ 670023 h 772307"/>
                    <a:gd name="csX114" fmla="*/ 293473 w 492280"/>
                    <a:gd name="csY114" fmla="*/ 666758 h 772307"/>
                    <a:gd name="csX115" fmla="*/ 306535 w 492280"/>
                    <a:gd name="csY115" fmla="*/ 672552 h 772307"/>
                    <a:gd name="csX116" fmla="*/ 323599 w 492280"/>
                    <a:gd name="csY116" fmla="*/ 670727 h 772307"/>
                    <a:gd name="csX117" fmla="*/ 327952 w 492280"/>
                    <a:gd name="csY117" fmla="*/ 646813 h 772307"/>
                    <a:gd name="csX118" fmla="*/ 337365 w 492280"/>
                    <a:gd name="csY118" fmla="*/ 642459 h 772307"/>
                    <a:gd name="csX119" fmla="*/ 346072 w 492280"/>
                    <a:gd name="csY119" fmla="*/ 627220 h 772307"/>
                    <a:gd name="csX120" fmla="*/ 357341 w 492280"/>
                    <a:gd name="csY120" fmla="*/ 627220 h 772307"/>
                    <a:gd name="csX121" fmla="*/ 349722 w 492280"/>
                    <a:gd name="csY121" fmla="*/ 617424 h 772307"/>
                    <a:gd name="csX122" fmla="*/ 352251 w 492280"/>
                    <a:gd name="csY122" fmla="*/ 602185 h 772307"/>
                    <a:gd name="csX123" fmla="*/ 347161 w 492280"/>
                    <a:gd name="csY123" fmla="*/ 596006 h 772307"/>
                    <a:gd name="csX124" fmla="*/ 339189 w 492280"/>
                    <a:gd name="csY124" fmla="*/ 570971 h 772307"/>
                    <a:gd name="csX125" fmla="*/ 336660 w 492280"/>
                    <a:gd name="csY125" fmla="*/ 555733 h 772307"/>
                    <a:gd name="csX126" fmla="*/ 348634 w 492280"/>
                    <a:gd name="csY126" fmla="*/ 542671 h 772307"/>
                    <a:gd name="csX127" fmla="*/ 340278 w 492280"/>
                    <a:gd name="csY127" fmla="*/ 535084 h 772307"/>
                    <a:gd name="csX128" fmla="*/ 342807 w 492280"/>
                    <a:gd name="csY128" fmla="*/ 529993 h 772307"/>
                    <a:gd name="csX129" fmla="*/ 334835 w 492280"/>
                    <a:gd name="csY129" fmla="*/ 523815 h 772307"/>
                    <a:gd name="csX130" fmla="*/ 345368 w 492280"/>
                    <a:gd name="csY130" fmla="*/ 523110 h 772307"/>
                    <a:gd name="csX131" fmla="*/ 347161 w 492280"/>
                    <a:gd name="csY131" fmla="*/ 516195 h 772307"/>
                    <a:gd name="csX132" fmla="*/ 357341 w 492280"/>
                    <a:gd name="csY132" fmla="*/ 510049 h 772307"/>
                    <a:gd name="csX133" fmla="*/ 357341 w 492280"/>
                    <a:gd name="csY133" fmla="*/ 504958 h 772307"/>
                    <a:gd name="csX134" fmla="*/ 369283 w 492280"/>
                    <a:gd name="csY134" fmla="*/ 499516 h 772307"/>
                    <a:gd name="csX135" fmla="*/ 387435 w 492280"/>
                    <a:gd name="csY135" fmla="*/ 498780 h 772307"/>
                    <a:gd name="csX136" fmla="*/ 396142 w 492280"/>
                    <a:gd name="csY136" fmla="*/ 491897 h 772307"/>
                    <a:gd name="csX137" fmla="*/ 408116 w 492280"/>
                    <a:gd name="csY137" fmla="*/ 489367 h 772307"/>
                    <a:gd name="csX138" fmla="*/ 417560 w 492280"/>
                    <a:gd name="csY138" fmla="*/ 466157 h 772307"/>
                    <a:gd name="csX139" fmla="*/ 430590 w 492280"/>
                    <a:gd name="csY139" fmla="*/ 462892 h 772307"/>
                    <a:gd name="csX140" fmla="*/ 452007 w 492280"/>
                    <a:gd name="csY140" fmla="*/ 445476 h 772307"/>
                    <a:gd name="csX141" fmla="*/ 463980 w 492280"/>
                    <a:gd name="csY141" fmla="*/ 449094 h 772307"/>
                    <a:gd name="csX142" fmla="*/ 457097 w 492280"/>
                    <a:gd name="csY142" fmla="*/ 454184 h 772307"/>
                    <a:gd name="csX143" fmla="*/ 459626 w 492280"/>
                    <a:gd name="csY143" fmla="*/ 457449 h 772307"/>
                    <a:gd name="csX144" fmla="*/ 474513 w 492280"/>
                    <a:gd name="csY144" fmla="*/ 457449 h 772307"/>
                    <a:gd name="csX145" fmla="*/ 480307 w 492280"/>
                    <a:gd name="csY145" fmla="*/ 449094 h 772307"/>
                    <a:gd name="csX146" fmla="*/ 478867 w 492280"/>
                    <a:gd name="csY146" fmla="*/ 431678 h 772307"/>
                    <a:gd name="csX147" fmla="*/ 483925 w 492280"/>
                    <a:gd name="csY147" fmla="*/ 412085 h 772307"/>
                    <a:gd name="csX148" fmla="*/ 492281 w 492280"/>
                    <a:gd name="csY148" fmla="*/ 408468 h 772307"/>
                    <a:gd name="csX149" fmla="*/ 484661 w 492280"/>
                    <a:gd name="csY149" fmla="*/ 399024 h 772307"/>
                    <a:gd name="csX150" fmla="*/ 445828 w 492280"/>
                    <a:gd name="csY150" fmla="*/ 381992 h 772307"/>
                    <a:gd name="csX151" fmla="*/ 445124 w 492280"/>
                    <a:gd name="csY151" fmla="*/ 378343 h 772307"/>
                    <a:gd name="csX152" fmla="*/ 462156 w 492280"/>
                    <a:gd name="csY152" fmla="*/ 368930 h 772307"/>
                    <a:gd name="csX153" fmla="*/ 470159 w 492280"/>
                    <a:gd name="csY153" fmla="*/ 358782 h 772307"/>
                    <a:gd name="csX154" fmla="*/ 465805 w 492280"/>
                    <a:gd name="csY154" fmla="*/ 341366 h 772307"/>
                    <a:gd name="csX155" fmla="*/ 460715 w 492280"/>
                    <a:gd name="csY155" fmla="*/ 337012 h 772307"/>
                    <a:gd name="csX156" fmla="*/ 434944 w 492280"/>
                    <a:gd name="csY156" fmla="*/ 336276 h 772307"/>
                    <a:gd name="csX157" fmla="*/ 425179 w 492280"/>
                    <a:gd name="csY157" fmla="*/ 339541 h 772307"/>
                    <a:gd name="csX158" fmla="*/ 416824 w 492280"/>
                    <a:gd name="csY158" fmla="*/ 337012 h 772307"/>
                    <a:gd name="csX159" fmla="*/ 415735 w 492280"/>
                    <a:gd name="csY159" fmla="*/ 323214 h 772307"/>
                    <a:gd name="csX160" fmla="*/ 420089 w 492280"/>
                    <a:gd name="csY160" fmla="*/ 320685 h 772307"/>
                    <a:gd name="csX161" fmla="*/ 414294 w 492280"/>
                    <a:gd name="csY161" fmla="*/ 318860 h 772307"/>
                    <a:gd name="csX162" fmla="*/ 415735 w 492280"/>
                    <a:gd name="csY162" fmla="*/ 310505 h 772307"/>
                    <a:gd name="csX163" fmla="*/ 405587 w 492280"/>
                    <a:gd name="csY163" fmla="*/ 300004 h 772307"/>
                    <a:gd name="csX164" fmla="*/ 428060 w 492280"/>
                    <a:gd name="csY164" fmla="*/ 279323 h 772307"/>
                    <a:gd name="csX165" fmla="*/ 424443 w 492280"/>
                    <a:gd name="csY165" fmla="*/ 268086 h 772307"/>
                    <a:gd name="csX166" fmla="*/ 438945 w 492280"/>
                    <a:gd name="csY166" fmla="*/ 264084 h 772307"/>
                    <a:gd name="csX167" fmla="*/ 443299 w 492280"/>
                    <a:gd name="csY167" fmla="*/ 247757 h 772307"/>
                    <a:gd name="csX168" fmla="*/ 441474 w 492280"/>
                    <a:gd name="csY168" fmla="*/ 233991 h 772307"/>
                    <a:gd name="csX169" fmla="*/ 451271 w 492280"/>
                    <a:gd name="csY169" fmla="*/ 229637 h 772307"/>
                    <a:gd name="csX170" fmla="*/ 456361 w 492280"/>
                    <a:gd name="csY170" fmla="*/ 207131 h 772307"/>
                    <a:gd name="csX171" fmla="*/ 489752 w 492280"/>
                    <a:gd name="csY171" fmla="*/ 198423 h 772307"/>
                    <a:gd name="csX172" fmla="*/ 492281 w 492280"/>
                    <a:gd name="csY172" fmla="*/ 178831 h 772307"/>
                    <a:gd name="csX173" fmla="*/ 482837 w 492280"/>
                    <a:gd name="csY173" fmla="*/ 175213 h 772307"/>
                    <a:gd name="csX174" fmla="*/ 478867 w 492280"/>
                    <a:gd name="csY174" fmla="*/ 153091 h 772307"/>
                    <a:gd name="csX175" fmla="*/ 451271 w 492280"/>
                    <a:gd name="csY175" fmla="*/ 147649 h 772307"/>
                    <a:gd name="csX176" fmla="*/ 441474 w 492280"/>
                    <a:gd name="csY176" fmla="*/ 132410 h 772307"/>
                    <a:gd name="csX177" fmla="*/ 433151 w 492280"/>
                    <a:gd name="csY177" fmla="*/ 143647 h 772307"/>
                    <a:gd name="csX178" fmla="*/ 416824 w 492280"/>
                    <a:gd name="csY178" fmla="*/ 148738 h 772307"/>
                    <a:gd name="csX179" fmla="*/ 408852 w 492280"/>
                    <a:gd name="csY179" fmla="*/ 145120 h 772307"/>
                    <a:gd name="csX180" fmla="*/ 409940 w 492280"/>
                    <a:gd name="csY180" fmla="*/ 141854 h 772307"/>
                    <a:gd name="csX181" fmla="*/ 421914 w 492280"/>
                    <a:gd name="csY181" fmla="*/ 117524 h 772307"/>
                    <a:gd name="csX182" fmla="*/ 435680 w 492280"/>
                    <a:gd name="csY182" fmla="*/ 110641 h 772307"/>
                    <a:gd name="csX183" fmla="*/ 430590 w 492280"/>
                    <a:gd name="csY183" fmla="*/ 94314 h 772307"/>
                    <a:gd name="csX184" fmla="*/ 441474 w 492280"/>
                    <a:gd name="csY184" fmla="*/ 83429 h 772307"/>
                    <a:gd name="csX185" fmla="*/ 435680 w 492280"/>
                    <a:gd name="csY185" fmla="*/ 67838 h 772307"/>
                    <a:gd name="csX186" fmla="*/ 422618 w 492280"/>
                    <a:gd name="csY186" fmla="*/ 51511 h 772307"/>
                    <a:gd name="csX187" fmla="*/ 397583 w 492280"/>
                    <a:gd name="csY187" fmla="*/ 37745 h 772307"/>
                    <a:gd name="csX188" fmla="*/ 400496 w 492280"/>
                    <a:gd name="csY188" fmla="*/ 24651 h 772307"/>
                    <a:gd name="csX189" fmla="*/ 410645 w 492280"/>
                    <a:gd name="csY189" fmla="*/ 27212 h 772307"/>
                    <a:gd name="csX190" fmla="*/ 418264 w 492280"/>
                    <a:gd name="csY190" fmla="*/ 22122 h 772307"/>
                    <a:gd name="csX191" fmla="*/ 416824 w 492280"/>
                    <a:gd name="csY191" fmla="*/ 14502 h 772307"/>
                    <a:gd name="csX192" fmla="*/ 372932 w 492280"/>
                    <a:gd name="csY192" fmla="*/ 17768 h 772307"/>
                    <a:gd name="csX193" fmla="*/ 339189 w 492280"/>
                    <a:gd name="csY193" fmla="*/ 0 h 7723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</a:cxnLst>
                  <a:rect l="l" t="t" r="r" b="b"/>
                  <a:pathLst>
                    <a:path w="492280" h="772307">
                      <a:moveTo>
                        <a:pt x="339189" y="0"/>
                      </a:moveTo>
                      <a:lnTo>
                        <a:pt x="330482" y="10148"/>
                      </a:lnTo>
                      <a:lnTo>
                        <a:pt x="329745" y="14502"/>
                      </a:lnTo>
                      <a:lnTo>
                        <a:pt x="341718" y="26476"/>
                      </a:lnTo>
                      <a:lnTo>
                        <a:pt x="334835" y="35183"/>
                      </a:lnTo>
                      <a:lnTo>
                        <a:pt x="344280" y="37745"/>
                      </a:lnTo>
                      <a:lnTo>
                        <a:pt x="359134" y="38449"/>
                      </a:lnTo>
                      <a:lnTo>
                        <a:pt x="363488" y="45332"/>
                      </a:lnTo>
                      <a:lnTo>
                        <a:pt x="359134" y="64220"/>
                      </a:lnTo>
                      <a:lnTo>
                        <a:pt x="339189" y="65309"/>
                      </a:lnTo>
                      <a:lnTo>
                        <a:pt x="326480" y="75457"/>
                      </a:lnTo>
                      <a:lnTo>
                        <a:pt x="334835" y="84165"/>
                      </a:lnTo>
                      <a:lnTo>
                        <a:pt x="348634" y="84165"/>
                      </a:lnTo>
                      <a:lnTo>
                        <a:pt x="342807" y="97227"/>
                      </a:lnTo>
                      <a:lnTo>
                        <a:pt x="344280" y="102285"/>
                      </a:lnTo>
                      <a:lnTo>
                        <a:pt x="352987" y="105550"/>
                      </a:lnTo>
                      <a:lnTo>
                        <a:pt x="366753" y="103758"/>
                      </a:lnTo>
                      <a:lnTo>
                        <a:pt x="374373" y="110641"/>
                      </a:lnTo>
                      <a:lnTo>
                        <a:pt x="366017" y="126232"/>
                      </a:lnTo>
                      <a:lnTo>
                        <a:pt x="359134" y="128056"/>
                      </a:lnTo>
                      <a:lnTo>
                        <a:pt x="356605" y="140766"/>
                      </a:lnTo>
                      <a:lnTo>
                        <a:pt x="347897" y="141854"/>
                      </a:lnTo>
                      <a:lnTo>
                        <a:pt x="334099" y="166857"/>
                      </a:lnTo>
                      <a:lnTo>
                        <a:pt x="333395" y="180655"/>
                      </a:lnTo>
                      <a:lnTo>
                        <a:pt x="348634" y="193365"/>
                      </a:lnTo>
                      <a:lnTo>
                        <a:pt x="343543" y="199512"/>
                      </a:lnTo>
                      <a:lnTo>
                        <a:pt x="347897" y="211485"/>
                      </a:lnTo>
                      <a:lnTo>
                        <a:pt x="309800" y="233991"/>
                      </a:lnTo>
                      <a:lnTo>
                        <a:pt x="303270" y="246669"/>
                      </a:lnTo>
                      <a:lnTo>
                        <a:pt x="305831" y="260467"/>
                      </a:lnTo>
                      <a:lnTo>
                        <a:pt x="295298" y="269175"/>
                      </a:lnTo>
                      <a:lnTo>
                        <a:pt x="307271" y="288031"/>
                      </a:lnTo>
                      <a:lnTo>
                        <a:pt x="309096" y="301829"/>
                      </a:lnTo>
                      <a:lnTo>
                        <a:pt x="326480" y="314859"/>
                      </a:lnTo>
                      <a:lnTo>
                        <a:pt x="317772" y="322478"/>
                      </a:lnTo>
                      <a:lnTo>
                        <a:pt x="320333" y="331922"/>
                      </a:lnTo>
                      <a:lnTo>
                        <a:pt x="315243" y="332658"/>
                      </a:lnTo>
                      <a:lnTo>
                        <a:pt x="302181" y="345720"/>
                      </a:lnTo>
                      <a:lnTo>
                        <a:pt x="290944" y="360223"/>
                      </a:lnTo>
                      <a:lnTo>
                        <a:pt x="290944" y="373284"/>
                      </a:lnTo>
                      <a:lnTo>
                        <a:pt x="268822" y="378343"/>
                      </a:lnTo>
                      <a:lnTo>
                        <a:pt x="246316" y="377638"/>
                      </a:lnTo>
                      <a:lnTo>
                        <a:pt x="240170" y="377638"/>
                      </a:lnTo>
                      <a:lnTo>
                        <a:pt x="226372" y="373284"/>
                      </a:lnTo>
                      <a:lnTo>
                        <a:pt x="215487" y="366401"/>
                      </a:lnTo>
                      <a:lnTo>
                        <a:pt x="191925" y="351867"/>
                      </a:lnTo>
                      <a:lnTo>
                        <a:pt x="186834" y="371459"/>
                      </a:lnTo>
                      <a:lnTo>
                        <a:pt x="198808" y="388875"/>
                      </a:lnTo>
                      <a:lnTo>
                        <a:pt x="198071" y="400849"/>
                      </a:lnTo>
                      <a:lnTo>
                        <a:pt x="193717" y="418968"/>
                      </a:lnTo>
                      <a:lnTo>
                        <a:pt x="204250" y="442915"/>
                      </a:lnTo>
                      <a:lnTo>
                        <a:pt x="204986" y="458538"/>
                      </a:lnTo>
                      <a:lnTo>
                        <a:pt x="176686" y="471215"/>
                      </a:lnTo>
                      <a:lnTo>
                        <a:pt x="178126" y="479923"/>
                      </a:lnTo>
                      <a:lnTo>
                        <a:pt x="157798" y="479923"/>
                      </a:lnTo>
                      <a:lnTo>
                        <a:pt x="156005" y="498075"/>
                      </a:lnTo>
                      <a:lnTo>
                        <a:pt x="148001" y="498075"/>
                      </a:lnTo>
                      <a:lnTo>
                        <a:pt x="132795" y="495514"/>
                      </a:lnTo>
                      <a:lnTo>
                        <a:pt x="130233" y="503133"/>
                      </a:lnTo>
                      <a:lnTo>
                        <a:pt x="121525" y="505695"/>
                      </a:lnTo>
                      <a:lnTo>
                        <a:pt x="109552" y="553203"/>
                      </a:lnTo>
                      <a:lnTo>
                        <a:pt x="100844" y="555733"/>
                      </a:lnTo>
                      <a:lnTo>
                        <a:pt x="94698" y="553203"/>
                      </a:lnTo>
                      <a:lnTo>
                        <a:pt x="88903" y="553940"/>
                      </a:lnTo>
                      <a:lnTo>
                        <a:pt x="80900" y="557205"/>
                      </a:lnTo>
                      <a:lnTo>
                        <a:pt x="68926" y="577886"/>
                      </a:lnTo>
                      <a:lnTo>
                        <a:pt x="55160" y="584769"/>
                      </a:lnTo>
                      <a:lnTo>
                        <a:pt x="42451" y="581504"/>
                      </a:lnTo>
                      <a:lnTo>
                        <a:pt x="29389" y="596006"/>
                      </a:lnTo>
                      <a:lnTo>
                        <a:pt x="22506" y="617424"/>
                      </a:lnTo>
                      <a:lnTo>
                        <a:pt x="25035" y="623570"/>
                      </a:lnTo>
                      <a:lnTo>
                        <a:pt x="17416" y="637368"/>
                      </a:lnTo>
                      <a:lnTo>
                        <a:pt x="21770" y="653696"/>
                      </a:lnTo>
                      <a:lnTo>
                        <a:pt x="15623" y="659842"/>
                      </a:lnTo>
                      <a:lnTo>
                        <a:pt x="11269" y="676170"/>
                      </a:lnTo>
                      <a:lnTo>
                        <a:pt x="14887" y="686350"/>
                      </a:lnTo>
                      <a:lnTo>
                        <a:pt x="0" y="695026"/>
                      </a:lnTo>
                      <a:lnTo>
                        <a:pt x="4354" y="710649"/>
                      </a:lnTo>
                      <a:lnTo>
                        <a:pt x="20681" y="721534"/>
                      </a:lnTo>
                      <a:lnTo>
                        <a:pt x="22506" y="715707"/>
                      </a:lnTo>
                      <a:lnTo>
                        <a:pt x="31214" y="716443"/>
                      </a:lnTo>
                      <a:lnTo>
                        <a:pt x="41362" y="718268"/>
                      </a:lnTo>
                      <a:lnTo>
                        <a:pt x="47541" y="712089"/>
                      </a:lnTo>
                      <a:lnTo>
                        <a:pt x="56249" y="721534"/>
                      </a:lnTo>
                      <a:lnTo>
                        <a:pt x="74017" y="730946"/>
                      </a:lnTo>
                      <a:lnTo>
                        <a:pt x="85254" y="728417"/>
                      </a:lnTo>
                      <a:lnTo>
                        <a:pt x="90344" y="738949"/>
                      </a:lnTo>
                      <a:lnTo>
                        <a:pt x="87078" y="750923"/>
                      </a:lnTo>
                      <a:lnTo>
                        <a:pt x="100140" y="758510"/>
                      </a:lnTo>
                      <a:lnTo>
                        <a:pt x="105198" y="757069"/>
                      </a:lnTo>
                      <a:lnTo>
                        <a:pt x="107023" y="745832"/>
                      </a:lnTo>
                      <a:lnTo>
                        <a:pt x="117908" y="743303"/>
                      </a:lnTo>
                      <a:lnTo>
                        <a:pt x="124791" y="748361"/>
                      </a:lnTo>
                      <a:lnTo>
                        <a:pt x="154180" y="730946"/>
                      </a:lnTo>
                      <a:lnTo>
                        <a:pt x="161799" y="734595"/>
                      </a:lnTo>
                      <a:lnTo>
                        <a:pt x="181040" y="715707"/>
                      </a:lnTo>
                      <a:lnTo>
                        <a:pt x="181744" y="715707"/>
                      </a:lnTo>
                      <a:lnTo>
                        <a:pt x="196278" y="717532"/>
                      </a:lnTo>
                      <a:lnTo>
                        <a:pt x="190452" y="725151"/>
                      </a:lnTo>
                      <a:lnTo>
                        <a:pt x="182480" y="725151"/>
                      </a:lnTo>
                      <a:lnTo>
                        <a:pt x="179951" y="734595"/>
                      </a:lnTo>
                      <a:lnTo>
                        <a:pt x="191925" y="736388"/>
                      </a:lnTo>
                      <a:lnTo>
                        <a:pt x="204986" y="754540"/>
                      </a:lnTo>
                      <a:lnTo>
                        <a:pt x="223106" y="741478"/>
                      </a:lnTo>
                      <a:lnTo>
                        <a:pt x="229989" y="746569"/>
                      </a:lnTo>
                      <a:lnTo>
                        <a:pt x="238697" y="772308"/>
                      </a:lnTo>
                      <a:lnTo>
                        <a:pt x="262644" y="770867"/>
                      </a:lnTo>
                      <a:lnTo>
                        <a:pt x="257553" y="752715"/>
                      </a:lnTo>
                      <a:lnTo>
                        <a:pt x="261907" y="747657"/>
                      </a:lnTo>
                      <a:lnTo>
                        <a:pt x="264469" y="712089"/>
                      </a:lnTo>
                      <a:lnTo>
                        <a:pt x="277146" y="707736"/>
                      </a:lnTo>
                      <a:lnTo>
                        <a:pt x="278971" y="692497"/>
                      </a:lnTo>
                      <a:lnTo>
                        <a:pt x="278971" y="679435"/>
                      </a:lnTo>
                      <a:lnTo>
                        <a:pt x="286590" y="670023"/>
                      </a:lnTo>
                      <a:lnTo>
                        <a:pt x="293473" y="666758"/>
                      </a:lnTo>
                      <a:lnTo>
                        <a:pt x="306535" y="672552"/>
                      </a:lnTo>
                      <a:lnTo>
                        <a:pt x="323599" y="670727"/>
                      </a:lnTo>
                      <a:lnTo>
                        <a:pt x="327952" y="646813"/>
                      </a:lnTo>
                      <a:lnTo>
                        <a:pt x="337365" y="642459"/>
                      </a:lnTo>
                      <a:lnTo>
                        <a:pt x="346072" y="627220"/>
                      </a:lnTo>
                      <a:lnTo>
                        <a:pt x="357341" y="627220"/>
                      </a:lnTo>
                      <a:lnTo>
                        <a:pt x="349722" y="617424"/>
                      </a:lnTo>
                      <a:lnTo>
                        <a:pt x="352251" y="602185"/>
                      </a:lnTo>
                      <a:lnTo>
                        <a:pt x="347161" y="596006"/>
                      </a:lnTo>
                      <a:lnTo>
                        <a:pt x="339189" y="570971"/>
                      </a:lnTo>
                      <a:lnTo>
                        <a:pt x="336660" y="555733"/>
                      </a:lnTo>
                      <a:lnTo>
                        <a:pt x="348634" y="542671"/>
                      </a:lnTo>
                      <a:lnTo>
                        <a:pt x="340278" y="535084"/>
                      </a:lnTo>
                      <a:lnTo>
                        <a:pt x="342807" y="529993"/>
                      </a:lnTo>
                      <a:lnTo>
                        <a:pt x="334835" y="523815"/>
                      </a:lnTo>
                      <a:lnTo>
                        <a:pt x="345368" y="523110"/>
                      </a:lnTo>
                      <a:lnTo>
                        <a:pt x="347161" y="516195"/>
                      </a:lnTo>
                      <a:lnTo>
                        <a:pt x="357341" y="510049"/>
                      </a:lnTo>
                      <a:lnTo>
                        <a:pt x="357341" y="504958"/>
                      </a:lnTo>
                      <a:lnTo>
                        <a:pt x="369283" y="499516"/>
                      </a:lnTo>
                      <a:lnTo>
                        <a:pt x="387435" y="498780"/>
                      </a:lnTo>
                      <a:lnTo>
                        <a:pt x="396142" y="491897"/>
                      </a:lnTo>
                      <a:lnTo>
                        <a:pt x="408116" y="489367"/>
                      </a:lnTo>
                      <a:lnTo>
                        <a:pt x="417560" y="466157"/>
                      </a:lnTo>
                      <a:lnTo>
                        <a:pt x="430590" y="462892"/>
                      </a:lnTo>
                      <a:lnTo>
                        <a:pt x="452007" y="445476"/>
                      </a:lnTo>
                      <a:lnTo>
                        <a:pt x="463980" y="449094"/>
                      </a:lnTo>
                      <a:lnTo>
                        <a:pt x="457097" y="454184"/>
                      </a:lnTo>
                      <a:lnTo>
                        <a:pt x="459626" y="457449"/>
                      </a:lnTo>
                      <a:lnTo>
                        <a:pt x="474513" y="457449"/>
                      </a:lnTo>
                      <a:lnTo>
                        <a:pt x="480307" y="449094"/>
                      </a:lnTo>
                      <a:lnTo>
                        <a:pt x="478867" y="431678"/>
                      </a:lnTo>
                      <a:lnTo>
                        <a:pt x="483925" y="412085"/>
                      </a:lnTo>
                      <a:lnTo>
                        <a:pt x="492281" y="408468"/>
                      </a:lnTo>
                      <a:lnTo>
                        <a:pt x="484661" y="399024"/>
                      </a:lnTo>
                      <a:lnTo>
                        <a:pt x="445828" y="381992"/>
                      </a:lnTo>
                      <a:lnTo>
                        <a:pt x="445124" y="378343"/>
                      </a:lnTo>
                      <a:lnTo>
                        <a:pt x="462156" y="368930"/>
                      </a:lnTo>
                      <a:lnTo>
                        <a:pt x="470159" y="358782"/>
                      </a:lnTo>
                      <a:lnTo>
                        <a:pt x="465805" y="341366"/>
                      </a:lnTo>
                      <a:lnTo>
                        <a:pt x="460715" y="337012"/>
                      </a:lnTo>
                      <a:lnTo>
                        <a:pt x="434944" y="336276"/>
                      </a:lnTo>
                      <a:lnTo>
                        <a:pt x="425179" y="339541"/>
                      </a:lnTo>
                      <a:lnTo>
                        <a:pt x="416824" y="337012"/>
                      </a:lnTo>
                      <a:lnTo>
                        <a:pt x="415735" y="323214"/>
                      </a:lnTo>
                      <a:lnTo>
                        <a:pt x="420089" y="320685"/>
                      </a:lnTo>
                      <a:lnTo>
                        <a:pt x="414294" y="318860"/>
                      </a:lnTo>
                      <a:lnTo>
                        <a:pt x="415735" y="310505"/>
                      </a:lnTo>
                      <a:lnTo>
                        <a:pt x="405587" y="300004"/>
                      </a:lnTo>
                      <a:lnTo>
                        <a:pt x="428060" y="279323"/>
                      </a:lnTo>
                      <a:lnTo>
                        <a:pt x="424443" y="268086"/>
                      </a:lnTo>
                      <a:lnTo>
                        <a:pt x="438945" y="264084"/>
                      </a:lnTo>
                      <a:lnTo>
                        <a:pt x="443299" y="247757"/>
                      </a:lnTo>
                      <a:lnTo>
                        <a:pt x="441474" y="233991"/>
                      </a:lnTo>
                      <a:lnTo>
                        <a:pt x="451271" y="229637"/>
                      </a:lnTo>
                      <a:lnTo>
                        <a:pt x="456361" y="207131"/>
                      </a:lnTo>
                      <a:lnTo>
                        <a:pt x="489752" y="198423"/>
                      </a:lnTo>
                      <a:lnTo>
                        <a:pt x="492281" y="178831"/>
                      </a:lnTo>
                      <a:lnTo>
                        <a:pt x="482837" y="175213"/>
                      </a:lnTo>
                      <a:lnTo>
                        <a:pt x="478867" y="153091"/>
                      </a:lnTo>
                      <a:lnTo>
                        <a:pt x="451271" y="147649"/>
                      </a:lnTo>
                      <a:lnTo>
                        <a:pt x="441474" y="132410"/>
                      </a:lnTo>
                      <a:lnTo>
                        <a:pt x="433151" y="143647"/>
                      </a:lnTo>
                      <a:lnTo>
                        <a:pt x="416824" y="148738"/>
                      </a:lnTo>
                      <a:lnTo>
                        <a:pt x="408852" y="145120"/>
                      </a:lnTo>
                      <a:lnTo>
                        <a:pt x="409940" y="141854"/>
                      </a:lnTo>
                      <a:lnTo>
                        <a:pt x="421914" y="117524"/>
                      </a:lnTo>
                      <a:lnTo>
                        <a:pt x="435680" y="110641"/>
                      </a:lnTo>
                      <a:lnTo>
                        <a:pt x="430590" y="94314"/>
                      </a:lnTo>
                      <a:lnTo>
                        <a:pt x="441474" y="83429"/>
                      </a:lnTo>
                      <a:lnTo>
                        <a:pt x="435680" y="67838"/>
                      </a:lnTo>
                      <a:lnTo>
                        <a:pt x="422618" y="51511"/>
                      </a:lnTo>
                      <a:lnTo>
                        <a:pt x="397583" y="37745"/>
                      </a:lnTo>
                      <a:lnTo>
                        <a:pt x="400496" y="24651"/>
                      </a:lnTo>
                      <a:lnTo>
                        <a:pt x="410645" y="27212"/>
                      </a:lnTo>
                      <a:lnTo>
                        <a:pt x="418264" y="22122"/>
                      </a:lnTo>
                      <a:lnTo>
                        <a:pt x="416824" y="14502"/>
                      </a:lnTo>
                      <a:lnTo>
                        <a:pt x="372932" y="17768"/>
                      </a:lnTo>
                      <a:lnTo>
                        <a:pt x="33918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8" name="Forma Livre: Forma 207">
                  <a:extLst>
                    <a:ext uri="{FF2B5EF4-FFF2-40B4-BE49-F238E27FC236}">
                      <a16:creationId xmlns:a16="http://schemas.microsoft.com/office/drawing/2014/main" id="{0F45F1CF-C45C-C836-3514-0D6EC2B0842B}"/>
                    </a:ext>
                  </a:extLst>
                </p:cNvPr>
                <p:cNvSpPr/>
                <p:nvPr/>
              </p:nvSpPr>
              <p:spPr>
                <a:xfrm>
                  <a:off x="2477486" y="3798860"/>
                  <a:ext cx="492280" cy="772307"/>
                </a:xfrm>
                <a:custGeom>
                  <a:avLst/>
                  <a:gdLst>
                    <a:gd name="csX0" fmla="*/ 339189 w 492280"/>
                    <a:gd name="csY0" fmla="*/ 0 h 772307"/>
                    <a:gd name="csX1" fmla="*/ 330482 w 492280"/>
                    <a:gd name="csY1" fmla="*/ 10148 h 772307"/>
                    <a:gd name="csX2" fmla="*/ 329745 w 492280"/>
                    <a:gd name="csY2" fmla="*/ 14502 h 772307"/>
                    <a:gd name="csX3" fmla="*/ 341718 w 492280"/>
                    <a:gd name="csY3" fmla="*/ 26476 h 772307"/>
                    <a:gd name="csX4" fmla="*/ 334835 w 492280"/>
                    <a:gd name="csY4" fmla="*/ 35183 h 772307"/>
                    <a:gd name="csX5" fmla="*/ 344280 w 492280"/>
                    <a:gd name="csY5" fmla="*/ 37745 h 772307"/>
                    <a:gd name="csX6" fmla="*/ 359134 w 492280"/>
                    <a:gd name="csY6" fmla="*/ 38449 h 772307"/>
                    <a:gd name="csX7" fmla="*/ 363488 w 492280"/>
                    <a:gd name="csY7" fmla="*/ 45332 h 772307"/>
                    <a:gd name="csX8" fmla="*/ 359134 w 492280"/>
                    <a:gd name="csY8" fmla="*/ 64220 h 772307"/>
                    <a:gd name="csX9" fmla="*/ 339189 w 492280"/>
                    <a:gd name="csY9" fmla="*/ 65309 h 772307"/>
                    <a:gd name="csX10" fmla="*/ 326480 w 492280"/>
                    <a:gd name="csY10" fmla="*/ 75457 h 772307"/>
                    <a:gd name="csX11" fmla="*/ 334835 w 492280"/>
                    <a:gd name="csY11" fmla="*/ 84165 h 772307"/>
                    <a:gd name="csX12" fmla="*/ 348634 w 492280"/>
                    <a:gd name="csY12" fmla="*/ 84165 h 772307"/>
                    <a:gd name="csX13" fmla="*/ 342807 w 492280"/>
                    <a:gd name="csY13" fmla="*/ 97227 h 772307"/>
                    <a:gd name="csX14" fmla="*/ 344280 w 492280"/>
                    <a:gd name="csY14" fmla="*/ 102285 h 772307"/>
                    <a:gd name="csX15" fmla="*/ 352987 w 492280"/>
                    <a:gd name="csY15" fmla="*/ 105550 h 772307"/>
                    <a:gd name="csX16" fmla="*/ 366753 w 492280"/>
                    <a:gd name="csY16" fmla="*/ 103758 h 772307"/>
                    <a:gd name="csX17" fmla="*/ 374373 w 492280"/>
                    <a:gd name="csY17" fmla="*/ 110641 h 772307"/>
                    <a:gd name="csX18" fmla="*/ 366017 w 492280"/>
                    <a:gd name="csY18" fmla="*/ 126232 h 772307"/>
                    <a:gd name="csX19" fmla="*/ 359134 w 492280"/>
                    <a:gd name="csY19" fmla="*/ 128056 h 772307"/>
                    <a:gd name="csX20" fmla="*/ 356605 w 492280"/>
                    <a:gd name="csY20" fmla="*/ 140766 h 772307"/>
                    <a:gd name="csX21" fmla="*/ 347897 w 492280"/>
                    <a:gd name="csY21" fmla="*/ 141854 h 772307"/>
                    <a:gd name="csX22" fmla="*/ 334099 w 492280"/>
                    <a:gd name="csY22" fmla="*/ 166857 h 772307"/>
                    <a:gd name="csX23" fmla="*/ 333395 w 492280"/>
                    <a:gd name="csY23" fmla="*/ 180655 h 772307"/>
                    <a:gd name="csX24" fmla="*/ 348634 w 492280"/>
                    <a:gd name="csY24" fmla="*/ 193365 h 772307"/>
                    <a:gd name="csX25" fmla="*/ 343543 w 492280"/>
                    <a:gd name="csY25" fmla="*/ 199512 h 772307"/>
                    <a:gd name="csX26" fmla="*/ 347897 w 492280"/>
                    <a:gd name="csY26" fmla="*/ 211485 h 772307"/>
                    <a:gd name="csX27" fmla="*/ 309800 w 492280"/>
                    <a:gd name="csY27" fmla="*/ 233991 h 772307"/>
                    <a:gd name="csX28" fmla="*/ 303270 w 492280"/>
                    <a:gd name="csY28" fmla="*/ 246669 h 772307"/>
                    <a:gd name="csX29" fmla="*/ 305831 w 492280"/>
                    <a:gd name="csY29" fmla="*/ 260467 h 772307"/>
                    <a:gd name="csX30" fmla="*/ 295298 w 492280"/>
                    <a:gd name="csY30" fmla="*/ 269175 h 772307"/>
                    <a:gd name="csX31" fmla="*/ 307271 w 492280"/>
                    <a:gd name="csY31" fmla="*/ 288031 h 772307"/>
                    <a:gd name="csX32" fmla="*/ 309096 w 492280"/>
                    <a:gd name="csY32" fmla="*/ 301829 h 772307"/>
                    <a:gd name="csX33" fmla="*/ 326480 w 492280"/>
                    <a:gd name="csY33" fmla="*/ 314859 h 772307"/>
                    <a:gd name="csX34" fmla="*/ 317772 w 492280"/>
                    <a:gd name="csY34" fmla="*/ 322478 h 772307"/>
                    <a:gd name="csX35" fmla="*/ 320333 w 492280"/>
                    <a:gd name="csY35" fmla="*/ 331922 h 772307"/>
                    <a:gd name="csX36" fmla="*/ 315243 w 492280"/>
                    <a:gd name="csY36" fmla="*/ 332658 h 772307"/>
                    <a:gd name="csX37" fmla="*/ 302181 w 492280"/>
                    <a:gd name="csY37" fmla="*/ 345720 h 772307"/>
                    <a:gd name="csX38" fmla="*/ 290944 w 492280"/>
                    <a:gd name="csY38" fmla="*/ 360223 h 772307"/>
                    <a:gd name="csX39" fmla="*/ 290944 w 492280"/>
                    <a:gd name="csY39" fmla="*/ 373284 h 772307"/>
                    <a:gd name="csX40" fmla="*/ 268822 w 492280"/>
                    <a:gd name="csY40" fmla="*/ 378343 h 772307"/>
                    <a:gd name="csX41" fmla="*/ 246316 w 492280"/>
                    <a:gd name="csY41" fmla="*/ 377638 h 772307"/>
                    <a:gd name="csX42" fmla="*/ 240170 w 492280"/>
                    <a:gd name="csY42" fmla="*/ 377638 h 772307"/>
                    <a:gd name="csX43" fmla="*/ 226372 w 492280"/>
                    <a:gd name="csY43" fmla="*/ 373284 h 772307"/>
                    <a:gd name="csX44" fmla="*/ 215487 w 492280"/>
                    <a:gd name="csY44" fmla="*/ 366401 h 772307"/>
                    <a:gd name="csX45" fmla="*/ 191925 w 492280"/>
                    <a:gd name="csY45" fmla="*/ 351867 h 772307"/>
                    <a:gd name="csX46" fmla="*/ 186834 w 492280"/>
                    <a:gd name="csY46" fmla="*/ 371459 h 772307"/>
                    <a:gd name="csX47" fmla="*/ 198808 w 492280"/>
                    <a:gd name="csY47" fmla="*/ 388875 h 772307"/>
                    <a:gd name="csX48" fmla="*/ 198071 w 492280"/>
                    <a:gd name="csY48" fmla="*/ 400849 h 772307"/>
                    <a:gd name="csX49" fmla="*/ 193717 w 492280"/>
                    <a:gd name="csY49" fmla="*/ 418968 h 772307"/>
                    <a:gd name="csX50" fmla="*/ 204250 w 492280"/>
                    <a:gd name="csY50" fmla="*/ 442915 h 772307"/>
                    <a:gd name="csX51" fmla="*/ 204986 w 492280"/>
                    <a:gd name="csY51" fmla="*/ 458538 h 772307"/>
                    <a:gd name="csX52" fmla="*/ 176686 w 492280"/>
                    <a:gd name="csY52" fmla="*/ 471215 h 772307"/>
                    <a:gd name="csX53" fmla="*/ 178126 w 492280"/>
                    <a:gd name="csY53" fmla="*/ 479923 h 772307"/>
                    <a:gd name="csX54" fmla="*/ 157798 w 492280"/>
                    <a:gd name="csY54" fmla="*/ 479923 h 772307"/>
                    <a:gd name="csX55" fmla="*/ 156005 w 492280"/>
                    <a:gd name="csY55" fmla="*/ 498075 h 772307"/>
                    <a:gd name="csX56" fmla="*/ 148001 w 492280"/>
                    <a:gd name="csY56" fmla="*/ 498075 h 772307"/>
                    <a:gd name="csX57" fmla="*/ 132795 w 492280"/>
                    <a:gd name="csY57" fmla="*/ 495514 h 772307"/>
                    <a:gd name="csX58" fmla="*/ 130233 w 492280"/>
                    <a:gd name="csY58" fmla="*/ 503133 h 772307"/>
                    <a:gd name="csX59" fmla="*/ 121525 w 492280"/>
                    <a:gd name="csY59" fmla="*/ 505695 h 772307"/>
                    <a:gd name="csX60" fmla="*/ 109552 w 492280"/>
                    <a:gd name="csY60" fmla="*/ 553203 h 772307"/>
                    <a:gd name="csX61" fmla="*/ 100844 w 492280"/>
                    <a:gd name="csY61" fmla="*/ 555733 h 772307"/>
                    <a:gd name="csX62" fmla="*/ 94698 w 492280"/>
                    <a:gd name="csY62" fmla="*/ 553203 h 772307"/>
                    <a:gd name="csX63" fmla="*/ 88903 w 492280"/>
                    <a:gd name="csY63" fmla="*/ 553940 h 772307"/>
                    <a:gd name="csX64" fmla="*/ 80900 w 492280"/>
                    <a:gd name="csY64" fmla="*/ 557205 h 772307"/>
                    <a:gd name="csX65" fmla="*/ 68926 w 492280"/>
                    <a:gd name="csY65" fmla="*/ 577886 h 772307"/>
                    <a:gd name="csX66" fmla="*/ 55160 w 492280"/>
                    <a:gd name="csY66" fmla="*/ 584769 h 772307"/>
                    <a:gd name="csX67" fmla="*/ 42451 w 492280"/>
                    <a:gd name="csY67" fmla="*/ 581504 h 772307"/>
                    <a:gd name="csX68" fmla="*/ 29389 w 492280"/>
                    <a:gd name="csY68" fmla="*/ 596006 h 772307"/>
                    <a:gd name="csX69" fmla="*/ 22506 w 492280"/>
                    <a:gd name="csY69" fmla="*/ 617424 h 772307"/>
                    <a:gd name="csX70" fmla="*/ 25035 w 492280"/>
                    <a:gd name="csY70" fmla="*/ 623570 h 772307"/>
                    <a:gd name="csX71" fmla="*/ 17416 w 492280"/>
                    <a:gd name="csY71" fmla="*/ 637368 h 772307"/>
                    <a:gd name="csX72" fmla="*/ 21770 w 492280"/>
                    <a:gd name="csY72" fmla="*/ 653696 h 772307"/>
                    <a:gd name="csX73" fmla="*/ 15623 w 492280"/>
                    <a:gd name="csY73" fmla="*/ 659842 h 772307"/>
                    <a:gd name="csX74" fmla="*/ 11269 w 492280"/>
                    <a:gd name="csY74" fmla="*/ 676170 h 772307"/>
                    <a:gd name="csX75" fmla="*/ 14887 w 492280"/>
                    <a:gd name="csY75" fmla="*/ 686350 h 772307"/>
                    <a:gd name="csX76" fmla="*/ 0 w 492280"/>
                    <a:gd name="csY76" fmla="*/ 695026 h 772307"/>
                    <a:gd name="csX77" fmla="*/ 4354 w 492280"/>
                    <a:gd name="csY77" fmla="*/ 710649 h 772307"/>
                    <a:gd name="csX78" fmla="*/ 20681 w 492280"/>
                    <a:gd name="csY78" fmla="*/ 721534 h 772307"/>
                    <a:gd name="csX79" fmla="*/ 22506 w 492280"/>
                    <a:gd name="csY79" fmla="*/ 715707 h 772307"/>
                    <a:gd name="csX80" fmla="*/ 31214 w 492280"/>
                    <a:gd name="csY80" fmla="*/ 716443 h 772307"/>
                    <a:gd name="csX81" fmla="*/ 41362 w 492280"/>
                    <a:gd name="csY81" fmla="*/ 718268 h 772307"/>
                    <a:gd name="csX82" fmla="*/ 47541 w 492280"/>
                    <a:gd name="csY82" fmla="*/ 712089 h 772307"/>
                    <a:gd name="csX83" fmla="*/ 56249 w 492280"/>
                    <a:gd name="csY83" fmla="*/ 721534 h 772307"/>
                    <a:gd name="csX84" fmla="*/ 74017 w 492280"/>
                    <a:gd name="csY84" fmla="*/ 730946 h 772307"/>
                    <a:gd name="csX85" fmla="*/ 85254 w 492280"/>
                    <a:gd name="csY85" fmla="*/ 728417 h 772307"/>
                    <a:gd name="csX86" fmla="*/ 90344 w 492280"/>
                    <a:gd name="csY86" fmla="*/ 738949 h 772307"/>
                    <a:gd name="csX87" fmla="*/ 87078 w 492280"/>
                    <a:gd name="csY87" fmla="*/ 750923 h 772307"/>
                    <a:gd name="csX88" fmla="*/ 100140 w 492280"/>
                    <a:gd name="csY88" fmla="*/ 758510 h 772307"/>
                    <a:gd name="csX89" fmla="*/ 105198 w 492280"/>
                    <a:gd name="csY89" fmla="*/ 757069 h 772307"/>
                    <a:gd name="csX90" fmla="*/ 107023 w 492280"/>
                    <a:gd name="csY90" fmla="*/ 745832 h 772307"/>
                    <a:gd name="csX91" fmla="*/ 117908 w 492280"/>
                    <a:gd name="csY91" fmla="*/ 743303 h 772307"/>
                    <a:gd name="csX92" fmla="*/ 124791 w 492280"/>
                    <a:gd name="csY92" fmla="*/ 748361 h 772307"/>
                    <a:gd name="csX93" fmla="*/ 154180 w 492280"/>
                    <a:gd name="csY93" fmla="*/ 730946 h 772307"/>
                    <a:gd name="csX94" fmla="*/ 161799 w 492280"/>
                    <a:gd name="csY94" fmla="*/ 734595 h 772307"/>
                    <a:gd name="csX95" fmla="*/ 181040 w 492280"/>
                    <a:gd name="csY95" fmla="*/ 715707 h 772307"/>
                    <a:gd name="csX96" fmla="*/ 181744 w 492280"/>
                    <a:gd name="csY96" fmla="*/ 715707 h 772307"/>
                    <a:gd name="csX97" fmla="*/ 196278 w 492280"/>
                    <a:gd name="csY97" fmla="*/ 717532 h 772307"/>
                    <a:gd name="csX98" fmla="*/ 190452 w 492280"/>
                    <a:gd name="csY98" fmla="*/ 725151 h 772307"/>
                    <a:gd name="csX99" fmla="*/ 182480 w 492280"/>
                    <a:gd name="csY99" fmla="*/ 725151 h 772307"/>
                    <a:gd name="csX100" fmla="*/ 179951 w 492280"/>
                    <a:gd name="csY100" fmla="*/ 734595 h 772307"/>
                    <a:gd name="csX101" fmla="*/ 191925 w 492280"/>
                    <a:gd name="csY101" fmla="*/ 736388 h 772307"/>
                    <a:gd name="csX102" fmla="*/ 204986 w 492280"/>
                    <a:gd name="csY102" fmla="*/ 754540 h 772307"/>
                    <a:gd name="csX103" fmla="*/ 223106 w 492280"/>
                    <a:gd name="csY103" fmla="*/ 741478 h 772307"/>
                    <a:gd name="csX104" fmla="*/ 229989 w 492280"/>
                    <a:gd name="csY104" fmla="*/ 746569 h 772307"/>
                    <a:gd name="csX105" fmla="*/ 238697 w 492280"/>
                    <a:gd name="csY105" fmla="*/ 772308 h 772307"/>
                    <a:gd name="csX106" fmla="*/ 262644 w 492280"/>
                    <a:gd name="csY106" fmla="*/ 770867 h 772307"/>
                    <a:gd name="csX107" fmla="*/ 257553 w 492280"/>
                    <a:gd name="csY107" fmla="*/ 752715 h 772307"/>
                    <a:gd name="csX108" fmla="*/ 261907 w 492280"/>
                    <a:gd name="csY108" fmla="*/ 747657 h 772307"/>
                    <a:gd name="csX109" fmla="*/ 264469 w 492280"/>
                    <a:gd name="csY109" fmla="*/ 712089 h 772307"/>
                    <a:gd name="csX110" fmla="*/ 277146 w 492280"/>
                    <a:gd name="csY110" fmla="*/ 707736 h 772307"/>
                    <a:gd name="csX111" fmla="*/ 278971 w 492280"/>
                    <a:gd name="csY111" fmla="*/ 692497 h 772307"/>
                    <a:gd name="csX112" fmla="*/ 278971 w 492280"/>
                    <a:gd name="csY112" fmla="*/ 679435 h 772307"/>
                    <a:gd name="csX113" fmla="*/ 286590 w 492280"/>
                    <a:gd name="csY113" fmla="*/ 670023 h 772307"/>
                    <a:gd name="csX114" fmla="*/ 293473 w 492280"/>
                    <a:gd name="csY114" fmla="*/ 666758 h 772307"/>
                    <a:gd name="csX115" fmla="*/ 306535 w 492280"/>
                    <a:gd name="csY115" fmla="*/ 672552 h 772307"/>
                    <a:gd name="csX116" fmla="*/ 323599 w 492280"/>
                    <a:gd name="csY116" fmla="*/ 670727 h 772307"/>
                    <a:gd name="csX117" fmla="*/ 327952 w 492280"/>
                    <a:gd name="csY117" fmla="*/ 646813 h 772307"/>
                    <a:gd name="csX118" fmla="*/ 337365 w 492280"/>
                    <a:gd name="csY118" fmla="*/ 642459 h 772307"/>
                    <a:gd name="csX119" fmla="*/ 346072 w 492280"/>
                    <a:gd name="csY119" fmla="*/ 627220 h 772307"/>
                    <a:gd name="csX120" fmla="*/ 357341 w 492280"/>
                    <a:gd name="csY120" fmla="*/ 627220 h 772307"/>
                    <a:gd name="csX121" fmla="*/ 349722 w 492280"/>
                    <a:gd name="csY121" fmla="*/ 617424 h 772307"/>
                    <a:gd name="csX122" fmla="*/ 352251 w 492280"/>
                    <a:gd name="csY122" fmla="*/ 602185 h 772307"/>
                    <a:gd name="csX123" fmla="*/ 347161 w 492280"/>
                    <a:gd name="csY123" fmla="*/ 596006 h 772307"/>
                    <a:gd name="csX124" fmla="*/ 339189 w 492280"/>
                    <a:gd name="csY124" fmla="*/ 570971 h 772307"/>
                    <a:gd name="csX125" fmla="*/ 336660 w 492280"/>
                    <a:gd name="csY125" fmla="*/ 555733 h 772307"/>
                    <a:gd name="csX126" fmla="*/ 348634 w 492280"/>
                    <a:gd name="csY126" fmla="*/ 542671 h 772307"/>
                    <a:gd name="csX127" fmla="*/ 340278 w 492280"/>
                    <a:gd name="csY127" fmla="*/ 535084 h 772307"/>
                    <a:gd name="csX128" fmla="*/ 342807 w 492280"/>
                    <a:gd name="csY128" fmla="*/ 529993 h 772307"/>
                    <a:gd name="csX129" fmla="*/ 334835 w 492280"/>
                    <a:gd name="csY129" fmla="*/ 523815 h 772307"/>
                    <a:gd name="csX130" fmla="*/ 345368 w 492280"/>
                    <a:gd name="csY130" fmla="*/ 523110 h 772307"/>
                    <a:gd name="csX131" fmla="*/ 347161 w 492280"/>
                    <a:gd name="csY131" fmla="*/ 516195 h 772307"/>
                    <a:gd name="csX132" fmla="*/ 357341 w 492280"/>
                    <a:gd name="csY132" fmla="*/ 510049 h 772307"/>
                    <a:gd name="csX133" fmla="*/ 357341 w 492280"/>
                    <a:gd name="csY133" fmla="*/ 504958 h 772307"/>
                    <a:gd name="csX134" fmla="*/ 369283 w 492280"/>
                    <a:gd name="csY134" fmla="*/ 499516 h 772307"/>
                    <a:gd name="csX135" fmla="*/ 387435 w 492280"/>
                    <a:gd name="csY135" fmla="*/ 498780 h 772307"/>
                    <a:gd name="csX136" fmla="*/ 396142 w 492280"/>
                    <a:gd name="csY136" fmla="*/ 491897 h 772307"/>
                    <a:gd name="csX137" fmla="*/ 408116 w 492280"/>
                    <a:gd name="csY137" fmla="*/ 489367 h 772307"/>
                    <a:gd name="csX138" fmla="*/ 417560 w 492280"/>
                    <a:gd name="csY138" fmla="*/ 466157 h 772307"/>
                    <a:gd name="csX139" fmla="*/ 430590 w 492280"/>
                    <a:gd name="csY139" fmla="*/ 462892 h 772307"/>
                    <a:gd name="csX140" fmla="*/ 452007 w 492280"/>
                    <a:gd name="csY140" fmla="*/ 445476 h 772307"/>
                    <a:gd name="csX141" fmla="*/ 463980 w 492280"/>
                    <a:gd name="csY141" fmla="*/ 449094 h 772307"/>
                    <a:gd name="csX142" fmla="*/ 457097 w 492280"/>
                    <a:gd name="csY142" fmla="*/ 454184 h 772307"/>
                    <a:gd name="csX143" fmla="*/ 459626 w 492280"/>
                    <a:gd name="csY143" fmla="*/ 457449 h 772307"/>
                    <a:gd name="csX144" fmla="*/ 474513 w 492280"/>
                    <a:gd name="csY144" fmla="*/ 457449 h 772307"/>
                    <a:gd name="csX145" fmla="*/ 480307 w 492280"/>
                    <a:gd name="csY145" fmla="*/ 449094 h 772307"/>
                    <a:gd name="csX146" fmla="*/ 478867 w 492280"/>
                    <a:gd name="csY146" fmla="*/ 431678 h 772307"/>
                    <a:gd name="csX147" fmla="*/ 483925 w 492280"/>
                    <a:gd name="csY147" fmla="*/ 412085 h 772307"/>
                    <a:gd name="csX148" fmla="*/ 492281 w 492280"/>
                    <a:gd name="csY148" fmla="*/ 408468 h 772307"/>
                    <a:gd name="csX149" fmla="*/ 484661 w 492280"/>
                    <a:gd name="csY149" fmla="*/ 399024 h 772307"/>
                    <a:gd name="csX150" fmla="*/ 445828 w 492280"/>
                    <a:gd name="csY150" fmla="*/ 381992 h 772307"/>
                    <a:gd name="csX151" fmla="*/ 445124 w 492280"/>
                    <a:gd name="csY151" fmla="*/ 378343 h 772307"/>
                    <a:gd name="csX152" fmla="*/ 462156 w 492280"/>
                    <a:gd name="csY152" fmla="*/ 368930 h 772307"/>
                    <a:gd name="csX153" fmla="*/ 470159 w 492280"/>
                    <a:gd name="csY153" fmla="*/ 358782 h 772307"/>
                    <a:gd name="csX154" fmla="*/ 465805 w 492280"/>
                    <a:gd name="csY154" fmla="*/ 341366 h 772307"/>
                    <a:gd name="csX155" fmla="*/ 460715 w 492280"/>
                    <a:gd name="csY155" fmla="*/ 337012 h 772307"/>
                    <a:gd name="csX156" fmla="*/ 434944 w 492280"/>
                    <a:gd name="csY156" fmla="*/ 336276 h 772307"/>
                    <a:gd name="csX157" fmla="*/ 425179 w 492280"/>
                    <a:gd name="csY157" fmla="*/ 339541 h 772307"/>
                    <a:gd name="csX158" fmla="*/ 416824 w 492280"/>
                    <a:gd name="csY158" fmla="*/ 337012 h 772307"/>
                    <a:gd name="csX159" fmla="*/ 415735 w 492280"/>
                    <a:gd name="csY159" fmla="*/ 323214 h 772307"/>
                    <a:gd name="csX160" fmla="*/ 420089 w 492280"/>
                    <a:gd name="csY160" fmla="*/ 320685 h 772307"/>
                    <a:gd name="csX161" fmla="*/ 414294 w 492280"/>
                    <a:gd name="csY161" fmla="*/ 318860 h 772307"/>
                    <a:gd name="csX162" fmla="*/ 415735 w 492280"/>
                    <a:gd name="csY162" fmla="*/ 310505 h 772307"/>
                    <a:gd name="csX163" fmla="*/ 405587 w 492280"/>
                    <a:gd name="csY163" fmla="*/ 300004 h 772307"/>
                    <a:gd name="csX164" fmla="*/ 428060 w 492280"/>
                    <a:gd name="csY164" fmla="*/ 279323 h 772307"/>
                    <a:gd name="csX165" fmla="*/ 424443 w 492280"/>
                    <a:gd name="csY165" fmla="*/ 268086 h 772307"/>
                    <a:gd name="csX166" fmla="*/ 438945 w 492280"/>
                    <a:gd name="csY166" fmla="*/ 264084 h 772307"/>
                    <a:gd name="csX167" fmla="*/ 443299 w 492280"/>
                    <a:gd name="csY167" fmla="*/ 247757 h 772307"/>
                    <a:gd name="csX168" fmla="*/ 441474 w 492280"/>
                    <a:gd name="csY168" fmla="*/ 233991 h 772307"/>
                    <a:gd name="csX169" fmla="*/ 451271 w 492280"/>
                    <a:gd name="csY169" fmla="*/ 229637 h 772307"/>
                    <a:gd name="csX170" fmla="*/ 456361 w 492280"/>
                    <a:gd name="csY170" fmla="*/ 207131 h 772307"/>
                    <a:gd name="csX171" fmla="*/ 489752 w 492280"/>
                    <a:gd name="csY171" fmla="*/ 198423 h 772307"/>
                    <a:gd name="csX172" fmla="*/ 492281 w 492280"/>
                    <a:gd name="csY172" fmla="*/ 178831 h 772307"/>
                    <a:gd name="csX173" fmla="*/ 482837 w 492280"/>
                    <a:gd name="csY173" fmla="*/ 175213 h 772307"/>
                    <a:gd name="csX174" fmla="*/ 478867 w 492280"/>
                    <a:gd name="csY174" fmla="*/ 153091 h 772307"/>
                    <a:gd name="csX175" fmla="*/ 451271 w 492280"/>
                    <a:gd name="csY175" fmla="*/ 147649 h 772307"/>
                    <a:gd name="csX176" fmla="*/ 441474 w 492280"/>
                    <a:gd name="csY176" fmla="*/ 132410 h 772307"/>
                    <a:gd name="csX177" fmla="*/ 433151 w 492280"/>
                    <a:gd name="csY177" fmla="*/ 143647 h 772307"/>
                    <a:gd name="csX178" fmla="*/ 416824 w 492280"/>
                    <a:gd name="csY178" fmla="*/ 148738 h 772307"/>
                    <a:gd name="csX179" fmla="*/ 408852 w 492280"/>
                    <a:gd name="csY179" fmla="*/ 145120 h 772307"/>
                    <a:gd name="csX180" fmla="*/ 409940 w 492280"/>
                    <a:gd name="csY180" fmla="*/ 141854 h 772307"/>
                    <a:gd name="csX181" fmla="*/ 421914 w 492280"/>
                    <a:gd name="csY181" fmla="*/ 117524 h 772307"/>
                    <a:gd name="csX182" fmla="*/ 435680 w 492280"/>
                    <a:gd name="csY182" fmla="*/ 110641 h 772307"/>
                    <a:gd name="csX183" fmla="*/ 430590 w 492280"/>
                    <a:gd name="csY183" fmla="*/ 94314 h 772307"/>
                    <a:gd name="csX184" fmla="*/ 441474 w 492280"/>
                    <a:gd name="csY184" fmla="*/ 83429 h 772307"/>
                    <a:gd name="csX185" fmla="*/ 435680 w 492280"/>
                    <a:gd name="csY185" fmla="*/ 67838 h 772307"/>
                    <a:gd name="csX186" fmla="*/ 422618 w 492280"/>
                    <a:gd name="csY186" fmla="*/ 51511 h 772307"/>
                    <a:gd name="csX187" fmla="*/ 397583 w 492280"/>
                    <a:gd name="csY187" fmla="*/ 37745 h 772307"/>
                    <a:gd name="csX188" fmla="*/ 400496 w 492280"/>
                    <a:gd name="csY188" fmla="*/ 24651 h 772307"/>
                    <a:gd name="csX189" fmla="*/ 410645 w 492280"/>
                    <a:gd name="csY189" fmla="*/ 27212 h 772307"/>
                    <a:gd name="csX190" fmla="*/ 418264 w 492280"/>
                    <a:gd name="csY190" fmla="*/ 22122 h 772307"/>
                    <a:gd name="csX191" fmla="*/ 416824 w 492280"/>
                    <a:gd name="csY191" fmla="*/ 14502 h 772307"/>
                    <a:gd name="csX192" fmla="*/ 372932 w 492280"/>
                    <a:gd name="csY192" fmla="*/ 17768 h 772307"/>
                    <a:gd name="csX193" fmla="*/ 339189 w 492280"/>
                    <a:gd name="csY193" fmla="*/ 0 h 7723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</a:cxnLst>
                  <a:rect l="l" t="t" r="r" b="b"/>
                  <a:pathLst>
                    <a:path w="492280" h="772307">
                      <a:moveTo>
                        <a:pt x="339189" y="0"/>
                      </a:moveTo>
                      <a:lnTo>
                        <a:pt x="330482" y="10148"/>
                      </a:lnTo>
                      <a:lnTo>
                        <a:pt x="329745" y="14502"/>
                      </a:lnTo>
                      <a:lnTo>
                        <a:pt x="341718" y="26476"/>
                      </a:lnTo>
                      <a:lnTo>
                        <a:pt x="334835" y="35183"/>
                      </a:lnTo>
                      <a:lnTo>
                        <a:pt x="344280" y="37745"/>
                      </a:lnTo>
                      <a:lnTo>
                        <a:pt x="359134" y="38449"/>
                      </a:lnTo>
                      <a:lnTo>
                        <a:pt x="363488" y="45332"/>
                      </a:lnTo>
                      <a:lnTo>
                        <a:pt x="359134" y="64220"/>
                      </a:lnTo>
                      <a:lnTo>
                        <a:pt x="339189" y="65309"/>
                      </a:lnTo>
                      <a:lnTo>
                        <a:pt x="326480" y="75457"/>
                      </a:lnTo>
                      <a:lnTo>
                        <a:pt x="334835" y="84165"/>
                      </a:lnTo>
                      <a:lnTo>
                        <a:pt x="348634" y="84165"/>
                      </a:lnTo>
                      <a:lnTo>
                        <a:pt x="342807" y="97227"/>
                      </a:lnTo>
                      <a:lnTo>
                        <a:pt x="344280" y="102285"/>
                      </a:lnTo>
                      <a:lnTo>
                        <a:pt x="352987" y="105550"/>
                      </a:lnTo>
                      <a:lnTo>
                        <a:pt x="366753" y="103758"/>
                      </a:lnTo>
                      <a:lnTo>
                        <a:pt x="374373" y="110641"/>
                      </a:lnTo>
                      <a:lnTo>
                        <a:pt x="366017" y="126232"/>
                      </a:lnTo>
                      <a:lnTo>
                        <a:pt x="359134" y="128056"/>
                      </a:lnTo>
                      <a:lnTo>
                        <a:pt x="356605" y="140766"/>
                      </a:lnTo>
                      <a:lnTo>
                        <a:pt x="347897" y="141854"/>
                      </a:lnTo>
                      <a:lnTo>
                        <a:pt x="334099" y="166857"/>
                      </a:lnTo>
                      <a:lnTo>
                        <a:pt x="333395" y="180655"/>
                      </a:lnTo>
                      <a:lnTo>
                        <a:pt x="348634" y="193365"/>
                      </a:lnTo>
                      <a:lnTo>
                        <a:pt x="343543" y="199512"/>
                      </a:lnTo>
                      <a:lnTo>
                        <a:pt x="347897" y="211485"/>
                      </a:lnTo>
                      <a:lnTo>
                        <a:pt x="309800" y="233991"/>
                      </a:lnTo>
                      <a:lnTo>
                        <a:pt x="303270" y="246669"/>
                      </a:lnTo>
                      <a:lnTo>
                        <a:pt x="305831" y="260467"/>
                      </a:lnTo>
                      <a:lnTo>
                        <a:pt x="295298" y="269175"/>
                      </a:lnTo>
                      <a:lnTo>
                        <a:pt x="307271" y="288031"/>
                      </a:lnTo>
                      <a:lnTo>
                        <a:pt x="309096" y="301829"/>
                      </a:lnTo>
                      <a:lnTo>
                        <a:pt x="326480" y="314859"/>
                      </a:lnTo>
                      <a:lnTo>
                        <a:pt x="317772" y="322478"/>
                      </a:lnTo>
                      <a:lnTo>
                        <a:pt x="320333" y="331922"/>
                      </a:lnTo>
                      <a:lnTo>
                        <a:pt x="315243" y="332658"/>
                      </a:lnTo>
                      <a:lnTo>
                        <a:pt x="302181" y="345720"/>
                      </a:lnTo>
                      <a:lnTo>
                        <a:pt x="290944" y="360223"/>
                      </a:lnTo>
                      <a:lnTo>
                        <a:pt x="290944" y="373284"/>
                      </a:lnTo>
                      <a:lnTo>
                        <a:pt x="268822" y="378343"/>
                      </a:lnTo>
                      <a:lnTo>
                        <a:pt x="246316" y="377638"/>
                      </a:lnTo>
                      <a:lnTo>
                        <a:pt x="240170" y="377638"/>
                      </a:lnTo>
                      <a:lnTo>
                        <a:pt x="226372" y="373284"/>
                      </a:lnTo>
                      <a:lnTo>
                        <a:pt x="215487" y="366401"/>
                      </a:lnTo>
                      <a:lnTo>
                        <a:pt x="191925" y="351867"/>
                      </a:lnTo>
                      <a:lnTo>
                        <a:pt x="186834" y="371459"/>
                      </a:lnTo>
                      <a:lnTo>
                        <a:pt x="198808" y="388875"/>
                      </a:lnTo>
                      <a:lnTo>
                        <a:pt x="198071" y="400849"/>
                      </a:lnTo>
                      <a:lnTo>
                        <a:pt x="193717" y="418968"/>
                      </a:lnTo>
                      <a:lnTo>
                        <a:pt x="204250" y="442915"/>
                      </a:lnTo>
                      <a:lnTo>
                        <a:pt x="204986" y="458538"/>
                      </a:lnTo>
                      <a:lnTo>
                        <a:pt x="176686" y="471215"/>
                      </a:lnTo>
                      <a:lnTo>
                        <a:pt x="178126" y="479923"/>
                      </a:lnTo>
                      <a:lnTo>
                        <a:pt x="157798" y="479923"/>
                      </a:lnTo>
                      <a:lnTo>
                        <a:pt x="156005" y="498075"/>
                      </a:lnTo>
                      <a:lnTo>
                        <a:pt x="148001" y="498075"/>
                      </a:lnTo>
                      <a:lnTo>
                        <a:pt x="132795" y="495514"/>
                      </a:lnTo>
                      <a:lnTo>
                        <a:pt x="130233" y="503133"/>
                      </a:lnTo>
                      <a:lnTo>
                        <a:pt x="121525" y="505695"/>
                      </a:lnTo>
                      <a:lnTo>
                        <a:pt x="109552" y="553203"/>
                      </a:lnTo>
                      <a:lnTo>
                        <a:pt x="100844" y="555733"/>
                      </a:lnTo>
                      <a:lnTo>
                        <a:pt x="94698" y="553203"/>
                      </a:lnTo>
                      <a:lnTo>
                        <a:pt x="88903" y="553940"/>
                      </a:lnTo>
                      <a:lnTo>
                        <a:pt x="80900" y="557205"/>
                      </a:lnTo>
                      <a:lnTo>
                        <a:pt x="68926" y="577886"/>
                      </a:lnTo>
                      <a:lnTo>
                        <a:pt x="55160" y="584769"/>
                      </a:lnTo>
                      <a:lnTo>
                        <a:pt x="42451" y="581504"/>
                      </a:lnTo>
                      <a:lnTo>
                        <a:pt x="29389" y="596006"/>
                      </a:lnTo>
                      <a:lnTo>
                        <a:pt x="22506" y="617424"/>
                      </a:lnTo>
                      <a:lnTo>
                        <a:pt x="25035" y="623570"/>
                      </a:lnTo>
                      <a:lnTo>
                        <a:pt x="17416" y="637368"/>
                      </a:lnTo>
                      <a:lnTo>
                        <a:pt x="21770" y="653696"/>
                      </a:lnTo>
                      <a:lnTo>
                        <a:pt x="15623" y="659842"/>
                      </a:lnTo>
                      <a:lnTo>
                        <a:pt x="11269" y="676170"/>
                      </a:lnTo>
                      <a:lnTo>
                        <a:pt x="14887" y="686350"/>
                      </a:lnTo>
                      <a:lnTo>
                        <a:pt x="0" y="695026"/>
                      </a:lnTo>
                      <a:lnTo>
                        <a:pt x="4354" y="710649"/>
                      </a:lnTo>
                      <a:lnTo>
                        <a:pt x="20681" y="721534"/>
                      </a:lnTo>
                      <a:lnTo>
                        <a:pt x="22506" y="715707"/>
                      </a:lnTo>
                      <a:lnTo>
                        <a:pt x="31214" y="716443"/>
                      </a:lnTo>
                      <a:lnTo>
                        <a:pt x="41362" y="718268"/>
                      </a:lnTo>
                      <a:lnTo>
                        <a:pt x="47541" y="712089"/>
                      </a:lnTo>
                      <a:lnTo>
                        <a:pt x="56249" y="721534"/>
                      </a:lnTo>
                      <a:lnTo>
                        <a:pt x="74017" y="730946"/>
                      </a:lnTo>
                      <a:lnTo>
                        <a:pt x="85254" y="728417"/>
                      </a:lnTo>
                      <a:lnTo>
                        <a:pt x="90344" y="738949"/>
                      </a:lnTo>
                      <a:lnTo>
                        <a:pt x="87078" y="750923"/>
                      </a:lnTo>
                      <a:lnTo>
                        <a:pt x="100140" y="758510"/>
                      </a:lnTo>
                      <a:lnTo>
                        <a:pt x="105198" y="757069"/>
                      </a:lnTo>
                      <a:lnTo>
                        <a:pt x="107023" y="745832"/>
                      </a:lnTo>
                      <a:lnTo>
                        <a:pt x="117908" y="743303"/>
                      </a:lnTo>
                      <a:lnTo>
                        <a:pt x="124791" y="748361"/>
                      </a:lnTo>
                      <a:lnTo>
                        <a:pt x="154180" y="730946"/>
                      </a:lnTo>
                      <a:lnTo>
                        <a:pt x="161799" y="734595"/>
                      </a:lnTo>
                      <a:lnTo>
                        <a:pt x="181040" y="715707"/>
                      </a:lnTo>
                      <a:lnTo>
                        <a:pt x="181744" y="715707"/>
                      </a:lnTo>
                      <a:lnTo>
                        <a:pt x="196278" y="717532"/>
                      </a:lnTo>
                      <a:lnTo>
                        <a:pt x="190452" y="725151"/>
                      </a:lnTo>
                      <a:lnTo>
                        <a:pt x="182480" y="725151"/>
                      </a:lnTo>
                      <a:lnTo>
                        <a:pt x="179951" y="734595"/>
                      </a:lnTo>
                      <a:lnTo>
                        <a:pt x="191925" y="736388"/>
                      </a:lnTo>
                      <a:lnTo>
                        <a:pt x="204986" y="754540"/>
                      </a:lnTo>
                      <a:lnTo>
                        <a:pt x="223106" y="741478"/>
                      </a:lnTo>
                      <a:lnTo>
                        <a:pt x="229989" y="746569"/>
                      </a:lnTo>
                      <a:lnTo>
                        <a:pt x="238697" y="772308"/>
                      </a:lnTo>
                      <a:lnTo>
                        <a:pt x="262644" y="770867"/>
                      </a:lnTo>
                      <a:lnTo>
                        <a:pt x="257553" y="752715"/>
                      </a:lnTo>
                      <a:lnTo>
                        <a:pt x="261907" y="747657"/>
                      </a:lnTo>
                      <a:lnTo>
                        <a:pt x="264469" y="712089"/>
                      </a:lnTo>
                      <a:lnTo>
                        <a:pt x="277146" y="707736"/>
                      </a:lnTo>
                      <a:lnTo>
                        <a:pt x="278971" y="692497"/>
                      </a:lnTo>
                      <a:lnTo>
                        <a:pt x="278971" y="679435"/>
                      </a:lnTo>
                      <a:lnTo>
                        <a:pt x="286590" y="670023"/>
                      </a:lnTo>
                      <a:lnTo>
                        <a:pt x="293473" y="666758"/>
                      </a:lnTo>
                      <a:lnTo>
                        <a:pt x="306535" y="672552"/>
                      </a:lnTo>
                      <a:lnTo>
                        <a:pt x="323599" y="670727"/>
                      </a:lnTo>
                      <a:lnTo>
                        <a:pt x="327952" y="646813"/>
                      </a:lnTo>
                      <a:lnTo>
                        <a:pt x="337365" y="642459"/>
                      </a:lnTo>
                      <a:lnTo>
                        <a:pt x="346072" y="627220"/>
                      </a:lnTo>
                      <a:lnTo>
                        <a:pt x="357341" y="627220"/>
                      </a:lnTo>
                      <a:lnTo>
                        <a:pt x="349722" y="617424"/>
                      </a:lnTo>
                      <a:lnTo>
                        <a:pt x="352251" y="602185"/>
                      </a:lnTo>
                      <a:lnTo>
                        <a:pt x="347161" y="596006"/>
                      </a:lnTo>
                      <a:lnTo>
                        <a:pt x="339189" y="570971"/>
                      </a:lnTo>
                      <a:lnTo>
                        <a:pt x="336660" y="555733"/>
                      </a:lnTo>
                      <a:lnTo>
                        <a:pt x="348634" y="542671"/>
                      </a:lnTo>
                      <a:lnTo>
                        <a:pt x="340278" y="535084"/>
                      </a:lnTo>
                      <a:lnTo>
                        <a:pt x="342807" y="529993"/>
                      </a:lnTo>
                      <a:lnTo>
                        <a:pt x="334835" y="523815"/>
                      </a:lnTo>
                      <a:lnTo>
                        <a:pt x="345368" y="523110"/>
                      </a:lnTo>
                      <a:lnTo>
                        <a:pt x="347161" y="516195"/>
                      </a:lnTo>
                      <a:lnTo>
                        <a:pt x="357341" y="510049"/>
                      </a:lnTo>
                      <a:lnTo>
                        <a:pt x="357341" y="504958"/>
                      </a:lnTo>
                      <a:lnTo>
                        <a:pt x="369283" y="499516"/>
                      </a:lnTo>
                      <a:lnTo>
                        <a:pt x="387435" y="498780"/>
                      </a:lnTo>
                      <a:lnTo>
                        <a:pt x="396142" y="491897"/>
                      </a:lnTo>
                      <a:lnTo>
                        <a:pt x="408116" y="489367"/>
                      </a:lnTo>
                      <a:lnTo>
                        <a:pt x="417560" y="466157"/>
                      </a:lnTo>
                      <a:lnTo>
                        <a:pt x="430590" y="462892"/>
                      </a:lnTo>
                      <a:lnTo>
                        <a:pt x="452007" y="445476"/>
                      </a:lnTo>
                      <a:lnTo>
                        <a:pt x="463980" y="449094"/>
                      </a:lnTo>
                      <a:lnTo>
                        <a:pt x="457097" y="454184"/>
                      </a:lnTo>
                      <a:lnTo>
                        <a:pt x="459626" y="457449"/>
                      </a:lnTo>
                      <a:lnTo>
                        <a:pt x="474513" y="457449"/>
                      </a:lnTo>
                      <a:lnTo>
                        <a:pt x="480307" y="449094"/>
                      </a:lnTo>
                      <a:lnTo>
                        <a:pt x="478867" y="431678"/>
                      </a:lnTo>
                      <a:lnTo>
                        <a:pt x="483925" y="412085"/>
                      </a:lnTo>
                      <a:lnTo>
                        <a:pt x="492281" y="408468"/>
                      </a:lnTo>
                      <a:lnTo>
                        <a:pt x="484661" y="399024"/>
                      </a:lnTo>
                      <a:lnTo>
                        <a:pt x="445828" y="381992"/>
                      </a:lnTo>
                      <a:lnTo>
                        <a:pt x="445124" y="378343"/>
                      </a:lnTo>
                      <a:lnTo>
                        <a:pt x="462156" y="368930"/>
                      </a:lnTo>
                      <a:lnTo>
                        <a:pt x="470159" y="358782"/>
                      </a:lnTo>
                      <a:lnTo>
                        <a:pt x="465805" y="341366"/>
                      </a:lnTo>
                      <a:lnTo>
                        <a:pt x="460715" y="337012"/>
                      </a:lnTo>
                      <a:lnTo>
                        <a:pt x="434944" y="336276"/>
                      </a:lnTo>
                      <a:lnTo>
                        <a:pt x="425179" y="339541"/>
                      </a:lnTo>
                      <a:lnTo>
                        <a:pt x="416824" y="337012"/>
                      </a:lnTo>
                      <a:lnTo>
                        <a:pt x="415735" y="323214"/>
                      </a:lnTo>
                      <a:lnTo>
                        <a:pt x="420089" y="320685"/>
                      </a:lnTo>
                      <a:lnTo>
                        <a:pt x="414294" y="318860"/>
                      </a:lnTo>
                      <a:lnTo>
                        <a:pt x="415735" y="310505"/>
                      </a:lnTo>
                      <a:lnTo>
                        <a:pt x="405587" y="300004"/>
                      </a:lnTo>
                      <a:lnTo>
                        <a:pt x="428060" y="279323"/>
                      </a:lnTo>
                      <a:lnTo>
                        <a:pt x="424443" y="268086"/>
                      </a:lnTo>
                      <a:lnTo>
                        <a:pt x="438945" y="264084"/>
                      </a:lnTo>
                      <a:lnTo>
                        <a:pt x="443299" y="247757"/>
                      </a:lnTo>
                      <a:lnTo>
                        <a:pt x="441474" y="233991"/>
                      </a:lnTo>
                      <a:lnTo>
                        <a:pt x="451271" y="229637"/>
                      </a:lnTo>
                      <a:lnTo>
                        <a:pt x="456361" y="207131"/>
                      </a:lnTo>
                      <a:lnTo>
                        <a:pt x="489752" y="198423"/>
                      </a:lnTo>
                      <a:lnTo>
                        <a:pt x="492281" y="178831"/>
                      </a:lnTo>
                      <a:lnTo>
                        <a:pt x="482837" y="175213"/>
                      </a:lnTo>
                      <a:lnTo>
                        <a:pt x="478867" y="153091"/>
                      </a:lnTo>
                      <a:lnTo>
                        <a:pt x="451271" y="147649"/>
                      </a:lnTo>
                      <a:lnTo>
                        <a:pt x="441474" y="132410"/>
                      </a:lnTo>
                      <a:lnTo>
                        <a:pt x="433151" y="143647"/>
                      </a:lnTo>
                      <a:lnTo>
                        <a:pt x="416824" y="148738"/>
                      </a:lnTo>
                      <a:lnTo>
                        <a:pt x="408852" y="145120"/>
                      </a:lnTo>
                      <a:lnTo>
                        <a:pt x="409940" y="141854"/>
                      </a:lnTo>
                      <a:lnTo>
                        <a:pt x="421914" y="117524"/>
                      </a:lnTo>
                      <a:lnTo>
                        <a:pt x="435680" y="110641"/>
                      </a:lnTo>
                      <a:lnTo>
                        <a:pt x="430590" y="94314"/>
                      </a:lnTo>
                      <a:lnTo>
                        <a:pt x="441474" y="83429"/>
                      </a:lnTo>
                      <a:lnTo>
                        <a:pt x="435680" y="67838"/>
                      </a:lnTo>
                      <a:lnTo>
                        <a:pt x="422618" y="51511"/>
                      </a:lnTo>
                      <a:lnTo>
                        <a:pt x="397583" y="37745"/>
                      </a:lnTo>
                      <a:lnTo>
                        <a:pt x="400496" y="24651"/>
                      </a:lnTo>
                      <a:lnTo>
                        <a:pt x="410645" y="27212"/>
                      </a:lnTo>
                      <a:lnTo>
                        <a:pt x="418264" y="22122"/>
                      </a:lnTo>
                      <a:lnTo>
                        <a:pt x="416824" y="14502"/>
                      </a:lnTo>
                      <a:lnTo>
                        <a:pt x="372932" y="17768"/>
                      </a:lnTo>
                      <a:lnTo>
                        <a:pt x="33918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09" name="Forma Livre: Forma 208">
                  <a:extLst>
                    <a:ext uri="{FF2B5EF4-FFF2-40B4-BE49-F238E27FC236}">
                      <a16:creationId xmlns:a16="http://schemas.microsoft.com/office/drawing/2014/main" id="{203AB477-2C29-69A6-DBD9-95A423BF94C2}"/>
                    </a:ext>
                  </a:extLst>
                </p:cNvPr>
                <p:cNvSpPr/>
                <p:nvPr/>
              </p:nvSpPr>
              <p:spPr>
                <a:xfrm>
                  <a:off x="2696975" y="2741434"/>
                  <a:ext cx="495162" cy="630453"/>
                </a:xfrm>
                <a:custGeom>
                  <a:avLst/>
                  <a:gdLst>
                    <a:gd name="csX0" fmla="*/ 186098 w 495162"/>
                    <a:gd name="csY0" fmla="*/ 9412 h 630453"/>
                    <a:gd name="csX1" fmla="*/ 166121 w 495162"/>
                    <a:gd name="csY1" fmla="*/ 10148 h 630453"/>
                    <a:gd name="csX2" fmla="*/ 160327 w 495162"/>
                    <a:gd name="csY2" fmla="*/ 0 h 630453"/>
                    <a:gd name="csX3" fmla="*/ 133499 w 495162"/>
                    <a:gd name="csY3" fmla="*/ 17768 h 630453"/>
                    <a:gd name="csX4" fmla="*/ 140382 w 495162"/>
                    <a:gd name="csY4" fmla="*/ 40242 h 630453"/>
                    <a:gd name="csX5" fmla="*/ 131674 w 495162"/>
                    <a:gd name="csY5" fmla="*/ 54776 h 630453"/>
                    <a:gd name="csX6" fmla="*/ 135292 w 495162"/>
                    <a:gd name="csY6" fmla="*/ 76546 h 630453"/>
                    <a:gd name="csX7" fmla="*/ 145472 w 495162"/>
                    <a:gd name="csY7" fmla="*/ 89223 h 630453"/>
                    <a:gd name="csX8" fmla="*/ 146561 w 495162"/>
                    <a:gd name="csY8" fmla="*/ 107375 h 630453"/>
                    <a:gd name="csX9" fmla="*/ 140382 w 495162"/>
                    <a:gd name="csY9" fmla="*/ 118612 h 630453"/>
                    <a:gd name="csX10" fmla="*/ 142911 w 495162"/>
                    <a:gd name="csY10" fmla="*/ 128761 h 630453"/>
                    <a:gd name="csX11" fmla="*/ 161063 w 495162"/>
                    <a:gd name="csY11" fmla="*/ 130585 h 630453"/>
                    <a:gd name="csX12" fmla="*/ 163592 w 495162"/>
                    <a:gd name="csY12" fmla="*/ 139293 h 630453"/>
                    <a:gd name="csX13" fmla="*/ 158502 w 495162"/>
                    <a:gd name="csY13" fmla="*/ 142559 h 630453"/>
                    <a:gd name="csX14" fmla="*/ 159238 w 495162"/>
                    <a:gd name="csY14" fmla="*/ 149442 h 630453"/>
                    <a:gd name="csX15" fmla="*/ 171564 w 495162"/>
                    <a:gd name="csY15" fmla="*/ 150530 h 630453"/>
                    <a:gd name="csX16" fmla="*/ 165417 w 495162"/>
                    <a:gd name="csY16" fmla="*/ 167594 h 630453"/>
                    <a:gd name="csX17" fmla="*/ 153444 w 495162"/>
                    <a:gd name="csY17" fmla="*/ 162504 h 630453"/>
                    <a:gd name="csX18" fmla="*/ 147265 w 495162"/>
                    <a:gd name="csY18" fmla="*/ 172652 h 630453"/>
                    <a:gd name="csX19" fmla="*/ 139645 w 495162"/>
                    <a:gd name="csY19" fmla="*/ 177006 h 630453"/>
                    <a:gd name="csX20" fmla="*/ 140382 w 495162"/>
                    <a:gd name="csY20" fmla="*/ 181360 h 630453"/>
                    <a:gd name="csX21" fmla="*/ 140382 w 495162"/>
                    <a:gd name="csY21" fmla="*/ 183185 h 630453"/>
                    <a:gd name="csX22" fmla="*/ 125879 w 495162"/>
                    <a:gd name="csY22" fmla="*/ 204570 h 630453"/>
                    <a:gd name="csX23" fmla="*/ 131674 w 495162"/>
                    <a:gd name="csY23" fmla="*/ 221986 h 630453"/>
                    <a:gd name="csX24" fmla="*/ 149826 w 495162"/>
                    <a:gd name="csY24" fmla="*/ 230341 h 630453"/>
                    <a:gd name="csX25" fmla="*/ 159238 w 495162"/>
                    <a:gd name="csY25" fmla="*/ 245932 h 630453"/>
                    <a:gd name="csX26" fmla="*/ 154148 w 495162"/>
                    <a:gd name="csY26" fmla="*/ 320653 h 630453"/>
                    <a:gd name="csX27" fmla="*/ 161063 w 495162"/>
                    <a:gd name="csY27" fmla="*/ 325007 h 630453"/>
                    <a:gd name="csX28" fmla="*/ 158502 w 495162"/>
                    <a:gd name="csY28" fmla="*/ 331186 h 630453"/>
                    <a:gd name="csX29" fmla="*/ 161767 w 495162"/>
                    <a:gd name="csY29" fmla="*/ 334451 h 630453"/>
                    <a:gd name="csX30" fmla="*/ 167946 w 495162"/>
                    <a:gd name="csY30" fmla="*/ 350042 h 630453"/>
                    <a:gd name="csX31" fmla="*/ 157798 w 495162"/>
                    <a:gd name="csY31" fmla="*/ 350778 h 630453"/>
                    <a:gd name="csX32" fmla="*/ 145472 w 495162"/>
                    <a:gd name="csY32" fmla="*/ 343895 h 630453"/>
                    <a:gd name="csX33" fmla="*/ 133499 w 495162"/>
                    <a:gd name="csY33" fmla="*/ 353308 h 630453"/>
                    <a:gd name="csX34" fmla="*/ 130233 w 495162"/>
                    <a:gd name="csY34" fmla="*/ 387050 h 630453"/>
                    <a:gd name="csX35" fmla="*/ 121525 w 495162"/>
                    <a:gd name="csY35" fmla="*/ 393933 h 630453"/>
                    <a:gd name="csX36" fmla="*/ 114611 w 495162"/>
                    <a:gd name="csY36" fmla="*/ 408468 h 630453"/>
                    <a:gd name="csX37" fmla="*/ 112818 w 495162"/>
                    <a:gd name="csY37" fmla="*/ 410997 h 630453"/>
                    <a:gd name="csX38" fmla="*/ 112818 w 495162"/>
                    <a:gd name="csY38" fmla="*/ 457417 h 630453"/>
                    <a:gd name="csX39" fmla="*/ 115347 w 495162"/>
                    <a:gd name="csY39" fmla="*/ 460331 h 630453"/>
                    <a:gd name="csX40" fmla="*/ 130938 w 495162"/>
                    <a:gd name="csY40" fmla="*/ 480628 h 630453"/>
                    <a:gd name="csX41" fmla="*/ 128409 w 495162"/>
                    <a:gd name="csY41" fmla="*/ 487543 h 630453"/>
                    <a:gd name="csX42" fmla="*/ 137116 w 495162"/>
                    <a:gd name="csY42" fmla="*/ 492985 h 630453"/>
                    <a:gd name="csX43" fmla="*/ 143999 w 495162"/>
                    <a:gd name="csY43" fmla="*/ 510017 h 630453"/>
                    <a:gd name="csX44" fmla="*/ 143999 w 495162"/>
                    <a:gd name="csY44" fmla="*/ 517636 h 630453"/>
                    <a:gd name="csX45" fmla="*/ 129145 w 495162"/>
                    <a:gd name="csY45" fmla="*/ 523078 h 630453"/>
                    <a:gd name="csX46" fmla="*/ 125879 w 495162"/>
                    <a:gd name="csY46" fmla="*/ 528873 h 630453"/>
                    <a:gd name="csX47" fmla="*/ 115347 w 495162"/>
                    <a:gd name="csY47" fmla="*/ 539405 h 630453"/>
                    <a:gd name="csX48" fmla="*/ 110993 w 495162"/>
                    <a:gd name="csY48" fmla="*/ 531434 h 630453"/>
                    <a:gd name="csX49" fmla="*/ 104110 w 495162"/>
                    <a:gd name="csY49" fmla="*/ 531434 h 630453"/>
                    <a:gd name="csX50" fmla="*/ 98315 w 495162"/>
                    <a:gd name="csY50" fmla="*/ 542671 h 630453"/>
                    <a:gd name="csX51" fmla="*/ 82692 w 495162"/>
                    <a:gd name="csY51" fmla="*/ 544496 h 630453"/>
                    <a:gd name="csX52" fmla="*/ 81988 w 495162"/>
                    <a:gd name="csY52" fmla="*/ 551379 h 630453"/>
                    <a:gd name="csX53" fmla="*/ 7971 w 495162"/>
                    <a:gd name="csY53" fmla="*/ 546288 h 630453"/>
                    <a:gd name="csX54" fmla="*/ 0 w 495162"/>
                    <a:gd name="csY54" fmla="*/ 546288 h 630453"/>
                    <a:gd name="csX55" fmla="*/ 47509 w 495162"/>
                    <a:gd name="csY55" fmla="*/ 570235 h 630453"/>
                    <a:gd name="csX56" fmla="*/ 92137 w 495162"/>
                    <a:gd name="csY56" fmla="*/ 592741 h 630453"/>
                    <a:gd name="csX57" fmla="*/ 168682 w 495162"/>
                    <a:gd name="csY57" fmla="*/ 630454 h 630453"/>
                    <a:gd name="csX58" fmla="*/ 169771 w 495162"/>
                    <a:gd name="csY58" fmla="*/ 624659 h 630453"/>
                    <a:gd name="csX59" fmla="*/ 174829 w 495162"/>
                    <a:gd name="csY59" fmla="*/ 630454 h 630453"/>
                    <a:gd name="csX60" fmla="*/ 187891 w 495162"/>
                    <a:gd name="csY60" fmla="*/ 623570 h 630453"/>
                    <a:gd name="csX61" fmla="*/ 191893 w 495162"/>
                    <a:gd name="csY61" fmla="*/ 620305 h 630453"/>
                    <a:gd name="csX62" fmla="*/ 218720 w 495162"/>
                    <a:gd name="csY62" fmla="*/ 624659 h 630453"/>
                    <a:gd name="csX63" fmla="*/ 224899 w 495162"/>
                    <a:gd name="csY63" fmla="*/ 597095 h 630453"/>
                    <a:gd name="csX64" fmla="*/ 216928 w 495162"/>
                    <a:gd name="csY64" fmla="*/ 579679 h 630453"/>
                    <a:gd name="csX65" fmla="*/ 223811 w 495162"/>
                    <a:gd name="csY65" fmla="*/ 575325 h 630453"/>
                    <a:gd name="csX66" fmla="*/ 255024 w 495162"/>
                    <a:gd name="csY66" fmla="*/ 572796 h 630453"/>
                    <a:gd name="csX67" fmla="*/ 265877 w 495162"/>
                    <a:gd name="csY67" fmla="*/ 560087 h 630453"/>
                    <a:gd name="csX68" fmla="*/ 281500 w 495162"/>
                    <a:gd name="csY68" fmla="*/ 553204 h 630453"/>
                    <a:gd name="csX69" fmla="*/ 292737 w 495162"/>
                    <a:gd name="csY69" fmla="*/ 557557 h 630453"/>
                    <a:gd name="csX70" fmla="*/ 311593 w 495162"/>
                    <a:gd name="csY70" fmla="*/ 575325 h 630453"/>
                    <a:gd name="csX71" fmla="*/ 329745 w 495162"/>
                    <a:gd name="csY71" fmla="*/ 575325 h 630453"/>
                    <a:gd name="csX72" fmla="*/ 347865 w 495162"/>
                    <a:gd name="csY72" fmla="*/ 563352 h 630453"/>
                    <a:gd name="csX73" fmla="*/ 355485 w 495162"/>
                    <a:gd name="csY73" fmla="*/ 540142 h 630453"/>
                    <a:gd name="csX74" fmla="*/ 340982 w 495162"/>
                    <a:gd name="csY74" fmla="*/ 543759 h 630453"/>
                    <a:gd name="csX75" fmla="*/ 334803 w 495162"/>
                    <a:gd name="csY75" fmla="*/ 540142 h 630453"/>
                    <a:gd name="csX76" fmla="*/ 329745 w 495162"/>
                    <a:gd name="csY76" fmla="*/ 536876 h 630453"/>
                    <a:gd name="csX77" fmla="*/ 331538 w 495162"/>
                    <a:gd name="csY77" fmla="*/ 520549 h 630453"/>
                    <a:gd name="csX78" fmla="*/ 339157 w 495162"/>
                    <a:gd name="csY78" fmla="*/ 525607 h 630453"/>
                    <a:gd name="csX79" fmla="*/ 343511 w 495162"/>
                    <a:gd name="csY79" fmla="*/ 521990 h 630453"/>
                    <a:gd name="csX80" fmla="*/ 332274 w 495162"/>
                    <a:gd name="csY80" fmla="*/ 499868 h 630453"/>
                    <a:gd name="csX81" fmla="*/ 335892 w 495162"/>
                    <a:gd name="csY81" fmla="*/ 490424 h 630453"/>
                    <a:gd name="csX82" fmla="*/ 353692 w 495162"/>
                    <a:gd name="csY82" fmla="*/ 487543 h 630453"/>
                    <a:gd name="csX83" fmla="*/ 359838 w 495162"/>
                    <a:gd name="csY83" fmla="*/ 464332 h 630453"/>
                    <a:gd name="csX84" fmla="*/ 366753 w 495162"/>
                    <a:gd name="csY84" fmla="*/ 458506 h 630453"/>
                    <a:gd name="csX85" fmla="*/ 379815 w 495162"/>
                    <a:gd name="csY85" fmla="*/ 454888 h 630453"/>
                    <a:gd name="csX86" fmla="*/ 388139 w 495162"/>
                    <a:gd name="csY86" fmla="*/ 459242 h 630453"/>
                    <a:gd name="csX87" fmla="*/ 405555 w 495162"/>
                    <a:gd name="csY87" fmla="*/ 439650 h 630453"/>
                    <a:gd name="csX88" fmla="*/ 407379 w 495162"/>
                    <a:gd name="csY88" fmla="*/ 417880 h 630453"/>
                    <a:gd name="csX89" fmla="*/ 412438 w 495162"/>
                    <a:gd name="csY89" fmla="*/ 412085 h 630453"/>
                    <a:gd name="csX90" fmla="*/ 406291 w 495162"/>
                    <a:gd name="csY90" fmla="*/ 395758 h 630453"/>
                    <a:gd name="csX91" fmla="*/ 421146 w 495162"/>
                    <a:gd name="csY91" fmla="*/ 384521 h 630453"/>
                    <a:gd name="csX92" fmla="*/ 400464 w 495162"/>
                    <a:gd name="csY92" fmla="*/ 371459 h 630453"/>
                    <a:gd name="csX93" fmla="*/ 405555 w 495162"/>
                    <a:gd name="csY93" fmla="*/ 368194 h 630453"/>
                    <a:gd name="csX94" fmla="*/ 423707 w 495162"/>
                    <a:gd name="csY94" fmla="*/ 368930 h 630453"/>
                    <a:gd name="csX95" fmla="*/ 418264 w 495162"/>
                    <a:gd name="csY95" fmla="*/ 358750 h 630453"/>
                    <a:gd name="csX96" fmla="*/ 421882 w 495162"/>
                    <a:gd name="csY96" fmla="*/ 350042 h 630453"/>
                    <a:gd name="csX97" fmla="*/ 452711 w 495162"/>
                    <a:gd name="csY97" fmla="*/ 347513 h 630453"/>
                    <a:gd name="csX98" fmla="*/ 449446 w 495162"/>
                    <a:gd name="csY98" fmla="*/ 343159 h 630453"/>
                    <a:gd name="csX99" fmla="*/ 428765 w 495162"/>
                    <a:gd name="csY99" fmla="*/ 339542 h 630453"/>
                    <a:gd name="csX100" fmla="*/ 420057 w 495162"/>
                    <a:gd name="csY100" fmla="*/ 343895 h 630453"/>
                    <a:gd name="csX101" fmla="*/ 410645 w 495162"/>
                    <a:gd name="csY101" fmla="*/ 340630 h 630453"/>
                    <a:gd name="csX102" fmla="*/ 411349 w 495162"/>
                    <a:gd name="csY102" fmla="*/ 336276 h 630453"/>
                    <a:gd name="csX103" fmla="*/ 400464 w 495162"/>
                    <a:gd name="csY103" fmla="*/ 334451 h 630453"/>
                    <a:gd name="csX104" fmla="*/ 392493 w 495162"/>
                    <a:gd name="csY104" fmla="*/ 311241 h 630453"/>
                    <a:gd name="csX105" fmla="*/ 401937 w 495162"/>
                    <a:gd name="csY105" fmla="*/ 266613 h 630453"/>
                    <a:gd name="csX106" fmla="*/ 401937 w 495162"/>
                    <a:gd name="csY106" fmla="*/ 243403 h 630453"/>
                    <a:gd name="csX107" fmla="*/ 401937 w 495162"/>
                    <a:gd name="csY107" fmla="*/ 234695 h 630453"/>
                    <a:gd name="csX108" fmla="*/ 395022 w 495162"/>
                    <a:gd name="csY108" fmla="*/ 232871 h 630453"/>
                    <a:gd name="csX109" fmla="*/ 389964 w 495162"/>
                    <a:gd name="csY109" fmla="*/ 217632 h 630453"/>
                    <a:gd name="csX110" fmla="*/ 380520 w 495162"/>
                    <a:gd name="csY110" fmla="*/ 215839 h 630453"/>
                    <a:gd name="csX111" fmla="*/ 368546 w 495162"/>
                    <a:gd name="csY111" fmla="*/ 225251 h 630453"/>
                    <a:gd name="csX112" fmla="*/ 370371 w 495162"/>
                    <a:gd name="csY112" fmla="*/ 233959 h 630453"/>
                    <a:gd name="csX113" fmla="*/ 345336 w 495162"/>
                    <a:gd name="csY113" fmla="*/ 223458 h 630453"/>
                    <a:gd name="csX114" fmla="*/ 345336 w 495162"/>
                    <a:gd name="csY114" fmla="*/ 239049 h 630453"/>
                    <a:gd name="csX115" fmla="*/ 350426 w 495162"/>
                    <a:gd name="csY115" fmla="*/ 243403 h 630453"/>
                    <a:gd name="csX116" fmla="*/ 344248 w 495162"/>
                    <a:gd name="csY116" fmla="*/ 249198 h 630453"/>
                    <a:gd name="csX117" fmla="*/ 332274 w 495162"/>
                    <a:gd name="csY117" fmla="*/ 250286 h 630453"/>
                    <a:gd name="csX118" fmla="*/ 324655 w 495162"/>
                    <a:gd name="csY118" fmla="*/ 258994 h 630453"/>
                    <a:gd name="csX119" fmla="*/ 312682 w 495162"/>
                    <a:gd name="csY119" fmla="*/ 258994 h 630453"/>
                    <a:gd name="csX120" fmla="*/ 302181 w 495162"/>
                    <a:gd name="csY120" fmla="*/ 239049 h 630453"/>
                    <a:gd name="csX121" fmla="*/ 306535 w 495162"/>
                    <a:gd name="csY121" fmla="*/ 227812 h 630453"/>
                    <a:gd name="csX122" fmla="*/ 295266 w 495162"/>
                    <a:gd name="csY122" fmla="*/ 220897 h 630453"/>
                    <a:gd name="csX123" fmla="*/ 293473 w 495162"/>
                    <a:gd name="csY123" fmla="*/ 214014 h 630453"/>
                    <a:gd name="csX124" fmla="*/ 297827 w 495162"/>
                    <a:gd name="csY124" fmla="*/ 209660 h 630453"/>
                    <a:gd name="csX125" fmla="*/ 303270 w 495162"/>
                    <a:gd name="csY125" fmla="*/ 214014 h 630453"/>
                    <a:gd name="csX126" fmla="*/ 315243 w 495162"/>
                    <a:gd name="csY126" fmla="*/ 227076 h 630453"/>
                    <a:gd name="csX127" fmla="*/ 325391 w 495162"/>
                    <a:gd name="csY127" fmla="*/ 228901 h 630453"/>
                    <a:gd name="csX128" fmla="*/ 338453 w 495162"/>
                    <a:gd name="csY128" fmla="*/ 224547 h 630453"/>
                    <a:gd name="csX129" fmla="*/ 344248 w 495162"/>
                    <a:gd name="csY129" fmla="*/ 207131 h 630453"/>
                    <a:gd name="csX130" fmla="*/ 352219 w 495162"/>
                    <a:gd name="csY130" fmla="*/ 201305 h 630453"/>
                    <a:gd name="csX131" fmla="*/ 364929 w 495162"/>
                    <a:gd name="csY131" fmla="*/ 200216 h 630453"/>
                    <a:gd name="csX132" fmla="*/ 380520 w 495162"/>
                    <a:gd name="csY132" fmla="*/ 190804 h 630453"/>
                    <a:gd name="csX133" fmla="*/ 393581 w 495162"/>
                    <a:gd name="csY133" fmla="*/ 190804 h 630453"/>
                    <a:gd name="csX134" fmla="*/ 406291 w 495162"/>
                    <a:gd name="csY134" fmla="*/ 182096 h 630453"/>
                    <a:gd name="csX135" fmla="*/ 412438 w 495162"/>
                    <a:gd name="csY135" fmla="*/ 186450 h 630453"/>
                    <a:gd name="csX136" fmla="*/ 424411 w 495162"/>
                    <a:gd name="csY136" fmla="*/ 182096 h 630453"/>
                    <a:gd name="csX137" fmla="*/ 426236 w 495162"/>
                    <a:gd name="csY137" fmla="*/ 175213 h 630453"/>
                    <a:gd name="csX138" fmla="*/ 444356 w 495162"/>
                    <a:gd name="csY138" fmla="*/ 161767 h 630453"/>
                    <a:gd name="csX139" fmla="*/ 457065 w 495162"/>
                    <a:gd name="csY139" fmla="*/ 141822 h 630453"/>
                    <a:gd name="csX140" fmla="*/ 471952 w 495162"/>
                    <a:gd name="csY140" fmla="*/ 138205 h 630453"/>
                    <a:gd name="csX141" fmla="*/ 467598 w 495162"/>
                    <a:gd name="csY141" fmla="*/ 132410 h 630453"/>
                    <a:gd name="csX142" fmla="*/ 484629 w 495162"/>
                    <a:gd name="csY142" fmla="*/ 123702 h 630453"/>
                    <a:gd name="csX143" fmla="*/ 492249 w 495162"/>
                    <a:gd name="csY143" fmla="*/ 121878 h 630453"/>
                    <a:gd name="csX144" fmla="*/ 495162 w 495162"/>
                    <a:gd name="csY144" fmla="*/ 116083 h 630453"/>
                    <a:gd name="csX145" fmla="*/ 495162 w 495162"/>
                    <a:gd name="csY145" fmla="*/ 114258 h 630453"/>
                    <a:gd name="csX146" fmla="*/ 474481 w 495162"/>
                    <a:gd name="csY146" fmla="*/ 114995 h 630453"/>
                    <a:gd name="csX147" fmla="*/ 467598 w 495162"/>
                    <a:gd name="csY147" fmla="*/ 110993 h 630453"/>
                    <a:gd name="csX148" fmla="*/ 459594 w 495162"/>
                    <a:gd name="csY148" fmla="*/ 114995 h 630453"/>
                    <a:gd name="csX149" fmla="*/ 441474 w 495162"/>
                    <a:gd name="csY149" fmla="*/ 104110 h 630453"/>
                    <a:gd name="csX150" fmla="*/ 433119 w 495162"/>
                    <a:gd name="csY150" fmla="*/ 108080 h 630453"/>
                    <a:gd name="csX151" fmla="*/ 417528 w 495162"/>
                    <a:gd name="csY151" fmla="*/ 88519 h 630453"/>
                    <a:gd name="csX152" fmla="*/ 412438 w 495162"/>
                    <a:gd name="csY152" fmla="*/ 74721 h 630453"/>
                    <a:gd name="csX153" fmla="*/ 403730 w 495162"/>
                    <a:gd name="csY153" fmla="*/ 69631 h 630453"/>
                    <a:gd name="csX154" fmla="*/ 400464 w 495162"/>
                    <a:gd name="csY154" fmla="*/ 56569 h 630453"/>
                    <a:gd name="csX155" fmla="*/ 391052 w 495162"/>
                    <a:gd name="csY155" fmla="*/ 52215 h 630453"/>
                    <a:gd name="csX156" fmla="*/ 363488 w 495162"/>
                    <a:gd name="csY156" fmla="*/ 57657 h 630453"/>
                    <a:gd name="csX157" fmla="*/ 355485 w 495162"/>
                    <a:gd name="csY157" fmla="*/ 90312 h 630453"/>
                    <a:gd name="csX158" fmla="*/ 343511 w 495162"/>
                    <a:gd name="csY158" fmla="*/ 82340 h 630453"/>
                    <a:gd name="csX159" fmla="*/ 339157 w 495162"/>
                    <a:gd name="csY159" fmla="*/ 79811 h 630453"/>
                    <a:gd name="csX160" fmla="*/ 312682 w 495162"/>
                    <a:gd name="csY160" fmla="*/ 72896 h 630453"/>
                    <a:gd name="csX161" fmla="*/ 309800 w 495162"/>
                    <a:gd name="csY161" fmla="*/ 75457 h 630453"/>
                    <a:gd name="csX162" fmla="*/ 315243 w 495162"/>
                    <a:gd name="csY162" fmla="*/ 88519 h 630453"/>
                    <a:gd name="csX163" fmla="*/ 292737 w 495162"/>
                    <a:gd name="csY163" fmla="*/ 91048 h 630453"/>
                    <a:gd name="csX164" fmla="*/ 281500 w 495162"/>
                    <a:gd name="csY164" fmla="*/ 95402 h 630453"/>
                    <a:gd name="csX165" fmla="*/ 258290 w 495162"/>
                    <a:gd name="csY165" fmla="*/ 99756 h 630453"/>
                    <a:gd name="csX166" fmla="*/ 242667 w 495162"/>
                    <a:gd name="csY166" fmla="*/ 96106 h 630453"/>
                    <a:gd name="csX167" fmla="*/ 241963 w 495162"/>
                    <a:gd name="csY167" fmla="*/ 90312 h 630453"/>
                    <a:gd name="csX168" fmla="*/ 235784 w 495162"/>
                    <a:gd name="csY168" fmla="*/ 91048 h 630453"/>
                    <a:gd name="csX169" fmla="*/ 236872 w 495162"/>
                    <a:gd name="csY169" fmla="*/ 76546 h 630453"/>
                    <a:gd name="csX170" fmla="*/ 226340 w 495162"/>
                    <a:gd name="csY170" fmla="*/ 45332 h 630453"/>
                    <a:gd name="csX171" fmla="*/ 234343 w 495162"/>
                    <a:gd name="csY171" fmla="*/ 40242 h 630453"/>
                    <a:gd name="csX172" fmla="*/ 234343 w 495162"/>
                    <a:gd name="csY172" fmla="*/ 32622 h 630453"/>
                    <a:gd name="csX173" fmla="*/ 228165 w 495162"/>
                    <a:gd name="csY173" fmla="*/ 29005 h 630453"/>
                    <a:gd name="csX174" fmla="*/ 233255 w 495162"/>
                    <a:gd name="csY174" fmla="*/ 11973 h 630453"/>
                    <a:gd name="csX175" fmla="*/ 224899 w 495162"/>
                    <a:gd name="csY175" fmla="*/ 11973 h 630453"/>
                    <a:gd name="csX176" fmla="*/ 216191 w 495162"/>
                    <a:gd name="csY176" fmla="*/ 9412 h 630453"/>
                    <a:gd name="csX177" fmla="*/ 202425 w 495162"/>
                    <a:gd name="csY177" fmla="*/ 4354 h 630453"/>
                    <a:gd name="csX178" fmla="*/ 196246 w 495162"/>
                    <a:gd name="csY178" fmla="*/ 9412 h 630453"/>
                    <a:gd name="csX179" fmla="*/ 186098 w 495162"/>
                    <a:gd name="csY179" fmla="*/ 9412 h 6304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</a:cxnLst>
                  <a:rect l="l" t="t" r="r" b="b"/>
                  <a:pathLst>
                    <a:path w="495162" h="630453">
                      <a:moveTo>
                        <a:pt x="186098" y="9412"/>
                      </a:moveTo>
                      <a:lnTo>
                        <a:pt x="166121" y="10148"/>
                      </a:lnTo>
                      <a:lnTo>
                        <a:pt x="160327" y="0"/>
                      </a:lnTo>
                      <a:lnTo>
                        <a:pt x="133499" y="17768"/>
                      </a:lnTo>
                      <a:lnTo>
                        <a:pt x="140382" y="40242"/>
                      </a:lnTo>
                      <a:lnTo>
                        <a:pt x="131674" y="54776"/>
                      </a:lnTo>
                      <a:lnTo>
                        <a:pt x="135292" y="76546"/>
                      </a:lnTo>
                      <a:lnTo>
                        <a:pt x="145472" y="89223"/>
                      </a:lnTo>
                      <a:lnTo>
                        <a:pt x="146561" y="107375"/>
                      </a:lnTo>
                      <a:lnTo>
                        <a:pt x="140382" y="118612"/>
                      </a:lnTo>
                      <a:lnTo>
                        <a:pt x="142911" y="128761"/>
                      </a:lnTo>
                      <a:lnTo>
                        <a:pt x="161063" y="130585"/>
                      </a:lnTo>
                      <a:lnTo>
                        <a:pt x="163592" y="139293"/>
                      </a:lnTo>
                      <a:lnTo>
                        <a:pt x="158502" y="142559"/>
                      </a:lnTo>
                      <a:lnTo>
                        <a:pt x="159238" y="149442"/>
                      </a:lnTo>
                      <a:lnTo>
                        <a:pt x="171564" y="150530"/>
                      </a:lnTo>
                      <a:lnTo>
                        <a:pt x="165417" y="167594"/>
                      </a:lnTo>
                      <a:lnTo>
                        <a:pt x="153444" y="162504"/>
                      </a:lnTo>
                      <a:lnTo>
                        <a:pt x="147265" y="172652"/>
                      </a:lnTo>
                      <a:lnTo>
                        <a:pt x="139645" y="177006"/>
                      </a:lnTo>
                      <a:lnTo>
                        <a:pt x="140382" y="181360"/>
                      </a:lnTo>
                      <a:lnTo>
                        <a:pt x="140382" y="183185"/>
                      </a:lnTo>
                      <a:lnTo>
                        <a:pt x="125879" y="204570"/>
                      </a:lnTo>
                      <a:lnTo>
                        <a:pt x="131674" y="221986"/>
                      </a:lnTo>
                      <a:lnTo>
                        <a:pt x="149826" y="230341"/>
                      </a:lnTo>
                      <a:lnTo>
                        <a:pt x="159238" y="245932"/>
                      </a:lnTo>
                      <a:lnTo>
                        <a:pt x="154148" y="320653"/>
                      </a:lnTo>
                      <a:lnTo>
                        <a:pt x="161063" y="325007"/>
                      </a:lnTo>
                      <a:lnTo>
                        <a:pt x="158502" y="331186"/>
                      </a:lnTo>
                      <a:lnTo>
                        <a:pt x="161767" y="334451"/>
                      </a:lnTo>
                      <a:lnTo>
                        <a:pt x="167946" y="350042"/>
                      </a:lnTo>
                      <a:lnTo>
                        <a:pt x="157798" y="350778"/>
                      </a:lnTo>
                      <a:lnTo>
                        <a:pt x="145472" y="343895"/>
                      </a:lnTo>
                      <a:lnTo>
                        <a:pt x="133499" y="353308"/>
                      </a:lnTo>
                      <a:lnTo>
                        <a:pt x="130233" y="387050"/>
                      </a:lnTo>
                      <a:lnTo>
                        <a:pt x="121525" y="393933"/>
                      </a:lnTo>
                      <a:lnTo>
                        <a:pt x="114611" y="408468"/>
                      </a:lnTo>
                      <a:lnTo>
                        <a:pt x="112818" y="410997"/>
                      </a:lnTo>
                      <a:lnTo>
                        <a:pt x="112818" y="457417"/>
                      </a:lnTo>
                      <a:lnTo>
                        <a:pt x="115347" y="460331"/>
                      </a:lnTo>
                      <a:lnTo>
                        <a:pt x="130938" y="480628"/>
                      </a:lnTo>
                      <a:lnTo>
                        <a:pt x="128409" y="487543"/>
                      </a:lnTo>
                      <a:lnTo>
                        <a:pt x="137116" y="492985"/>
                      </a:lnTo>
                      <a:lnTo>
                        <a:pt x="143999" y="510017"/>
                      </a:lnTo>
                      <a:lnTo>
                        <a:pt x="143999" y="517636"/>
                      </a:lnTo>
                      <a:lnTo>
                        <a:pt x="129145" y="523078"/>
                      </a:lnTo>
                      <a:lnTo>
                        <a:pt x="125879" y="528873"/>
                      </a:lnTo>
                      <a:lnTo>
                        <a:pt x="115347" y="539405"/>
                      </a:lnTo>
                      <a:lnTo>
                        <a:pt x="110993" y="531434"/>
                      </a:lnTo>
                      <a:lnTo>
                        <a:pt x="104110" y="531434"/>
                      </a:lnTo>
                      <a:lnTo>
                        <a:pt x="98315" y="542671"/>
                      </a:lnTo>
                      <a:lnTo>
                        <a:pt x="82692" y="544496"/>
                      </a:lnTo>
                      <a:lnTo>
                        <a:pt x="81988" y="551379"/>
                      </a:lnTo>
                      <a:lnTo>
                        <a:pt x="7971" y="546288"/>
                      </a:lnTo>
                      <a:lnTo>
                        <a:pt x="0" y="546288"/>
                      </a:lnTo>
                      <a:lnTo>
                        <a:pt x="47509" y="570235"/>
                      </a:lnTo>
                      <a:lnTo>
                        <a:pt x="92137" y="592741"/>
                      </a:lnTo>
                      <a:lnTo>
                        <a:pt x="168682" y="630454"/>
                      </a:lnTo>
                      <a:lnTo>
                        <a:pt x="169771" y="624659"/>
                      </a:lnTo>
                      <a:lnTo>
                        <a:pt x="174829" y="630454"/>
                      </a:lnTo>
                      <a:lnTo>
                        <a:pt x="187891" y="623570"/>
                      </a:lnTo>
                      <a:lnTo>
                        <a:pt x="191893" y="620305"/>
                      </a:lnTo>
                      <a:lnTo>
                        <a:pt x="218720" y="624659"/>
                      </a:lnTo>
                      <a:lnTo>
                        <a:pt x="224899" y="597095"/>
                      </a:lnTo>
                      <a:lnTo>
                        <a:pt x="216928" y="579679"/>
                      </a:lnTo>
                      <a:lnTo>
                        <a:pt x="223811" y="575325"/>
                      </a:lnTo>
                      <a:lnTo>
                        <a:pt x="255024" y="572796"/>
                      </a:lnTo>
                      <a:lnTo>
                        <a:pt x="265877" y="560087"/>
                      </a:lnTo>
                      <a:lnTo>
                        <a:pt x="281500" y="553204"/>
                      </a:lnTo>
                      <a:lnTo>
                        <a:pt x="292737" y="557557"/>
                      </a:lnTo>
                      <a:lnTo>
                        <a:pt x="311593" y="575325"/>
                      </a:lnTo>
                      <a:lnTo>
                        <a:pt x="329745" y="575325"/>
                      </a:lnTo>
                      <a:lnTo>
                        <a:pt x="347865" y="563352"/>
                      </a:lnTo>
                      <a:lnTo>
                        <a:pt x="355485" y="540142"/>
                      </a:lnTo>
                      <a:lnTo>
                        <a:pt x="340982" y="543759"/>
                      </a:lnTo>
                      <a:lnTo>
                        <a:pt x="334803" y="540142"/>
                      </a:lnTo>
                      <a:lnTo>
                        <a:pt x="329745" y="536876"/>
                      </a:lnTo>
                      <a:lnTo>
                        <a:pt x="331538" y="520549"/>
                      </a:lnTo>
                      <a:lnTo>
                        <a:pt x="339157" y="525607"/>
                      </a:lnTo>
                      <a:lnTo>
                        <a:pt x="343511" y="521990"/>
                      </a:lnTo>
                      <a:lnTo>
                        <a:pt x="332274" y="499868"/>
                      </a:lnTo>
                      <a:lnTo>
                        <a:pt x="335892" y="490424"/>
                      </a:lnTo>
                      <a:lnTo>
                        <a:pt x="353692" y="487543"/>
                      </a:lnTo>
                      <a:lnTo>
                        <a:pt x="359838" y="464332"/>
                      </a:lnTo>
                      <a:lnTo>
                        <a:pt x="366753" y="458506"/>
                      </a:lnTo>
                      <a:lnTo>
                        <a:pt x="379815" y="454888"/>
                      </a:lnTo>
                      <a:lnTo>
                        <a:pt x="388139" y="459242"/>
                      </a:lnTo>
                      <a:lnTo>
                        <a:pt x="405555" y="439650"/>
                      </a:lnTo>
                      <a:lnTo>
                        <a:pt x="407379" y="417880"/>
                      </a:lnTo>
                      <a:lnTo>
                        <a:pt x="412438" y="412085"/>
                      </a:lnTo>
                      <a:lnTo>
                        <a:pt x="406291" y="395758"/>
                      </a:lnTo>
                      <a:lnTo>
                        <a:pt x="421146" y="384521"/>
                      </a:lnTo>
                      <a:lnTo>
                        <a:pt x="400464" y="371459"/>
                      </a:lnTo>
                      <a:lnTo>
                        <a:pt x="405555" y="368194"/>
                      </a:lnTo>
                      <a:lnTo>
                        <a:pt x="423707" y="368930"/>
                      </a:lnTo>
                      <a:lnTo>
                        <a:pt x="418264" y="358750"/>
                      </a:lnTo>
                      <a:lnTo>
                        <a:pt x="421882" y="350042"/>
                      </a:lnTo>
                      <a:lnTo>
                        <a:pt x="452711" y="347513"/>
                      </a:lnTo>
                      <a:lnTo>
                        <a:pt x="449446" y="343159"/>
                      </a:lnTo>
                      <a:lnTo>
                        <a:pt x="428765" y="339542"/>
                      </a:lnTo>
                      <a:lnTo>
                        <a:pt x="420057" y="343895"/>
                      </a:lnTo>
                      <a:lnTo>
                        <a:pt x="410645" y="340630"/>
                      </a:lnTo>
                      <a:lnTo>
                        <a:pt x="411349" y="336276"/>
                      </a:lnTo>
                      <a:lnTo>
                        <a:pt x="400464" y="334451"/>
                      </a:lnTo>
                      <a:lnTo>
                        <a:pt x="392493" y="311241"/>
                      </a:lnTo>
                      <a:lnTo>
                        <a:pt x="401937" y="266613"/>
                      </a:lnTo>
                      <a:lnTo>
                        <a:pt x="401937" y="243403"/>
                      </a:lnTo>
                      <a:lnTo>
                        <a:pt x="401937" y="234695"/>
                      </a:lnTo>
                      <a:lnTo>
                        <a:pt x="395022" y="232871"/>
                      </a:lnTo>
                      <a:lnTo>
                        <a:pt x="389964" y="217632"/>
                      </a:lnTo>
                      <a:lnTo>
                        <a:pt x="380520" y="215839"/>
                      </a:lnTo>
                      <a:lnTo>
                        <a:pt x="368546" y="225251"/>
                      </a:lnTo>
                      <a:lnTo>
                        <a:pt x="370371" y="233959"/>
                      </a:lnTo>
                      <a:lnTo>
                        <a:pt x="345336" y="223458"/>
                      </a:lnTo>
                      <a:lnTo>
                        <a:pt x="345336" y="239049"/>
                      </a:lnTo>
                      <a:lnTo>
                        <a:pt x="350426" y="243403"/>
                      </a:lnTo>
                      <a:lnTo>
                        <a:pt x="344248" y="249198"/>
                      </a:lnTo>
                      <a:lnTo>
                        <a:pt x="332274" y="250286"/>
                      </a:lnTo>
                      <a:lnTo>
                        <a:pt x="324655" y="258994"/>
                      </a:lnTo>
                      <a:lnTo>
                        <a:pt x="312682" y="258994"/>
                      </a:lnTo>
                      <a:lnTo>
                        <a:pt x="302181" y="239049"/>
                      </a:lnTo>
                      <a:lnTo>
                        <a:pt x="306535" y="227812"/>
                      </a:lnTo>
                      <a:lnTo>
                        <a:pt x="295266" y="220897"/>
                      </a:lnTo>
                      <a:lnTo>
                        <a:pt x="293473" y="214014"/>
                      </a:lnTo>
                      <a:lnTo>
                        <a:pt x="297827" y="209660"/>
                      </a:lnTo>
                      <a:lnTo>
                        <a:pt x="303270" y="214014"/>
                      </a:lnTo>
                      <a:lnTo>
                        <a:pt x="315243" y="227076"/>
                      </a:lnTo>
                      <a:lnTo>
                        <a:pt x="325391" y="228901"/>
                      </a:lnTo>
                      <a:lnTo>
                        <a:pt x="338453" y="224547"/>
                      </a:lnTo>
                      <a:lnTo>
                        <a:pt x="344248" y="207131"/>
                      </a:lnTo>
                      <a:lnTo>
                        <a:pt x="352219" y="201305"/>
                      </a:lnTo>
                      <a:lnTo>
                        <a:pt x="364929" y="200216"/>
                      </a:lnTo>
                      <a:lnTo>
                        <a:pt x="380520" y="190804"/>
                      </a:lnTo>
                      <a:lnTo>
                        <a:pt x="393581" y="190804"/>
                      </a:lnTo>
                      <a:lnTo>
                        <a:pt x="406291" y="182096"/>
                      </a:lnTo>
                      <a:lnTo>
                        <a:pt x="412438" y="186450"/>
                      </a:lnTo>
                      <a:lnTo>
                        <a:pt x="424411" y="182096"/>
                      </a:lnTo>
                      <a:lnTo>
                        <a:pt x="426236" y="175213"/>
                      </a:lnTo>
                      <a:lnTo>
                        <a:pt x="444356" y="161767"/>
                      </a:lnTo>
                      <a:lnTo>
                        <a:pt x="457065" y="141822"/>
                      </a:lnTo>
                      <a:lnTo>
                        <a:pt x="471952" y="138205"/>
                      </a:lnTo>
                      <a:lnTo>
                        <a:pt x="467598" y="132410"/>
                      </a:lnTo>
                      <a:lnTo>
                        <a:pt x="484629" y="123702"/>
                      </a:lnTo>
                      <a:lnTo>
                        <a:pt x="492249" y="121878"/>
                      </a:lnTo>
                      <a:lnTo>
                        <a:pt x="495162" y="116083"/>
                      </a:lnTo>
                      <a:lnTo>
                        <a:pt x="495162" y="114258"/>
                      </a:lnTo>
                      <a:lnTo>
                        <a:pt x="474481" y="114995"/>
                      </a:lnTo>
                      <a:lnTo>
                        <a:pt x="467598" y="110993"/>
                      </a:lnTo>
                      <a:lnTo>
                        <a:pt x="459594" y="114995"/>
                      </a:lnTo>
                      <a:lnTo>
                        <a:pt x="441474" y="104110"/>
                      </a:lnTo>
                      <a:lnTo>
                        <a:pt x="433119" y="108080"/>
                      </a:lnTo>
                      <a:lnTo>
                        <a:pt x="417528" y="88519"/>
                      </a:lnTo>
                      <a:lnTo>
                        <a:pt x="412438" y="74721"/>
                      </a:lnTo>
                      <a:lnTo>
                        <a:pt x="403730" y="69631"/>
                      </a:lnTo>
                      <a:lnTo>
                        <a:pt x="400464" y="56569"/>
                      </a:lnTo>
                      <a:lnTo>
                        <a:pt x="391052" y="52215"/>
                      </a:lnTo>
                      <a:lnTo>
                        <a:pt x="363488" y="57657"/>
                      </a:lnTo>
                      <a:lnTo>
                        <a:pt x="355485" y="90312"/>
                      </a:lnTo>
                      <a:lnTo>
                        <a:pt x="343511" y="82340"/>
                      </a:lnTo>
                      <a:lnTo>
                        <a:pt x="339157" y="79811"/>
                      </a:lnTo>
                      <a:lnTo>
                        <a:pt x="312682" y="72896"/>
                      </a:lnTo>
                      <a:lnTo>
                        <a:pt x="309800" y="75457"/>
                      </a:lnTo>
                      <a:lnTo>
                        <a:pt x="315243" y="88519"/>
                      </a:lnTo>
                      <a:lnTo>
                        <a:pt x="292737" y="91048"/>
                      </a:lnTo>
                      <a:lnTo>
                        <a:pt x="281500" y="95402"/>
                      </a:lnTo>
                      <a:lnTo>
                        <a:pt x="258290" y="99756"/>
                      </a:lnTo>
                      <a:lnTo>
                        <a:pt x="242667" y="96106"/>
                      </a:lnTo>
                      <a:lnTo>
                        <a:pt x="241963" y="90312"/>
                      </a:lnTo>
                      <a:lnTo>
                        <a:pt x="235784" y="91048"/>
                      </a:lnTo>
                      <a:lnTo>
                        <a:pt x="236872" y="76546"/>
                      </a:lnTo>
                      <a:lnTo>
                        <a:pt x="226340" y="45332"/>
                      </a:lnTo>
                      <a:lnTo>
                        <a:pt x="234343" y="40242"/>
                      </a:lnTo>
                      <a:lnTo>
                        <a:pt x="234343" y="32622"/>
                      </a:lnTo>
                      <a:lnTo>
                        <a:pt x="228165" y="29005"/>
                      </a:lnTo>
                      <a:lnTo>
                        <a:pt x="233255" y="11973"/>
                      </a:lnTo>
                      <a:lnTo>
                        <a:pt x="224899" y="11973"/>
                      </a:lnTo>
                      <a:lnTo>
                        <a:pt x="216191" y="9412"/>
                      </a:lnTo>
                      <a:lnTo>
                        <a:pt x="202425" y="4354"/>
                      </a:lnTo>
                      <a:lnTo>
                        <a:pt x="196246" y="9412"/>
                      </a:lnTo>
                      <a:lnTo>
                        <a:pt x="186098" y="941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C127A470-5E58-D867-EA87-D6A5FE4707BC}"/>
                    </a:ext>
                  </a:extLst>
                </p:cNvPr>
                <p:cNvSpPr/>
                <p:nvPr/>
              </p:nvSpPr>
              <p:spPr>
                <a:xfrm>
                  <a:off x="2696975" y="2741434"/>
                  <a:ext cx="495162" cy="630453"/>
                </a:xfrm>
                <a:custGeom>
                  <a:avLst/>
                  <a:gdLst>
                    <a:gd name="csX0" fmla="*/ 186098 w 495162"/>
                    <a:gd name="csY0" fmla="*/ 9412 h 630453"/>
                    <a:gd name="csX1" fmla="*/ 166121 w 495162"/>
                    <a:gd name="csY1" fmla="*/ 10148 h 630453"/>
                    <a:gd name="csX2" fmla="*/ 160327 w 495162"/>
                    <a:gd name="csY2" fmla="*/ 0 h 630453"/>
                    <a:gd name="csX3" fmla="*/ 133499 w 495162"/>
                    <a:gd name="csY3" fmla="*/ 17768 h 630453"/>
                    <a:gd name="csX4" fmla="*/ 140382 w 495162"/>
                    <a:gd name="csY4" fmla="*/ 40242 h 630453"/>
                    <a:gd name="csX5" fmla="*/ 131674 w 495162"/>
                    <a:gd name="csY5" fmla="*/ 54776 h 630453"/>
                    <a:gd name="csX6" fmla="*/ 135292 w 495162"/>
                    <a:gd name="csY6" fmla="*/ 76546 h 630453"/>
                    <a:gd name="csX7" fmla="*/ 145472 w 495162"/>
                    <a:gd name="csY7" fmla="*/ 89223 h 630453"/>
                    <a:gd name="csX8" fmla="*/ 146561 w 495162"/>
                    <a:gd name="csY8" fmla="*/ 107375 h 630453"/>
                    <a:gd name="csX9" fmla="*/ 140382 w 495162"/>
                    <a:gd name="csY9" fmla="*/ 118612 h 630453"/>
                    <a:gd name="csX10" fmla="*/ 142911 w 495162"/>
                    <a:gd name="csY10" fmla="*/ 128761 h 630453"/>
                    <a:gd name="csX11" fmla="*/ 161063 w 495162"/>
                    <a:gd name="csY11" fmla="*/ 130585 h 630453"/>
                    <a:gd name="csX12" fmla="*/ 163592 w 495162"/>
                    <a:gd name="csY12" fmla="*/ 139293 h 630453"/>
                    <a:gd name="csX13" fmla="*/ 158502 w 495162"/>
                    <a:gd name="csY13" fmla="*/ 142559 h 630453"/>
                    <a:gd name="csX14" fmla="*/ 159238 w 495162"/>
                    <a:gd name="csY14" fmla="*/ 149442 h 630453"/>
                    <a:gd name="csX15" fmla="*/ 171564 w 495162"/>
                    <a:gd name="csY15" fmla="*/ 150530 h 630453"/>
                    <a:gd name="csX16" fmla="*/ 165417 w 495162"/>
                    <a:gd name="csY16" fmla="*/ 167594 h 630453"/>
                    <a:gd name="csX17" fmla="*/ 153444 w 495162"/>
                    <a:gd name="csY17" fmla="*/ 162504 h 630453"/>
                    <a:gd name="csX18" fmla="*/ 147265 w 495162"/>
                    <a:gd name="csY18" fmla="*/ 172652 h 630453"/>
                    <a:gd name="csX19" fmla="*/ 139645 w 495162"/>
                    <a:gd name="csY19" fmla="*/ 177006 h 630453"/>
                    <a:gd name="csX20" fmla="*/ 140382 w 495162"/>
                    <a:gd name="csY20" fmla="*/ 181360 h 630453"/>
                    <a:gd name="csX21" fmla="*/ 140382 w 495162"/>
                    <a:gd name="csY21" fmla="*/ 183185 h 630453"/>
                    <a:gd name="csX22" fmla="*/ 125879 w 495162"/>
                    <a:gd name="csY22" fmla="*/ 204570 h 630453"/>
                    <a:gd name="csX23" fmla="*/ 131674 w 495162"/>
                    <a:gd name="csY23" fmla="*/ 221986 h 630453"/>
                    <a:gd name="csX24" fmla="*/ 149826 w 495162"/>
                    <a:gd name="csY24" fmla="*/ 230341 h 630453"/>
                    <a:gd name="csX25" fmla="*/ 159238 w 495162"/>
                    <a:gd name="csY25" fmla="*/ 245932 h 630453"/>
                    <a:gd name="csX26" fmla="*/ 154148 w 495162"/>
                    <a:gd name="csY26" fmla="*/ 320653 h 630453"/>
                    <a:gd name="csX27" fmla="*/ 161063 w 495162"/>
                    <a:gd name="csY27" fmla="*/ 325007 h 630453"/>
                    <a:gd name="csX28" fmla="*/ 158502 w 495162"/>
                    <a:gd name="csY28" fmla="*/ 331186 h 630453"/>
                    <a:gd name="csX29" fmla="*/ 161767 w 495162"/>
                    <a:gd name="csY29" fmla="*/ 334451 h 630453"/>
                    <a:gd name="csX30" fmla="*/ 167946 w 495162"/>
                    <a:gd name="csY30" fmla="*/ 350042 h 630453"/>
                    <a:gd name="csX31" fmla="*/ 157798 w 495162"/>
                    <a:gd name="csY31" fmla="*/ 350778 h 630453"/>
                    <a:gd name="csX32" fmla="*/ 145472 w 495162"/>
                    <a:gd name="csY32" fmla="*/ 343895 h 630453"/>
                    <a:gd name="csX33" fmla="*/ 133499 w 495162"/>
                    <a:gd name="csY33" fmla="*/ 353308 h 630453"/>
                    <a:gd name="csX34" fmla="*/ 130233 w 495162"/>
                    <a:gd name="csY34" fmla="*/ 387050 h 630453"/>
                    <a:gd name="csX35" fmla="*/ 121525 w 495162"/>
                    <a:gd name="csY35" fmla="*/ 393933 h 630453"/>
                    <a:gd name="csX36" fmla="*/ 114611 w 495162"/>
                    <a:gd name="csY36" fmla="*/ 408468 h 630453"/>
                    <a:gd name="csX37" fmla="*/ 112818 w 495162"/>
                    <a:gd name="csY37" fmla="*/ 410997 h 630453"/>
                    <a:gd name="csX38" fmla="*/ 112818 w 495162"/>
                    <a:gd name="csY38" fmla="*/ 457417 h 630453"/>
                    <a:gd name="csX39" fmla="*/ 115347 w 495162"/>
                    <a:gd name="csY39" fmla="*/ 460331 h 630453"/>
                    <a:gd name="csX40" fmla="*/ 130938 w 495162"/>
                    <a:gd name="csY40" fmla="*/ 480628 h 630453"/>
                    <a:gd name="csX41" fmla="*/ 128409 w 495162"/>
                    <a:gd name="csY41" fmla="*/ 487543 h 630453"/>
                    <a:gd name="csX42" fmla="*/ 137116 w 495162"/>
                    <a:gd name="csY42" fmla="*/ 492985 h 630453"/>
                    <a:gd name="csX43" fmla="*/ 143999 w 495162"/>
                    <a:gd name="csY43" fmla="*/ 510017 h 630453"/>
                    <a:gd name="csX44" fmla="*/ 143999 w 495162"/>
                    <a:gd name="csY44" fmla="*/ 517636 h 630453"/>
                    <a:gd name="csX45" fmla="*/ 129145 w 495162"/>
                    <a:gd name="csY45" fmla="*/ 523078 h 630453"/>
                    <a:gd name="csX46" fmla="*/ 125879 w 495162"/>
                    <a:gd name="csY46" fmla="*/ 528873 h 630453"/>
                    <a:gd name="csX47" fmla="*/ 115347 w 495162"/>
                    <a:gd name="csY47" fmla="*/ 539405 h 630453"/>
                    <a:gd name="csX48" fmla="*/ 110993 w 495162"/>
                    <a:gd name="csY48" fmla="*/ 531434 h 630453"/>
                    <a:gd name="csX49" fmla="*/ 104110 w 495162"/>
                    <a:gd name="csY49" fmla="*/ 531434 h 630453"/>
                    <a:gd name="csX50" fmla="*/ 98315 w 495162"/>
                    <a:gd name="csY50" fmla="*/ 542671 h 630453"/>
                    <a:gd name="csX51" fmla="*/ 82692 w 495162"/>
                    <a:gd name="csY51" fmla="*/ 544496 h 630453"/>
                    <a:gd name="csX52" fmla="*/ 81988 w 495162"/>
                    <a:gd name="csY52" fmla="*/ 551379 h 630453"/>
                    <a:gd name="csX53" fmla="*/ 7971 w 495162"/>
                    <a:gd name="csY53" fmla="*/ 546288 h 630453"/>
                    <a:gd name="csX54" fmla="*/ 0 w 495162"/>
                    <a:gd name="csY54" fmla="*/ 546288 h 630453"/>
                    <a:gd name="csX55" fmla="*/ 47509 w 495162"/>
                    <a:gd name="csY55" fmla="*/ 570235 h 630453"/>
                    <a:gd name="csX56" fmla="*/ 92137 w 495162"/>
                    <a:gd name="csY56" fmla="*/ 592741 h 630453"/>
                    <a:gd name="csX57" fmla="*/ 168682 w 495162"/>
                    <a:gd name="csY57" fmla="*/ 630454 h 630453"/>
                    <a:gd name="csX58" fmla="*/ 169771 w 495162"/>
                    <a:gd name="csY58" fmla="*/ 624659 h 630453"/>
                    <a:gd name="csX59" fmla="*/ 174829 w 495162"/>
                    <a:gd name="csY59" fmla="*/ 630454 h 630453"/>
                    <a:gd name="csX60" fmla="*/ 187891 w 495162"/>
                    <a:gd name="csY60" fmla="*/ 623570 h 630453"/>
                    <a:gd name="csX61" fmla="*/ 191893 w 495162"/>
                    <a:gd name="csY61" fmla="*/ 620305 h 630453"/>
                    <a:gd name="csX62" fmla="*/ 218720 w 495162"/>
                    <a:gd name="csY62" fmla="*/ 624659 h 630453"/>
                    <a:gd name="csX63" fmla="*/ 224899 w 495162"/>
                    <a:gd name="csY63" fmla="*/ 597095 h 630453"/>
                    <a:gd name="csX64" fmla="*/ 216928 w 495162"/>
                    <a:gd name="csY64" fmla="*/ 579679 h 630453"/>
                    <a:gd name="csX65" fmla="*/ 223811 w 495162"/>
                    <a:gd name="csY65" fmla="*/ 575325 h 630453"/>
                    <a:gd name="csX66" fmla="*/ 255024 w 495162"/>
                    <a:gd name="csY66" fmla="*/ 572796 h 630453"/>
                    <a:gd name="csX67" fmla="*/ 265877 w 495162"/>
                    <a:gd name="csY67" fmla="*/ 560087 h 630453"/>
                    <a:gd name="csX68" fmla="*/ 281500 w 495162"/>
                    <a:gd name="csY68" fmla="*/ 553204 h 630453"/>
                    <a:gd name="csX69" fmla="*/ 292737 w 495162"/>
                    <a:gd name="csY69" fmla="*/ 557557 h 630453"/>
                    <a:gd name="csX70" fmla="*/ 311593 w 495162"/>
                    <a:gd name="csY70" fmla="*/ 575325 h 630453"/>
                    <a:gd name="csX71" fmla="*/ 329745 w 495162"/>
                    <a:gd name="csY71" fmla="*/ 575325 h 630453"/>
                    <a:gd name="csX72" fmla="*/ 347865 w 495162"/>
                    <a:gd name="csY72" fmla="*/ 563352 h 630453"/>
                    <a:gd name="csX73" fmla="*/ 355485 w 495162"/>
                    <a:gd name="csY73" fmla="*/ 540142 h 630453"/>
                    <a:gd name="csX74" fmla="*/ 340982 w 495162"/>
                    <a:gd name="csY74" fmla="*/ 543759 h 630453"/>
                    <a:gd name="csX75" fmla="*/ 334803 w 495162"/>
                    <a:gd name="csY75" fmla="*/ 540142 h 630453"/>
                    <a:gd name="csX76" fmla="*/ 329745 w 495162"/>
                    <a:gd name="csY76" fmla="*/ 536876 h 630453"/>
                    <a:gd name="csX77" fmla="*/ 331538 w 495162"/>
                    <a:gd name="csY77" fmla="*/ 520549 h 630453"/>
                    <a:gd name="csX78" fmla="*/ 339157 w 495162"/>
                    <a:gd name="csY78" fmla="*/ 525607 h 630453"/>
                    <a:gd name="csX79" fmla="*/ 343511 w 495162"/>
                    <a:gd name="csY79" fmla="*/ 521990 h 630453"/>
                    <a:gd name="csX80" fmla="*/ 332274 w 495162"/>
                    <a:gd name="csY80" fmla="*/ 499868 h 630453"/>
                    <a:gd name="csX81" fmla="*/ 335892 w 495162"/>
                    <a:gd name="csY81" fmla="*/ 490424 h 630453"/>
                    <a:gd name="csX82" fmla="*/ 353692 w 495162"/>
                    <a:gd name="csY82" fmla="*/ 487543 h 630453"/>
                    <a:gd name="csX83" fmla="*/ 359838 w 495162"/>
                    <a:gd name="csY83" fmla="*/ 464332 h 630453"/>
                    <a:gd name="csX84" fmla="*/ 366753 w 495162"/>
                    <a:gd name="csY84" fmla="*/ 458506 h 630453"/>
                    <a:gd name="csX85" fmla="*/ 379815 w 495162"/>
                    <a:gd name="csY85" fmla="*/ 454888 h 630453"/>
                    <a:gd name="csX86" fmla="*/ 388139 w 495162"/>
                    <a:gd name="csY86" fmla="*/ 459242 h 630453"/>
                    <a:gd name="csX87" fmla="*/ 405555 w 495162"/>
                    <a:gd name="csY87" fmla="*/ 439650 h 630453"/>
                    <a:gd name="csX88" fmla="*/ 407379 w 495162"/>
                    <a:gd name="csY88" fmla="*/ 417880 h 630453"/>
                    <a:gd name="csX89" fmla="*/ 412438 w 495162"/>
                    <a:gd name="csY89" fmla="*/ 412085 h 630453"/>
                    <a:gd name="csX90" fmla="*/ 406291 w 495162"/>
                    <a:gd name="csY90" fmla="*/ 395758 h 630453"/>
                    <a:gd name="csX91" fmla="*/ 421146 w 495162"/>
                    <a:gd name="csY91" fmla="*/ 384521 h 630453"/>
                    <a:gd name="csX92" fmla="*/ 400464 w 495162"/>
                    <a:gd name="csY92" fmla="*/ 371459 h 630453"/>
                    <a:gd name="csX93" fmla="*/ 405555 w 495162"/>
                    <a:gd name="csY93" fmla="*/ 368194 h 630453"/>
                    <a:gd name="csX94" fmla="*/ 423707 w 495162"/>
                    <a:gd name="csY94" fmla="*/ 368930 h 630453"/>
                    <a:gd name="csX95" fmla="*/ 418264 w 495162"/>
                    <a:gd name="csY95" fmla="*/ 358750 h 630453"/>
                    <a:gd name="csX96" fmla="*/ 421882 w 495162"/>
                    <a:gd name="csY96" fmla="*/ 350042 h 630453"/>
                    <a:gd name="csX97" fmla="*/ 452711 w 495162"/>
                    <a:gd name="csY97" fmla="*/ 347513 h 630453"/>
                    <a:gd name="csX98" fmla="*/ 449446 w 495162"/>
                    <a:gd name="csY98" fmla="*/ 343159 h 630453"/>
                    <a:gd name="csX99" fmla="*/ 428765 w 495162"/>
                    <a:gd name="csY99" fmla="*/ 339542 h 630453"/>
                    <a:gd name="csX100" fmla="*/ 420057 w 495162"/>
                    <a:gd name="csY100" fmla="*/ 343895 h 630453"/>
                    <a:gd name="csX101" fmla="*/ 410645 w 495162"/>
                    <a:gd name="csY101" fmla="*/ 340630 h 630453"/>
                    <a:gd name="csX102" fmla="*/ 411349 w 495162"/>
                    <a:gd name="csY102" fmla="*/ 336276 h 630453"/>
                    <a:gd name="csX103" fmla="*/ 400464 w 495162"/>
                    <a:gd name="csY103" fmla="*/ 334451 h 630453"/>
                    <a:gd name="csX104" fmla="*/ 392493 w 495162"/>
                    <a:gd name="csY104" fmla="*/ 311241 h 630453"/>
                    <a:gd name="csX105" fmla="*/ 401937 w 495162"/>
                    <a:gd name="csY105" fmla="*/ 266613 h 630453"/>
                    <a:gd name="csX106" fmla="*/ 401937 w 495162"/>
                    <a:gd name="csY106" fmla="*/ 243403 h 630453"/>
                    <a:gd name="csX107" fmla="*/ 401937 w 495162"/>
                    <a:gd name="csY107" fmla="*/ 234695 h 630453"/>
                    <a:gd name="csX108" fmla="*/ 395022 w 495162"/>
                    <a:gd name="csY108" fmla="*/ 232871 h 630453"/>
                    <a:gd name="csX109" fmla="*/ 389964 w 495162"/>
                    <a:gd name="csY109" fmla="*/ 217632 h 630453"/>
                    <a:gd name="csX110" fmla="*/ 380520 w 495162"/>
                    <a:gd name="csY110" fmla="*/ 215839 h 630453"/>
                    <a:gd name="csX111" fmla="*/ 368546 w 495162"/>
                    <a:gd name="csY111" fmla="*/ 225251 h 630453"/>
                    <a:gd name="csX112" fmla="*/ 370371 w 495162"/>
                    <a:gd name="csY112" fmla="*/ 233959 h 630453"/>
                    <a:gd name="csX113" fmla="*/ 345336 w 495162"/>
                    <a:gd name="csY113" fmla="*/ 223458 h 630453"/>
                    <a:gd name="csX114" fmla="*/ 345336 w 495162"/>
                    <a:gd name="csY114" fmla="*/ 239049 h 630453"/>
                    <a:gd name="csX115" fmla="*/ 350426 w 495162"/>
                    <a:gd name="csY115" fmla="*/ 243403 h 630453"/>
                    <a:gd name="csX116" fmla="*/ 344248 w 495162"/>
                    <a:gd name="csY116" fmla="*/ 249198 h 630453"/>
                    <a:gd name="csX117" fmla="*/ 332274 w 495162"/>
                    <a:gd name="csY117" fmla="*/ 250286 h 630453"/>
                    <a:gd name="csX118" fmla="*/ 324655 w 495162"/>
                    <a:gd name="csY118" fmla="*/ 258994 h 630453"/>
                    <a:gd name="csX119" fmla="*/ 312682 w 495162"/>
                    <a:gd name="csY119" fmla="*/ 258994 h 630453"/>
                    <a:gd name="csX120" fmla="*/ 302181 w 495162"/>
                    <a:gd name="csY120" fmla="*/ 239049 h 630453"/>
                    <a:gd name="csX121" fmla="*/ 306535 w 495162"/>
                    <a:gd name="csY121" fmla="*/ 227812 h 630453"/>
                    <a:gd name="csX122" fmla="*/ 295266 w 495162"/>
                    <a:gd name="csY122" fmla="*/ 220897 h 630453"/>
                    <a:gd name="csX123" fmla="*/ 293473 w 495162"/>
                    <a:gd name="csY123" fmla="*/ 214014 h 630453"/>
                    <a:gd name="csX124" fmla="*/ 297827 w 495162"/>
                    <a:gd name="csY124" fmla="*/ 209660 h 630453"/>
                    <a:gd name="csX125" fmla="*/ 303270 w 495162"/>
                    <a:gd name="csY125" fmla="*/ 214014 h 630453"/>
                    <a:gd name="csX126" fmla="*/ 315243 w 495162"/>
                    <a:gd name="csY126" fmla="*/ 227076 h 630453"/>
                    <a:gd name="csX127" fmla="*/ 325391 w 495162"/>
                    <a:gd name="csY127" fmla="*/ 228901 h 630453"/>
                    <a:gd name="csX128" fmla="*/ 338453 w 495162"/>
                    <a:gd name="csY128" fmla="*/ 224547 h 630453"/>
                    <a:gd name="csX129" fmla="*/ 344248 w 495162"/>
                    <a:gd name="csY129" fmla="*/ 207131 h 630453"/>
                    <a:gd name="csX130" fmla="*/ 352219 w 495162"/>
                    <a:gd name="csY130" fmla="*/ 201305 h 630453"/>
                    <a:gd name="csX131" fmla="*/ 364929 w 495162"/>
                    <a:gd name="csY131" fmla="*/ 200216 h 630453"/>
                    <a:gd name="csX132" fmla="*/ 380520 w 495162"/>
                    <a:gd name="csY132" fmla="*/ 190804 h 630453"/>
                    <a:gd name="csX133" fmla="*/ 393581 w 495162"/>
                    <a:gd name="csY133" fmla="*/ 190804 h 630453"/>
                    <a:gd name="csX134" fmla="*/ 406291 w 495162"/>
                    <a:gd name="csY134" fmla="*/ 182096 h 630453"/>
                    <a:gd name="csX135" fmla="*/ 412438 w 495162"/>
                    <a:gd name="csY135" fmla="*/ 186450 h 630453"/>
                    <a:gd name="csX136" fmla="*/ 424411 w 495162"/>
                    <a:gd name="csY136" fmla="*/ 182096 h 630453"/>
                    <a:gd name="csX137" fmla="*/ 426236 w 495162"/>
                    <a:gd name="csY137" fmla="*/ 175213 h 630453"/>
                    <a:gd name="csX138" fmla="*/ 444356 w 495162"/>
                    <a:gd name="csY138" fmla="*/ 161767 h 630453"/>
                    <a:gd name="csX139" fmla="*/ 457065 w 495162"/>
                    <a:gd name="csY139" fmla="*/ 141822 h 630453"/>
                    <a:gd name="csX140" fmla="*/ 471952 w 495162"/>
                    <a:gd name="csY140" fmla="*/ 138205 h 630453"/>
                    <a:gd name="csX141" fmla="*/ 467598 w 495162"/>
                    <a:gd name="csY141" fmla="*/ 132410 h 630453"/>
                    <a:gd name="csX142" fmla="*/ 484629 w 495162"/>
                    <a:gd name="csY142" fmla="*/ 123702 h 630453"/>
                    <a:gd name="csX143" fmla="*/ 492249 w 495162"/>
                    <a:gd name="csY143" fmla="*/ 121878 h 630453"/>
                    <a:gd name="csX144" fmla="*/ 495162 w 495162"/>
                    <a:gd name="csY144" fmla="*/ 116083 h 630453"/>
                    <a:gd name="csX145" fmla="*/ 495162 w 495162"/>
                    <a:gd name="csY145" fmla="*/ 114258 h 630453"/>
                    <a:gd name="csX146" fmla="*/ 474481 w 495162"/>
                    <a:gd name="csY146" fmla="*/ 114995 h 630453"/>
                    <a:gd name="csX147" fmla="*/ 467598 w 495162"/>
                    <a:gd name="csY147" fmla="*/ 110993 h 630453"/>
                    <a:gd name="csX148" fmla="*/ 459594 w 495162"/>
                    <a:gd name="csY148" fmla="*/ 114995 h 630453"/>
                    <a:gd name="csX149" fmla="*/ 441474 w 495162"/>
                    <a:gd name="csY149" fmla="*/ 104110 h 630453"/>
                    <a:gd name="csX150" fmla="*/ 433119 w 495162"/>
                    <a:gd name="csY150" fmla="*/ 108080 h 630453"/>
                    <a:gd name="csX151" fmla="*/ 417528 w 495162"/>
                    <a:gd name="csY151" fmla="*/ 88519 h 630453"/>
                    <a:gd name="csX152" fmla="*/ 412438 w 495162"/>
                    <a:gd name="csY152" fmla="*/ 74721 h 630453"/>
                    <a:gd name="csX153" fmla="*/ 403730 w 495162"/>
                    <a:gd name="csY153" fmla="*/ 69631 h 630453"/>
                    <a:gd name="csX154" fmla="*/ 400464 w 495162"/>
                    <a:gd name="csY154" fmla="*/ 56569 h 630453"/>
                    <a:gd name="csX155" fmla="*/ 391052 w 495162"/>
                    <a:gd name="csY155" fmla="*/ 52215 h 630453"/>
                    <a:gd name="csX156" fmla="*/ 363488 w 495162"/>
                    <a:gd name="csY156" fmla="*/ 57657 h 630453"/>
                    <a:gd name="csX157" fmla="*/ 355485 w 495162"/>
                    <a:gd name="csY157" fmla="*/ 90312 h 630453"/>
                    <a:gd name="csX158" fmla="*/ 343511 w 495162"/>
                    <a:gd name="csY158" fmla="*/ 82340 h 630453"/>
                    <a:gd name="csX159" fmla="*/ 339157 w 495162"/>
                    <a:gd name="csY159" fmla="*/ 79811 h 630453"/>
                    <a:gd name="csX160" fmla="*/ 312682 w 495162"/>
                    <a:gd name="csY160" fmla="*/ 72896 h 630453"/>
                    <a:gd name="csX161" fmla="*/ 309800 w 495162"/>
                    <a:gd name="csY161" fmla="*/ 75457 h 630453"/>
                    <a:gd name="csX162" fmla="*/ 315243 w 495162"/>
                    <a:gd name="csY162" fmla="*/ 88519 h 630453"/>
                    <a:gd name="csX163" fmla="*/ 292737 w 495162"/>
                    <a:gd name="csY163" fmla="*/ 91048 h 630453"/>
                    <a:gd name="csX164" fmla="*/ 281500 w 495162"/>
                    <a:gd name="csY164" fmla="*/ 95402 h 630453"/>
                    <a:gd name="csX165" fmla="*/ 258290 w 495162"/>
                    <a:gd name="csY165" fmla="*/ 99756 h 630453"/>
                    <a:gd name="csX166" fmla="*/ 242667 w 495162"/>
                    <a:gd name="csY166" fmla="*/ 96106 h 630453"/>
                    <a:gd name="csX167" fmla="*/ 241963 w 495162"/>
                    <a:gd name="csY167" fmla="*/ 90312 h 630453"/>
                    <a:gd name="csX168" fmla="*/ 235784 w 495162"/>
                    <a:gd name="csY168" fmla="*/ 91048 h 630453"/>
                    <a:gd name="csX169" fmla="*/ 236872 w 495162"/>
                    <a:gd name="csY169" fmla="*/ 76546 h 630453"/>
                    <a:gd name="csX170" fmla="*/ 226340 w 495162"/>
                    <a:gd name="csY170" fmla="*/ 45332 h 630453"/>
                    <a:gd name="csX171" fmla="*/ 234343 w 495162"/>
                    <a:gd name="csY171" fmla="*/ 40242 h 630453"/>
                    <a:gd name="csX172" fmla="*/ 234343 w 495162"/>
                    <a:gd name="csY172" fmla="*/ 32622 h 630453"/>
                    <a:gd name="csX173" fmla="*/ 228165 w 495162"/>
                    <a:gd name="csY173" fmla="*/ 29005 h 630453"/>
                    <a:gd name="csX174" fmla="*/ 233255 w 495162"/>
                    <a:gd name="csY174" fmla="*/ 11973 h 630453"/>
                    <a:gd name="csX175" fmla="*/ 224899 w 495162"/>
                    <a:gd name="csY175" fmla="*/ 11973 h 630453"/>
                    <a:gd name="csX176" fmla="*/ 216191 w 495162"/>
                    <a:gd name="csY176" fmla="*/ 9412 h 630453"/>
                    <a:gd name="csX177" fmla="*/ 202425 w 495162"/>
                    <a:gd name="csY177" fmla="*/ 4354 h 630453"/>
                    <a:gd name="csX178" fmla="*/ 196246 w 495162"/>
                    <a:gd name="csY178" fmla="*/ 9412 h 630453"/>
                    <a:gd name="csX179" fmla="*/ 186098 w 495162"/>
                    <a:gd name="csY179" fmla="*/ 9412 h 6304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</a:cxnLst>
                  <a:rect l="l" t="t" r="r" b="b"/>
                  <a:pathLst>
                    <a:path w="495162" h="630453">
                      <a:moveTo>
                        <a:pt x="186098" y="9412"/>
                      </a:moveTo>
                      <a:lnTo>
                        <a:pt x="166121" y="10148"/>
                      </a:lnTo>
                      <a:lnTo>
                        <a:pt x="160327" y="0"/>
                      </a:lnTo>
                      <a:lnTo>
                        <a:pt x="133499" y="17768"/>
                      </a:lnTo>
                      <a:lnTo>
                        <a:pt x="140382" y="40242"/>
                      </a:lnTo>
                      <a:lnTo>
                        <a:pt x="131674" y="54776"/>
                      </a:lnTo>
                      <a:lnTo>
                        <a:pt x="135292" y="76546"/>
                      </a:lnTo>
                      <a:lnTo>
                        <a:pt x="145472" y="89223"/>
                      </a:lnTo>
                      <a:lnTo>
                        <a:pt x="146561" y="107375"/>
                      </a:lnTo>
                      <a:lnTo>
                        <a:pt x="140382" y="118612"/>
                      </a:lnTo>
                      <a:lnTo>
                        <a:pt x="142911" y="128761"/>
                      </a:lnTo>
                      <a:lnTo>
                        <a:pt x="161063" y="130585"/>
                      </a:lnTo>
                      <a:lnTo>
                        <a:pt x="163592" y="139293"/>
                      </a:lnTo>
                      <a:lnTo>
                        <a:pt x="158502" y="142559"/>
                      </a:lnTo>
                      <a:lnTo>
                        <a:pt x="159238" y="149442"/>
                      </a:lnTo>
                      <a:lnTo>
                        <a:pt x="171564" y="150530"/>
                      </a:lnTo>
                      <a:lnTo>
                        <a:pt x="165417" y="167594"/>
                      </a:lnTo>
                      <a:lnTo>
                        <a:pt x="153444" y="162504"/>
                      </a:lnTo>
                      <a:lnTo>
                        <a:pt x="147265" y="172652"/>
                      </a:lnTo>
                      <a:lnTo>
                        <a:pt x="139645" y="177006"/>
                      </a:lnTo>
                      <a:lnTo>
                        <a:pt x="140382" y="181360"/>
                      </a:lnTo>
                      <a:lnTo>
                        <a:pt x="140382" y="183185"/>
                      </a:lnTo>
                      <a:lnTo>
                        <a:pt x="125879" y="204570"/>
                      </a:lnTo>
                      <a:lnTo>
                        <a:pt x="131674" y="221986"/>
                      </a:lnTo>
                      <a:lnTo>
                        <a:pt x="149826" y="230341"/>
                      </a:lnTo>
                      <a:lnTo>
                        <a:pt x="159238" y="245932"/>
                      </a:lnTo>
                      <a:lnTo>
                        <a:pt x="154148" y="320653"/>
                      </a:lnTo>
                      <a:lnTo>
                        <a:pt x="161063" y="325007"/>
                      </a:lnTo>
                      <a:lnTo>
                        <a:pt x="158502" y="331186"/>
                      </a:lnTo>
                      <a:lnTo>
                        <a:pt x="161767" y="334451"/>
                      </a:lnTo>
                      <a:lnTo>
                        <a:pt x="167946" y="350042"/>
                      </a:lnTo>
                      <a:lnTo>
                        <a:pt x="157798" y="350778"/>
                      </a:lnTo>
                      <a:lnTo>
                        <a:pt x="145472" y="343895"/>
                      </a:lnTo>
                      <a:lnTo>
                        <a:pt x="133499" y="353308"/>
                      </a:lnTo>
                      <a:lnTo>
                        <a:pt x="130233" y="387050"/>
                      </a:lnTo>
                      <a:lnTo>
                        <a:pt x="121525" y="393933"/>
                      </a:lnTo>
                      <a:lnTo>
                        <a:pt x="114611" y="408468"/>
                      </a:lnTo>
                      <a:lnTo>
                        <a:pt x="112818" y="410997"/>
                      </a:lnTo>
                      <a:lnTo>
                        <a:pt x="112818" y="457417"/>
                      </a:lnTo>
                      <a:lnTo>
                        <a:pt x="115347" y="460331"/>
                      </a:lnTo>
                      <a:lnTo>
                        <a:pt x="130938" y="480628"/>
                      </a:lnTo>
                      <a:lnTo>
                        <a:pt x="128409" y="487543"/>
                      </a:lnTo>
                      <a:lnTo>
                        <a:pt x="137116" y="492985"/>
                      </a:lnTo>
                      <a:lnTo>
                        <a:pt x="143999" y="510017"/>
                      </a:lnTo>
                      <a:lnTo>
                        <a:pt x="143999" y="517636"/>
                      </a:lnTo>
                      <a:lnTo>
                        <a:pt x="129145" y="523078"/>
                      </a:lnTo>
                      <a:lnTo>
                        <a:pt x="125879" y="528873"/>
                      </a:lnTo>
                      <a:lnTo>
                        <a:pt x="115347" y="539405"/>
                      </a:lnTo>
                      <a:lnTo>
                        <a:pt x="110993" y="531434"/>
                      </a:lnTo>
                      <a:lnTo>
                        <a:pt x="104110" y="531434"/>
                      </a:lnTo>
                      <a:lnTo>
                        <a:pt x="98315" y="542671"/>
                      </a:lnTo>
                      <a:lnTo>
                        <a:pt x="82692" y="544496"/>
                      </a:lnTo>
                      <a:lnTo>
                        <a:pt x="81988" y="551379"/>
                      </a:lnTo>
                      <a:lnTo>
                        <a:pt x="7971" y="546288"/>
                      </a:lnTo>
                      <a:lnTo>
                        <a:pt x="0" y="546288"/>
                      </a:lnTo>
                      <a:lnTo>
                        <a:pt x="47509" y="570235"/>
                      </a:lnTo>
                      <a:lnTo>
                        <a:pt x="92137" y="592741"/>
                      </a:lnTo>
                      <a:lnTo>
                        <a:pt x="168682" y="630454"/>
                      </a:lnTo>
                      <a:lnTo>
                        <a:pt x="169771" y="624659"/>
                      </a:lnTo>
                      <a:lnTo>
                        <a:pt x="174829" y="630454"/>
                      </a:lnTo>
                      <a:lnTo>
                        <a:pt x="187891" y="623570"/>
                      </a:lnTo>
                      <a:lnTo>
                        <a:pt x="191893" y="620305"/>
                      </a:lnTo>
                      <a:lnTo>
                        <a:pt x="218720" y="624659"/>
                      </a:lnTo>
                      <a:lnTo>
                        <a:pt x="224899" y="597095"/>
                      </a:lnTo>
                      <a:lnTo>
                        <a:pt x="216928" y="579679"/>
                      </a:lnTo>
                      <a:lnTo>
                        <a:pt x="223811" y="575325"/>
                      </a:lnTo>
                      <a:lnTo>
                        <a:pt x="255024" y="572796"/>
                      </a:lnTo>
                      <a:lnTo>
                        <a:pt x="265877" y="560087"/>
                      </a:lnTo>
                      <a:lnTo>
                        <a:pt x="281500" y="553204"/>
                      </a:lnTo>
                      <a:lnTo>
                        <a:pt x="292737" y="557557"/>
                      </a:lnTo>
                      <a:lnTo>
                        <a:pt x="311593" y="575325"/>
                      </a:lnTo>
                      <a:lnTo>
                        <a:pt x="329745" y="575325"/>
                      </a:lnTo>
                      <a:lnTo>
                        <a:pt x="347865" y="563352"/>
                      </a:lnTo>
                      <a:lnTo>
                        <a:pt x="355485" y="540142"/>
                      </a:lnTo>
                      <a:lnTo>
                        <a:pt x="340982" y="543759"/>
                      </a:lnTo>
                      <a:lnTo>
                        <a:pt x="334803" y="540142"/>
                      </a:lnTo>
                      <a:lnTo>
                        <a:pt x="329745" y="536876"/>
                      </a:lnTo>
                      <a:lnTo>
                        <a:pt x="331538" y="520549"/>
                      </a:lnTo>
                      <a:lnTo>
                        <a:pt x="339157" y="525607"/>
                      </a:lnTo>
                      <a:lnTo>
                        <a:pt x="343511" y="521990"/>
                      </a:lnTo>
                      <a:lnTo>
                        <a:pt x="332274" y="499868"/>
                      </a:lnTo>
                      <a:lnTo>
                        <a:pt x="335892" y="490424"/>
                      </a:lnTo>
                      <a:lnTo>
                        <a:pt x="353692" y="487543"/>
                      </a:lnTo>
                      <a:lnTo>
                        <a:pt x="359838" y="464332"/>
                      </a:lnTo>
                      <a:lnTo>
                        <a:pt x="366753" y="458506"/>
                      </a:lnTo>
                      <a:lnTo>
                        <a:pt x="379815" y="454888"/>
                      </a:lnTo>
                      <a:lnTo>
                        <a:pt x="388139" y="459242"/>
                      </a:lnTo>
                      <a:lnTo>
                        <a:pt x="405555" y="439650"/>
                      </a:lnTo>
                      <a:lnTo>
                        <a:pt x="407379" y="417880"/>
                      </a:lnTo>
                      <a:lnTo>
                        <a:pt x="412438" y="412085"/>
                      </a:lnTo>
                      <a:lnTo>
                        <a:pt x="406291" y="395758"/>
                      </a:lnTo>
                      <a:lnTo>
                        <a:pt x="421146" y="384521"/>
                      </a:lnTo>
                      <a:lnTo>
                        <a:pt x="400464" y="371459"/>
                      </a:lnTo>
                      <a:lnTo>
                        <a:pt x="405555" y="368194"/>
                      </a:lnTo>
                      <a:lnTo>
                        <a:pt x="423707" y="368930"/>
                      </a:lnTo>
                      <a:lnTo>
                        <a:pt x="418264" y="358750"/>
                      </a:lnTo>
                      <a:lnTo>
                        <a:pt x="421882" y="350042"/>
                      </a:lnTo>
                      <a:lnTo>
                        <a:pt x="452711" y="347513"/>
                      </a:lnTo>
                      <a:lnTo>
                        <a:pt x="449446" y="343159"/>
                      </a:lnTo>
                      <a:lnTo>
                        <a:pt x="428765" y="339542"/>
                      </a:lnTo>
                      <a:lnTo>
                        <a:pt x="420057" y="343895"/>
                      </a:lnTo>
                      <a:lnTo>
                        <a:pt x="410645" y="340630"/>
                      </a:lnTo>
                      <a:lnTo>
                        <a:pt x="411349" y="336276"/>
                      </a:lnTo>
                      <a:lnTo>
                        <a:pt x="400464" y="334451"/>
                      </a:lnTo>
                      <a:lnTo>
                        <a:pt x="392493" y="311241"/>
                      </a:lnTo>
                      <a:lnTo>
                        <a:pt x="401937" y="266613"/>
                      </a:lnTo>
                      <a:lnTo>
                        <a:pt x="401937" y="243403"/>
                      </a:lnTo>
                      <a:lnTo>
                        <a:pt x="401937" y="234695"/>
                      </a:lnTo>
                      <a:lnTo>
                        <a:pt x="395022" y="232871"/>
                      </a:lnTo>
                      <a:lnTo>
                        <a:pt x="389964" y="217632"/>
                      </a:lnTo>
                      <a:lnTo>
                        <a:pt x="380520" y="215839"/>
                      </a:lnTo>
                      <a:lnTo>
                        <a:pt x="368546" y="225251"/>
                      </a:lnTo>
                      <a:lnTo>
                        <a:pt x="370371" y="233959"/>
                      </a:lnTo>
                      <a:lnTo>
                        <a:pt x="345336" y="223458"/>
                      </a:lnTo>
                      <a:lnTo>
                        <a:pt x="345336" y="239049"/>
                      </a:lnTo>
                      <a:lnTo>
                        <a:pt x="350426" y="243403"/>
                      </a:lnTo>
                      <a:lnTo>
                        <a:pt x="344248" y="249198"/>
                      </a:lnTo>
                      <a:lnTo>
                        <a:pt x="332274" y="250286"/>
                      </a:lnTo>
                      <a:lnTo>
                        <a:pt x="324655" y="258994"/>
                      </a:lnTo>
                      <a:lnTo>
                        <a:pt x="312682" y="258994"/>
                      </a:lnTo>
                      <a:lnTo>
                        <a:pt x="302181" y="239049"/>
                      </a:lnTo>
                      <a:lnTo>
                        <a:pt x="306535" y="227812"/>
                      </a:lnTo>
                      <a:lnTo>
                        <a:pt x="295266" y="220897"/>
                      </a:lnTo>
                      <a:lnTo>
                        <a:pt x="293473" y="214014"/>
                      </a:lnTo>
                      <a:lnTo>
                        <a:pt x="297827" y="209660"/>
                      </a:lnTo>
                      <a:lnTo>
                        <a:pt x="303270" y="214014"/>
                      </a:lnTo>
                      <a:lnTo>
                        <a:pt x="315243" y="227076"/>
                      </a:lnTo>
                      <a:lnTo>
                        <a:pt x="325391" y="228901"/>
                      </a:lnTo>
                      <a:lnTo>
                        <a:pt x="338453" y="224547"/>
                      </a:lnTo>
                      <a:lnTo>
                        <a:pt x="344248" y="207131"/>
                      </a:lnTo>
                      <a:lnTo>
                        <a:pt x="352219" y="201305"/>
                      </a:lnTo>
                      <a:lnTo>
                        <a:pt x="364929" y="200216"/>
                      </a:lnTo>
                      <a:lnTo>
                        <a:pt x="380520" y="190804"/>
                      </a:lnTo>
                      <a:lnTo>
                        <a:pt x="393581" y="190804"/>
                      </a:lnTo>
                      <a:lnTo>
                        <a:pt x="406291" y="182096"/>
                      </a:lnTo>
                      <a:lnTo>
                        <a:pt x="412438" y="186450"/>
                      </a:lnTo>
                      <a:lnTo>
                        <a:pt x="424411" y="182096"/>
                      </a:lnTo>
                      <a:lnTo>
                        <a:pt x="426236" y="175213"/>
                      </a:lnTo>
                      <a:lnTo>
                        <a:pt x="444356" y="161767"/>
                      </a:lnTo>
                      <a:lnTo>
                        <a:pt x="457065" y="141822"/>
                      </a:lnTo>
                      <a:lnTo>
                        <a:pt x="471952" y="138205"/>
                      </a:lnTo>
                      <a:lnTo>
                        <a:pt x="467598" y="132410"/>
                      </a:lnTo>
                      <a:lnTo>
                        <a:pt x="484629" y="123702"/>
                      </a:lnTo>
                      <a:lnTo>
                        <a:pt x="492249" y="121878"/>
                      </a:lnTo>
                      <a:lnTo>
                        <a:pt x="495162" y="116083"/>
                      </a:lnTo>
                      <a:lnTo>
                        <a:pt x="495162" y="114258"/>
                      </a:lnTo>
                      <a:lnTo>
                        <a:pt x="474481" y="114995"/>
                      </a:lnTo>
                      <a:lnTo>
                        <a:pt x="467598" y="110993"/>
                      </a:lnTo>
                      <a:lnTo>
                        <a:pt x="459594" y="114995"/>
                      </a:lnTo>
                      <a:lnTo>
                        <a:pt x="441474" y="104110"/>
                      </a:lnTo>
                      <a:lnTo>
                        <a:pt x="433119" y="108080"/>
                      </a:lnTo>
                      <a:lnTo>
                        <a:pt x="417528" y="88519"/>
                      </a:lnTo>
                      <a:lnTo>
                        <a:pt x="412438" y="74721"/>
                      </a:lnTo>
                      <a:lnTo>
                        <a:pt x="403730" y="69631"/>
                      </a:lnTo>
                      <a:lnTo>
                        <a:pt x="400464" y="56569"/>
                      </a:lnTo>
                      <a:lnTo>
                        <a:pt x="391052" y="52215"/>
                      </a:lnTo>
                      <a:lnTo>
                        <a:pt x="363488" y="57657"/>
                      </a:lnTo>
                      <a:lnTo>
                        <a:pt x="355485" y="90312"/>
                      </a:lnTo>
                      <a:lnTo>
                        <a:pt x="343511" y="82340"/>
                      </a:lnTo>
                      <a:lnTo>
                        <a:pt x="339157" y="79811"/>
                      </a:lnTo>
                      <a:lnTo>
                        <a:pt x="312682" y="72896"/>
                      </a:lnTo>
                      <a:lnTo>
                        <a:pt x="309800" y="75457"/>
                      </a:lnTo>
                      <a:lnTo>
                        <a:pt x="315243" y="88519"/>
                      </a:lnTo>
                      <a:lnTo>
                        <a:pt x="292737" y="91048"/>
                      </a:lnTo>
                      <a:lnTo>
                        <a:pt x="281500" y="95402"/>
                      </a:lnTo>
                      <a:lnTo>
                        <a:pt x="258290" y="99756"/>
                      </a:lnTo>
                      <a:lnTo>
                        <a:pt x="242667" y="96106"/>
                      </a:lnTo>
                      <a:lnTo>
                        <a:pt x="241963" y="90312"/>
                      </a:lnTo>
                      <a:lnTo>
                        <a:pt x="235784" y="91048"/>
                      </a:lnTo>
                      <a:lnTo>
                        <a:pt x="236872" y="76546"/>
                      </a:lnTo>
                      <a:lnTo>
                        <a:pt x="226340" y="45332"/>
                      </a:lnTo>
                      <a:lnTo>
                        <a:pt x="234343" y="40242"/>
                      </a:lnTo>
                      <a:lnTo>
                        <a:pt x="234343" y="32622"/>
                      </a:lnTo>
                      <a:lnTo>
                        <a:pt x="228165" y="29005"/>
                      </a:lnTo>
                      <a:lnTo>
                        <a:pt x="233255" y="11973"/>
                      </a:lnTo>
                      <a:lnTo>
                        <a:pt x="224899" y="11973"/>
                      </a:lnTo>
                      <a:lnTo>
                        <a:pt x="216191" y="9412"/>
                      </a:lnTo>
                      <a:lnTo>
                        <a:pt x="202425" y="4354"/>
                      </a:lnTo>
                      <a:lnTo>
                        <a:pt x="196246" y="9412"/>
                      </a:lnTo>
                      <a:lnTo>
                        <a:pt x="186098" y="941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1" name="Forma Livre: Forma 210">
                  <a:extLst>
                    <a:ext uri="{FF2B5EF4-FFF2-40B4-BE49-F238E27FC236}">
                      <a16:creationId xmlns:a16="http://schemas.microsoft.com/office/drawing/2014/main" id="{21760DAD-4634-70F1-716A-DF17A79FFD24}"/>
                    </a:ext>
                  </a:extLst>
                </p:cNvPr>
                <p:cNvSpPr/>
                <p:nvPr/>
              </p:nvSpPr>
              <p:spPr>
                <a:xfrm>
                  <a:off x="2696975" y="2741434"/>
                  <a:ext cx="495162" cy="630453"/>
                </a:xfrm>
                <a:custGeom>
                  <a:avLst/>
                  <a:gdLst>
                    <a:gd name="csX0" fmla="*/ 186098 w 495162"/>
                    <a:gd name="csY0" fmla="*/ 9412 h 630453"/>
                    <a:gd name="csX1" fmla="*/ 166121 w 495162"/>
                    <a:gd name="csY1" fmla="*/ 10148 h 630453"/>
                    <a:gd name="csX2" fmla="*/ 160327 w 495162"/>
                    <a:gd name="csY2" fmla="*/ 0 h 630453"/>
                    <a:gd name="csX3" fmla="*/ 133499 w 495162"/>
                    <a:gd name="csY3" fmla="*/ 17768 h 630453"/>
                    <a:gd name="csX4" fmla="*/ 140382 w 495162"/>
                    <a:gd name="csY4" fmla="*/ 40242 h 630453"/>
                    <a:gd name="csX5" fmla="*/ 131674 w 495162"/>
                    <a:gd name="csY5" fmla="*/ 54776 h 630453"/>
                    <a:gd name="csX6" fmla="*/ 135292 w 495162"/>
                    <a:gd name="csY6" fmla="*/ 76546 h 630453"/>
                    <a:gd name="csX7" fmla="*/ 145472 w 495162"/>
                    <a:gd name="csY7" fmla="*/ 89223 h 630453"/>
                    <a:gd name="csX8" fmla="*/ 146561 w 495162"/>
                    <a:gd name="csY8" fmla="*/ 107375 h 630453"/>
                    <a:gd name="csX9" fmla="*/ 140382 w 495162"/>
                    <a:gd name="csY9" fmla="*/ 118612 h 630453"/>
                    <a:gd name="csX10" fmla="*/ 142911 w 495162"/>
                    <a:gd name="csY10" fmla="*/ 128761 h 630453"/>
                    <a:gd name="csX11" fmla="*/ 161063 w 495162"/>
                    <a:gd name="csY11" fmla="*/ 130585 h 630453"/>
                    <a:gd name="csX12" fmla="*/ 163592 w 495162"/>
                    <a:gd name="csY12" fmla="*/ 139293 h 630453"/>
                    <a:gd name="csX13" fmla="*/ 158502 w 495162"/>
                    <a:gd name="csY13" fmla="*/ 142559 h 630453"/>
                    <a:gd name="csX14" fmla="*/ 159238 w 495162"/>
                    <a:gd name="csY14" fmla="*/ 149442 h 630453"/>
                    <a:gd name="csX15" fmla="*/ 171564 w 495162"/>
                    <a:gd name="csY15" fmla="*/ 150530 h 630453"/>
                    <a:gd name="csX16" fmla="*/ 165417 w 495162"/>
                    <a:gd name="csY16" fmla="*/ 167594 h 630453"/>
                    <a:gd name="csX17" fmla="*/ 153444 w 495162"/>
                    <a:gd name="csY17" fmla="*/ 162504 h 630453"/>
                    <a:gd name="csX18" fmla="*/ 147265 w 495162"/>
                    <a:gd name="csY18" fmla="*/ 172652 h 630453"/>
                    <a:gd name="csX19" fmla="*/ 139645 w 495162"/>
                    <a:gd name="csY19" fmla="*/ 177006 h 630453"/>
                    <a:gd name="csX20" fmla="*/ 140382 w 495162"/>
                    <a:gd name="csY20" fmla="*/ 181360 h 630453"/>
                    <a:gd name="csX21" fmla="*/ 140382 w 495162"/>
                    <a:gd name="csY21" fmla="*/ 183185 h 630453"/>
                    <a:gd name="csX22" fmla="*/ 125879 w 495162"/>
                    <a:gd name="csY22" fmla="*/ 204570 h 630453"/>
                    <a:gd name="csX23" fmla="*/ 131674 w 495162"/>
                    <a:gd name="csY23" fmla="*/ 221986 h 630453"/>
                    <a:gd name="csX24" fmla="*/ 149826 w 495162"/>
                    <a:gd name="csY24" fmla="*/ 230341 h 630453"/>
                    <a:gd name="csX25" fmla="*/ 159238 w 495162"/>
                    <a:gd name="csY25" fmla="*/ 245932 h 630453"/>
                    <a:gd name="csX26" fmla="*/ 154148 w 495162"/>
                    <a:gd name="csY26" fmla="*/ 320653 h 630453"/>
                    <a:gd name="csX27" fmla="*/ 161063 w 495162"/>
                    <a:gd name="csY27" fmla="*/ 325007 h 630453"/>
                    <a:gd name="csX28" fmla="*/ 158502 w 495162"/>
                    <a:gd name="csY28" fmla="*/ 331186 h 630453"/>
                    <a:gd name="csX29" fmla="*/ 161767 w 495162"/>
                    <a:gd name="csY29" fmla="*/ 334451 h 630453"/>
                    <a:gd name="csX30" fmla="*/ 167946 w 495162"/>
                    <a:gd name="csY30" fmla="*/ 350042 h 630453"/>
                    <a:gd name="csX31" fmla="*/ 157798 w 495162"/>
                    <a:gd name="csY31" fmla="*/ 350778 h 630453"/>
                    <a:gd name="csX32" fmla="*/ 145472 w 495162"/>
                    <a:gd name="csY32" fmla="*/ 343895 h 630453"/>
                    <a:gd name="csX33" fmla="*/ 133499 w 495162"/>
                    <a:gd name="csY33" fmla="*/ 353308 h 630453"/>
                    <a:gd name="csX34" fmla="*/ 130233 w 495162"/>
                    <a:gd name="csY34" fmla="*/ 387050 h 630453"/>
                    <a:gd name="csX35" fmla="*/ 121525 w 495162"/>
                    <a:gd name="csY35" fmla="*/ 393933 h 630453"/>
                    <a:gd name="csX36" fmla="*/ 114611 w 495162"/>
                    <a:gd name="csY36" fmla="*/ 408468 h 630453"/>
                    <a:gd name="csX37" fmla="*/ 112818 w 495162"/>
                    <a:gd name="csY37" fmla="*/ 410997 h 630453"/>
                    <a:gd name="csX38" fmla="*/ 112818 w 495162"/>
                    <a:gd name="csY38" fmla="*/ 457417 h 630453"/>
                    <a:gd name="csX39" fmla="*/ 115347 w 495162"/>
                    <a:gd name="csY39" fmla="*/ 460331 h 630453"/>
                    <a:gd name="csX40" fmla="*/ 130938 w 495162"/>
                    <a:gd name="csY40" fmla="*/ 480628 h 630453"/>
                    <a:gd name="csX41" fmla="*/ 128409 w 495162"/>
                    <a:gd name="csY41" fmla="*/ 487543 h 630453"/>
                    <a:gd name="csX42" fmla="*/ 137116 w 495162"/>
                    <a:gd name="csY42" fmla="*/ 492985 h 630453"/>
                    <a:gd name="csX43" fmla="*/ 143999 w 495162"/>
                    <a:gd name="csY43" fmla="*/ 510017 h 630453"/>
                    <a:gd name="csX44" fmla="*/ 143999 w 495162"/>
                    <a:gd name="csY44" fmla="*/ 517636 h 630453"/>
                    <a:gd name="csX45" fmla="*/ 129145 w 495162"/>
                    <a:gd name="csY45" fmla="*/ 523078 h 630453"/>
                    <a:gd name="csX46" fmla="*/ 125879 w 495162"/>
                    <a:gd name="csY46" fmla="*/ 528873 h 630453"/>
                    <a:gd name="csX47" fmla="*/ 115347 w 495162"/>
                    <a:gd name="csY47" fmla="*/ 539405 h 630453"/>
                    <a:gd name="csX48" fmla="*/ 110993 w 495162"/>
                    <a:gd name="csY48" fmla="*/ 531434 h 630453"/>
                    <a:gd name="csX49" fmla="*/ 104110 w 495162"/>
                    <a:gd name="csY49" fmla="*/ 531434 h 630453"/>
                    <a:gd name="csX50" fmla="*/ 98315 w 495162"/>
                    <a:gd name="csY50" fmla="*/ 542671 h 630453"/>
                    <a:gd name="csX51" fmla="*/ 82692 w 495162"/>
                    <a:gd name="csY51" fmla="*/ 544496 h 630453"/>
                    <a:gd name="csX52" fmla="*/ 81988 w 495162"/>
                    <a:gd name="csY52" fmla="*/ 551379 h 630453"/>
                    <a:gd name="csX53" fmla="*/ 7971 w 495162"/>
                    <a:gd name="csY53" fmla="*/ 546288 h 630453"/>
                    <a:gd name="csX54" fmla="*/ 0 w 495162"/>
                    <a:gd name="csY54" fmla="*/ 546288 h 630453"/>
                    <a:gd name="csX55" fmla="*/ 47509 w 495162"/>
                    <a:gd name="csY55" fmla="*/ 570235 h 630453"/>
                    <a:gd name="csX56" fmla="*/ 92137 w 495162"/>
                    <a:gd name="csY56" fmla="*/ 592741 h 630453"/>
                    <a:gd name="csX57" fmla="*/ 168682 w 495162"/>
                    <a:gd name="csY57" fmla="*/ 630454 h 630453"/>
                    <a:gd name="csX58" fmla="*/ 169771 w 495162"/>
                    <a:gd name="csY58" fmla="*/ 624659 h 630453"/>
                    <a:gd name="csX59" fmla="*/ 174829 w 495162"/>
                    <a:gd name="csY59" fmla="*/ 630454 h 630453"/>
                    <a:gd name="csX60" fmla="*/ 187891 w 495162"/>
                    <a:gd name="csY60" fmla="*/ 623570 h 630453"/>
                    <a:gd name="csX61" fmla="*/ 191893 w 495162"/>
                    <a:gd name="csY61" fmla="*/ 620305 h 630453"/>
                    <a:gd name="csX62" fmla="*/ 218720 w 495162"/>
                    <a:gd name="csY62" fmla="*/ 624659 h 630453"/>
                    <a:gd name="csX63" fmla="*/ 224899 w 495162"/>
                    <a:gd name="csY63" fmla="*/ 597095 h 630453"/>
                    <a:gd name="csX64" fmla="*/ 216928 w 495162"/>
                    <a:gd name="csY64" fmla="*/ 579679 h 630453"/>
                    <a:gd name="csX65" fmla="*/ 223811 w 495162"/>
                    <a:gd name="csY65" fmla="*/ 575325 h 630453"/>
                    <a:gd name="csX66" fmla="*/ 255024 w 495162"/>
                    <a:gd name="csY66" fmla="*/ 572796 h 630453"/>
                    <a:gd name="csX67" fmla="*/ 265877 w 495162"/>
                    <a:gd name="csY67" fmla="*/ 560087 h 630453"/>
                    <a:gd name="csX68" fmla="*/ 281500 w 495162"/>
                    <a:gd name="csY68" fmla="*/ 553204 h 630453"/>
                    <a:gd name="csX69" fmla="*/ 292737 w 495162"/>
                    <a:gd name="csY69" fmla="*/ 557557 h 630453"/>
                    <a:gd name="csX70" fmla="*/ 311593 w 495162"/>
                    <a:gd name="csY70" fmla="*/ 575325 h 630453"/>
                    <a:gd name="csX71" fmla="*/ 329745 w 495162"/>
                    <a:gd name="csY71" fmla="*/ 575325 h 630453"/>
                    <a:gd name="csX72" fmla="*/ 347865 w 495162"/>
                    <a:gd name="csY72" fmla="*/ 563352 h 630453"/>
                    <a:gd name="csX73" fmla="*/ 355485 w 495162"/>
                    <a:gd name="csY73" fmla="*/ 540142 h 630453"/>
                    <a:gd name="csX74" fmla="*/ 340982 w 495162"/>
                    <a:gd name="csY74" fmla="*/ 543759 h 630453"/>
                    <a:gd name="csX75" fmla="*/ 334803 w 495162"/>
                    <a:gd name="csY75" fmla="*/ 540142 h 630453"/>
                    <a:gd name="csX76" fmla="*/ 329745 w 495162"/>
                    <a:gd name="csY76" fmla="*/ 536876 h 630453"/>
                    <a:gd name="csX77" fmla="*/ 331538 w 495162"/>
                    <a:gd name="csY77" fmla="*/ 520549 h 630453"/>
                    <a:gd name="csX78" fmla="*/ 339157 w 495162"/>
                    <a:gd name="csY78" fmla="*/ 525607 h 630453"/>
                    <a:gd name="csX79" fmla="*/ 343511 w 495162"/>
                    <a:gd name="csY79" fmla="*/ 521990 h 630453"/>
                    <a:gd name="csX80" fmla="*/ 332274 w 495162"/>
                    <a:gd name="csY80" fmla="*/ 499868 h 630453"/>
                    <a:gd name="csX81" fmla="*/ 335892 w 495162"/>
                    <a:gd name="csY81" fmla="*/ 490424 h 630453"/>
                    <a:gd name="csX82" fmla="*/ 353692 w 495162"/>
                    <a:gd name="csY82" fmla="*/ 487543 h 630453"/>
                    <a:gd name="csX83" fmla="*/ 359838 w 495162"/>
                    <a:gd name="csY83" fmla="*/ 464332 h 630453"/>
                    <a:gd name="csX84" fmla="*/ 366753 w 495162"/>
                    <a:gd name="csY84" fmla="*/ 458506 h 630453"/>
                    <a:gd name="csX85" fmla="*/ 379815 w 495162"/>
                    <a:gd name="csY85" fmla="*/ 454888 h 630453"/>
                    <a:gd name="csX86" fmla="*/ 388139 w 495162"/>
                    <a:gd name="csY86" fmla="*/ 459242 h 630453"/>
                    <a:gd name="csX87" fmla="*/ 405555 w 495162"/>
                    <a:gd name="csY87" fmla="*/ 439650 h 630453"/>
                    <a:gd name="csX88" fmla="*/ 407379 w 495162"/>
                    <a:gd name="csY88" fmla="*/ 417880 h 630453"/>
                    <a:gd name="csX89" fmla="*/ 412438 w 495162"/>
                    <a:gd name="csY89" fmla="*/ 412085 h 630453"/>
                    <a:gd name="csX90" fmla="*/ 406291 w 495162"/>
                    <a:gd name="csY90" fmla="*/ 395758 h 630453"/>
                    <a:gd name="csX91" fmla="*/ 421146 w 495162"/>
                    <a:gd name="csY91" fmla="*/ 384521 h 630453"/>
                    <a:gd name="csX92" fmla="*/ 400464 w 495162"/>
                    <a:gd name="csY92" fmla="*/ 371459 h 630453"/>
                    <a:gd name="csX93" fmla="*/ 405555 w 495162"/>
                    <a:gd name="csY93" fmla="*/ 368194 h 630453"/>
                    <a:gd name="csX94" fmla="*/ 423707 w 495162"/>
                    <a:gd name="csY94" fmla="*/ 368930 h 630453"/>
                    <a:gd name="csX95" fmla="*/ 418264 w 495162"/>
                    <a:gd name="csY95" fmla="*/ 358750 h 630453"/>
                    <a:gd name="csX96" fmla="*/ 421882 w 495162"/>
                    <a:gd name="csY96" fmla="*/ 350042 h 630453"/>
                    <a:gd name="csX97" fmla="*/ 452711 w 495162"/>
                    <a:gd name="csY97" fmla="*/ 347513 h 630453"/>
                    <a:gd name="csX98" fmla="*/ 449446 w 495162"/>
                    <a:gd name="csY98" fmla="*/ 343159 h 630453"/>
                    <a:gd name="csX99" fmla="*/ 428765 w 495162"/>
                    <a:gd name="csY99" fmla="*/ 339542 h 630453"/>
                    <a:gd name="csX100" fmla="*/ 420057 w 495162"/>
                    <a:gd name="csY100" fmla="*/ 343895 h 630453"/>
                    <a:gd name="csX101" fmla="*/ 410645 w 495162"/>
                    <a:gd name="csY101" fmla="*/ 340630 h 630453"/>
                    <a:gd name="csX102" fmla="*/ 411349 w 495162"/>
                    <a:gd name="csY102" fmla="*/ 336276 h 630453"/>
                    <a:gd name="csX103" fmla="*/ 400464 w 495162"/>
                    <a:gd name="csY103" fmla="*/ 334451 h 630453"/>
                    <a:gd name="csX104" fmla="*/ 392493 w 495162"/>
                    <a:gd name="csY104" fmla="*/ 311241 h 630453"/>
                    <a:gd name="csX105" fmla="*/ 401937 w 495162"/>
                    <a:gd name="csY105" fmla="*/ 266613 h 630453"/>
                    <a:gd name="csX106" fmla="*/ 401937 w 495162"/>
                    <a:gd name="csY106" fmla="*/ 243403 h 630453"/>
                    <a:gd name="csX107" fmla="*/ 401937 w 495162"/>
                    <a:gd name="csY107" fmla="*/ 234695 h 630453"/>
                    <a:gd name="csX108" fmla="*/ 395022 w 495162"/>
                    <a:gd name="csY108" fmla="*/ 232871 h 630453"/>
                    <a:gd name="csX109" fmla="*/ 389964 w 495162"/>
                    <a:gd name="csY109" fmla="*/ 217632 h 630453"/>
                    <a:gd name="csX110" fmla="*/ 380520 w 495162"/>
                    <a:gd name="csY110" fmla="*/ 215839 h 630453"/>
                    <a:gd name="csX111" fmla="*/ 368546 w 495162"/>
                    <a:gd name="csY111" fmla="*/ 225251 h 630453"/>
                    <a:gd name="csX112" fmla="*/ 370371 w 495162"/>
                    <a:gd name="csY112" fmla="*/ 233959 h 630453"/>
                    <a:gd name="csX113" fmla="*/ 345336 w 495162"/>
                    <a:gd name="csY113" fmla="*/ 223458 h 630453"/>
                    <a:gd name="csX114" fmla="*/ 345336 w 495162"/>
                    <a:gd name="csY114" fmla="*/ 239049 h 630453"/>
                    <a:gd name="csX115" fmla="*/ 350426 w 495162"/>
                    <a:gd name="csY115" fmla="*/ 243403 h 630453"/>
                    <a:gd name="csX116" fmla="*/ 344248 w 495162"/>
                    <a:gd name="csY116" fmla="*/ 249198 h 630453"/>
                    <a:gd name="csX117" fmla="*/ 332274 w 495162"/>
                    <a:gd name="csY117" fmla="*/ 250286 h 630453"/>
                    <a:gd name="csX118" fmla="*/ 324655 w 495162"/>
                    <a:gd name="csY118" fmla="*/ 258994 h 630453"/>
                    <a:gd name="csX119" fmla="*/ 312682 w 495162"/>
                    <a:gd name="csY119" fmla="*/ 258994 h 630453"/>
                    <a:gd name="csX120" fmla="*/ 302181 w 495162"/>
                    <a:gd name="csY120" fmla="*/ 239049 h 630453"/>
                    <a:gd name="csX121" fmla="*/ 306535 w 495162"/>
                    <a:gd name="csY121" fmla="*/ 227812 h 630453"/>
                    <a:gd name="csX122" fmla="*/ 295266 w 495162"/>
                    <a:gd name="csY122" fmla="*/ 220897 h 630453"/>
                    <a:gd name="csX123" fmla="*/ 293473 w 495162"/>
                    <a:gd name="csY123" fmla="*/ 214014 h 630453"/>
                    <a:gd name="csX124" fmla="*/ 297827 w 495162"/>
                    <a:gd name="csY124" fmla="*/ 209660 h 630453"/>
                    <a:gd name="csX125" fmla="*/ 303270 w 495162"/>
                    <a:gd name="csY125" fmla="*/ 214014 h 630453"/>
                    <a:gd name="csX126" fmla="*/ 315243 w 495162"/>
                    <a:gd name="csY126" fmla="*/ 227076 h 630453"/>
                    <a:gd name="csX127" fmla="*/ 325391 w 495162"/>
                    <a:gd name="csY127" fmla="*/ 228901 h 630453"/>
                    <a:gd name="csX128" fmla="*/ 338453 w 495162"/>
                    <a:gd name="csY128" fmla="*/ 224547 h 630453"/>
                    <a:gd name="csX129" fmla="*/ 344248 w 495162"/>
                    <a:gd name="csY129" fmla="*/ 207131 h 630453"/>
                    <a:gd name="csX130" fmla="*/ 352219 w 495162"/>
                    <a:gd name="csY130" fmla="*/ 201305 h 630453"/>
                    <a:gd name="csX131" fmla="*/ 364929 w 495162"/>
                    <a:gd name="csY131" fmla="*/ 200216 h 630453"/>
                    <a:gd name="csX132" fmla="*/ 380520 w 495162"/>
                    <a:gd name="csY132" fmla="*/ 190804 h 630453"/>
                    <a:gd name="csX133" fmla="*/ 393581 w 495162"/>
                    <a:gd name="csY133" fmla="*/ 190804 h 630453"/>
                    <a:gd name="csX134" fmla="*/ 406291 w 495162"/>
                    <a:gd name="csY134" fmla="*/ 182096 h 630453"/>
                    <a:gd name="csX135" fmla="*/ 412438 w 495162"/>
                    <a:gd name="csY135" fmla="*/ 186450 h 630453"/>
                    <a:gd name="csX136" fmla="*/ 424411 w 495162"/>
                    <a:gd name="csY136" fmla="*/ 182096 h 630453"/>
                    <a:gd name="csX137" fmla="*/ 426236 w 495162"/>
                    <a:gd name="csY137" fmla="*/ 175213 h 630453"/>
                    <a:gd name="csX138" fmla="*/ 444356 w 495162"/>
                    <a:gd name="csY138" fmla="*/ 161767 h 630453"/>
                    <a:gd name="csX139" fmla="*/ 457065 w 495162"/>
                    <a:gd name="csY139" fmla="*/ 141822 h 630453"/>
                    <a:gd name="csX140" fmla="*/ 471952 w 495162"/>
                    <a:gd name="csY140" fmla="*/ 138205 h 630453"/>
                    <a:gd name="csX141" fmla="*/ 467598 w 495162"/>
                    <a:gd name="csY141" fmla="*/ 132410 h 630453"/>
                    <a:gd name="csX142" fmla="*/ 484629 w 495162"/>
                    <a:gd name="csY142" fmla="*/ 123702 h 630453"/>
                    <a:gd name="csX143" fmla="*/ 492249 w 495162"/>
                    <a:gd name="csY143" fmla="*/ 121878 h 630453"/>
                    <a:gd name="csX144" fmla="*/ 495162 w 495162"/>
                    <a:gd name="csY144" fmla="*/ 116083 h 630453"/>
                    <a:gd name="csX145" fmla="*/ 495162 w 495162"/>
                    <a:gd name="csY145" fmla="*/ 114258 h 630453"/>
                    <a:gd name="csX146" fmla="*/ 474481 w 495162"/>
                    <a:gd name="csY146" fmla="*/ 114995 h 630453"/>
                    <a:gd name="csX147" fmla="*/ 467598 w 495162"/>
                    <a:gd name="csY147" fmla="*/ 110993 h 630453"/>
                    <a:gd name="csX148" fmla="*/ 459594 w 495162"/>
                    <a:gd name="csY148" fmla="*/ 114995 h 630453"/>
                    <a:gd name="csX149" fmla="*/ 441474 w 495162"/>
                    <a:gd name="csY149" fmla="*/ 104110 h 630453"/>
                    <a:gd name="csX150" fmla="*/ 433119 w 495162"/>
                    <a:gd name="csY150" fmla="*/ 108080 h 630453"/>
                    <a:gd name="csX151" fmla="*/ 417528 w 495162"/>
                    <a:gd name="csY151" fmla="*/ 88519 h 630453"/>
                    <a:gd name="csX152" fmla="*/ 412438 w 495162"/>
                    <a:gd name="csY152" fmla="*/ 74721 h 630453"/>
                    <a:gd name="csX153" fmla="*/ 403730 w 495162"/>
                    <a:gd name="csY153" fmla="*/ 69631 h 630453"/>
                    <a:gd name="csX154" fmla="*/ 400464 w 495162"/>
                    <a:gd name="csY154" fmla="*/ 56569 h 630453"/>
                    <a:gd name="csX155" fmla="*/ 391052 w 495162"/>
                    <a:gd name="csY155" fmla="*/ 52215 h 630453"/>
                    <a:gd name="csX156" fmla="*/ 363488 w 495162"/>
                    <a:gd name="csY156" fmla="*/ 57657 h 630453"/>
                    <a:gd name="csX157" fmla="*/ 355485 w 495162"/>
                    <a:gd name="csY157" fmla="*/ 90312 h 630453"/>
                    <a:gd name="csX158" fmla="*/ 343511 w 495162"/>
                    <a:gd name="csY158" fmla="*/ 82340 h 630453"/>
                    <a:gd name="csX159" fmla="*/ 339157 w 495162"/>
                    <a:gd name="csY159" fmla="*/ 79811 h 630453"/>
                    <a:gd name="csX160" fmla="*/ 312682 w 495162"/>
                    <a:gd name="csY160" fmla="*/ 72896 h 630453"/>
                    <a:gd name="csX161" fmla="*/ 309800 w 495162"/>
                    <a:gd name="csY161" fmla="*/ 75457 h 630453"/>
                    <a:gd name="csX162" fmla="*/ 315243 w 495162"/>
                    <a:gd name="csY162" fmla="*/ 88519 h 630453"/>
                    <a:gd name="csX163" fmla="*/ 292737 w 495162"/>
                    <a:gd name="csY163" fmla="*/ 91048 h 630453"/>
                    <a:gd name="csX164" fmla="*/ 281500 w 495162"/>
                    <a:gd name="csY164" fmla="*/ 95402 h 630453"/>
                    <a:gd name="csX165" fmla="*/ 258290 w 495162"/>
                    <a:gd name="csY165" fmla="*/ 99756 h 630453"/>
                    <a:gd name="csX166" fmla="*/ 242667 w 495162"/>
                    <a:gd name="csY166" fmla="*/ 96106 h 630453"/>
                    <a:gd name="csX167" fmla="*/ 241963 w 495162"/>
                    <a:gd name="csY167" fmla="*/ 90312 h 630453"/>
                    <a:gd name="csX168" fmla="*/ 235784 w 495162"/>
                    <a:gd name="csY168" fmla="*/ 91048 h 630453"/>
                    <a:gd name="csX169" fmla="*/ 236872 w 495162"/>
                    <a:gd name="csY169" fmla="*/ 76546 h 630453"/>
                    <a:gd name="csX170" fmla="*/ 226340 w 495162"/>
                    <a:gd name="csY170" fmla="*/ 45332 h 630453"/>
                    <a:gd name="csX171" fmla="*/ 234343 w 495162"/>
                    <a:gd name="csY171" fmla="*/ 40242 h 630453"/>
                    <a:gd name="csX172" fmla="*/ 234343 w 495162"/>
                    <a:gd name="csY172" fmla="*/ 32622 h 630453"/>
                    <a:gd name="csX173" fmla="*/ 228165 w 495162"/>
                    <a:gd name="csY173" fmla="*/ 29005 h 630453"/>
                    <a:gd name="csX174" fmla="*/ 233255 w 495162"/>
                    <a:gd name="csY174" fmla="*/ 11973 h 630453"/>
                    <a:gd name="csX175" fmla="*/ 224899 w 495162"/>
                    <a:gd name="csY175" fmla="*/ 11973 h 630453"/>
                    <a:gd name="csX176" fmla="*/ 216191 w 495162"/>
                    <a:gd name="csY176" fmla="*/ 9412 h 630453"/>
                    <a:gd name="csX177" fmla="*/ 202425 w 495162"/>
                    <a:gd name="csY177" fmla="*/ 4354 h 630453"/>
                    <a:gd name="csX178" fmla="*/ 196246 w 495162"/>
                    <a:gd name="csY178" fmla="*/ 9412 h 630453"/>
                    <a:gd name="csX179" fmla="*/ 186098 w 495162"/>
                    <a:gd name="csY179" fmla="*/ 9412 h 6304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</a:cxnLst>
                  <a:rect l="l" t="t" r="r" b="b"/>
                  <a:pathLst>
                    <a:path w="495162" h="630453">
                      <a:moveTo>
                        <a:pt x="186098" y="9412"/>
                      </a:moveTo>
                      <a:lnTo>
                        <a:pt x="166121" y="10148"/>
                      </a:lnTo>
                      <a:lnTo>
                        <a:pt x="160327" y="0"/>
                      </a:lnTo>
                      <a:lnTo>
                        <a:pt x="133499" y="17768"/>
                      </a:lnTo>
                      <a:lnTo>
                        <a:pt x="140382" y="40242"/>
                      </a:lnTo>
                      <a:lnTo>
                        <a:pt x="131674" y="54776"/>
                      </a:lnTo>
                      <a:lnTo>
                        <a:pt x="135292" y="76546"/>
                      </a:lnTo>
                      <a:lnTo>
                        <a:pt x="145472" y="89223"/>
                      </a:lnTo>
                      <a:lnTo>
                        <a:pt x="146561" y="107375"/>
                      </a:lnTo>
                      <a:lnTo>
                        <a:pt x="140382" y="118612"/>
                      </a:lnTo>
                      <a:lnTo>
                        <a:pt x="142911" y="128761"/>
                      </a:lnTo>
                      <a:lnTo>
                        <a:pt x="161063" y="130585"/>
                      </a:lnTo>
                      <a:lnTo>
                        <a:pt x="163592" y="139293"/>
                      </a:lnTo>
                      <a:lnTo>
                        <a:pt x="158502" y="142559"/>
                      </a:lnTo>
                      <a:lnTo>
                        <a:pt x="159238" y="149442"/>
                      </a:lnTo>
                      <a:lnTo>
                        <a:pt x="171564" y="150530"/>
                      </a:lnTo>
                      <a:lnTo>
                        <a:pt x="165417" y="167594"/>
                      </a:lnTo>
                      <a:lnTo>
                        <a:pt x="153444" y="162504"/>
                      </a:lnTo>
                      <a:lnTo>
                        <a:pt x="147265" y="172652"/>
                      </a:lnTo>
                      <a:lnTo>
                        <a:pt x="139645" y="177006"/>
                      </a:lnTo>
                      <a:lnTo>
                        <a:pt x="140382" y="181360"/>
                      </a:lnTo>
                      <a:lnTo>
                        <a:pt x="140382" y="183185"/>
                      </a:lnTo>
                      <a:lnTo>
                        <a:pt x="125879" y="204570"/>
                      </a:lnTo>
                      <a:lnTo>
                        <a:pt x="131674" y="221986"/>
                      </a:lnTo>
                      <a:lnTo>
                        <a:pt x="149826" y="230341"/>
                      </a:lnTo>
                      <a:lnTo>
                        <a:pt x="159238" y="245932"/>
                      </a:lnTo>
                      <a:lnTo>
                        <a:pt x="154148" y="320653"/>
                      </a:lnTo>
                      <a:lnTo>
                        <a:pt x="161063" y="325007"/>
                      </a:lnTo>
                      <a:lnTo>
                        <a:pt x="158502" y="331186"/>
                      </a:lnTo>
                      <a:lnTo>
                        <a:pt x="161767" y="334451"/>
                      </a:lnTo>
                      <a:lnTo>
                        <a:pt x="167946" y="350042"/>
                      </a:lnTo>
                      <a:lnTo>
                        <a:pt x="157798" y="350778"/>
                      </a:lnTo>
                      <a:lnTo>
                        <a:pt x="145472" y="343895"/>
                      </a:lnTo>
                      <a:lnTo>
                        <a:pt x="133499" y="353308"/>
                      </a:lnTo>
                      <a:lnTo>
                        <a:pt x="130233" y="387050"/>
                      </a:lnTo>
                      <a:lnTo>
                        <a:pt x="121525" y="393933"/>
                      </a:lnTo>
                      <a:lnTo>
                        <a:pt x="114611" y="408468"/>
                      </a:lnTo>
                      <a:lnTo>
                        <a:pt x="112818" y="410997"/>
                      </a:lnTo>
                      <a:lnTo>
                        <a:pt x="112818" y="457417"/>
                      </a:lnTo>
                      <a:lnTo>
                        <a:pt x="115347" y="460331"/>
                      </a:lnTo>
                      <a:lnTo>
                        <a:pt x="130938" y="480628"/>
                      </a:lnTo>
                      <a:lnTo>
                        <a:pt x="128409" y="487543"/>
                      </a:lnTo>
                      <a:lnTo>
                        <a:pt x="137116" y="492985"/>
                      </a:lnTo>
                      <a:lnTo>
                        <a:pt x="143999" y="510017"/>
                      </a:lnTo>
                      <a:lnTo>
                        <a:pt x="143999" y="517636"/>
                      </a:lnTo>
                      <a:lnTo>
                        <a:pt x="129145" y="523078"/>
                      </a:lnTo>
                      <a:lnTo>
                        <a:pt x="125879" y="528873"/>
                      </a:lnTo>
                      <a:lnTo>
                        <a:pt x="115347" y="539405"/>
                      </a:lnTo>
                      <a:lnTo>
                        <a:pt x="110993" y="531434"/>
                      </a:lnTo>
                      <a:lnTo>
                        <a:pt x="104110" y="531434"/>
                      </a:lnTo>
                      <a:lnTo>
                        <a:pt x="98315" y="542671"/>
                      </a:lnTo>
                      <a:lnTo>
                        <a:pt x="82692" y="544496"/>
                      </a:lnTo>
                      <a:lnTo>
                        <a:pt x="81988" y="551379"/>
                      </a:lnTo>
                      <a:lnTo>
                        <a:pt x="7971" y="546288"/>
                      </a:lnTo>
                      <a:lnTo>
                        <a:pt x="0" y="546288"/>
                      </a:lnTo>
                      <a:lnTo>
                        <a:pt x="47509" y="570235"/>
                      </a:lnTo>
                      <a:lnTo>
                        <a:pt x="92137" y="592741"/>
                      </a:lnTo>
                      <a:lnTo>
                        <a:pt x="168682" y="630454"/>
                      </a:lnTo>
                      <a:lnTo>
                        <a:pt x="169771" y="624659"/>
                      </a:lnTo>
                      <a:lnTo>
                        <a:pt x="174829" y="630454"/>
                      </a:lnTo>
                      <a:lnTo>
                        <a:pt x="187891" y="623570"/>
                      </a:lnTo>
                      <a:lnTo>
                        <a:pt x="191893" y="620305"/>
                      </a:lnTo>
                      <a:lnTo>
                        <a:pt x="218720" y="624659"/>
                      </a:lnTo>
                      <a:lnTo>
                        <a:pt x="224899" y="597095"/>
                      </a:lnTo>
                      <a:lnTo>
                        <a:pt x="216928" y="579679"/>
                      </a:lnTo>
                      <a:lnTo>
                        <a:pt x="223811" y="575325"/>
                      </a:lnTo>
                      <a:lnTo>
                        <a:pt x="255024" y="572796"/>
                      </a:lnTo>
                      <a:lnTo>
                        <a:pt x="265877" y="560087"/>
                      </a:lnTo>
                      <a:lnTo>
                        <a:pt x="281500" y="553204"/>
                      </a:lnTo>
                      <a:lnTo>
                        <a:pt x="292737" y="557557"/>
                      </a:lnTo>
                      <a:lnTo>
                        <a:pt x="311593" y="575325"/>
                      </a:lnTo>
                      <a:lnTo>
                        <a:pt x="329745" y="575325"/>
                      </a:lnTo>
                      <a:lnTo>
                        <a:pt x="347865" y="563352"/>
                      </a:lnTo>
                      <a:lnTo>
                        <a:pt x="355485" y="540142"/>
                      </a:lnTo>
                      <a:lnTo>
                        <a:pt x="340982" y="543759"/>
                      </a:lnTo>
                      <a:lnTo>
                        <a:pt x="334803" y="540142"/>
                      </a:lnTo>
                      <a:lnTo>
                        <a:pt x="329745" y="536876"/>
                      </a:lnTo>
                      <a:lnTo>
                        <a:pt x="331538" y="520549"/>
                      </a:lnTo>
                      <a:lnTo>
                        <a:pt x="339157" y="525607"/>
                      </a:lnTo>
                      <a:lnTo>
                        <a:pt x="343511" y="521990"/>
                      </a:lnTo>
                      <a:lnTo>
                        <a:pt x="332274" y="499868"/>
                      </a:lnTo>
                      <a:lnTo>
                        <a:pt x="335892" y="490424"/>
                      </a:lnTo>
                      <a:lnTo>
                        <a:pt x="353692" y="487543"/>
                      </a:lnTo>
                      <a:lnTo>
                        <a:pt x="359838" y="464332"/>
                      </a:lnTo>
                      <a:lnTo>
                        <a:pt x="366753" y="458506"/>
                      </a:lnTo>
                      <a:lnTo>
                        <a:pt x="379815" y="454888"/>
                      </a:lnTo>
                      <a:lnTo>
                        <a:pt x="388139" y="459242"/>
                      </a:lnTo>
                      <a:lnTo>
                        <a:pt x="405555" y="439650"/>
                      </a:lnTo>
                      <a:lnTo>
                        <a:pt x="407379" y="417880"/>
                      </a:lnTo>
                      <a:lnTo>
                        <a:pt x="412438" y="412085"/>
                      </a:lnTo>
                      <a:lnTo>
                        <a:pt x="406291" y="395758"/>
                      </a:lnTo>
                      <a:lnTo>
                        <a:pt x="421146" y="384521"/>
                      </a:lnTo>
                      <a:lnTo>
                        <a:pt x="400464" y="371459"/>
                      </a:lnTo>
                      <a:lnTo>
                        <a:pt x="405555" y="368194"/>
                      </a:lnTo>
                      <a:lnTo>
                        <a:pt x="423707" y="368930"/>
                      </a:lnTo>
                      <a:lnTo>
                        <a:pt x="418264" y="358750"/>
                      </a:lnTo>
                      <a:lnTo>
                        <a:pt x="421882" y="350042"/>
                      </a:lnTo>
                      <a:lnTo>
                        <a:pt x="452711" y="347513"/>
                      </a:lnTo>
                      <a:lnTo>
                        <a:pt x="449446" y="343159"/>
                      </a:lnTo>
                      <a:lnTo>
                        <a:pt x="428765" y="339542"/>
                      </a:lnTo>
                      <a:lnTo>
                        <a:pt x="420057" y="343895"/>
                      </a:lnTo>
                      <a:lnTo>
                        <a:pt x="410645" y="340630"/>
                      </a:lnTo>
                      <a:lnTo>
                        <a:pt x="411349" y="336276"/>
                      </a:lnTo>
                      <a:lnTo>
                        <a:pt x="400464" y="334451"/>
                      </a:lnTo>
                      <a:lnTo>
                        <a:pt x="392493" y="311241"/>
                      </a:lnTo>
                      <a:lnTo>
                        <a:pt x="401937" y="266613"/>
                      </a:lnTo>
                      <a:lnTo>
                        <a:pt x="401937" y="243403"/>
                      </a:lnTo>
                      <a:lnTo>
                        <a:pt x="401937" y="234695"/>
                      </a:lnTo>
                      <a:lnTo>
                        <a:pt x="395022" y="232871"/>
                      </a:lnTo>
                      <a:lnTo>
                        <a:pt x="389964" y="217632"/>
                      </a:lnTo>
                      <a:lnTo>
                        <a:pt x="380520" y="215839"/>
                      </a:lnTo>
                      <a:lnTo>
                        <a:pt x="368546" y="225251"/>
                      </a:lnTo>
                      <a:lnTo>
                        <a:pt x="370371" y="233959"/>
                      </a:lnTo>
                      <a:lnTo>
                        <a:pt x="345336" y="223458"/>
                      </a:lnTo>
                      <a:lnTo>
                        <a:pt x="345336" y="239049"/>
                      </a:lnTo>
                      <a:lnTo>
                        <a:pt x="350426" y="243403"/>
                      </a:lnTo>
                      <a:lnTo>
                        <a:pt x="344248" y="249198"/>
                      </a:lnTo>
                      <a:lnTo>
                        <a:pt x="332274" y="250286"/>
                      </a:lnTo>
                      <a:lnTo>
                        <a:pt x="324655" y="258994"/>
                      </a:lnTo>
                      <a:lnTo>
                        <a:pt x="312682" y="258994"/>
                      </a:lnTo>
                      <a:lnTo>
                        <a:pt x="302181" y="239049"/>
                      </a:lnTo>
                      <a:lnTo>
                        <a:pt x="306535" y="227812"/>
                      </a:lnTo>
                      <a:lnTo>
                        <a:pt x="295266" y="220897"/>
                      </a:lnTo>
                      <a:lnTo>
                        <a:pt x="293473" y="214014"/>
                      </a:lnTo>
                      <a:lnTo>
                        <a:pt x="297827" y="209660"/>
                      </a:lnTo>
                      <a:lnTo>
                        <a:pt x="303270" y="214014"/>
                      </a:lnTo>
                      <a:lnTo>
                        <a:pt x="315243" y="227076"/>
                      </a:lnTo>
                      <a:lnTo>
                        <a:pt x="325391" y="228901"/>
                      </a:lnTo>
                      <a:lnTo>
                        <a:pt x="338453" y="224547"/>
                      </a:lnTo>
                      <a:lnTo>
                        <a:pt x="344248" y="207131"/>
                      </a:lnTo>
                      <a:lnTo>
                        <a:pt x="352219" y="201305"/>
                      </a:lnTo>
                      <a:lnTo>
                        <a:pt x="364929" y="200216"/>
                      </a:lnTo>
                      <a:lnTo>
                        <a:pt x="380520" y="190804"/>
                      </a:lnTo>
                      <a:lnTo>
                        <a:pt x="393581" y="190804"/>
                      </a:lnTo>
                      <a:lnTo>
                        <a:pt x="406291" y="182096"/>
                      </a:lnTo>
                      <a:lnTo>
                        <a:pt x="412438" y="186450"/>
                      </a:lnTo>
                      <a:lnTo>
                        <a:pt x="424411" y="182096"/>
                      </a:lnTo>
                      <a:lnTo>
                        <a:pt x="426236" y="175213"/>
                      </a:lnTo>
                      <a:lnTo>
                        <a:pt x="444356" y="161767"/>
                      </a:lnTo>
                      <a:lnTo>
                        <a:pt x="457065" y="141822"/>
                      </a:lnTo>
                      <a:lnTo>
                        <a:pt x="471952" y="138205"/>
                      </a:lnTo>
                      <a:lnTo>
                        <a:pt x="467598" y="132410"/>
                      </a:lnTo>
                      <a:lnTo>
                        <a:pt x="484629" y="123702"/>
                      </a:lnTo>
                      <a:lnTo>
                        <a:pt x="492249" y="121878"/>
                      </a:lnTo>
                      <a:lnTo>
                        <a:pt x="495162" y="116083"/>
                      </a:lnTo>
                      <a:lnTo>
                        <a:pt x="495162" y="114258"/>
                      </a:lnTo>
                      <a:lnTo>
                        <a:pt x="474481" y="114995"/>
                      </a:lnTo>
                      <a:lnTo>
                        <a:pt x="467598" y="110993"/>
                      </a:lnTo>
                      <a:lnTo>
                        <a:pt x="459594" y="114995"/>
                      </a:lnTo>
                      <a:lnTo>
                        <a:pt x="441474" y="104110"/>
                      </a:lnTo>
                      <a:lnTo>
                        <a:pt x="433119" y="108080"/>
                      </a:lnTo>
                      <a:lnTo>
                        <a:pt x="417528" y="88519"/>
                      </a:lnTo>
                      <a:lnTo>
                        <a:pt x="412438" y="74721"/>
                      </a:lnTo>
                      <a:lnTo>
                        <a:pt x="403730" y="69631"/>
                      </a:lnTo>
                      <a:lnTo>
                        <a:pt x="400464" y="56569"/>
                      </a:lnTo>
                      <a:lnTo>
                        <a:pt x="391052" y="52215"/>
                      </a:lnTo>
                      <a:lnTo>
                        <a:pt x="363488" y="57657"/>
                      </a:lnTo>
                      <a:lnTo>
                        <a:pt x="355485" y="90312"/>
                      </a:lnTo>
                      <a:lnTo>
                        <a:pt x="343511" y="82340"/>
                      </a:lnTo>
                      <a:lnTo>
                        <a:pt x="339157" y="79811"/>
                      </a:lnTo>
                      <a:lnTo>
                        <a:pt x="312682" y="72896"/>
                      </a:lnTo>
                      <a:lnTo>
                        <a:pt x="309800" y="75457"/>
                      </a:lnTo>
                      <a:lnTo>
                        <a:pt x="315243" y="88519"/>
                      </a:lnTo>
                      <a:lnTo>
                        <a:pt x="292737" y="91048"/>
                      </a:lnTo>
                      <a:lnTo>
                        <a:pt x="281500" y="95402"/>
                      </a:lnTo>
                      <a:lnTo>
                        <a:pt x="258290" y="99756"/>
                      </a:lnTo>
                      <a:lnTo>
                        <a:pt x="242667" y="96106"/>
                      </a:lnTo>
                      <a:lnTo>
                        <a:pt x="241963" y="90312"/>
                      </a:lnTo>
                      <a:lnTo>
                        <a:pt x="235784" y="91048"/>
                      </a:lnTo>
                      <a:lnTo>
                        <a:pt x="236872" y="76546"/>
                      </a:lnTo>
                      <a:lnTo>
                        <a:pt x="226340" y="45332"/>
                      </a:lnTo>
                      <a:lnTo>
                        <a:pt x="234343" y="40242"/>
                      </a:lnTo>
                      <a:lnTo>
                        <a:pt x="234343" y="32622"/>
                      </a:lnTo>
                      <a:lnTo>
                        <a:pt x="228165" y="29005"/>
                      </a:lnTo>
                      <a:lnTo>
                        <a:pt x="233255" y="11973"/>
                      </a:lnTo>
                      <a:lnTo>
                        <a:pt x="224899" y="11973"/>
                      </a:lnTo>
                      <a:lnTo>
                        <a:pt x="216191" y="9412"/>
                      </a:lnTo>
                      <a:lnTo>
                        <a:pt x="202425" y="4354"/>
                      </a:lnTo>
                      <a:lnTo>
                        <a:pt x="196246" y="9412"/>
                      </a:lnTo>
                      <a:lnTo>
                        <a:pt x="186098" y="941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E402FFCD-559D-E0A3-D828-8CB1FB0A866C}"/>
                    </a:ext>
                  </a:extLst>
                </p:cNvPr>
                <p:cNvSpPr/>
                <p:nvPr/>
              </p:nvSpPr>
              <p:spPr>
                <a:xfrm>
                  <a:off x="2696975" y="2741434"/>
                  <a:ext cx="495162" cy="630453"/>
                </a:xfrm>
                <a:custGeom>
                  <a:avLst/>
                  <a:gdLst>
                    <a:gd name="csX0" fmla="*/ 186098 w 495162"/>
                    <a:gd name="csY0" fmla="*/ 9412 h 630453"/>
                    <a:gd name="csX1" fmla="*/ 166121 w 495162"/>
                    <a:gd name="csY1" fmla="*/ 10148 h 630453"/>
                    <a:gd name="csX2" fmla="*/ 160327 w 495162"/>
                    <a:gd name="csY2" fmla="*/ 0 h 630453"/>
                    <a:gd name="csX3" fmla="*/ 133499 w 495162"/>
                    <a:gd name="csY3" fmla="*/ 17768 h 630453"/>
                    <a:gd name="csX4" fmla="*/ 140382 w 495162"/>
                    <a:gd name="csY4" fmla="*/ 40242 h 630453"/>
                    <a:gd name="csX5" fmla="*/ 131674 w 495162"/>
                    <a:gd name="csY5" fmla="*/ 54776 h 630453"/>
                    <a:gd name="csX6" fmla="*/ 135292 w 495162"/>
                    <a:gd name="csY6" fmla="*/ 76546 h 630453"/>
                    <a:gd name="csX7" fmla="*/ 145472 w 495162"/>
                    <a:gd name="csY7" fmla="*/ 89223 h 630453"/>
                    <a:gd name="csX8" fmla="*/ 146561 w 495162"/>
                    <a:gd name="csY8" fmla="*/ 107375 h 630453"/>
                    <a:gd name="csX9" fmla="*/ 140382 w 495162"/>
                    <a:gd name="csY9" fmla="*/ 118612 h 630453"/>
                    <a:gd name="csX10" fmla="*/ 142911 w 495162"/>
                    <a:gd name="csY10" fmla="*/ 128761 h 630453"/>
                    <a:gd name="csX11" fmla="*/ 161063 w 495162"/>
                    <a:gd name="csY11" fmla="*/ 130585 h 630453"/>
                    <a:gd name="csX12" fmla="*/ 163592 w 495162"/>
                    <a:gd name="csY12" fmla="*/ 139293 h 630453"/>
                    <a:gd name="csX13" fmla="*/ 158502 w 495162"/>
                    <a:gd name="csY13" fmla="*/ 142559 h 630453"/>
                    <a:gd name="csX14" fmla="*/ 159238 w 495162"/>
                    <a:gd name="csY14" fmla="*/ 149442 h 630453"/>
                    <a:gd name="csX15" fmla="*/ 171564 w 495162"/>
                    <a:gd name="csY15" fmla="*/ 150530 h 630453"/>
                    <a:gd name="csX16" fmla="*/ 165417 w 495162"/>
                    <a:gd name="csY16" fmla="*/ 167594 h 630453"/>
                    <a:gd name="csX17" fmla="*/ 153444 w 495162"/>
                    <a:gd name="csY17" fmla="*/ 162504 h 630453"/>
                    <a:gd name="csX18" fmla="*/ 147265 w 495162"/>
                    <a:gd name="csY18" fmla="*/ 172652 h 630453"/>
                    <a:gd name="csX19" fmla="*/ 139645 w 495162"/>
                    <a:gd name="csY19" fmla="*/ 177006 h 630453"/>
                    <a:gd name="csX20" fmla="*/ 140382 w 495162"/>
                    <a:gd name="csY20" fmla="*/ 181360 h 630453"/>
                    <a:gd name="csX21" fmla="*/ 140382 w 495162"/>
                    <a:gd name="csY21" fmla="*/ 183185 h 630453"/>
                    <a:gd name="csX22" fmla="*/ 125879 w 495162"/>
                    <a:gd name="csY22" fmla="*/ 204570 h 630453"/>
                    <a:gd name="csX23" fmla="*/ 131674 w 495162"/>
                    <a:gd name="csY23" fmla="*/ 221986 h 630453"/>
                    <a:gd name="csX24" fmla="*/ 149826 w 495162"/>
                    <a:gd name="csY24" fmla="*/ 230341 h 630453"/>
                    <a:gd name="csX25" fmla="*/ 159238 w 495162"/>
                    <a:gd name="csY25" fmla="*/ 245932 h 630453"/>
                    <a:gd name="csX26" fmla="*/ 154148 w 495162"/>
                    <a:gd name="csY26" fmla="*/ 320653 h 630453"/>
                    <a:gd name="csX27" fmla="*/ 161063 w 495162"/>
                    <a:gd name="csY27" fmla="*/ 325007 h 630453"/>
                    <a:gd name="csX28" fmla="*/ 158502 w 495162"/>
                    <a:gd name="csY28" fmla="*/ 331186 h 630453"/>
                    <a:gd name="csX29" fmla="*/ 161767 w 495162"/>
                    <a:gd name="csY29" fmla="*/ 334451 h 630453"/>
                    <a:gd name="csX30" fmla="*/ 167946 w 495162"/>
                    <a:gd name="csY30" fmla="*/ 350042 h 630453"/>
                    <a:gd name="csX31" fmla="*/ 157798 w 495162"/>
                    <a:gd name="csY31" fmla="*/ 350778 h 630453"/>
                    <a:gd name="csX32" fmla="*/ 145472 w 495162"/>
                    <a:gd name="csY32" fmla="*/ 343895 h 630453"/>
                    <a:gd name="csX33" fmla="*/ 133499 w 495162"/>
                    <a:gd name="csY33" fmla="*/ 353308 h 630453"/>
                    <a:gd name="csX34" fmla="*/ 130233 w 495162"/>
                    <a:gd name="csY34" fmla="*/ 387050 h 630453"/>
                    <a:gd name="csX35" fmla="*/ 121525 w 495162"/>
                    <a:gd name="csY35" fmla="*/ 393933 h 630453"/>
                    <a:gd name="csX36" fmla="*/ 114611 w 495162"/>
                    <a:gd name="csY36" fmla="*/ 408468 h 630453"/>
                    <a:gd name="csX37" fmla="*/ 112818 w 495162"/>
                    <a:gd name="csY37" fmla="*/ 410997 h 630453"/>
                    <a:gd name="csX38" fmla="*/ 112818 w 495162"/>
                    <a:gd name="csY38" fmla="*/ 457417 h 630453"/>
                    <a:gd name="csX39" fmla="*/ 115347 w 495162"/>
                    <a:gd name="csY39" fmla="*/ 460331 h 630453"/>
                    <a:gd name="csX40" fmla="*/ 130938 w 495162"/>
                    <a:gd name="csY40" fmla="*/ 480628 h 630453"/>
                    <a:gd name="csX41" fmla="*/ 128409 w 495162"/>
                    <a:gd name="csY41" fmla="*/ 487543 h 630453"/>
                    <a:gd name="csX42" fmla="*/ 137116 w 495162"/>
                    <a:gd name="csY42" fmla="*/ 492985 h 630453"/>
                    <a:gd name="csX43" fmla="*/ 143999 w 495162"/>
                    <a:gd name="csY43" fmla="*/ 510017 h 630453"/>
                    <a:gd name="csX44" fmla="*/ 143999 w 495162"/>
                    <a:gd name="csY44" fmla="*/ 517636 h 630453"/>
                    <a:gd name="csX45" fmla="*/ 129145 w 495162"/>
                    <a:gd name="csY45" fmla="*/ 523078 h 630453"/>
                    <a:gd name="csX46" fmla="*/ 125879 w 495162"/>
                    <a:gd name="csY46" fmla="*/ 528873 h 630453"/>
                    <a:gd name="csX47" fmla="*/ 115347 w 495162"/>
                    <a:gd name="csY47" fmla="*/ 539405 h 630453"/>
                    <a:gd name="csX48" fmla="*/ 110993 w 495162"/>
                    <a:gd name="csY48" fmla="*/ 531434 h 630453"/>
                    <a:gd name="csX49" fmla="*/ 104110 w 495162"/>
                    <a:gd name="csY49" fmla="*/ 531434 h 630453"/>
                    <a:gd name="csX50" fmla="*/ 98315 w 495162"/>
                    <a:gd name="csY50" fmla="*/ 542671 h 630453"/>
                    <a:gd name="csX51" fmla="*/ 82692 w 495162"/>
                    <a:gd name="csY51" fmla="*/ 544496 h 630453"/>
                    <a:gd name="csX52" fmla="*/ 81988 w 495162"/>
                    <a:gd name="csY52" fmla="*/ 551379 h 630453"/>
                    <a:gd name="csX53" fmla="*/ 7971 w 495162"/>
                    <a:gd name="csY53" fmla="*/ 546288 h 630453"/>
                    <a:gd name="csX54" fmla="*/ 0 w 495162"/>
                    <a:gd name="csY54" fmla="*/ 546288 h 630453"/>
                    <a:gd name="csX55" fmla="*/ 47509 w 495162"/>
                    <a:gd name="csY55" fmla="*/ 570235 h 630453"/>
                    <a:gd name="csX56" fmla="*/ 92137 w 495162"/>
                    <a:gd name="csY56" fmla="*/ 592741 h 630453"/>
                    <a:gd name="csX57" fmla="*/ 168682 w 495162"/>
                    <a:gd name="csY57" fmla="*/ 630454 h 630453"/>
                    <a:gd name="csX58" fmla="*/ 169771 w 495162"/>
                    <a:gd name="csY58" fmla="*/ 624659 h 630453"/>
                    <a:gd name="csX59" fmla="*/ 174829 w 495162"/>
                    <a:gd name="csY59" fmla="*/ 630454 h 630453"/>
                    <a:gd name="csX60" fmla="*/ 187891 w 495162"/>
                    <a:gd name="csY60" fmla="*/ 623570 h 630453"/>
                    <a:gd name="csX61" fmla="*/ 191893 w 495162"/>
                    <a:gd name="csY61" fmla="*/ 620305 h 630453"/>
                    <a:gd name="csX62" fmla="*/ 218720 w 495162"/>
                    <a:gd name="csY62" fmla="*/ 624659 h 630453"/>
                    <a:gd name="csX63" fmla="*/ 224899 w 495162"/>
                    <a:gd name="csY63" fmla="*/ 597095 h 630453"/>
                    <a:gd name="csX64" fmla="*/ 216928 w 495162"/>
                    <a:gd name="csY64" fmla="*/ 579679 h 630453"/>
                    <a:gd name="csX65" fmla="*/ 223811 w 495162"/>
                    <a:gd name="csY65" fmla="*/ 575325 h 630453"/>
                    <a:gd name="csX66" fmla="*/ 255024 w 495162"/>
                    <a:gd name="csY66" fmla="*/ 572796 h 630453"/>
                    <a:gd name="csX67" fmla="*/ 265877 w 495162"/>
                    <a:gd name="csY67" fmla="*/ 560087 h 630453"/>
                    <a:gd name="csX68" fmla="*/ 281500 w 495162"/>
                    <a:gd name="csY68" fmla="*/ 553204 h 630453"/>
                    <a:gd name="csX69" fmla="*/ 292737 w 495162"/>
                    <a:gd name="csY69" fmla="*/ 557557 h 630453"/>
                    <a:gd name="csX70" fmla="*/ 311593 w 495162"/>
                    <a:gd name="csY70" fmla="*/ 575325 h 630453"/>
                    <a:gd name="csX71" fmla="*/ 329745 w 495162"/>
                    <a:gd name="csY71" fmla="*/ 575325 h 630453"/>
                    <a:gd name="csX72" fmla="*/ 347865 w 495162"/>
                    <a:gd name="csY72" fmla="*/ 563352 h 630453"/>
                    <a:gd name="csX73" fmla="*/ 355485 w 495162"/>
                    <a:gd name="csY73" fmla="*/ 540142 h 630453"/>
                    <a:gd name="csX74" fmla="*/ 340982 w 495162"/>
                    <a:gd name="csY74" fmla="*/ 543759 h 630453"/>
                    <a:gd name="csX75" fmla="*/ 334803 w 495162"/>
                    <a:gd name="csY75" fmla="*/ 540142 h 630453"/>
                    <a:gd name="csX76" fmla="*/ 329745 w 495162"/>
                    <a:gd name="csY76" fmla="*/ 536876 h 630453"/>
                    <a:gd name="csX77" fmla="*/ 331538 w 495162"/>
                    <a:gd name="csY77" fmla="*/ 520549 h 630453"/>
                    <a:gd name="csX78" fmla="*/ 339157 w 495162"/>
                    <a:gd name="csY78" fmla="*/ 525607 h 630453"/>
                    <a:gd name="csX79" fmla="*/ 343511 w 495162"/>
                    <a:gd name="csY79" fmla="*/ 521990 h 630453"/>
                    <a:gd name="csX80" fmla="*/ 332274 w 495162"/>
                    <a:gd name="csY80" fmla="*/ 499868 h 630453"/>
                    <a:gd name="csX81" fmla="*/ 335892 w 495162"/>
                    <a:gd name="csY81" fmla="*/ 490424 h 630453"/>
                    <a:gd name="csX82" fmla="*/ 353692 w 495162"/>
                    <a:gd name="csY82" fmla="*/ 487543 h 630453"/>
                    <a:gd name="csX83" fmla="*/ 359838 w 495162"/>
                    <a:gd name="csY83" fmla="*/ 464332 h 630453"/>
                    <a:gd name="csX84" fmla="*/ 366753 w 495162"/>
                    <a:gd name="csY84" fmla="*/ 458506 h 630453"/>
                    <a:gd name="csX85" fmla="*/ 379815 w 495162"/>
                    <a:gd name="csY85" fmla="*/ 454888 h 630453"/>
                    <a:gd name="csX86" fmla="*/ 388139 w 495162"/>
                    <a:gd name="csY86" fmla="*/ 459242 h 630453"/>
                    <a:gd name="csX87" fmla="*/ 405555 w 495162"/>
                    <a:gd name="csY87" fmla="*/ 439650 h 630453"/>
                    <a:gd name="csX88" fmla="*/ 407379 w 495162"/>
                    <a:gd name="csY88" fmla="*/ 417880 h 630453"/>
                    <a:gd name="csX89" fmla="*/ 412438 w 495162"/>
                    <a:gd name="csY89" fmla="*/ 412085 h 630453"/>
                    <a:gd name="csX90" fmla="*/ 406291 w 495162"/>
                    <a:gd name="csY90" fmla="*/ 395758 h 630453"/>
                    <a:gd name="csX91" fmla="*/ 421146 w 495162"/>
                    <a:gd name="csY91" fmla="*/ 384521 h 630453"/>
                    <a:gd name="csX92" fmla="*/ 400464 w 495162"/>
                    <a:gd name="csY92" fmla="*/ 371459 h 630453"/>
                    <a:gd name="csX93" fmla="*/ 405555 w 495162"/>
                    <a:gd name="csY93" fmla="*/ 368194 h 630453"/>
                    <a:gd name="csX94" fmla="*/ 423707 w 495162"/>
                    <a:gd name="csY94" fmla="*/ 368930 h 630453"/>
                    <a:gd name="csX95" fmla="*/ 418264 w 495162"/>
                    <a:gd name="csY95" fmla="*/ 358750 h 630453"/>
                    <a:gd name="csX96" fmla="*/ 421882 w 495162"/>
                    <a:gd name="csY96" fmla="*/ 350042 h 630453"/>
                    <a:gd name="csX97" fmla="*/ 452711 w 495162"/>
                    <a:gd name="csY97" fmla="*/ 347513 h 630453"/>
                    <a:gd name="csX98" fmla="*/ 449446 w 495162"/>
                    <a:gd name="csY98" fmla="*/ 343159 h 630453"/>
                    <a:gd name="csX99" fmla="*/ 428765 w 495162"/>
                    <a:gd name="csY99" fmla="*/ 339542 h 630453"/>
                    <a:gd name="csX100" fmla="*/ 420057 w 495162"/>
                    <a:gd name="csY100" fmla="*/ 343895 h 630453"/>
                    <a:gd name="csX101" fmla="*/ 410645 w 495162"/>
                    <a:gd name="csY101" fmla="*/ 340630 h 630453"/>
                    <a:gd name="csX102" fmla="*/ 411349 w 495162"/>
                    <a:gd name="csY102" fmla="*/ 336276 h 630453"/>
                    <a:gd name="csX103" fmla="*/ 400464 w 495162"/>
                    <a:gd name="csY103" fmla="*/ 334451 h 630453"/>
                    <a:gd name="csX104" fmla="*/ 392493 w 495162"/>
                    <a:gd name="csY104" fmla="*/ 311241 h 630453"/>
                    <a:gd name="csX105" fmla="*/ 401937 w 495162"/>
                    <a:gd name="csY105" fmla="*/ 266613 h 630453"/>
                    <a:gd name="csX106" fmla="*/ 401937 w 495162"/>
                    <a:gd name="csY106" fmla="*/ 243403 h 630453"/>
                    <a:gd name="csX107" fmla="*/ 401937 w 495162"/>
                    <a:gd name="csY107" fmla="*/ 234695 h 630453"/>
                    <a:gd name="csX108" fmla="*/ 395022 w 495162"/>
                    <a:gd name="csY108" fmla="*/ 232871 h 630453"/>
                    <a:gd name="csX109" fmla="*/ 389964 w 495162"/>
                    <a:gd name="csY109" fmla="*/ 217632 h 630453"/>
                    <a:gd name="csX110" fmla="*/ 380520 w 495162"/>
                    <a:gd name="csY110" fmla="*/ 215839 h 630453"/>
                    <a:gd name="csX111" fmla="*/ 368546 w 495162"/>
                    <a:gd name="csY111" fmla="*/ 225251 h 630453"/>
                    <a:gd name="csX112" fmla="*/ 370371 w 495162"/>
                    <a:gd name="csY112" fmla="*/ 233959 h 630453"/>
                    <a:gd name="csX113" fmla="*/ 345336 w 495162"/>
                    <a:gd name="csY113" fmla="*/ 223458 h 630453"/>
                    <a:gd name="csX114" fmla="*/ 345336 w 495162"/>
                    <a:gd name="csY114" fmla="*/ 239049 h 630453"/>
                    <a:gd name="csX115" fmla="*/ 350426 w 495162"/>
                    <a:gd name="csY115" fmla="*/ 243403 h 630453"/>
                    <a:gd name="csX116" fmla="*/ 344248 w 495162"/>
                    <a:gd name="csY116" fmla="*/ 249198 h 630453"/>
                    <a:gd name="csX117" fmla="*/ 332274 w 495162"/>
                    <a:gd name="csY117" fmla="*/ 250286 h 630453"/>
                    <a:gd name="csX118" fmla="*/ 324655 w 495162"/>
                    <a:gd name="csY118" fmla="*/ 258994 h 630453"/>
                    <a:gd name="csX119" fmla="*/ 312682 w 495162"/>
                    <a:gd name="csY119" fmla="*/ 258994 h 630453"/>
                    <a:gd name="csX120" fmla="*/ 302181 w 495162"/>
                    <a:gd name="csY120" fmla="*/ 239049 h 630453"/>
                    <a:gd name="csX121" fmla="*/ 306535 w 495162"/>
                    <a:gd name="csY121" fmla="*/ 227812 h 630453"/>
                    <a:gd name="csX122" fmla="*/ 295266 w 495162"/>
                    <a:gd name="csY122" fmla="*/ 220897 h 630453"/>
                    <a:gd name="csX123" fmla="*/ 293473 w 495162"/>
                    <a:gd name="csY123" fmla="*/ 214014 h 630453"/>
                    <a:gd name="csX124" fmla="*/ 297827 w 495162"/>
                    <a:gd name="csY124" fmla="*/ 209660 h 630453"/>
                    <a:gd name="csX125" fmla="*/ 303270 w 495162"/>
                    <a:gd name="csY125" fmla="*/ 214014 h 630453"/>
                    <a:gd name="csX126" fmla="*/ 315243 w 495162"/>
                    <a:gd name="csY126" fmla="*/ 227076 h 630453"/>
                    <a:gd name="csX127" fmla="*/ 325391 w 495162"/>
                    <a:gd name="csY127" fmla="*/ 228901 h 630453"/>
                    <a:gd name="csX128" fmla="*/ 338453 w 495162"/>
                    <a:gd name="csY128" fmla="*/ 224547 h 630453"/>
                    <a:gd name="csX129" fmla="*/ 344248 w 495162"/>
                    <a:gd name="csY129" fmla="*/ 207131 h 630453"/>
                    <a:gd name="csX130" fmla="*/ 352219 w 495162"/>
                    <a:gd name="csY130" fmla="*/ 201305 h 630453"/>
                    <a:gd name="csX131" fmla="*/ 364929 w 495162"/>
                    <a:gd name="csY131" fmla="*/ 200216 h 630453"/>
                    <a:gd name="csX132" fmla="*/ 380520 w 495162"/>
                    <a:gd name="csY132" fmla="*/ 190804 h 630453"/>
                    <a:gd name="csX133" fmla="*/ 393581 w 495162"/>
                    <a:gd name="csY133" fmla="*/ 190804 h 630453"/>
                    <a:gd name="csX134" fmla="*/ 406291 w 495162"/>
                    <a:gd name="csY134" fmla="*/ 182096 h 630453"/>
                    <a:gd name="csX135" fmla="*/ 412438 w 495162"/>
                    <a:gd name="csY135" fmla="*/ 186450 h 630453"/>
                    <a:gd name="csX136" fmla="*/ 424411 w 495162"/>
                    <a:gd name="csY136" fmla="*/ 182096 h 630453"/>
                    <a:gd name="csX137" fmla="*/ 426236 w 495162"/>
                    <a:gd name="csY137" fmla="*/ 175213 h 630453"/>
                    <a:gd name="csX138" fmla="*/ 444356 w 495162"/>
                    <a:gd name="csY138" fmla="*/ 161767 h 630453"/>
                    <a:gd name="csX139" fmla="*/ 457065 w 495162"/>
                    <a:gd name="csY139" fmla="*/ 141822 h 630453"/>
                    <a:gd name="csX140" fmla="*/ 471952 w 495162"/>
                    <a:gd name="csY140" fmla="*/ 138205 h 630453"/>
                    <a:gd name="csX141" fmla="*/ 467598 w 495162"/>
                    <a:gd name="csY141" fmla="*/ 132410 h 630453"/>
                    <a:gd name="csX142" fmla="*/ 484629 w 495162"/>
                    <a:gd name="csY142" fmla="*/ 123702 h 630453"/>
                    <a:gd name="csX143" fmla="*/ 492249 w 495162"/>
                    <a:gd name="csY143" fmla="*/ 121878 h 630453"/>
                    <a:gd name="csX144" fmla="*/ 495162 w 495162"/>
                    <a:gd name="csY144" fmla="*/ 116083 h 630453"/>
                    <a:gd name="csX145" fmla="*/ 495162 w 495162"/>
                    <a:gd name="csY145" fmla="*/ 114258 h 630453"/>
                    <a:gd name="csX146" fmla="*/ 474481 w 495162"/>
                    <a:gd name="csY146" fmla="*/ 114995 h 630453"/>
                    <a:gd name="csX147" fmla="*/ 467598 w 495162"/>
                    <a:gd name="csY147" fmla="*/ 110993 h 630453"/>
                    <a:gd name="csX148" fmla="*/ 459594 w 495162"/>
                    <a:gd name="csY148" fmla="*/ 114995 h 630453"/>
                    <a:gd name="csX149" fmla="*/ 441474 w 495162"/>
                    <a:gd name="csY149" fmla="*/ 104110 h 630453"/>
                    <a:gd name="csX150" fmla="*/ 433119 w 495162"/>
                    <a:gd name="csY150" fmla="*/ 108080 h 630453"/>
                    <a:gd name="csX151" fmla="*/ 417528 w 495162"/>
                    <a:gd name="csY151" fmla="*/ 88519 h 630453"/>
                    <a:gd name="csX152" fmla="*/ 412438 w 495162"/>
                    <a:gd name="csY152" fmla="*/ 74721 h 630453"/>
                    <a:gd name="csX153" fmla="*/ 403730 w 495162"/>
                    <a:gd name="csY153" fmla="*/ 69631 h 630453"/>
                    <a:gd name="csX154" fmla="*/ 400464 w 495162"/>
                    <a:gd name="csY154" fmla="*/ 56569 h 630453"/>
                    <a:gd name="csX155" fmla="*/ 391052 w 495162"/>
                    <a:gd name="csY155" fmla="*/ 52215 h 630453"/>
                    <a:gd name="csX156" fmla="*/ 363488 w 495162"/>
                    <a:gd name="csY156" fmla="*/ 57657 h 630453"/>
                    <a:gd name="csX157" fmla="*/ 355485 w 495162"/>
                    <a:gd name="csY157" fmla="*/ 90312 h 630453"/>
                    <a:gd name="csX158" fmla="*/ 343511 w 495162"/>
                    <a:gd name="csY158" fmla="*/ 82340 h 630453"/>
                    <a:gd name="csX159" fmla="*/ 339157 w 495162"/>
                    <a:gd name="csY159" fmla="*/ 79811 h 630453"/>
                    <a:gd name="csX160" fmla="*/ 312682 w 495162"/>
                    <a:gd name="csY160" fmla="*/ 72896 h 630453"/>
                    <a:gd name="csX161" fmla="*/ 309800 w 495162"/>
                    <a:gd name="csY161" fmla="*/ 75457 h 630453"/>
                    <a:gd name="csX162" fmla="*/ 315243 w 495162"/>
                    <a:gd name="csY162" fmla="*/ 88519 h 630453"/>
                    <a:gd name="csX163" fmla="*/ 292737 w 495162"/>
                    <a:gd name="csY163" fmla="*/ 91048 h 630453"/>
                    <a:gd name="csX164" fmla="*/ 281500 w 495162"/>
                    <a:gd name="csY164" fmla="*/ 95402 h 630453"/>
                    <a:gd name="csX165" fmla="*/ 258290 w 495162"/>
                    <a:gd name="csY165" fmla="*/ 99756 h 630453"/>
                    <a:gd name="csX166" fmla="*/ 242667 w 495162"/>
                    <a:gd name="csY166" fmla="*/ 96106 h 630453"/>
                    <a:gd name="csX167" fmla="*/ 241963 w 495162"/>
                    <a:gd name="csY167" fmla="*/ 90312 h 630453"/>
                    <a:gd name="csX168" fmla="*/ 235784 w 495162"/>
                    <a:gd name="csY168" fmla="*/ 91048 h 630453"/>
                    <a:gd name="csX169" fmla="*/ 236872 w 495162"/>
                    <a:gd name="csY169" fmla="*/ 76546 h 630453"/>
                    <a:gd name="csX170" fmla="*/ 226340 w 495162"/>
                    <a:gd name="csY170" fmla="*/ 45332 h 630453"/>
                    <a:gd name="csX171" fmla="*/ 234343 w 495162"/>
                    <a:gd name="csY171" fmla="*/ 40242 h 630453"/>
                    <a:gd name="csX172" fmla="*/ 234343 w 495162"/>
                    <a:gd name="csY172" fmla="*/ 32622 h 630453"/>
                    <a:gd name="csX173" fmla="*/ 228165 w 495162"/>
                    <a:gd name="csY173" fmla="*/ 29005 h 630453"/>
                    <a:gd name="csX174" fmla="*/ 233255 w 495162"/>
                    <a:gd name="csY174" fmla="*/ 11973 h 630453"/>
                    <a:gd name="csX175" fmla="*/ 224899 w 495162"/>
                    <a:gd name="csY175" fmla="*/ 11973 h 630453"/>
                    <a:gd name="csX176" fmla="*/ 216191 w 495162"/>
                    <a:gd name="csY176" fmla="*/ 9412 h 630453"/>
                    <a:gd name="csX177" fmla="*/ 202425 w 495162"/>
                    <a:gd name="csY177" fmla="*/ 4354 h 630453"/>
                    <a:gd name="csX178" fmla="*/ 196246 w 495162"/>
                    <a:gd name="csY178" fmla="*/ 9412 h 630453"/>
                    <a:gd name="csX179" fmla="*/ 186098 w 495162"/>
                    <a:gd name="csY179" fmla="*/ 9412 h 6304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</a:cxnLst>
                  <a:rect l="l" t="t" r="r" b="b"/>
                  <a:pathLst>
                    <a:path w="495162" h="630453">
                      <a:moveTo>
                        <a:pt x="186098" y="9412"/>
                      </a:moveTo>
                      <a:lnTo>
                        <a:pt x="166121" y="10148"/>
                      </a:lnTo>
                      <a:lnTo>
                        <a:pt x="160327" y="0"/>
                      </a:lnTo>
                      <a:lnTo>
                        <a:pt x="133499" y="17768"/>
                      </a:lnTo>
                      <a:lnTo>
                        <a:pt x="140382" y="40242"/>
                      </a:lnTo>
                      <a:lnTo>
                        <a:pt x="131674" y="54776"/>
                      </a:lnTo>
                      <a:lnTo>
                        <a:pt x="135292" y="76546"/>
                      </a:lnTo>
                      <a:lnTo>
                        <a:pt x="145472" y="89223"/>
                      </a:lnTo>
                      <a:lnTo>
                        <a:pt x="146561" y="107375"/>
                      </a:lnTo>
                      <a:lnTo>
                        <a:pt x="140382" y="118612"/>
                      </a:lnTo>
                      <a:lnTo>
                        <a:pt x="142911" y="128761"/>
                      </a:lnTo>
                      <a:lnTo>
                        <a:pt x="161063" y="130585"/>
                      </a:lnTo>
                      <a:lnTo>
                        <a:pt x="163592" y="139293"/>
                      </a:lnTo>
                      <a:lnTo>
                        <a:pt x="158502" y="142559"/>
                      </a:lnTo>
                      <a:lnTo>
                        <a:pt x="159238" y="149442"/>
                      </a:lnTo>
                      <a:lnTo>
                        <a:pt x="171564" y="150530"/>
                      </a:lnTo>
                      <a:lnTo>
                        <a:pt x="165417" y="167594"/>
                      </a:lnTo>
                      <a:lnTo>
                        <a:pt x="153444" y="162504"/>
                      </a:lnTo>
                      <a:lnTo>
                        <a:pt x="147265" y="172652"/>
                      </a:lnTo>
                      <a:lnTo>
                        <a:pt x="139645" y="177006"/>
                      </a:lnTo>
                      <a:lnTo>
                        <a:pt x="140382" y="181360"/>
                      </a:lnTo>
                      <a:lnTo>
                        <a:pt x="140382" y="183185"/>
                      </a:lnTo>
                      <a:lnTo>
                        <a:pt x="125879" y="204570"/>
                      </a:lnTo>
                      <a:lnTo>
                        <a:pt x="131674" y="221986"/>
                      </a:lnTo>
                      <a:lnTo>
                        <a:pt x="149826" y="230341"/>
                      </a:lnTo>
                      <a:lnTo>
                        <a:pt x="159238" y="245932"/>
                      </a:lnTo>
                      <a:lnTo>
                        <a:pt x="154148" y="320653"/>
                      </a:lnTo>
                      <a:lnTo>
                        <a:pt x="161063" y="325007"/>
                      </a:lnTo>
                      <a:lnTo>
                        <a:pt x="158502" y="331186"/>
                      </a:lnTo>
                      <a:lnTo>
                        <a:pt x="161767" y="334451"/>
                      </a:lnTo>
                      <a:lnTo>
                        <a:pt x="167946" y="350042"/>
                      </a:lnTo>
                      <a:lnTo>
                        <a:pt x="157798" y="350778"/>
                      </a:lnTo>
                      <a:lnTo>
                        <a:pt x="145472" y="343895"/>
                      </a:lnTo>
                      <a:lnTo>
                        <a:pt x="133499" y="353308"/>
                      </a:lnTo>
                      <a:lnTo>
                        <a:pt x="130233" y="387050"/>
                      </a:lnTo>
                      <a:lnTo>
                        <a:pt x="121525" y="393933"/>
                      </a:lnTo>
                      <a:lnTo>
                        <a:pt x="114611" y="408468"/>
                      </a:lnTo>
                      <a:lnTo>
                        <a:pt x="112818" y="410997"/>
                      </a:lnTo>
                      <a:lnTo>
                        <a:pt x="112818" y="457417"/>
                      </a:lnTo>
                      <a:lnTo>
                        <a:pt x="115347" y="460331"/>
                      </a:lnTo>
                      <a:lnTo>
                        <a:pt x="130938" y="480628"/>
                      </a:lnTo>
                      <a:lnTo>
                        <a:pt x="128409" y="487543"/>
                      </a:lnTo>
                      <a:lnTo>
                        <a:pt x="137116" y="492985"/>
                      </a:lnTo>
                      <a:lnTo>
                        <a:pt x="143999" y="510017"/>
                      </a:lnTo>
                      <a:lnTo>
                        <a:pt x="143999" y="517636"/>
                      </a:lnTo>
                      <a:lnTo>
                        <a:pt x="129145" y="523078"/>
                      </a:lnTo>
                      <a:lnTo>
                        <a:pt x="125879" y="528873"/>
                      </a:lnTo>
                      <a:lnTo>
                        <a:pt x="115347" y="539405"/>
                      </a:lnTo>
                      <a:lnTo>
                        <a:pt x="110993" y="531434"/>
                      </a:lnTo>
                      <a:lnTo>
                        <a:pt x="104110" y="531434"/>
                      </a:lnTo>
                      <a:lnTo>
                        <a:pt x="98315" y="542671"/>
                      </a:lnTo>
                      <a:lnTo>
                        <a:pt x="82692" y="544496"/>
                      </a:lnTo>
                      <a:lnTo>
                        <a:pt x="81988" y="551379"/>
                      </a:lnTo>
                      <a:lnTo>
                        <a:pt x="7971" y="546288"/>
                      </a:lnTo>
                      <a:lnTo>
                        <a:pt x="0" y="546288"/>
                      </a:lnTo>
                      <a:lnTo>
                        <a:pt x="47509" y="570235"/>
                      </a:lnTo>
                      <a:lnTo>
                        <a:pt x="92137" y="592741"/>
                      </a:lnTo>
                      <a:lnTo>
                        <a:pt x="168682" y="630454"/>
                      </a:lnTo>
                      <a:lnTo>
                        <a:pt x="169771" y="624659"/>
                      </a:lnTo>
                      <a:lnTo>
                        <a:pt x="174829" y="630454"/>
                      </a:lnTo>
                      <a:lnTo>
                        <a:pt x="187891" y="623570"/>
                      </a:lnTo>
                      <a:lnTo>
                        <a:pt x="191893" y="620305"/>
                      </a:lnTo>
                      <a:lnTo>
                        <a:pt x="218720" y="624659"/>
                      </a:lnTo>
                      <a:lnTo>
                        <a:pt x="224899" y="597095"/>
                      </a:lnTo>
                      <a:lnTo>
                        <a:pt x="216928" y="579679"/>
                      </a:lnTo>
                      <a:lnTo>
                        <a:pt x="223811" y="575325"/>
                      </a:lnTo>
                      <a:lnTo>
                        <a:pt x="255024" y="572796"/>
                      </a:lnTo>
                      <a:lnTo>
                        <a:pt x="265877" y="560087"/>
                      </a:lnTo>
                      <a:lnTo>
                        <a:pt x="281500" y="553204"/>
                      </a:lnTo>
                      <a:lnTo>
                        <a:pt x="292737" y="557557"/>
                      </a:lnTo>
                      <a:lnTo>
                        <a:pt x="311593" y="575325"/>
                      </a:lnTo>
                      <a:lnTo>
                        <a:pt x="329745" y="575325"/>
                      </a:lnTo>
                      <a:lnTo>
                        <a:pt x="347865" y="563352"/>
                      </a:lnTo>
                      <a:lnTo>
                        <a:pt x="355485" y="540142"/>
                      </a:lnTo>
                      <a:lnTo>
                        <a:pt x="340982" y="543759"/>
                      </a:lnTo>
                      <a:lnTo>
                        <a:pt x="334803" y="540142"/>
                      </a:lnTo>
                      <a:lnTo>
                        <a:pt x="329745" y="536876"/>
                      </a:lnTo>
                      <a:lnTo>
                        <a:pt x="331538" y="520549"/>
                      </a:lnTo>
                      <a:lnTo>
                        <a:pt x="339157" y="525607"/>
                      </a:lnTo>
                      <a:lnTo>
                        <a:pt x="343511" y="521990"/>
                      </a:lnTo>
                      <a:lnTo>
                        <a:pt x="332274" y="499868"/>
                      </a:lnTo>
                      <a:lnTo>
                        <a:pt x="335892" y="490424"/>
                      </a:lnTo>
                      <a:lnTo>
                        <a:pt x="353692" y="487543"/>
                      </a:lnTo>
                      <a:lnTo>
                        <a:pt x="359838" y="464332"/>
                      </a:lnTo>
                      <a:lnTo>
                        <a:pt x="366753" y="458506"/>
                      </a:lnTo>
                      <a:lnTo>
                        <a:pt x="379815" y="454888"/>
                      </a:lnTo>
                      <a:lnTo>
                        <a:pt x="388139" y="459242"/>
                      </a:lnTo>
                      <a:lnTo>
                        <a:pt x="405555" y="439650"/>
                      </a:lnTo>
                      <a:lnTo>
                        <a:pt x="407379" y="417880"/>
                      </a:lnTo>
                      <a:lnTo>
                        <a:pt x="412438" y="412085"/>
                      </a:lnTo>
                      <a:lnTo>
                        <a:pt x="406291" y="395758"/>
                      </a:lnTo>
                      <a:lnTo>
                        <a:pt x="421146" y="384521"/>
                      </a:lnTo>
                      <a:lnTo>
                        <a:pt x="400464" y="371459"/>
                      </a:lnTo>
                      <a:lnTo>
                        <a:pt x="405555" y="368194"/>
                      </a:lnTo>
                      <a:lnTo>
                        <a:pt x="423707" y="368930"/>
                      </a:lnTo>
                      <a:lnTo>
                        <a:pt x="418264" y="358750"/>
                      </a:lnTo>
                      <a:lnTo>
                        <a:pt x="421882" y="350042"/>
                      </a:lnTo>
                      <a:lnTo>
                        <a:pt x="452711" y="347513"/>
                      </a:lnTo>
                      <a:lnTo>
                        <a:pt x="449446" y="343159"/>
                      </a:lnTo>
                      <a:lnTo>
                        <a:pt x="428765" y="339542"/>
                      </a:lnTo>
                      <a:lnTo>
                        <a:pt x="420057" y="343895"/>
                      </a:lnTo>
                      <a:lnTo>
                        <a:pt x="410645" y="340630"/>
                      </a:lnTo>
                      <a:lnTo>
                        <a:pt x="411349" y="336276"/>
                      </a:lnTo>
                      <a:lnTo>
                        <a:pt x="400464" y="334451"/>
                      </a:lnTo>
                      <a:lnTo>
                        <a:pt x="392493" y="311241"/>
                      </a:lnTo>
                      <a:lnTo>
                        <a:pt x="401937" y="266613"/>
                      </a:lnTo>
                      <a:lnTo>
                        <a:pt x="401937" y="243403"/>
                      </a:lnTo>
                      <a:lnTo>
                        <a:pt x="401937" y="234695"/>
                      </a:lnTo>
                      <a:lnTo>
                        <a:pt x="395022" y="232871"/>
                      </a:lnTo>
                      <a:lnTo>
                        <a:pt x="389964" y="217632"/>
                      </a:lnTo>
                      <a:lnTo>
                        <a:pt x="380520" y="215839"/>
                      </a:lnTo>
                      <a:lnTo>
                        <a:pt x="368546" y="225251"/>
                      </a:lnTo>
                      <a:lnTo>
                        <a:pt x="370371" y="233959"/>
                      </a:lnTo>
                      <a:lnTo>
                        <a:pt x="345336" y="223458"/>
                      </a:lnTo>
                      <a:lnTo>
                        <a:pt x="345336" y="239049"/>
                      </a:lnTo>
                      <a:lnTo>
                        <a:pt x="350426" y="243403"/>
                      </a:lnTo>
                      <a:lnTo>
                        <a:pt x="344248" y="249198"/>
                      </a:lnTo>
                      <a:lnTo>
                        <a:pt x="332274" y="250286"/>
                      </a:lnTo>
                      <a:lnTo>
                        <a:pt x="324655" y="258994"/>
                      </a:lnTo>
                      <a:lnTo>
                        <a:pt x="312682" y="258994"/>
                      </a:lnTo>
                      <a:lnTo>
                        <a:pt x="302181" y="239049"/>
                      </a:lnTo>
                      <a:lnTo>
                        <a:pt x="306535" y="227812"/>
                      </a:lnTo>
                      <a:lnTo>
                        <a:pt x="295266" y="220897"/>
                      </a:lnTo>
                      <a:lnTo>
                        <a:pt x="293473" y="214014"/>
                      </a:lnTo>
                      <a:lnTo>
                        <a:pt x="297827" y="209660"/>
                      </a:lnTo>
                      <a:lnTo>
                        <a:pt x="303270" y="214014"/>
                      </a:lnTo>
                      <a:lnTo>
                        <a:pt x="315243" y="227076"/>
                      </a:lnTo>
                      <a:lnTo>
                        <a:pt x="325391" y="228901"/>
                      </a:lnTo>
                      <a:lnTo>
                        <a:pt x="338453" y="224547"/>
                      </a:lnTo>
                      <a:lnTo>
                        <a:pt x="344248" y="207131"/>
                      </a:lnTo>
                      <a:lnTo>
                        <a:pt x="352219" y="201305"/>
                      </a:lnTo>
                      <a:lnTo>
                        <a:pt x="364929" y="200216"/>
                      </a:lnTo>
                      <a:lnTo>
                        <a:pt x="380520" y="190804"/>
                      </a:lnTo>
                      <a:lnTo>
                        <a:pt x="393581" y="190804"/>
                      </a:lnTo>
                      <a:lnTo>
                        <a:pt x="406291" y="182096"/>
                      </a:lnTo>
                      <a:lnTo>
                        <a:pt x="412438" y="186450"/>
                      </a:lnTo>
                      <a:lnTo>
                        <a:pt x="424411" y="182096"/>
                      </a:lnTo>
                      <a:lnTo>
                        <a:pt x="426236" y="175213"/>
                      </a:lnTo>
                      <a:lnTo>
                        <a:pt x="444356" y="161767"/>
                      </a:lnTo>
                      <a:lnTo>
                        <a:pt x="457065" y="141822"/>
                      </a:lnTo>
                      <a:lnTo>
                        <a:pt x="471952" y="138205"/>
                      </a:lnTo>
                      <a:lnTo>
                        <a:pt x="467598" y="132410"/>
                      </a:lnTo>
                      <a:lnTo>
                        <a:pt x="484629" y="123702"/>
                      </a:lnTo>
                      <a:lnTo>
                        <a:pt x="492249" y="121878"/>
                      </a:lnTo>
                      <a:lnTo>
                        <a:pt x="495162" y="116083"/>
                      </a:lnTo>
                      <a:lnTo>
                        <a:pt x="495162" y="114258"/>
                      </a:lnTo>
                      <a:lnTo>
                        <a:pt x="474481" y="114995"/>
                      </a:lnTo>
                      <a:lnTo>
                        <a:pt x="467598" y="110993"/>
                      </a:lnTo>
                      <a:lnTo>
                        <a:pt x="459594" y="114995"/>
                      </a:lnTo>
                      <a:lnTo>
                        <a:pt x="441474" y="104110"/>
                      </a:lnTo>
                      <a:lnTo>
                        <a:pt x="433119" y="108080"/>
                      </a:lnTo>
                      <a:lnTo>
                        <a:pt x="417528" y="88519"/>
                      </a:lnTo>
                      <a:lnTo>
                        <a:pt x="412438" y="74721"/>
                      </a:lnTo>
                      <a:lnTo>
                        <a:pt x="403730" y="69631"/>
                      </a:lnTo>
                      <a:lnTo>
                        <a:pt x="400464" y="56569"/>
                      </a:lnTo>
                      <a:lnTo>
                        <a:pt x="391052" y="52215"/>
                      </a:lnTo>
                      <a:lnTo>
                        <a:pt x="363488" y="57657"/>
                      </a:lnTo>
                      <a:lnTo>
                        <a:pt x="355485" y="90312"/>
                      </a:lnTo>
                      <a:lnTo>
                        <a:pt x="343511" y="82340"/>
                      </a:lnTo>
                      <a:lnTo>
                        <a:pt x="339157" y="79811"/>
                      </a:lnTo>
                      <a:lnTo>
                        <a:pt x="312682" y="72896"/>
                      </a:lnTo>
                      <a:lnTo>
                        <a:pt x="309800" y="75457"/>
                      </a:lnTo>
                      <a:lnTo>
                        <a:pt x="315243" y="88519"/>
                      </a:lnTo>
                      <a:lnTo>
                        <a:pt x="292737" y="91048"/>
                      </a:lnTo>
                      <a:lnTo>
                        <a:pt x="281500" y="95402"/>
                      </a:lnTo>
                      <a:lnTo>
                        <a:pt x="258290" y="99756"/>
                      </a:lnTo>
                      <a:lnTo>
                        <a:pt x="242667" y="96106"/>
                      </a:lnTo>
                      <a:lnTo>
                        <a:pt x="241963" y="90312"/>
                      </a:lnTo>
                      <a:lnTo>
                        <a:pt x="235784" y="91048"/>
                      </a:lnTo>
                      <a:lnTo>
                        <a:pt x="236872" y="76546"/>
                      </a:lnTo>
                      <a:lnTo>
                        <a:pt x="226340" y="45332"/>
                      </a:lnTo>
                      <a:lnTo>
                        <a:pt x="234343" y="40242"/>
                      </a:lnTo>
                      <a:lnTo>
                        <a:pt x="234343" y="32622"/>
                      </a:lnTo>
                      <a:lnTo>
                        <a:pt x="228165" y="29005"/>
                      </a:lnTo>
                      <a:lnTo>
                        <a:pt x="233255" y="11973"/>
                      </a:lnTo>
                      <a:lnTo>
                        <a:pt x="224899" y="11973"/>
                      </a:lnTo>
                      <a:lnTo>
                        <a:pt x="216191" y="9412"/>
                      </a:lnTo>
                      <a:lnTo>
                        <a:pt x="202425" y="4354"/>
                      </a:lnTo>
                      <a:lnTo>
                        <a:pt x="196246" y="9412"/>
                      </a:lnTo>
                      <a:lnTo>
                        <a:pt x="186098" y="941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5EF0F735-E499-F1E1-E963-21CC08E039CD}"/>
                    </a:ext>
                  </a:extLst>
                </p:cNvPr>
                <p:cNvSpPr/>
                <p:nvPr/>
              </p:nvSpPr>
              <p:spPr>
                <a:xfrm>
                  <a:off x="3394914" y="2645648"/>
                  <a:ext cx="498427" cy="307975"/>
                </a:xfrm>
                <a:custGeom>
                  <a:avLst/>
                  <a:gdLst>
                    <a:gd name="csX0" fmla="*/ 17416 w 498427"/>
                    <a:gd name="csY0" fmla="*/ 17416 h 307975"/>
                    <a:gd name="csX1" fmla="*/ 13798 w 498427"/>
                    <a:gd name="csY1" fmla="*/ 0 h 307975"/>
                    <a:gd name="csX2" fmla="*/ 0 w 498427"/>
                    <a:gd name="csY2" fmla="*/ 3650 h 307975"/>
                    <a:gd name="csX3" fmla="*/ 63132 w 498427"/>
                    <a:gd name="csY3" fmla="*/ 69663 h 307975"/>
                    <a:gd name="csX4" fmla="*/ 63836 w 498427"/>
                    <a:gd name="csY4" fmla="*/ 80900 h 307975"/>
                    <a:gd name="csX5" fmla="*/ 67454 w 498427"/>
                    <a:gd name="csY5" fmla="*/ 88871 h 307975"/>
                    <a:gd name="csX6" fmla="*/ 43891 w 498427"/>
                    <a:gd name="csY6" fmla="*/ 108464 h 307975"/>
                    <a:gd name="csX7" fmla="*/ 64572 w 498427"/>
                    <a:gd name="csY7" fmla="*/ 134235 h 307975"/>
                    <a:gd name="csX8" fmla="*/ 54424 w 498427"/>
                    <a:gd name="csY8" fmla="*/ 136764 h 307975"/>
                    <a:gd name="csX9" fmla="*/ 50774 w 498427"/>
                    <a:gd name="csY9" fmla="*/ 142943 h 307975"/>
                    <a:gd name="csX10" fmla="*/ 60571 w 498427"/>
                    <a:gd name="csY10" fmla="*/ 150562 h 307975"/>
                    <a:gd name="csX11" fmla="*/ 61307 w 498427"/>
                    <a:gd name="csY11" fmla="*/ 162888 h 307975"/>
                    <a:gd name="csX12" fmla="*/ 56217 w 498427"/>
                    <a:gd name="csY12" fmla="*/ 175597 h 307975"/>
                    <a:gd name="csX13" fmla="*/ 65661 w 498427"/>
                    <a:gd name="csY13" fmla="*/ 180655 h 307975"/>
                    <a:gd name="csX14" fmla="*/ 65661 w 498427"/>
                    <a:gd name="csY14" fmla="*/ 187539 h 307975"/>
                    <a:gd name="csX15" fmla="*/ 77634 w 498427"/>
                    <a:gd name="csY15" fmla="*/ 197335 h 307975"/>
                    <a:gd name="csX16" fmla="*/ 87783 w 498427"/>
                    <a:gd name="csY16" fmla="*/ 193717 h 307975"/>
                    <a:gd name="csX17" fmla="*/ 95754 w 498427"/>
                    <a:gd name="csY17" fmla="*/ 200600 h 307975"/>
                    <a:gd name="csX18" fmla="*/ 111377 w 498427"/>
                    <a:gd name="csY18" fmla="*/ 216223 h 307975"/>
                    <a:gd name="csX19" fmla="*/ 96491 w 498427"/>
                    <a:gd name="csY19" fmla="*/ 228196 h 307975"/>
                    <a:gd name="csX20" fmla="*/ 104462 w 498427"/>
                    <a:gd name="csY20" fmla="*/ 249582 h 307975"/>
                    <a:gd name="csX21" fmla="*/ 143999 w 498427"/>
                    <a:gd name="csY21" fmla="*/ 253936 h 307975"/>
                    <a:gd name="csX22" fmla="*/ 153444 w 498427"/>
                    <a:gd name="csY22" fmla="*/ 246316 h 307975"/>
                    <a:gd name="csX23" fmla="*/ 171595 w 498427"/>
                    <a:gd name="csY23" fmla="*/ 254672 h 307975"/>
                    <a:gd name="csX24" fmla="*/ 171595 w 498427"/>
                    <a:gd name="csY24" fmla="*/ 263380 h 307975"/>
                    <a:gd name="csX25" fmla="*/ 187923 w 498427"/>
                    <a:gd name="csY25" fmla="*/ 255761 h 307975"/>
                    <a:gd name="csX26" fmla="*/ 194806 w 498427"/>
                    <a:gd name="csY26" fmla="*/ 260819 h 307975"/>
                    <a:gd name="csX27" fmla="*/ 200600 w 498427"/>
                    <a:gd name="csY27" fmla="*/ 259026 h 307975"/>
                    <a:gd name="csX28" fmla="*/ 211837 w 498427"/>
                    <a:gd name="csY28" fmla="*/ 270263 h 307975"/>
                    <a:gd name="csX29" fmla="*/ 216928 w 498427"/>
                    <a:gd name="csY29" fmla="*/ 273881 h 307975"/>
                    <a:gd name="csX30" fmla="*/ 221281 w 498427"/>
                    <a:gd name="csY30" fmla="*/ 274617 h 307975"/>
                    <a:gd name="csX31" fmla="*/ 213662 w 498427"/>
                    <a:gd name="csY31" fmla="*/ 287679 h 307975"/>
                    <a:gd name="csX32" fmla="*/ 223106 w 498427"/>
                    <a:gd name="csY32" fmla="*/ 302181 h 307975"/>
                    <a:gd name="csX33" fmla="*/ 243051 w 498427"/>
                    <a:gd name="csY33" fmla="*/ 294562 h 307975"/>
                    <a:gd name="csX34" fmla="*/ 255024 w 498427"/>
                    <a:gd name="csY34" fmla="*/ 297091 h 307975"/>
                    <a:gd name="csX35" fmla="*/ 262644 w 498427"/>
                    <a:gd name="csY35" fmla="*/ 291680 h 307975"/>
                    <a:gd name="csX36" fmla="*/ 266261 w 498427"/>
                    <a:gd name="csY36" fmla="*/ 294562 h 307975"/>
                    <a:gd name="csX37" fmla="*/ 276410 w 498427"/>
                    <a:gd name="csY37" fmla="*/ 292769 h 307975"/>
                    <a:gd name="csX38" fmla="*/ 285118 w 498427"/>
                    <a:gd name="csY38" fmla="*/ 297091 h 307975"/>
                    <a:gd name="csX39" fmla="*/ 293825 w 498427"/>
                    <a:gd name="csY39" fmla="*/ 293473 h 307975"/>
                    <a:gd name="csX40" fmla="*/ 297827 w 498427"/>
                    <a:gd name="csY40" fmla="*/ 297827 h 307975"/>
                    <a:gd name="csX41" fmla="*/ 313418 w 498427"/>
                    <a:gd name="csY41" fmla="*/ 296002 h 307975"/>
                    <a:gd name="csX42" fmla="*/ 310153 w 498427"/>
                    <a:gd name="csY42" fmla="*/ 289119 h 307975"/>
                    <a:gd name="csX43" fmla="*/ 323951 w 498427"/>
                    <a:gd name="csY43" fmla="*/ 283325 h 307975"/>
                    <a:gd name="csX44" fmla="*/ 334835 w 498427"/>
                    <a:gd name="csY44" fmla="*/ 285854 h 307975"/>
                    <a:gd name="csX45" fmla="*/ 345336 w 498427"/>
                    <a:gd name="csY45" fmla="*/ 297091 h 307975"/>
                    <a:gd name="csX46" fmla="*/ 343543 w 498427"/>
                    <a:gd name="csY46" fmla="*/ 301092 h 307975"/>
                    <a:gd name="csX47" fmla="*/ 354780 w 498427"/>
                    <a:gd name="csY47" fmla="*/ 304006 h 307975"/>
                    <a:gd name="csX48" fmla="*/ 363488 w 498427"/>
                    <a:gd name="csY48" fmla="*/ 300356 h 307975"/>
                    <a:gd name="csX49" fmla="*/ 368546 w 498427"/>
                    <a:gd name="csY49" fmla="*/ 307976 h 307975"/>
                    <a:gd name="csX50" fmla="*/ 371812 w 498427"/>
                    <a:gd name="csY50" fmla="*/ 297827 h 307975"/>
                    <a:gd name="csX51" fmla="*/ 381608 w 498427"/>
                    <a:gd name="csY51" fmla="*/ 304006 h 307975"/>
                    <a:gd name="csX52" fmla="*/ 384169 w 498427"/>
                    <a:gd name="csY52" fmla="*/ 290944 h 307975"/>
                    <a:gd name="csX53" fmla="*/ 443299 w 498427"/>
                    <a:gd name="csY53" fmla="*/ 253199 h 307975"/>
                    <a:gd name="csX54" fmla="*/ 446917 w 498427"/>
                    <a:gd name="csY54" fmla="*/ 242699 h 307975"/>
                    <a:gd name="csX55" fmla="*/ 443299 w 498427"/>
                    <a:gd name="csY55" fmla="*/ 218752 h 307975"/>
                    <a:gd name="csX56" fmla="*/ 452007 w 498427"/>
                    <a:gd name="csY56" fmla="*/ 208220 h 307975"/>
                    <a:gd name="csX57" fmla="*/ 463244 w 498427"/>
                    <a:gd name="csY57" fmla="*/ 206779 h 307975"/>
                    <a:gd name="csX58" fmla="*/ 498427 w 498427"/>
                    <a:gd name="csY58" fmla="*/ 178126 h 307975"/>
                    <a:gd name="csX59" fmla="*/ 479571 w 498427"/>
                    <a:gd name="csY59" fmla="*/ 174861 h 307975"/>
                    <a:gd name="csX60" fmla="*/ 451271 w 498427"/>
                    <a:gd name="csY60" fmla="*/ 160359 h 307975"/>
                    <a:gd name="csX61" fmla="*/ 430590 w 498427"/>
                    <a:gd name="csY61" fmla="*/ 156005 h 307975"/>
                    <a:gd name="csX62" fmla="*/ 416792 w 498427"/>
                    <a:gd name="csY62" fmla="*/ 158534 h 307975"/>
                    <a:gd name="csX63" fmla="*/ 395054 w 498427"/>
                    <a:gd name="csY63" fmla="*/ 174861 h 307975"/>
                    <a:gd name="csX64" fmla="*/ 372900 w 498427"/>
                    <a:gd name="csY64" fmla="*/ 182480 h 307975"/>
                    <a:gd name="csX65" fmla="*/ 349690 w 498427"/>
                    <a:gd name="csY65" fmla="*/ 188627 h 307975"/>
                    <a:gd name="csX66" fmla="*/ 329009 w 498427"/>
                    <a:gd name="csY66" fmla="*/ 188627 h 307975"/>
                    <a:gd name="csX67" fmla="*/ 318508 w 498427"/>
                    <a:gd name="csY67" fmla="*/ 188627 h 307975"/>
                    <a:gd name="csX68" fmla="*/ 304710 w 498427"/>
                    <a:gd name="csY68" fmla="*/ 187539 h 307975"/>
                    <a:gd name="csX69" fmla="*/ 286942 w 498427"/>
                    <a:gd name="csY69" fmla="*/ 173772 h 307975"/>
                    <a:gd name="csX70" fmla="*/ 277146 w 498427"/>
                    <a:gd name="csY70" fmla="*/ 173036 h 307975"/>
                    <a:gd name="csX71" fmla="*/ 271352 w 498427"/>
                    <a:gd name="csY71" fmla="*/ 156709 h 307975"/>
                    <a:gd name="csX72" fmla="*/ 253936 w 498427"/>
                    <a:gd name="csY72" fmla="*/ 136764 h 307975"/>
                    <a:gd name="csX73" fmla="*/ 256817 w 498427"/>
                    <a:gd name="csY73" fmla="*/ 123350 h 307975"/>
                    <a:gd name="csX74" fmla="*/ 238697 w 498427"/>
                    <a:gd name="csY74" fmla="*/ 111025 h 307975"/>
                    <a:gd name="csX75" fmla="*/ 236168 w 498427"/>
                    <a:gd name="csY75" fmla="*/ 93961 h 307975"/>
                    <a:gd name="csX76" fmla="*/ 221281 w 498427"/>
                    <a:gd name="csY76" fmla="*/ 60218 h 307975"/>
                    <a:gd name="csX77" fmla="*/ 192277 w 498427"/>
                    <a:gd name="csY77" fmla="*/ 34479 h 307975"/>
                    <a:gd name="csX78" fmla="*/ 172300 w 498427"/>
                    <a:gd name="csY78" fmla="*/ 31918 h 307975"/>
                    <a:gd name="csX79" fmla="*/ 155973 w 498427"/>
                    <a:gd name="csY79" fmla="*/ 38833 h 307975"/>
                    <a:gd name="csX80" fmla="*/ 137853 w 498427"/>
                    <a:gd name="csY80" fmla="*/ 38097 h 307975"/>
                    <a:gd name="csX81" fmla="*/ 130233 w 498427"/>
                    <a:gd name="csY81" fmla="*/ 43891 h 307975"/>
                    <a:gd name="csX82" fmla="*/ 90696 w 498427"/>
                    <a:gd name="csY82" fmla="*/ 12357 h 307975"/>
                    <a:gd name="csX83" fmla="*/ 75105 w 498427"/>
                    <a:gd name="csY83" fmla="*/ 13062 h 307975"/>
                    <a:gd name="csX84" fmla="*/ 57689 w 498427"/>
                    <a:gd name="csY84" fmla="*/ 30125 h 307975"/>
                    <a:gd name="csX85" fmla="*/ 46805 w 498427"/>
                    <a:gd name="csY85" fmla="*/ 26860 h 307975"/>
                    <a:gd name="csX86" fmla="*/ 34447 w 498427"/>
                    <a:gd name="csY86" fmla="*/ 29389 h 307975"/>
                    <a:gd name="csX87" fmla="*/ 17416 w 498427"/>
                    <a:gd name="csY87" fmla="*/ 17416 h 3079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</a:cxnLst>
                  <a:rect l="l" t="t" r="r" b="b"/>
                  <a:pathLst>
                    <a:path w="498427" h="307975">
                      <a:moveTo>
                        <a:pt x="17416" y="17416"/>
                      </a:moveTo>
                      <a:lnTo>
                        <a:pt x="13798" y="0"/>
                      </a:lnTo>
                      <a:lnTo>
                        <a:pt x="0" y="3650"/>
                      </a:lnTo>
                      <a:lnTo>
                        <a:pt x="63132" y="69663"/>
                      </a:lnTo>
                      <a:lnTo>
                        <a:pt x="63836" y="80900"/>
                      </a:lnTo>
                      <a:lnTo>
                        <a:pt x="67454" y="88871"/>
                      </a:lnTo>
                      <a:lnTo>
                        <a:pt x="43891" y="108464"/>
                      </a:lnTo>
                      <a:lnTo>
                        <a:pt x="64572" y="134235"/>
                      </a:lnTo>
                      <a:lnTo>
                        <a:pt x="54424" y="136764"/>
                      </a:lnTo>
                      <a:lnTo>
                        <a:pt x="50774" y="142943"/>
                      </a:lnTo>
                      <a:lnTo>
                        <a:pt x="60571" y="150562"/>
                      </a:lnTo>
                      <a:lnTo>
                        <a:pt x="61307" y="162888"/>
                      </a:lnTo>
                      <a:lnTo>
                        <a:pt x="56217" y="175597"/>
                      </a:lnTo>
                      <a:lnTo>
                        <a:pt x="65661" y="180655"/>
                      </a:lnTo>
                      <a:lnTo>
                        <a:pt x="65661" y="187539"/>
                      </a:lnTo>
                      <a:lnTo>
                        <a:pt x="77634" y="197335"/>
                      </a:lnTo>
                      <a:lnTo>
                        <a:pt x="87783" y="193717"/>
                      </a:lnTo>
                      <a:lnTo>
                        <a:pt x="95754" y="200600"/>
                      </a:lnTo>
                      <a:lnTo>
                        <a:pt x="111377" y="216223"/>
                      </a:lnTo>
                      <a:lnTo>
                        <a:pt x="96491" y="228196"/>
                      </a:lnTo>
                      <a:lnTo>
                        <a:pt x="104462" y="249582"/>
                      </a:lnTo>
                      <a:lnTo>
                        <a:pt x="143999" y="253936"/>
                      </a:lnTo>
                      <a:lnTo>
                        <a:pt x="153444" y="246316"/>
                      </a:lnTo>
                      <a:lnTo>
                        <a:pt x="171595" y="254672"/>
                      </a:lnTo>
                      <a:lnTo>
                        <a:pt x="171595" y="263380"/>
                      </a:lnTo>
                      <a:lnTo>
                        <a:pt x="187923" y="255761"/>
                      </a:lnTo>
                      <a:lnTo>
                        <a:pt x="194806" y="260819"/>
                      </a:lnTo>
                      <a:lnTo>
                        <a:pt x="200600" y="259026"/>
                      </a:lnTo>
                      <a:lnTo>
                        <a:pt x="211837" y="270263"/>
                      </a:lnTo>
                      <a:lnTo>
                        <a:pt x="216928" y="273881"/>
                      </a:lnTo>
                      <a:lnTo>
                        <a:pt x="221281" y="274617"/>
                      </a:lnTo>
                      <a:lnTo>
                        <a:pt x="213662" y="287679"/>
                      </a:lnTo>
                      <a:lnTo>
                        <a:pt x="223106" y="302181"/>
                      </a:lnTo>
                      <a:lnTo>
                        <a:pt x="243051" y="294562"/>
                      </a:lnTo>
                      <a:lnTo>
                        <a:pt x="255024" y="297091"/>
                      </a:lnTo>
                      <a:lnTo>
                        <a:pt x="262644" y="291680"/>
                      </a:lnTo>
                      <a:lnTo>
                        <a:pt x="266261" y="294562"/>
                      </a:lnTo>
                      <a:lnTo>
                        <a:pt x="276410" y="292769"/>
                      </a:lnTo>
                      <a:lnTo>
                        <a:pt x="285118" y="297091"/>
                      </a:lnTo>
                      <a:lnTo>
                        <a:pt x="293825" y="293473"/>
                      </a:lnTo>
                      <a:lnTo>
                        <a:pt x="297827" y="297827"/>
                      </a:lnTo>
                      <a:lnTo>
                        <a:pt x="313418" y="296002"/>
                      </a:lnTo>
                      <a:lnTo>
                        <a:pt x="310153" y="289119"/>
                      </a:lnTo>
                      <a:lnTo>
                        <a:pt x="323951" y="283325"/>
                      </a:lnTo>
                      <a:lnTo>
                        <a:pt x="334835" y="285854"/>
                      </a:lnTo>
                      <a:lnTo>
                        <a:pt x="345336" y="297091"/>
                      </a:lnTo>
                      <a:lnTo>
                        <a:pt x="343543" y="301092"/>
                      </a:lnTo>
                      <a:lnTo>
                        <a:pt x="354780" y="304006"/>
                      </a:lnTo>
                      <a:lnTo>
                        <a:pt x="363488" y="300356"/>
                      </a:lnTo>
                      <a:lnTo>
                        <a:pt x="368546" y="307976"/>
                      </a:lnTo>
                      <a:lnTo>
                        <a:pt x="371812" y="297827"/>
                      </a:lnTo>
                      <a:lnTo>
                        <a:pt x="381608" y="304006"/>
                      </a:lnTo>
                      <a:lnTo>
                        <a:pt x="384169" y="290944"/>
                      </a:lnTo>
                      <a:lnTo>
                        <a:pt x="443299" y="253199"/>
                      </a:lnTo>
                      <a:lnTo>
                        <a:pt x="446917" y="242699"/>
                      </a:lnTo>
                      <a:lnTo>
                        <a:pt x="443299" y="218752"/>
                      </a:lnTo>
                      <a:lnTo>
                        <a:pt x="452007" y="208220"/>
                      </a:lnTo>
                      <a:lnTo>
                        <a:pt x="463244" y="206779"/>
                      </a:lnTo>
                      <a:lnTo>
                        <a:pt x="498427" y="178126"/>
                      </a:lnTo>
                      <a:lnTo>
                        <a:pt x="479571" y="174861"/>
                      </a:lnTo>
                      <a:lnTo>
                        <a:pt x="451271" y="160359"/>
                      </a:lnTo>
                      <a:lnTo>
                        <a:pt x="430590" y="156005"/>
                      </a:lnTo>
                      <a:lnTo>
                        <a:pt x="416792" y="158534"/>
                      </a:lnTo>
                      <a:lnTo>
                        <a:pt x="395054" y="174861"/>
                      </a:lnTo>
                      <a:lnTo>
                        <a:pt x="372900" y="182480"/>
                      </a:lnTo>
                      <a:lnTo>
                        <a:pt x="349690" y="188627"/>
                      </a:lnTo>
                      <a:lnTo>
                        <a:pt x="329009" y="188627"/>
                      </a:lnTo>
                      <a:lnTo>
                        <a:pt x="318508" y="188627"/>
                      </a:lnTo>
                      <a:lnTo>
                        <a:pt x="304710" y="187539"/>
                      </a:lnTo>
                      <a:lnTo>
                        <a:pt x="286942" y="173772"/>
                      </a:lnTo>
                      <a:lnTo>
                        <a:pt x="277146" y="173036"/>
                      </a:lnTo>
                      <a:lnTo>
                        <a:pt x="271352" y="156709"/>
                      </a:lnTo>
                      <a:lnTo>
                        <a:pt x="253936" y="136764"/>
                      </a:lnTo>
                      <a:lnTo>
                        <a:pt x="256817" y="123350"/>
                      </a:lnTo>
                      <a:lnTo>
                        <a:pt x="238697" y="111025"/>
                      </a:lnTo>
                      <a:lnTo>
                        <a:pt x="236168" y="93961"/>
                      </a:lnTo>
                      <a:lnTo>
                        <a:pt x="221281" y="60218"/>
                      </a:lnTo>
                      <a:lnTo>
                        <a:pt x="192277" y="34479"/>
                      </a:lnTo>
                      <a:lnTo>
                        <a:pt x="172300" y="31918"/>
                      </a:lnTo>
                      <a:lnTo>
                        <a:pt x="155973" y="38833"/>
                      </a:lnTo>
                      <a:lnTo>
                        <a:pt x="137853" y="38097"/>
                      </a:lnTo>
                      <a:lnTo>
                        <a:pt x="130233" y="43891"/>
                      </a:lnTo>
                      <a:lnTo>
                        <a:pt x="90696" y="12357"/>
                      </a:lnTo>
                      <a:lnTo>
                        <a:pt x="75105" y="13062"/>
                      </a:lnTo>
                      <a:lnTo>
                        <a:pt x="57689" y="30125"/>
                      </a:lnTo>
                      <a:lnTo>
                        <a:pt x="46805" y="26860"/>
                      </a:lnTo>
                      <a:lnTo>
                        <a:pt x="34447" y="29389"/>
                      </a:lnTo>
                      <a:lnTo>
                        <a:pt x="17416" y="1741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F21587D6-440F-2B8C-1004-983F3C4F4EA3}"/>
                    </a:ext>
                  </a:extLst>
                </p:cNvPr>
                <p:cNvSpPr/>
                <p:nvPr/>
              </p:nvSpPr>
              <p:spPr>
                <a:xfrm>
                  <a:off x="3394914" y="2645648"/>
                  <a:ext cx="498427" cy="307975"/>
                </a:xfrm>
                <a:custGeom>
                  <a:avLst/>
                  <a:gdLst>
                    <a:gd name="csX0" fmla="*/ 17416 w 498427"/>
                    <a:gd name="csY0" fmla="*/ 17416 h 307975"/>
                    <a:gd name="csX1" fmla="*/ 13798 w 498427"/>
                    <a:gd name="csY1" fmla="*/ 0 h 307975"/>
                    <a:gd name="csX2" fmla="*/ 0 w 498427"/>
                    <a:gd name="csY2" fmla="*/ 3650 h 307975"/>
                    <a:gd name="csX3" fmla="*/ 63132 w 498427"/>
                    <a:gd name="csY3" fmla="*/ 69663 h 307975"/>
                    <a:gd name="csX4" fmla="*/ 63836 w 498427"/>
                    <a:gd name="csY4" fmla="*/ 80900 h 307975"/>
                    <a:gd name="csX5" fmla="*/ 67454 w 498427"/>
                    <a:gd name="csY5" fmla="*/ 88871 h 307975"/>
                    <a:gd name="csX6" fmla="*/ 43891 w 498427"/>
                    <a:gd name="csY6" fmla="*/ 108464 h 307975"/>
                    <a:gd name="csX7" fmla="*/ 64572 w 498427"/>
                    <a:gd name="csY7" fmla="*/ 134235 h 307975"/>
                    <a:gd name="csX8" fmla="*/ 54424 w 498427"/>
                    <a:gd name="csY8" fmla="*/ 136764 h 307975"/>
                    <a:gd name="csX9" fmla="*/ 50774 w 498427"/>
                    <a:gd name="csY9" fmla="*/ 142943 h 307975"/>
                    <a:gd name="csX10" fmla="*/ 60571 w 498427"/>
                    <a:gd name="csY10" fmla="*/ 150562 h 307975"/>
                    <a:gd name="csX11" fmla="*/ 61307 w 498427"/>
                    <a:gd name="csY11" fmla="*/ 162888 h 307975"/>
                    <a:gd name="csX12" fmla="*/ 56217 w 498427"/>
                    <a:gd name="csY12" fmla="*/ 175597 h 307975"/>
                    <a:gd name="csX13" fmla="*/ 65661 w 498427"/>
                    <a:gd name="csY13" fmla="*/ 180655 h 307975"/>
                    <a:gd name="csX14" fmla="*/ 65661 w 498427"/>
                    <a:gd name="csY14" fmla="*/ 187539 h 307975"/>
                    <a:gd name="csX15" fmla="*/ 77634 w 498427"/>
                    <a:gd name="csY15" fmla="*/ 197335 h 307975"/>
                    <a:gd name="csX16" fmla="*/ 87783 w 498427"/>
                    <a:gd name="csY16" fmla="*/ 193717 h 307975"/>
                    <a:gd name="csX17" fmla="*/ 95754 w 498427"/>
                    <a:gd name="csY17" fmla="*/ 200600 h 307975"/>
                    <a:gd name="csX18" fmla="*/ 111377 w 498427"/>
                    <a:gd name="csY18" fmla="*/ 216223 h 307975"/>
                    <a:gd name="csX19" fmla="*/ 96491 w 498427"/>
                    <a:gd name="csY19" fmla="*/ 228196 h 307975"/>
                    <a:gd name="csX20" fmla="*/ 104462 w 498427"/>
                    <a:gd name="csY20" fmla="*/ 249582 h 307975"/>
                    <a:gd name="csX21" fmla="*/ 143999 w 498427"/>
                    <a:gd name="csY21" fmla="*/ 253936 h 307975"/>
                    <a:gd name="csX22" fmla="*/ 153444 w 498427"/>
                    <a:gd name="csY22" fmla="*/ 246316 h 307975"/>
                    <a:gd name="csX23" fmla="*/ 171595 w 498427"/>
                    <a:gd name="csY23" fmla="*/ 254672 h 307975"/>
                    <a:gd name="csX24" fmla="*/ 171595 w 498427"/>
                    <a:gd name="csY24" fmla="*/ 263380 h 307975"/>
                    <a:gd name="csX25" fmla="*/ 187923 w 498427"/>
                    <a:gd name="csY25" fmla="*/ 255761 h 307975"/>
                    <a:gd name="csX26" fmla="*/ 194806 w 498427"/>
                    <a:gd name="csY26" fmla="*/ 260819 h 307975"/>
                    <a:gd name="csX27" fmla="*/ 200600 w 498427"/>
                    <a:gd name="csY27" fmla="*/ 259026 h 307975"/>
                    <a:gd name="csX28" fmla="*/ 211837 w 498427"/>
                    <a:gd name="csY28" fmla="*/ 270263 h 307975"/>
                    <a:gd name="csX29" fmla="*/ 216928 w 498427"/>
                    <a:gd name="csY29" fmla="*/ 273881 h 307975"/>
                    <a:gd name="csX30" fmla="*/ 221281 w 498427"/>
                    <a:gd name="csY30" fmla="*/ 274617 h 307975"/>
                    <a:gd name="csX31" fmla="*/ 213662 w 498427"/>
                    <a:gd name="csY31" fmla="*/ 287679 h 307975"/>
                    <a:gd name="csX32" fmla="*/ 223106 w 498427"/>
                    <a:gd name="csY32" fmla="*/ 302181 h 307975"/>
                    <a:gd name="csX33" fmla="*/ 243051 w 498427"/>
                    <a:gd name="csY33" fmla="*/ 294562 h 307975"/>
                    <a:gd name="csX34" fmla="*/ 255024 w 498427"/>
                    <a:gd name="csY34" fmla="*/ 297091 h 307975"/>
                    <a:gd name="csX35" fmla="*/ 262644 w 498427"/>
                    <a:gd name="csY35" fmla="*/ 291680 h 307975"/>
                    <a:gd name="csX36" fmla="*/ 266261 w 498427"/>
                    <a:gd name="csY36" fmla="*/ 294562 h 307975"/>
                    <a:gd name="csX37" fmla="*/ 276410 w 498427"/>
                    <a:gd name="csY37" fmla="*/ 292769 h 307975"/>
                    <a:gd name="csX38" fmla="*/ 285118 w 498427"/>
                    <a:gd name="csY38" fmla="*/ 297091 h 307975"/>
                    <a:gd name="csX39" fmla="*/ 293825 w 498427"/>
                    <a:gd name="csY39" fmla="*/ 293473 h 307975"/>
                    <a:gd name="csX40" fmla="*/ 297827 w 498427"/>
                    <a:gd name="csY40" fmla="*/ 297827 h 307975"/>
                    <a:gd name="csX41" fmla="*/ 313418 w 498427"/>
                    <a:gd name="csY41" fmla="*/ 296002 h 307975"/>
                    <a:gd name="csX42" fmla="*/ 310153 w 498427"/>
                    <a:gd name="csY42" fmla="*/ 289119 h 307975"/>
                    <a:gd name="csX43" fmla="*/ 323951 w 498427"/>
                    <a:gd name="csY43" fmla="*/ 283325 h 307975"/>
                    <a:gd name="csX44" fmla="*/ 334835 w 498427"/>
                    <a:gd name="csY44" fmla="*/ 285854 h 307975"/>
                    <a:gd name="csX45" fmla="*/ 345336 w 498427"/>
                    <a:gd name="csY45" fmla="*/ 297091 h 307975"/>
                    <a:gd name="csX46" fmla="*/ 343543 w 498427"/>
                    <a:gd name="csY46" fmla="*/ 301092 h 307975"/>
                    <a:gd name="csX47" fmla="*/ 354780 w 498427"/>
                    <a:gd name="csY47" fmla="*/ 304006 h 307975"/>
                    <a:gd name="csX48" fmla="*/ 363488 w 498427"/>
                    <a:gd name="csY48" fmla="*/ 300356 h 307975"/>
                    <a:gd name="csX49" fmla="*/ 368546 w 498427"/>
                    <a:gd name="csY49" fmla="*/ 307976 h 307975"/>
                    <a:gd name="csX50" fmla="*/ 371812 w 498427"/>
                    <a:gd name="csY50" fmla="*/ 297827 h 307975"/>
                    <a:gd name="csX51" fmla="*/ 381608 w 498427"/>
                    <a:gd name="csY51" fmla="*/ 304006 h 307975"/>
                    <a:gd name="csX52" fmla="*/ 384169 w 498427"/>
                    <a:gd name="csY52" fmla="*/ 290944 h 307975"/>
                    <a:gd name="csX53" fmla="*/ 443299 w 498427"/>
                    <a:gd name="csY53" fmla="*/ 253199 h 307975"/>
                    <a:gd name="csX54" fmla="*/ 446917 w 498427"/>
                    <a:gd name="csY54" fmla="*/ 242699 h 307975"/>
                    <a:gd name="csX55" fmla="*/ 443299 w 498427"/>
                    <a:gd name="csY55" fmla="*/ 218752 h 307975"/>
                    <a:gd name="csX56" fmla="*/ 452007 w 498427"/>
                    <a:gd name="csY56" fmla="*/ 208220 h 307975"/>
                    <a:gd name="csX57" fmla="*/ 463244 w 498427"/>
                    <a:gd name="csY57" fmla="*/ 206779 h 307975"/>
                    <a:gd name="csX58" fmla="*/ 498427 w 498427"/>
                    <a:gd name="csY58" fmla="*/ 178126 h 307975"/>
                    <a:gd name="csX59" fmla="*/ 479571 w 498427"/>
                    <a:gd name="csY59" fmla="*/ 174861 h 307975"/>
                    <a:gd name="csX60" fmla="*/ 451271 w 498427"/>
                    <a:gd name="csY60" fmla="*/ 160359 h 307975"/>
                    <a:gd name="csX61" fmla="*/ 430590 w 498427"/>
                    <a:gd name="csY61" fmla="*/ 156005 h 307975"/>
                    <a:gd name="csX62" fmla="*/ 416792 w 498427"/>
                    <a:gd name="csY62" fmla="*/ 158534 h 307975"/>
                    <a:gd name="csX63" fmla="*/ 395054 w 498427"/>
                    <a:gd name="csY63" fmla="*/ 174861 h 307975"/>
                    <a:gd name="csX64" fmla="*/ 372900 w 498427"/>
                    <a:gd name="csY64" fmla="*/ 182480 h 307975"/>
                    <a:gd name="csX65" fmla="*/ 349690 w 498427"/>
                    <a:gd name="csY65" fmla="*/ 188627 h 307975"/>
                    <a:gd name="csX66" fmla="*/ 329009 w 498427"/>
                    <a:gd name="csY66" fmla="*/ 188627 h 307975"/>
                    <a:gd name="csX67" fmla="*/ 318508 w 498427"/>
                    <a:gd name="csY67" fmla="*/ 188627 h 307975"/>
                    <a:gd name="csX68" fmla="*/ 304710 w 498427"/>
                    <a:gd name="csY68" fmla="*/ 187539 h 307975"/>
                    <a:gd name="csX69" fmla="*/ 286942 w 498427"/>
                    <a:gd name="csY69" fmla="*/ 173772 h 307975"/>
                    <a:gd name="csX70" fmla="*/ 277146 w 498427"/>
                    <a:gd name="csY70" fmla="*/ 173036 h 307975"/>
                    <a:gd name="csX71" fmla="*/ 271352 w 498427"/>
                    <a:gd name="csY71" fmla="*/ 156709 h 307975"/>
                    <a:gd name="csX72" fmla="*/ 253936 w 498427"/>
                    <a:gd name="csY72" fmla="*/ 136764 h 307975"/>
                    <a:gd name="csX73" fmla="*/ 256817 w 498427"/>
                    <a:gd name="csY73" fmla="*/ 123350 h 307975"/>
                    <a:gd name="csX74" fmla="*/ 238697 w 498427"/>
                    <a:gd name="csY74" fmla="*/ 111025 h 307975"/>
                    <a:gd name="csX75" fmla="*/ 236168 w 498427"/>
                    <a:gd name="csY75" fmla="*/ 93961 h 307975"/>
                    <a:gd name="csX76" fmla="*/ 221281 w 498427"/>
                    <a:gd name="csY76" fmla="*/ 60218 h 307975"/>
                    <a:gd name="csX77" fmla="*/ 192277 w 498427"/>
                    <a:gd name="csY77" fmla="*/ 34479 h 307975"/>
                    <a:gd name="csX78" fmla="*/ 172300 w 498427"/>
                    <a:gd name="csY78" fmla="*/ 31918 h 307975"/>
                    <a:gd name="csX79" fmla="*/ 155973 w 498427"/>
                    <a:gd name="csY79" fmla="*/ 38833 h 307975"/>
                    <a:gd name="csX80" fmla="*/ 137853 w 498427"/>
                    <a:gd name="csY80" fmla="*/ 38097 h 307975"/>
                    <a:gd name="csX81" fmla="*/ 130233 w 498427"/>
                    <a:gd name="csY81" fmla="*/ 43891 h 307975"/>
                    <a:gd name="csX82" fmla="*/ 90696 w 498427"/>
                    <a:gd name="csY82" fmla="*/ 12357 h 307975"/>
                    <a:gd name="csX83" fmla="*/ 75105 w 498427"/>
                    <a:gd name="csY83" fmla="*/ 13062 h 307975"/>
                    <a:gd name="csX84" fmla="*/ 57689 w 498427"/>
                    <a:gd name="csY84" fmla="*/ 30125 h 307975"/>
                    <a:gd name="csX85" fmla="*/ 46805 w 498427"/>
                    <a:gd name="csY85" fmla="*/ 26860 h 307975"/>
                    <a:gd name="csX86" fmla="*/ 34447 w 498427"/>
                    <a:gd name="csY86" fmla="*/ 29389 h 307975"/>
                    <a:gd name="csX87" fmla="*/ 17416 w 498427"/>
                    <a:gd name="csY87" fmla="*/ 17416 h 3079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</a:cxnLst>
                  <a:rect l="l" t="t" r="r" b="b"/>
                  <a:pathLst>
                    <a:path w="498427" h="307975">
                      <a:moveTo>
                        <a:pt x="17416" y="17416"/>
                      </a:moveTo>
                      <a:lnTo>
                        <a:pt x="13798" y="0"/>
                      </a:lnTo>
                      <a:lnTo>
                        <a:pt x="0" y="3650"/>
                      </a:lnTo>
                      <a:lnTo>
                        <a:pt x="63132" y="69663"/>
                      </a:lnTo>
                      <a:lnTo>
                        <a:pt x="63836" y="80900"/>
                      </a:lnTo>
                      <a:lnTo>
                        <a:pt x="67454" y="88871"/>
                      </a:lnTo>
                      <a:lnTo>
                        <a:pt x="43891" y="108464"/>
                      </a:lnTo>
                      <a:lnTo>
                        <a:pt x="64572" y="134235"/>
                      </a:lnTo>
                      <a:lnTo>
                        <a:pt x="54424" y="136764"/>
                      </a:lnTo>
                      <a:lnTo>
                        <a:pt x="50774" y="142943"/>
                      </a:lnTo>
                      <a:lnTo>
                        <a:pt x="60571" y="150562"/>
                      </a:lnTo>
                      <a:lnTo>
                        <a:pt x="61307" y="162888"/>
                      </a:lnTo>
                      <a:lnTo>
                        <a:pt x="56217" y="175597"/>
                      </a:lnTo>
                      <a:lnTo>
                        <a:pt x="65661" y="180655"/>
                      </a:lnTo>
                      <a:lnTo>
                        <a:pt x="65661" y="187539"/>
                      </a:lnTo>
                      <a:lnTo>
                        <a:pt x="77634" y="197335"/>
                      </a:lnTo>
                      <a:lnTo>
                        <a:pt x="87783" y="193717"/>
                      </a:lnTo>
                      <a:lnTo>
                        <a:pt x="95754" y="200600"/>
                      </a:lnTo>
                      <a:lnTo>
                        <a:pt x="111377" y="216223"/>
                      </a:lnTo>
                      <a:lnTo>
                        <a:pt x="96491" y="228196"/>
                      </a:lnTo>
                      <a:lnTo>
                        <a:pt x="104462" y="249582"/>
                      </a:lnTo>
                      <a:lnTo>
                        <a:pt x="143999" y="253936"/>
                      </a:lnTo>
                      <a:lnTo>
                        <a:pt x="153444" y="246316"/>
                      </a:lnTo>
                      <a:lnTo>
                        <a:pt x="171595" y="254672"/>
                      </a:lnTo>
                      <a:lnTo>
                        <a:pt x="171595" y="263380"/>
                      </a:lnTo>
                      <a:lnTo>
                        <a:pt x="187923" y="255761"/>
                      </a:lnTo>
                      <a:lnTo>
                        <a:pt x="194806" y="260819"/>
                      </a:lnTo>
                      <a:lnTo>
                        <a:pt x="200600" y="259026"/>
                      </a:lnTo>
                      <a:lnTo>
                        <a:pt x="211837" y="270263"/>
                      </a:lnTo>
                      <a:lnTo>
                        <a:pt x="216928" y="273881"/>
                      </a:lnTo>
                      <a:lnTo>
                        <a:pt x="221281" y="274617"/>
                      </a:lnTo>
                      <a:lnTo>
                        <a:pt x="213662" y="287679"/>
                      </a:lnTo>
                      <a:lnTo>
                        <a:pt x="223106" y="302181"/>
                      </a:lnTo>
                      <a:lnTo>
                        <a:pt x="243051" y="294562"/>
                      </a:lnTo>
                      <a:lnTo>
                        <a:pt x="255024" y="297091"/>
                      </a:lnTo>
                      <a:lnTo>
                        <a:pt x="262644" y="291680"/>
                      </a:lnTo>
                      <a:lnTo>
                        <a:pt x="266261" y="294562"/>
                      </a:lnTo>
                      <a:lnTo>
                        <a:pt x="276410" y="292769"/>
                      </a:lnTo>
                      <a:lnTo>
                        <a:pt x="285118" y="297091"/>
                      </a:lnTo>
                      <a:lnTo>
                        <a:pt x="293825" y="293473"/>
                      </a:lnTo>
                      <a:lnTo>
                        <a:pt x="297827" y="297827"/>
                      </a:lnTo>
                      <a:lnTo>
                        <a:pt x="313418" y="296002"/>
                      </a:lnTo>
                      <a:lnTo>
                        <a:pt x="310153" y="289119"/>
                      </a:lnTo>
                      <a:lnTo>
                        <a:pt x="323951" y="283325"/>
                      </a:lnTo>
                      <a:lnTo>
                        <a:pt x="334835" y="285854"/>
                      </a:lnTo>
                      <a:lnTo>
                        <a:pt x="345336" y="297091"/>
                      </a:lnTo>
                      <a:lnTo>
                        <a:pt x="343543" y="301092"/>
                      </a:lnTo>
                      <a:lnTo>
                        <a:pt x="354780" y="304006"/>
                      </a:lnTo>
                      <a:lnTo>
                        <a:pt x="363488" y="300356"/>
                      </a:lnTo>
                      <a:lnTo>
                        <a:pt x="368546" y="307976"/>
                      </a:lnTo>
                      <a:lnTo>
                        <a:pt x="371812" y="297827"/>
                      </a:lnTo>
                      <a:lnTo>
                        <a:pt x="381608" y="304006"/>
                      </a:lnTo>
                      <a:lnTo>
                        <a:pt x="384169" y="290944"/>
                      </a:lnTo>
                      <a:lnTo>
                        <a:pt x="443299" y="253199"/>
                      </a:lnTo>
                      <a:lnTo>
                        <a:pt x="446917" y="242699"/>
                      </a:lnTo>
                      <a:lnTo>
                        <a:pt x="443299" y="218752"/>
                      </a:lnTo>
                      <a:lnTo>
                        <a:pt x="452007" y="208220"/>
                      </a:lnTo>
                      <a:lnTo>
                        <a:pt x="463244" y="206779"/>
                      </a:lnTo>
                      <a:lnTo>
                        <a:pt x="498427" y="178126"/>
                      </a:lnTo>
                      <a:lnTo>
                        <a:pt x="479571" y="174861"/>
                      </a:lnTo>
                      <a:lnTo>
                        <a:pt x="451271" y="160359"/>
                      </a:lnTo>
                      <a:lnTo>
                        <a:pt x="430590" y="156005"/>
                      </a:lnTo>
                      <a:lnTo>
                        <a:pt x="416792" y="158534"/>
                      </a:lnTo>
                      <a:lnTo>
                        <a:pt x="395054" y="174861"/>
                      </a:lnTo>
                      <a:lnTo>
                        <a:pt x="372900" y="182480"/>
                      </a:lnTo>
                      <a:lnTo>
                        <a:pt x="349690" y="188627"/>
                      </a:lnTo>
                      <a:lnTo>
                        <a:pt x="329009" y="188627"/>
                      </a:lnTo>
                      <a:lnTo>
                        <a:pt x="318508" y="188627"/>
                      </a:lnTo>
                      <a:lnTo>
                        <a:pt x="304710" y="187539"/>
                      </a:lnTo>
                      <a:lnTo>
                        <a:pt x="286942" y="173772"/>
                      </a:lnTo>
                      <a:lnTo>
                        <a:pt x="277146" y="173036"/>
                      </a:lnTo>
                      <a:lnTo>
                        <a:pt x="271352" y="156709"/>
                      </a:lnTo>
                      <a:lnTo>
                        <a:pt x="253936" y="136764"/>
                      </a:lnTo>
                      <a:lnTo>
                        <a:pt x="256817" y="123350"/>
                      </a:lnTo>
                      <a:lnTo>
                        <a:pt x="238697" y="111025"/>
                      </a:lnTo>
                      <a:lnTo>
                        <a:pt x="236168" y="93961"/>
                      </a:lnTo>
                      <a:lnTo>
                        <a:pt x="221281" y="60218"/>
                      </a:lnTo>
                      <a:lnTo>
                        <a:pt x="192277" y="34479"/>
                      </a:lnTo>
                      <a:lnTo>
                        <a:pt x="172300" y="31918"/>
                      </a:lnTo>
                      <a:lnTo>
                        <a:pt x="155973" y="38833"/>
                      </a:lnTo>
                      <a:lnTo>
                        <a:pt x="137853" y="38097"/>
                      </a:lnTo>
                      <a:lnTo>
                        <a:pt x="130233" y="43891"/>
                      </a:lnTo>
                      <a:lnTo>
                        <a:pt x="90696" y="12357"/>
                      </a:lnTo>
                      <a:lnTo>
                        <a:pt x="75105" y="13062"/>
                      </a:lnTo>
                      <a:lnTo>
                        <a:pt x="57689" y="30125"/>
                      </a:lnTo>
                      <a:lnTo>
                        <a:pt x="46805" y="26860"/>
                      </a:lnTo>
                      <a:lnTo>
                        <a:pt x="34447" y="29389"/>
                      </a:lnTo>
                      <a:lnTo>
                        <a:pt x="17416" y="1741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85DCF7D8-19C5-3B5A-802E-025CA41C956A}"/>
                    </a:ext>
                  </a:extLst>
                </p:cNvPr>
                <p:cNvSpPr/>
                <p:nvPr/>
              </p:nvSpPr>
              <p:spPr>
                <a:xfrm>
                  <a:off x="3394914" y="2645648"/>
                  <a:ext cx="498427" cy="307975"/>
                </a:xfrm>
                <a:custGeom>
                  <a:avLst/>
                  <a:gdLst>
                    <a:gd name="csX0" fmla="*/ 17416 w 498427"/>
                    <a:gd name="csY0" fmla="*/ 17416 h 307975"/>
                    <a:gd name="csX1" fmla="*/ 13798 w 498427"/>
                    <a:gd name="csY1" fmla="*/ 0 h 307975"/>
                    <a:gd name="csX2" fmla="*/ 0 w 498427"/>
                    <a:gd name="csY2" fmla="*/ 3650 h 307975"/>
                    <a:gd name="csX3" fmla="*/ 63132 w 498427"/>
                    <a:gd name="csY3" fmla="*/ 69663 h 307975"/>
                    <a:gd name="csX4" fmla="*/ 63836 w 498427"/>
                    <a:gd name="csY4" fmla="*/ 80900 h 307975"/>
                    <a:gd name="csX5" fmla="*/ 67454 w 498427"/>
                    <a:gd name="csY5" fmla="*/ 88871 h 307975"/>
                    <a:gd name="csX6" fmla="*/ 43891 w 498427"/>
                    <a:gd name="csY6" fmla="*/ 108464 h 307975"/>
                    <a:gd name="csX7" fmla="*/ 64572 w 498427"/>
                    <a:gd name="csY7" fmla="*/ 134235 h 307975"/>
                    <a:gd name="csX8" fmla="*/ 54424 w 498427"/>
                    <a:gd name="csY8" fmla="*/ 136764 h 307975"/>
                    <a:gd name="csX9" fmla="*/ 50774 w 498427"/>
                    <a:gd name="csY9" fmla="*/ 142943 h 307975"/>
                    <a:gd name="csX10" fmla="*/ 60571 w 498427"/>
                    <a:gd name="csY10" fmla="*/ 150562 h 307975"/>
                    <a:gd name="csX11" fmla="*/ 61307 w 498427"/>
                    <a:gd name="csY11" fmla="*/ 162888 h 307975"/>
                    <a:gd name="csX12" fmla="*/ 56217 w 498427"/>
                    <a:gd name="csY12" fmla="*/ 175597 h 307975"/>
                    <a:gd name="csX13" fmla="*/ 65661 w 498427"/>
                    <a:gd name="csY13" fmla="*/ 180655 h 307975"/>
                    <a:gd name="csX14" fmla="*/ 65661 w 498427"/>
                    <a:gd name="csY14" fmla="*/ 187539 h 307975"/>
                    <a:gd name="csX15" fmla="*/ 77634 w 498427"/>
                    <a:gd name="csY15" fmla="*/ 197335 h 307975"/>
                    <a:gd name="csX16" fmla="*/ 87783 w 498427"/>
                    <a:gd name="csY16" fmla="*/ 193717 h 307975"/>
                    <a:gd name="csX17" fmla="*/ 95754 w 498427"/>
                    <a:gd name="csY17" fmla="*/ 200600 h 307975"/>
                    <a:gd name="csX18" fmla="*/ 111377 w 498427"/>
                    <a:gd name="csY18" fmla="*/ 216223 h 307975"/>
                    <a:gd name="csX19" fmla="*/ 96491 w 498427"/>
                    <a:gd name="csY19" fmla="*/ 228196 h 307975"/>
                    <a:gd name="csX20" fmla="*/ 104462 w 498427"/>
                    <a:gd name="csY20" fmla="*/ 249582 h 307975"/>
                    <a:gd name="csX21" fmla="*/ 143999 w 498427"/>
                    <a:gd name="csY21" fmla="*/ 253936 h 307975"/>
                    <a:gd name="csX22" fmla="*/ 153444 w 498427"/>
                    <a:gd name="csY22" fmla="*/ 246316 h 307975"/>
                    <a:gd name="csX23" fmla="*/ 171595 w 498427"/>
                    <a:gd name="csY23" fmla="*/ 254672 h 307975"/>
                    <a:gd name="csX24" fmla="*/ 171595 w 498427"/>
                    <a:gd name="csY24" fmla="*/ 263380 h 307975"/>
                    <a:gd name="csX25" fmla="*/ 187923 w 498427"/>
                    <a:gd name="csY25" fmla="*/ 255761 h 307975"/>
                    <a:gd name="csX26" fmla="*/ 194806 w 498427"/>
                    <a:gd name="csY26" fmla="*/ 260819 h 307975"/>
                    <a:gd name="csX27" fmla="*/ 200600 w 498427"/>
                    <a:gd name="csY27" fmla="*/ 259026 h 307975"/>
                    <a:gd name="csX28" fmla="*/ 211837 w 498427"/>
                    <a:gd name="csY28" fmla="*/ 270263 h 307975"/>
                    <a:gd name="csX29" fmla="*/ 216928 w 498427"/>
                    <a:gd name="csY29" fmla="*/ 273881 h 307975"/>
                    <a:gd name="csX30" fmla="*/ 221281 w 498427"/>
                    <a:gd name="csY30" fmla="*/ 274617 h 307975"/>
                    <a:gd name="csX31" fmla="*/ 213662 w 498427"/>
                    <a:gd name="csY31" fmla="*/ 287679 h 307975"/>
                    <a:gd name="csX32" fmla="*/ 223106 w 498427"/>
                    <a:gd name="csY32" fmla="*/ 302181 h 307975"/>
                    <a:gd name="csX33" fmla="*/ 243051 w 498427"/>
                    <a:gd name="csY33" fmla="*/ 294562 h 307975"/>
                    <a:gd name="csX34" fmla="*/ 255024 w 498427"/>
                    <a:gd name="csY34" fmla="*/ 297091 h 307975"/>
                    <a:gd name="csX35" fmla="*/ 262644 w 498427"/>
                    <a:gd name="csY35" fmla="*/ 291680 h 307975"/>
                    <a:gd name="csX36" fmla="*/ 266261 w 498427"/>
                    <a:gd name="csY36" fmla="*/ 294562 h 307975"/>
                    <a:gd name="csX37" fmla="*/ 276410 w 498427"/>
                    <a:gd name="csY37" fmla="*/ 292769 h 307975"/>
                    <a:gd name="csX38" fmla="*/ 285118 w 498427"/>
                    <a:gd name="csY38" fmla="*/ 297091 h 307975"/>
                    <a:gd name="csX39" fmla="*/ 293825 w 498427"/>
                    <a:gd name="csY39" fmla="*/ 293473 h 307975"/>
                    <a:gd name="csX40" fmla="*/ 297827 w 498427"/>
                    <a:gd name="csY40" fmla="*/ 297827 h 307975"/>
                    <a:gd name="csX41" fmla="*/ 313418 w 498427"/>
                    <a:gd name="csY41" fmla="*/ 296002 h 307975"/>
                    <a:gd name="csX42" fmla="*/ 310153 w 498427"/>
                    <a:gd name="csY42" fmla="*/ 289119 h 307975"/>
                    <a:gd name="csX43" fmla="*/ 323951 w 498427"/>
                    <a:gd name="csY43" fmla="*/ 283325 h 307975"/>
                    <a:gd name="csX44" fmla="*/ 334835 w 498427"/>
                    <a:gd name="csY44" fmla="*/ 285854 h 307975"/>
                    <a:gd name="csX45" fmla="*/ 345336 w 498427"/>
                    <a:gd name="csY45" fmla="*/ 297091 h 307975"/>
                    <a:gd name="csX46" fmla="*/ 343543 w 498427"/>
                    <a:gd name="csY46" fmla="*/ 301092 h 307975"/>
                    <a:gd name="csX47" fmla="*/ 354780 w 498427"/>
                    <a:gd name="csY47" fmla="*/ 304006 h 307975"/>
                    <a:gd name="csX48" fmla="*/ 363488 w 498427"/>
                    <a:gd name="csY48" fmla="*/ 300356 h 307975"/>
                    <a:gd name="csX49" fmla="*/ 368546 w 498427"/>
                    <a:gd name="csY49" fmla="*/ 307976 h 307975"/>
                    <a:gd name="csX50" fmla="*/ 371812 w 498427"/>
                    <a:gd name="csY50" fmla="*/ 297827 h 307975"/>
                    <a:gd name="csX51" fmla="*/ 381608 w 498427"/>
                    <a:gd name="csY51" fmla="*/ 304006 h 307975"/>
                    <a:gd name="csX52" fmla="*/ 384169 w 498427"/>
                    <a:gd name="csY52" fmla="*/ 290944 h 307975"/>
                    <a:gd name="csX53" fmla="*/ 443299 w 498427"/>
                    <a:gd name="csY53" fmla="*/ 253199 h 307975"/>
                    <a:gd name="csX54" fmla="*/ 446917 w 498427"/>
                    <a:gd name="csY54" fmla="*/ 242699 h 307975"/>
                    <a:gd name="csX55" fmla="*/ 443299 w 498427"/>
                    <a:gd name="csY55" fmla="*/ 218752 h 307975"/>
                    <a:gd name="csX56" fmla="*/ 452007 w 498427"/>
                    <a:gd name="csY56" fmla="*/ 208220 h 307975"/>
                    <a:gd name="csX57" fmla="*/ 463244 w 498427"/>
                    <a:gd name="csY57" fmla="*/ 206779 h 307975"/>
                    <a:gd name="csX58" fmla="*/ 498427 w 498427"/>
                    <a:gd name="csY58" fmla="*/ 178126 h 307975"/>
                    <a:gd name="csX59" fmla="*/ 479571 w 498427"/>
                    <a:gd name="csY59" fmla="*/ 174861 h 307975"/>
                    <a:gd name="csX60" fmla="*/ 451271 w 498427"/>
                    <a:gd name="csY60" fmla="*/ 160359 h 307975"/>
                    <a:gd name="csX61" fmla="*/ 430590 w 498427"/>
                    <a:gd name="csY61" fmla="*/ 156005 h 307975"/>
                    <a:gd name="csX62" fmla="*/ 416792 w 498427"/>
                    <a:gd name="csY62" fmla="*/ 158534 h 307975"/>
                    <a:gd name="csX63" fmla="*/ 395054 w 498427"/>
                    <a:gd name="csY63" fmla="*/ 174861 h 307975"/>
                    <a:gd name="csX64" fmla="*/ 372900 w 498427"/>
                    <a:gd name="csY64" fmla="*/ 182480 h 307975"/>
                    <a:gd name="csX65" fmla="*/ 349690 w 498427"/>
                    <a:gd name="csY65" fmla="*/ 188627 h 307975"/>
                    <a:gd name="csX66" fmla="*/ 329009 w 498427"/>
                    <a:gd name="csY66" fmla="*/ 188627 h 307975"/>
                    <a:gd name="csX67" fmla="*/ 318508 w 498427"/>
                    <a:gd name="csY67" fmla="*/ 188627 h 307975"/>
                    <a:gd name="csX68" fmla="*/ 304710 w 498427"/>
                    <a:gd name="csY68" fmla="*/ 187539 h 307975"/>
                    <a:gd name="csX69" fmla="*/ 286942 w 498427"/>
                    <a:gd name="csY69" fmla="*/ 173772 h 307975"/>
                    <a:gd name="csX70" fmla="*/ 277146 w 498427"/>
                    <a:gd name="csY70" fmla="*/ 173036 h 307975"/>
                    <a:gd name="csX71" fmla="*/ 271352 w 498427"/>
                    <a:gd name="csY71" fmla="*/ 156709 h 307975"/>
                    <a:gd name="csX72" fmla="*/ 253936 w 498427"/>
                    <a:gd name="csY72" fmla="*/ 136764 h 307975"/>
                    <a:gd name="csX73" fmla="*/ 256817 w 498427"/>
                    <a:gd name="csY73" fmla="*/ 123350 h 307975"/>
                    <a:gd name="csX74" fmla="*/ 238697 w 498427"/>
                    <a:gd name="csY74" fmla="*/ 111025 h 307975"/>
                    <a:gd name="csX75" fmla="*/ 236168 w 498427"/>
                    <a:gd name="csY75" fmla="*/ 93961 h 307975"/>
                    <a:gd name="csX76" fmla="*/ 221281 w 498427"/>
                    <a:gd name="csY76" fmla="*/ 60218 h 307975"/>
                    <a:gd name="csX77" fmla="*/ 192277 w 498427"/>
                    <a:gd name="csY77" fmla="*/ 34479 h 307975"/>
                    <a:gd name="csX78" fmla="*/ 172300 w 498427"/>
                    <a:gd name="csY78" fmla="*/ 31918 h 307975"/>
                    <a:gd name="csX79" fmla="*/ 155973 w 498427"/>
                    <a:gd name="csY79" fmla="*/ 38833 h 307975"/>
                    <a:gd name="csX80" fmla="*/ 137853 w 498427"/>
                    <a:gd name="csY80" fmla="*/ 38097 h 307975"/>
                    <a:gd name="csX81" fmla="*/ 130233 w 498427"/>
                    <a:gd name="csY81" fmla="*/ 43891 h 307975"/>
                    <a:gd name="csX82" fmla="*/ 90696 w 498427"/>
                    <a:gd name="csY82" fmla="*/ 12357 h 307975"/>
                    <a:gd name="csX83" fmla="*/ 75105 w 498427"/>
                    <a:gd name="csY83" fmla="*/ 13062 h 307975"/>
                    <a:gd name="csX84" fmla="*/ 57689 w 498427"/>
                    <a:gd name="csY84" fmla="*/ 30125 h 307975"/>
                    <a:gd name="csX85" fmla="*/ 46805 w 498427"/>
                    <a:gd name="csY85" fmla="*/ 26860 h 307975"/>
                    <a:gd name="csX86" fmla="*/ 34447 w 498427"/>
                    <a:gd name="csY86" fmla="*/ 29389 h 307975"/>
                    <a:gd name="csX87" fmla="*/ 17416 w 498427"/>
                    <a:gd name="csY87" fmla="*/ 17416 h 3079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</a:cxnLst>
                  <a:rect l="l" t="t" r="r" b="b"/>
                  <a:pathLst>
                    <a:path w="498427" h="307975">
                      <a:moveTo>
                        <a:pt x="17416" y="17416"/>
                      </a:moveTo>
                      <a:lnTo>
                        <a:pt x="13798" y="0"/>
                      </a:lnTo>
                      <a:lnTo>
                        <a:pt x="0" y="3650"/>
                      </a:lnTo>
                      <a:lnTo>
                        <a:pt x="63132" y="69663"/>
                      </a:lnTo>
                      <a:lnTo>
                        <a:pt x="63836" y="80900"/>
                      </a:lnTo>
                      <a:lnTo>
                        <a:pt x="67454" y="88871"/>
                      </a:lnTo>
                      <a:lnTo>
                        <a:pt x="43891" y="108464"/>
                      </a:lnTo>
                      <a:lnTo>
                        <a:pt x="64572" y="134235"/>
                      </a:lnTo>
                      <a:lnTo>
                        <a:pt x="54424" y="136764"/>
                      </a:lnTo>
                      <a:lnTo>
                        <a:pt x="50774" y="142943"/>
                      </a:lnTo>
                      <a:lnTo>
                        <a:pt x="60571" y="150562"/>
                      </a:lnTo>
                      <a:lnTo>
                        <a:pt x="61307" y="162888"/>
                      </a:lnTo>
                      <a:lnTo>
                        <a:pt x="56217" y="175597"/>
                      </a:lnTo>
                      <a:lnTo>
                        <a:pt x="65661" y="180655"/>
                      </a:lnTo>
                      <a:lnTo>
                        <a:pt x="65661" y="187539"/>
                      </a:lnTo>
                      <a:lnTo>
                        <a:pt x="77634" y="197335"/>
                      </a:lnTo>
                      <a:lnTo>
                        <a:pt x="87783" y="193717"/>
                      </a:lnTo>
                      <a:lnTo>
                        <a:pt x="95754" y="200600"/>
                      </a:lnTo>
                      <a:lnTo>
                        <a:pt x="111377" y="216223"/>
                      </a:lnTo>
                      <a:lnTo>
                        <a:pt x="96491" y="228196"/>
                      </a:lnTo>
                      <a:lnTo>
                        <a:pt x="104462" y="249582"/>
                      </a:lnTo>
                      <a:lnTo>
                        <a:pt x="143999" y="253936"/>
                      </a:lnTo>
                      <a:lnTo>
                        <a:pt x="153444" y="246316"/>
                      </a:lnTo>
                      <a:lnTo>
                        <a:pt x="171595" y="254672"/>
                      </a:lnTo>
                      <a:lnTo>
                        <a:pt x="171595" y="263380"/>
                      </a:lnTo>
                      <a:lnTo>
                        <a:pt x="187923" y="255761"/>
                      </a:lnTo>
                      <a:lnTo>
                        <a:pt x="194806" y="260819"/>
                      </a:lnTo>
                      <a:lnTo>
                        <a:pt x="200600" y="259026"/>
                      </a:lnTo>
                      <a:lnTo>
                        <a:pt x="211837" y="270263"/>
                      </a:lnTo>
                      <a:lnTo>
                        <a:pt x="216928" y="273881"/>
                      </a:lnTo>
                      <a:lnTo>
                        <a:pt x="221281" y="274617"/>
                      </a:lnTo>
                      <a:lnTo>
                        <a:pt x="213662" y="287679"/>
                      </a:lnTo>
                      <a:lnTo>
                        <a:pt x="223106" y="302181"/>
                      </a:lnTo>
                      <a:lnTo>
                        <a:pt x="243051" y="294562"/>
                      </a:lnTo>
                      <a:lnTo>
                        <a:pt x="255024" y="297091"/>
                      </a:lnTo>
                      <a:lnTo>
                        <a:pt x="262644" y="291680"/>
                      </a:lnTo>
                      <a:lnTo>
                        <a:pt x="266261" y="294562"/>
                      </a:lnTo>
                      <a:lnTo>
                        <a:pt x="276410" y="292769"/>
                      </a:lnTo>
                      <a:lnTo>
                        <a:pt x="285118" y="297091"/>
                      </a:lnTo>
                      <a:lnTo>
                        <a:pt x="293825" y="293473"/>
                      </a:lnTo>
                      <a:lnTo>
                        <a:pt x="297827" y="297827"/>
                      </a:lnTo>
                      <a:lnTo>
                        <a:pt x="313418" y="296002"/>
                      </a:lnTo>
                      <a:lnTo>
                        <a:pt x="310153" y="289119"/>
                      </a:lnTo>
                      <a:lnTo>
                        <a:pt x="323951" y="283325"/>
                      </a:lnTo>
                      <a:lnTo>
                        <a:pt x="334835" y="285854"/>
                      </a:lnTo>
                      <a:lnTo>
                        <a:pt x="345336" y="297091"/>
                      </a:lnTo>
                      <a:lnTo>
                        <a:pt x="343543" y="301092"/>
                      </a:lnTo>
                      <a:lnTo>
                        <a:pt x="354780" y="304006"/>
                      </a:lnTo>
                      <a:lnTo>
                        <a:pt x="363488" y="300356"/>
                      </a:lnTo>
                      <a:lnTo>
                        <a:pt x="368546" y="307976"/>
                      </a:lnTo>
                      <a:lnTo>
                        <a:pt x="371812" y="297827"/>
                      </a:lnTo>
                      <a:lnTo>
                        <a:pt x="381608" y="304006"/>
                      </a:lnTo>
                      <a:lnTo>
                        <a:pt x="384169" y="290944"/>
                      </a:lnTo>
                      <a:lnTo>
                        <a:pt x="443299" y="253199"/>
                      </a:lnTo>
                      <a:lnTo>
                        <a:pt x="446917" y="242699"/>
                      </a:lnTo>
                      <a:lnTo>
                        <a:pt x="443299" y="218752"/>
                      </a:lnTo>
                      <a:lnTo>
                        <a:pt x="452007" y="208220"/>
                      </a:lnTo>
                      <a:lnTo>
                        <a:pt x="463244" y="206779"/>
                      </a:lnTo>
                      <a:lnTo>
                        <a:pt x="498427" y="178126"/>
                      </a:lnTo>
                      <a:lnTo>
                        <a:pt x="479571" y="174861"/>
                      </a:lnTo>
                      <a:lnTo>
                        <a:pt x="451271" y="160359"/>
                      </a:lnTo>
                      <a:lnTo>
                        <a:pt x="430590" y="156005"/>
                      </a:lnTo>
                      <a:lnTo>
                        <a:pt x="416792" y="158534"/>
                      </a:lnTo>
                      <a:lnTo>
                        <a:pt x="395054" y="174861"/>
                      </a:lnTo>
                      <a:lnTo>
                        <a:pt x="372900" y="182480"/>
                      </a:lnTo>
                      <a:lnTo>
                        <a:pt x="349690" y="188627"/>
                      </a:lnTo>
                      <a:lnTo>
                        <a:pt x="329009" y="188627"/>
                      </a:lnTo>
                      <a:lnTo>
                        <a:pt x="318508" y="188627"/>
                      </a:lnTo>
                      <a:lnTo>
                        <a:pt x="304710" y="187539"/>
                      </a:lnTo>
                      <a:lnTo>
                        <a:pt x="286942" y="173772"/>
                      </a:lnTo>
                      <a:lnTo>
                        <a:pt x="277146" y="173036"/>
                      </a:lnTo>
                      <a:lnTo>
                        <a:pt x="271352" y="156709"/>
                      </a:lnTo>
                      <a:lnTo>
                        <a:pt x="253936" y="136764"/>
                      </a:lnTo>
                      <a:lnTo>
                        <a:pt x="256817" y="123350"/>
                      </a:lnTo>
                      <a:lnTo>
                        <a:pt x="238697" y="111025"/>
                      </a:lnTo>
                      <a:lnTo>
                        <a:pt x="236168" y="93961"/>
                      </a:lnTo>
                      <a:lnTo>
                        <a:pt x="221281" y="60218"/>
                      </a:lnTo>
                      <a:lnTo>
                        <a:pt x="192277" y="34479"/>
                      </a:lnTo>
                      <a:lnTo>
                        <a:pt x="172300" y="31918"/>
                      </a:lnTo>
                      <a:lnTo>
                        <a:pt x="155973" y="38833"/>
                      </a:lnTo>
                      <a:lnTo>
                        <a:pt x="137853" y="38097"/>
                      </a:lnTo>
                      <a:lnTo>
                        <a:pt x="130233" y="43891"/>
                      </a:lnTo>
                      <a:lnTo>
                        <a:pt x="90696" y="12357"/>
                      </a:lnTo>
                      <a:lnTo>
                        <a:pt x="75105" y="13062"/>
                      </a:lnTo>
                      <a:lnTo>
                        <a:pt x="57689" y="30125"/>
                      </a:lnTo>
                      <a:lnTo>
                        <a:pt x="46805" y="26860"/>
                      </a:lnTo>
                      <a:lnTo>
                        <a:pt x="34447" y="29389"/>
                      </a:lnTo>
                      <a:lnTo>
                        <a:pt x="17416" y="1741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6" name="Forma Livre: Forma 215">
                  <a:extLst>
                    <a:ext uri="{FF2B5EF4-FFF2-40B4-BE49-F238E27FC236}">
                      <a16:creationId xmlns:a16="http://schemas.microsoft.com/office/drawing/2014/main" id="{EFAE331D-8CBC-E39D-A4F7-634A64BA4D1A}"/>
                    </a:ext>
                  </a:extLst>
                </p:cNvPr>
                <p:cNvSpPr/>
                <p:nvPr/>
              </p:nvSpPr>
              <p:spPr>
                <a:xfrm>
                  <a:off x="3394914" y="2645648"/>
                  <a:ext cx="498427" cy="307975"/>
                </a:xfrm>
                <a:custGeom>
                  <a:avLst/>
                  <a:gdLst>
                    <a:gd name="csX0" fmla="*/ 17416 w 498427"/>
                    <a:gd name="csY0" fmla="*/ 17416 h 307975"/>
                    <a:gd name="csX1" fmla="*/ 13798 w 498427"/>
                    <a:gd name="csY1" fmla="*/ 0 h 307975"/>
                    <a:gd name="csX2" fmla="*/ 0 w 498427"/>
                    <a:gd name="csY2" fmla="*/ 3650 h 307975"/>
                    <a:gd name="csX3" fmla="*/ 63132 w 498427"/>
                    <a:gd name="csY3" fmla="*/ 69663 h 307975"/>
                    <a:gd name="csX4" fmla="*/ 63836 w 498427"/>
                    <a:gd name="csY4" fmla="*/ 80900 h 307975"/>
                    <a:gd name="csX5" fmla="*/ 67454 w 498427"/>
                    <a:gd name="csY5" fmla="*/ 88871 h 307975"/>
                    <a:gd name="csX6" fmla="*/ 43891 w 498427"/>
                    <a:gd name="csY6" fmla="*/ 108464 h 307975"/>
                    <a:gd name="csX7" fmla="*/ 64572 w 498427"/>
                    <a:gd name="csY7" fmla="*/ 134235 h 307975"/>
                    <a:gd name="csX8" fmla="*/ 54424 w 498427"/>
                    <a:gd name="csY8" fmla="*/ 136764 h 307975"/>
                    <a:gd name="csX9" fmla="*/ 50774 w 498427"/>
                    <a:gd name="csY9" fmla="*/ 142943 h 307975"/>
                    <a:gd name="csX10" fmla="*/ 60571 w 498427"/>
                    <a:gd name="csY10" fmla="*/ 150562 h 307975"/>
                    <a:gd name="csX11" fmla="*/ 61307 w 498427"/>
                    <a:gd name="csY11" fmla="*/ 162888 h 307975"/>
                    <a:gd name="csX12" fmla="*/ 56217 w 498427"/>
                    <a:gd name="csY12" fmla="*/ 175597 h 307975"/>
                    <a:gd name="csX13" fmla="*/ 65661 w 498427"/>
                    <a:gd name="csY13" fmla="*/ 180655 h 307975"/>
                    <a:gd name="csX14" fmla="*/ 65661 w 498427"/>
                    <a:gd name="csY14" fmla="*/ 187539 h 307975"/>
                    <a:gd name="csX15" fmla="*/ 77634 w 498427"/>
                    <a:gd name="csY15" fmla="*/ 197335 h 307975"/>
                    <a:gd name="csX16" fmla="*/ 87783 w 498427"/>
                    <a:gd name="csY16" fmla="*/ 193717 h 307975"/>
                    <a:gd name="csX17" fmla="*/ 95754 w 498427"/>
                    <a:gd name="csY17" fmla="*/ 200600 h 307975"/>
                    <a:gd name="csX18" fmla="*/ 111377 w 498427"/>
                    <a:gd name="csY18" fmla="*/ 216223 h 307975"/>
                    <a:gd name="csX19" fmla="*/ 96491 w 498427"/>
                    <a:gd name="csY19" fmla="*/ 228196 h 307975"/>
                    <a:gd name="csX20" fmla="*/ 104462 w 498427"/>
                    <a:gd name="csY20" fmla="*/ 249582 h 307975"/>
                    <a:gd name="csX21" fmla="*/ 143999 w 498427"/>
                    <a:gd name="csY21" fmla="*/ 253936 h 307975"/>
                    <a:gd name="csX22" fmla="*/ 153444 w 498427"/>
                    <a:gd name="csY22" fmla="*/ 246316 h 307975"/>
                    <a:gd name="csX23" fmla="*/ 171595 w 498427"/>
                    <a:gd name="csY23" fmla="*/ 254672 h 307975"/>
                    <a:gd name="csX24" fmla="*/ 171595 w 498427"/>
                    <a:gd name="csY24" fmla="*/ 263380 h 307975"/>
                    <a:gd name="csX25" fmla="*/ 187923 w 498427"/>
                    <a:gd name="csY25" fmla="*/ 255761 h 307975"/>
                    <a:gd name="csX26" fmla="*/ 194806 w 498427"/>
                    <a:gd name="csY26" fmla="*/ 260819 h 307975"/>
                    <a:gd name="csX27" fmla="*/ 200600 w 498427"/>
                    <a:gd name="csY27" fmla="*/ 259026 h 307975"/>
                    <a:gd name="csX28" fmla="*/ 211837 w 498427"/>
                    <a:gd name="csY28" fmla="*/ 270263 h 307975"/>
                    <a:gd name="csX29" fmla="*/ 216928 w 498427"/>
                    <a:gd name="csY29" fmla="*/ 273881 h 307975"/>
                    <a:gd name="csX30" fmla="*/ 221281 w 498427"/>
                    <a:gd name="csY30" fmla="*/ 274617 h 307975"/>
                    <a:gd name="csX31" fmla="*/ 213662 w 498427"/>
                    <a:gd name="csY31" fmla="*/ 287679 h 307975"/>
                    <a:gd name="csX32" fmla="*/ 223106 w 498427"/>
                    <a:gd name="csY32" fmla="*/ 302181 h 307975"/>
                    <a:gd name="csX33" fmla="*/ 243051 w 498427"/>
                    <a:gd name="csY33" fmla="*/ 294562 h 307975"/>
                    <a:gd name="csX34" fmla="*/ 255024 w 498427"/>
                    <a:gd name="csY34" fmla="*/ 297091 h 307975"/>
                    <a:gd name="csX35" fmla="*/ 262644 w 498427"/>
                    <a:gd name="csY35" fmla="*/ 291680 h 307975"/>
                    <a:gd name="csX36" fmla="*/ 266261 w 498427"/>
                    <a:gd name="csY36" fmla="*/ 294562 h 307975"/>
                    <a:gd name="csX37" fmla="*/ 276410 w 498427"/>
                    <a:gd name="csY37" fmla="*/ 292769 h 307975"/>
                    <a:gd name="csX38" fmla="*/ 285118 w 498427"/>
                    <a:gd name="csY38" fmla="*/ 297091 h 307975"/>
                    <a:gd name="csX39" fmla="*/ 293825 w 498427"/>
                    <a:gd name="csY39" fmla="*/ 293473 h 307975"/>
                    <a:gd name="csX40" fmla="*/ 297827 w 498427"/>
                    <a:gd name="csY40" fmla="*/ 297827 h 307975"/>
                    <a:gd name="csX41" fmla="*/ 313418 w 498427"/>
                    <a:gd name="csY41" fmla="*/ 296002 h 307975"/>
                    <a:gd name="csX42" fmla="*/ 310153 w 498427"/>
                    <a:gd name="csY42" fmla="*/ 289119 h 307975"/>
                    <a:gd name="csX43" fmla="*/ 323951 w 498427"/>
                    <a:gd name="csY43" fmla="*/ 283325 h 307975"/>
                    <a:gd name="csX44" fmla="*/ 334835 w 498427"/>
                    <a:gd name="csY44" fmla="*/ 285854 h 307975"/>
                    <a:gd name="csX45" fmla="*/ 345336 w 498427"/>
                    <a:gd name="csY45" fmla="*/ 297091 h 307975"/>
                    <a:gd name="csX46" fmla="*/ 343543 w 498427"/>
                    <a:gd name="csY46" fmla="*/ 301092 h 307975"/>
                    <a:gd name="csX47" fmla="*/ 354780 w 498427"/>
                    <a:gd name="csY47" fmla="*/ 304006 h 307975"/>
                    <a:gd name="csX48" fmla="*/ 363488 w 498427"/>
                    <a:gd name="csY48" fmla="*/ 300356 h 307975"/>
                    <a:gd name="csX49" fmla="*/ 368546 w 498427"/>
                    <a:gd name="csY49" fmla="*/ 307976 h 307975"/>
                    <a:gd name="csX50" fmla="*/ 371812 w 498427"/>
                    <a:gd name="csY50" fmla="*/ 297827 h 307975"/>
                    <a:gd name="csX51" fmla="*/ 381608 w 498427"/>
                    <a:gd name="csY51" fmla="*/ 304006 h 307975"/>
                    <a:gd name="csX52" fmla="*/ 384169 w 498427"/>
                    <a:gd name="csY52" fmla="*/ 290944 h 307975"/>
                    <a:gd name="csX53" fmla="*/ 443299 w 498427"/>
                    <a:gd name="csY53" fmla="*/ 253199 h 307975"/>
                    <a:gd name="csX54" fmla="*/ 446917 w 498427"/>
                    <a:gd name="csY54" fmla="*/ 242699 h 307975"/>
                    <a:gd name="csX55" fmla="*/ 443299 w 498427"/>
                    <a:gd name="csY55" fmla="*/ 218752 h 307975"/>
                    <a:gd name="csX56" fmla="*/ 452007 w 498427"/>
                    <a:gd name="csY56" fmla="*/ 208220 h 307975"/>
                    <a:gd name="csX57" fmla="*/ 463244 w 498427"/>
                    <a:gd name="csY57" fmla="*/ 206779 h 307975"/>
                    <a:gd name="csX58" fmla="*/ 498427 w 498427"/>
                    <a:gd name="csY58" fmla="*/ 178126 h 307975"/>
                    <a:gd name="csX59" fmla="*/ 479571 w 498427"/>
                    <a:gd name="csY59" fmla="*/ 174861 h 307975"/>
                    <a:gd name="csX60" fmla="*/ 451271 w 498427"/>
                    <a:gd name="csY60" fmla="*/ 160359 h 307975"/>
                    <a:gd name="csX61" fmla="*/ 430590 w 498427"/>
                    <a:gd name="csY61" fmla="*/ 156005 h 307975"/>
                    <a:gd name="csX62" fmla="*/ 416792 w 498427"/>
                    <a:gd name="csY62" fmla="*/ 158534 h 307975"/>
                    <a:gd name="csX63" fmla="*/ 395054 w 498427"/>
                    <a:gd name="csY63" fmla="*/ 174861 h 307975"/>
                    <a:gd name="csX64" fmla="*/ 372900 w 498427"/>
                    <a:gd name="csY64" fmla="*/ 182480 h 307975"/>
                    <a:gd name="csX65" fmla="*/ 349690 w 498427"/>
                    <a:gd name="csY65" fmla="*/ 188627 h 307975"/>
                    <a:gd name="csX66" fmla="*/ 329009 w 498427"/>
                    <a:gd name="csY66" fmla="*/ 188627 h 307975"/>
                    <a:gd name="csX67" fmla="*/ 318508 w 498427"/>
                    <a:gd name="csY67" fmla="*/ 188627 h 307975"/>
                    <a:gd name="csX68" fmla="*/ 304710 w 498427"/>
                    <a:gd name="csY68" fmla="*/ 187539 h 307975"/>
                    <a:gd name="csX69" fmla="*/ 286942 w 498427"/>
                    <a:gd name="csY69" fmla="*/ 173772 h 307975"/>
                    <a:gd name="csX70" fmla="*/ 277146 w 498427"/>
                    <a:gd name="csY70" fmla="*/ 173036 h 307975"/>
                    <a:gd name="csX71" fmla="*/ 271352 w 498427"/>
                    <a:gd name="csY71" fmla="*/ 156709 h 307975"/>
                    <a:gd name="csX72" fmla="*/ 253936 w 498427"/>
                    <a:gd name="csY72" fmla="*/ 136764 h 307975"/>
                    <a:gd name="csX73" fmla="*/ 256817 w 498427"/>
                    <a:gd name="csY73" fmla="*/ 123350 h 307975"/>
                    <a:gd name="csX74" fmla="*/ 238697 w 498427"/>
                    <a:gd name="csY74" fmla="*/ 111025 h 307975"/>
                    <a:gd name="csX75" fmla="*/ 236168 w 498427"/>
                    <a:gd name="csY75" fmla="*/ 93961 h 307975"/>
                    <a:gd name="csX76" fmla="*/ 221281 w 498427"/>
                    <a:gd name="csY76" fmla="*/ 60218 h 307975"/>
                    <a:gd name="csX77" fmla="*/ 192277 w 498427"/>
                    <a:gd name="csY77" fmla="*/ 34479 h 307975"/>
                    <a:gd name="csX78" fmla="*/ 172300 w 498427"/>
                    <a:gd name="csY78" fmla="*/ 31918 h 307975"/>
                    <a:gd name="csX79" fmla="*/ 155973 w 498427"/>
                    <a:gd name="csY79" fmla="*/ 38833 h 307975"/>
                    <a:gd name="csX80" fmla="*/ 137853 w 498427"/>
                    <a:gd name="csY80" fmla="*/ 38097 h 307975"/>
                    <a:gd name="csX81" fmla="*/ 130233 w 498427"/>
                    <a:gd name="csY81" fmla="*/ 43891 h 307975"/>
                    <a:gd name="csX82" fmla="*/ 90696 w 498427"/>
                    <a:gd name="csY82" fmla="*/ 12357 h 307975"/>
                    <a:gd name="csX83" fmla="*/ 75105 w 498427"/>
                    <a:gd name="csY83" fmla="*/ 13062 h 307975"/>
                    <a:gd name="csX84" fmla="*/ 57689 w 498427"/>
                    <a:gd name="csY84" fmla="*/ 30125 h 307975"/>
                    <a:gd name="csX85" fmla="*/ 46805 w 498427"/>
                    <a:gd name="csY85" fmla="*/ 26860 h 307975"/>
                    <a:gd name="csX86" fmla="*/ 34447 w 498427"/>
                    <a:gd name="csY86" fmla="*/ 29389 h 307975"/>
                    <a:gd name="csX87" fmla="*/ 17416 w 498427"/>
                    <a:gd name="csY87" fmla="*/ 17416 h 3079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</a:cxnLst>
                  <a:rect l="l" t="t" r="r" b="b"/>
                  <a:pathLst>
                    <a:path w="498427" h="307975">
                      <a:moveTo>
                        <a:pt x="17416" y="17416"/>
                      </a:moveTo>
                      <a:lnTo>
                        <a:pt x="13798" y="0"/>
                      </a:lnTo>
                      <a:lnTo>
                        <a:pt x="0" y="3650"/>
                      </a:lnTo>
                      <a:lnTo>
                        <a:pt x="63132" y="69663"/>
                      </a:lnTo>
                      <a:lnTo>
                        <a:pt x="63836" y="80900"/>
                      </a:lnTo>
                      <a:lnTo>
                        <a:pt x="67454" y="88871"/>
                      </a:lnTo>
                      <a:lnTo>
                        <a:pt x="43891" y="108464"/>
                      </a:lnTo>
                      <a:lnTo>
                        <a:pt x="64572" y="134235"/>
                      </a:lnTo>
                      <a:lnTo>
                        <a:pt x="54424" y="136764"/>
                      </a:lnTo>
                      <a:lnTo>
                        <a:pt x="50774" y="142943"/>
                      </a:lnTo>
                      <a:lnTo>
                        <a:pt x="60571" y="150562"/>
                      </a:lnTo>
                      <a:lnTo>
                        <a:pt x="61307" y="162888"/>
                      </a:lnTo>
                      <a:lnTo>
                        <a:pt x="56217" y="175597"/>
                      </a:lnTo>
                      <a:lnTo>
                        <a:pt x="65661" y="180655"/>
                      </a:lnTo>
                      <a:lnTo>
                        <a:pt x="65661" y="187539"/>
                      </a:lnTo>
                      <a:lnTo>
                        <a:pt x="77634" y="197335"/>
                      </a:lnTo>
                      <a:lnTo>
                        <a:pt x="87783" y="193717"/>
                      </a:lnTo>
                      <a:lnTo>
                        <a:pt x="95754" y="200600"/>
                      </a:lnTo>
                      <a:lnTo>
                        <a:pt x="111377" y="216223"/>
                      </a:lnTo>
                      <a:lnTo>
                        <a:pt x="96491" y="228196"/>
                      </a:lnTo>
                      <a:lnTo>
                        <a:pt x="104462" y="249582"/>
                      </a:lnTo>
                      <a:lnTo>
                        <a:pt x="143999" y="253936"/>
                      </a:lnTo>
                      <a:lnTo>
                        <a:pt x="153444" y="246316"/>
                      </a:lnTo>
                      <a:lnTo>
                        <a:pt x="171595" y="254672"/>
                      </a:lnTo>
                      <a:lnTo>
                        <a:pt x="171595" y="263380"/>
                      </a:lnTo>
                      <a:lnTo>
                        <a:pt x="187923" y="255761"/>
                      </a:lnTo>
                      <a:lnTo>
                        <a:pt x="194806" y="260819"/>
                      </a:lnTo>
                      <a:lnTo>
                        <a:pt x="200600" y="259026"/>
                      </a:lnTo>
                      <a:lnTo>
                        <a:pt x="211837" y="270263"/>
                      </a:lnTo>
                      <a:lnTo>
                        <a:pt x="216928" y="273881"/>
                      </a:lnTo>
                      <a:lnTo>
                        <a:pt x="221281" y="274617"/>
                      </a:lnTo>
                      <a:lnTo>
                        <a:pt x="213662" y="287679"/>
                      </a:lnTo>
                      <a:lnTo>
                        <a:pt x="223106" y="302181"/>
                      </a:lnTo>
                      <a:lnTo>
                        <a:pt x="243051" y="294562"/>
                      </a:lnTo>
                      <a:lnTo>
                        <a:pt x="255024" y="297091"/>
                      </a:lnTo>
                      <a:lnTo>
                        <a:pt x="262644" y="291680"/>
                      </a:lnTo>
                      <a:lnTo>
                        <a:pt x="266261" y="294562"/>
                      </a:lnTo>
                      <a:lnTo>
                        <a:pt x="276410" y="292769"/>
                      </a:lnTo>
                      <a:lnTo>
                        <a:pt x="285118" y="297091"/>
                      </a:lnTo>
                      <a:lnTo>
                        <a:pt x="293825" y="293473"/>
                      </a:lnTo>
                      <a:lnTo>
                        <a:pt x="297827" y="297827"/>
                      </a:lnTo>
                      <a:lnTo>
                        <a:pt x="313418" y="296002"/>
                      </a:lnTo>
                      <a:lnTo>
                        <a:pt x="310153" y="289119"/>
                      </a:lnTo>
                      <a:lnTo>
                        <a:pt x="323951" y="283325"/>
                      </a:lnTo>
                      <a:lnTo>
                        <a:pt x="334835" y="285854"/>
                      </a:lnTo>
                      <a:lnTo>
                        <a:pt x="345336" y="297091"/>
                      </a:lnTo>
                      <a:lnTo>
                        <a:pt x="343543" y="301092"/>
                      </a:lnTo>
                      <a:lnTo>
                        <a:pt x="354780" y="304006"/>
                      </a:lnTo>
                      <a:lnTo>
                        <a:pt x="363488" y="300356"/>
                      </a:lnTo>
                      <a:lnTo>
                        <a:pt x="368546" y="307976"/>
                      </a:lnTo>
                      <a:lnTo>
                        <a:pt x="371812" y="297827"/>
                      </a:lnTo>
                      <a:lnTo>
                        <a:pt x="381608" y="304006"/>
                      </a:lnTo>
                      <a:lnTo>
                        <a:pt x="384169" y="290944"/>
                      </a:lnTo>
                      <a:lnTo>
                        <a:pt x="443299" y="253199"/>
                      </a:lnTo>
                      <a:lnTo>
                        <a:pt x="446917" y="242699"/>
                      </a:lnTo>
                      <a:lnTo>
                        <a:pt x="443299" y="218752"/>
                      </a:lnTo>
                      <a:lnTo>
                        <a:pt x="452007" y="208220"/>
                      </a:lnTo>
                      <a:lnTo>
                        <a:pt x="463244" y="206779"/>
                      </a:lnTo>
                      <a:lnTo>
                        <a:pt x="498427" y="178126"/>
                      </a:lnTo>
                      <a:lnTo>
                        <a:pt x="479571" y="174861"/>
                      </a:lnTo>
                      <a:lnTo>
                        <a:pt x="451271" y="160359"/>
                      </a:lnTo>
                      <a:lnTo>
                        <a:pt x="430590" y="156005"/>
                      </a:lnTo>
                      <a:lnTo>
                        <a:pt x="416792" y="158534"/>
                      </a:lnTo>
                      <a:lnTo>
                        <a:pt x="395054" y="174861"/>
                      </a:lnTo>
                      <a:lnTo>
                        <a:pt x="372900" y="182480"/>
                      </a:lnTo>
                      <a:lnTo>
                        <a:pt x="349690" y="188627"/>
                      </a:lnTo>
                      <a:lnTo>
                        <a:pt x="329009" y="188627"/>
                      </a:lnTo>
                      <a:lnTo>
                        <a:pt x="318508" y="188627"/>
                      </a:lnTo>
                      <a:lnTo>
                        <a:pt x="304710" y="187539"/>
                      </a:lnTo>
                      <a:lnTo>
                        <a:pt x="286942" y="173772"/>
                      </a:lnTo>
                      <a:lnTo>
                        <a:pt x="277146" y="173036"/>
                      </a:lnTo>
                      <a:lnTo>
                        <a:pt x="271352" y="156709"/>
                      </a:lnTo>
                      <a:lnTo>
                        <a:pt x="253936" y="136764"/>
                      </a:lnTo>
                      <a:lnTo>
                        <a:pt x="256817" y="123350"/>
                      </a:lnTo>
                      <a:lnTo>
                        <a:pt x="238697" y="111025"/>
                      </a:lnTo>
                      <a:lnTo>
                        <a:pt x="236168" y="93961"/>
                      </a:lnTo>
                      <a:lnTo>
                        <a:pt x="221281" y="60218"/>
                      </a:lnTo>
                      <a:lnTo>
                        <a:pt x="192277" y="34479"/>
                      </a:lnTo>
                      <a:lnTo>
                        <a:pt x="172300" y="31918"/>
                      </a:lnTo>
                      <a:lnTo>
                        <a:pt x="155973" y="38833"/>
                      </a:lnTo>
                      <a:lnTo>
                        <a:pt x="137853" y="38097"/>
                      </a:lnTo>
                      <a:lnTo>
                        <a:pt x="130233" y="43891"/>
                      </a:lnTo>
                      <a:lnTo>
                        <a:pt x="90696" y="12357"/>
                      </a:lnTo>
                      <a:lnTo>
                        <a:pt x="75105" y="13062"/>
                      </a:lnTo>
                      <a:lnTo>
                        <a:pt x="57689" y="30125"/>
                      </a:lnTo>
                      <a:lnTo>
                        <a:pt x="46805" y="26860"/>
                      </a:lnTo>
                      <a:lnTo>
                        <a:pt x="34447" y="29389"/>
                      </a:lnTo>
                      <a:lnTo>
                        <a:pt x="17416" y="1741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7" name="Forma Livre: Forma 216">
                  <a:extLst>
                    <a:ext uri="{FF2B5EF4-FFF2-40B4-BE49-F238E27FC236}">
                      <a16:creationId xmlns:a16="http://schemas.microsoft.com/office/drawing/2014/main" id="{0E754935-E9BE-990B-A93C-E0FC522007E6}"/>
                    </a:ext>
                  </a:extLst>
                </p:cNvPr>
                <p:cNvSpPr/>
                <p:nvPr/>
              </p:nvSpPr>
              <p:spPr>
                <a:xfrm>
                  <a:off x="1777018" y="6166590"/>
                  <a:ext cx="194421" cy="179567"/>
                </a:xfrm>
                <a:custGeom>
                  <a:avLst/>
                  <a:gdLst>
                    <a:gd name="csX0" fmla="*/ 176654 w 194421"/>
                    <a:gd name="csY0" fmla="*/ 10149 h 179567"/>
                    <a:gd name="csX1" fmla="*/ 173036 w 194421"/>
                    <a:gd name="csY1" fmla="*/ 0 h 179567"/>
                    <a:gd name="csX2" fmla="*/ 166857 w 194421"/>
                    <a:gd name="csY2" fmla="*/ 704 h 179567"/>
                    <a:gd name="csX3" fmla="*/ 159974 w 194421"/>
                    <a:gd name="csY3" fmla="*/ 16295 h 179567"/>
                    <a:gd name="csX4" fmla="*/ 148001 w 194421"/>
                    <a:gd name="csY4" fmla="*/ 15207 h 179567"/>
                    <a:gd name="csX5" fmla="*/ 145472 w 194421"/>
                    <a:gd name="csY5" fmla="*/ 22122 h 179567"/>
                    <a:gd name="csX6" fmla="*/ 139293 w 194421"/>
                    <a:gd name="csY6" fmla="*/ 33359 h 179567"/>
                    <a:gd name="csX7" fmla="*/ 133499 w 194421"/>
                    <a:gd name="csY7" fmla="*/ 37713 h 179567"/>
                    <a:gd name="csX8" fmla="*/ 136028 w 194421"/>
                    <a:gd name="csY8" fmla="*/ 40978 h 179567"/>
                    <a:gd name="csX9" fmla="*/ 128409 w 194421"/>
                    <a:gd name="csY9" fmla="*/ 62748 h 179567"/>
                    <a:gd name="csX10" fmla="*/ 117876 w 194421"/>
                    <a:gd name="csY10" fmla="*/ 65277 h 179567"/>
                    <a:gd name="csX11" fmla="*/ 113522 w 194421"/>
                    <a:gd name="csY11" fmla="*/ 86694 h 179567"/>
                    <a:gd name="csX12" fmla="*/ 105935 w 194421"/>
                    <a:gd name="csY12" fmla="*/ 87399 h 179567"/>
                    <a:gd name="csX13" fmla="*/ 85958 w 194421"/>
                    <a:gd name="csY13" fmla="*/ 103022 h 179567"/>
                    <a:gd name="csX14" fmla="*/ 64572 w 194421"/>
                    <a:gd name="csY14" fmla="*/ 83429 h 179567"/>
                    <a:gd name="csX15" fmla="*/ 48982 w 194421"/>
                    <a:gd name="csY15" fmla="*/ 110993 h 179567"/>
                    <a:gd name="csX16" fmla="*/ 34447 w 194421"/>
                    <a:gd name="csY16" fmla="*/ 104814 h 179567"/>
                    <a:gd name="csX17" fmla="*/ 21385 w 194421"/>
                    <a:gd name="csY17" fmla="*/ 112433 h 179567"/>
                    <a:gd name="csX18" fmla="*/ 11973 w 194421"/>
                    <a:gd name="csY18" fmla="*/ 110993 h 179567"/>
                    <a:gd name="csX19" fmla="*/ 2529 w 194421"/>
                    <a:gd name="csY19" fmla="*/ 128761 h 179567"/>
                    <a:gd name="csX20" fmla="*/ 14502 w 194421"/>
                    <a:gd name="csY20" fmla="*/ 131290 h 179567"/>
                    <a:gd name="csX21" fmla="*/ 18120 w 194421"/>
                    <a:gd name="csY21" fmla="*/ 136732 h 179567"/>
                    <a:gd name="csX22" fmla="*/ 1088 w 194421"/>
                    <a:gd name="csY22" fmla="*/ 143647 h 179567"/>
                    <a:gd name="csX23" fmla="*/ 0 w 194421"/>
                    <a:gd name="csY23" fmla="*/ 153060 h 179567"/>
                    <a:gd name="csX24" fmla="*/ 18856 w 194421"/>
                    <a:gd name="csY24" fmla="*/ 158150 h 179567"/>
                    <a:gd name="csX25" fmla="*/ 17416 w 194421"/>
                    <a:gd name="csY25" fmla="*/ 149442 h 179567"/>
                    <a:gd name="csX26" fmla="*/ 30093 w 194421"/>
                    <a:gd name="csY26" fmla="*/ 142559 h 179567"/>
                    <a:gd name="csX27" fmla="*/ 36272 w 194421"/>
                    <a:gd name="csY27" fmla="*/ 144352 h 179567"/>
                    <a:gd name="csX28" fmla="*/ 40626 w 194421"/>
                    <a:gd name="csY28" fmla="*/ 151267 h 179567"/>
                    <a:gd name="csX29" fmla="*/ 48245 w 194421"/>
                    <a:gd name="csY29" fmla="*/ 149442 h 179567"/>
                    <a:gd name="csX30" fmla="*/ 54424 w 194421"/>
                    <a:gd name="csY30" fmla="*/ 156325 h 179567"/>
                    <a:gd name="csX31" fmla="*/ 52599 w 194421"/>
                    <a:gd name="csY31" fmla="*/ 164329 h 179567"/>
                    <a:gd name="csX32" fmla="*/ 55865 w 194421"/>
                    <a:gd name="csY32" fmla="*/ 166857 h 179567"/>
                    <a:gd name="csX33" fmla="*/ 62748 w 194421"/>
                    <a:gd name="csY33" fmla="*/ 158150 h 179567"/>
                    <a:gd name="csX34" fmla="*/ 75073 w 194421"/>
                    <a:gd name="csY34" fmla="*/ 155620 h 179567"/>
                    <a:gd name="csX35" fmla="*/ 71455 w 194421"/>
                    <a:gd name="csY35" fmla="*/ 165033 h 179567"/>
                    <a:gd name="csX36" fmla="*/ 87046 w 194421"/>
                    <a:gd name="csY36" fmla="*/ 171948 h 179567"/>
                    <a:gd name="csX37" fmla="*/ 85958 w 194421"/>
                    <a:gd name="csY37" fmla="*/ 178831 h 179567"/>
                    <a:gd name="csX38" fmla="*/ 96490 w 194421"/>
                    <a:gd name="csY38" fmla="*/ 179567 h 179567"/>
                    <a:gd name="csX39" fmla="*/ 122966 w 194421"/>
                    <a:gd name="csY39" fmla="*/ 146176 h 179567"/>
                    <a:gd name="csX40" fmla="*/ 142911 w 194421"/>
                    <a:gd name="csY40" fmla="*/ 132378 h 179567"/>
                    <a:gd name="csX41" fmla="*/ 152355 w 194421"/>
                    <a:gd name="csY41" fmla="*/ 132378 h 179567"/>
                    <a:gd name="csX42" fmla="*/ 169771 w 194421"/>
                    <a:gd name="csY42" fmla="*/ 114258 h 179567"/>
                    <a:gd name="csX43" fmla="*/ 171211 w 194421"/>
                    <a:gd name="csY43" fmla="*/ 104814 h 179567"/>
                    <a:gd name="csX44" fmla="*/ 194422 w 194421"/>
                    <a:gd name="csY44" fmla="*/ 91048 h 179567"/>
                    <a:gd name="csX45" fmla="*/ 191156 w 194421"/>
                    <a:gd name="csY45" fmla="*/ 82340 h 179567"/>
                    <a:gd name="csX46" fmla="*/ 177390 w 194421"/>
                    <a:gd name="csY46" fmla="*/ 76546 h 179567"/>
                    <a:gd name="csX47" fmla="*/ 179919 w 194421"/>
                    <a:gd name="csY47" fmla="*/ 71104 h 179567"/>
                    <a:gd name="csX48" fmla="*/ 173740 w 194421"/>
                    <a:gd name="csY48" fmla="*/ 63484 h 179567"/>
                    <a:gd name="csX49" fmla="*/ 191892 w 194421"/>
                    <a:gd name="csY49" fmla="*/ 42803 h 179567"/>
                    <a:gd name="csX50" fmla="*/ 194422 w 194421"/>
                    <a:gd name="csY50" fmla="*/ 21386 h 179567"/>
                    <a:gd name="csX51" fmla="*/ 176654 w 194421"/>
                    <a:gd name="csY51" fmla="*/ 10149 h 1795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</a:cxnLst>
                  <a:rect l="l" t="t" r="r" b="b"/>
                  <a:pathLst>
                    <a:path w="194421" h="179567">
                      <a:moveTo>
                        <a:pt x="176654" y="10149"/>
                      </a:moveTo>
                      <a:lnTo>
                        <a:pt x="173036" y="0"/>
                      </a:lnTo>
                      <a:lnTo>
                        <a:pt x="166857" y="704"/>
                      </a:lnTo>
                      <a:lnTo>
                        <a:pt x="159974" y="16295"/>
                      </a:lnTo>
                      <a:lnTo>
                        <a:pt x="148001" y="15207"/>
                      </a:lnTo>
                      <a:lnTo>
                        <a:pt x="145472" y="22122"/>
                      </a:lnTo>
                      <a:lnTo>
                        <a:pt x="139293" y="33359"/>
                      </a:lnTo>
                      <a:lnTo>
                        <a:pt x="133499" y="37713"/>
                      </a:lnTo>
                      <a:lnTo>
                        <a:pt x="136028" y="40978"/>
                      </a:lnTo>
                      <a:lnTo>
                        <a:pt x="128409" y="62748"/>
                      </a:lnTo>
                      <a:lnTo>
                        <a:pt x="117876" y="65277"/>
                      </a:lnTo>
                      <a:lnTo>
                        <a:pt x="113522" y="86694"/>
                      </a:lnTo>
                      <a:lnTo>
                        <a:pt x="105935" y="87399"/>
                      </a:lnTo>
                      <a:lnTo>
                        <a:pt x="85958" y="103022"/>
                      </a:lnTo>
                      <a:lnTo>
                        <a:pt x="64572" y="83429"/>
                      </a:lnTo>
                      <a:lnTo>
                        <a:pt x="48982" y="110993"/>
                      </a:lnTo>
                      <a:lnTo>
                        <a:pt x="34447" y="104814"/>
                      </a:lnTo>
                      <a:lnTo>
                        <a:pt x="21385" y="112433"/>
                      </a:lnTo>
                      <a:lnTo>
                        <a:pt x="11973" y="110993"/>
                      </a:lnTo>
                      <a:lnTo>
                        <a:pt x="2529" y="128761"/>
                      </a:lnTo>
                      <a:lnTo>
                        <a:pt x="14502" y="131290"/>
                      </a:lnTo>
                      <a:lnTo>
                        <a:pt x="18120" y="136732"/>
                      </a:lnTo>
                      <a:lnTo>
                        <a:pt x="1088" y="143647"/>
                      </a:lnTo>
                      <a:lnTo>
                        <a:pt x="0" y="153060"/>
                      </a:lnTo>
                      <a:lnTo>
                        <a:pt x="18856" y="158150"/>
                      </a:lnTo>
                      <a:lnTo>
                        <a:pt x="17416" y="149442"/>
                      </a:lnTo>
                      <a:lnTo>
                        <a:pt x="30093" y="142559"/>
                      </a:lnTo>
                      <a:lnTo>
                        <a:pt x="36272" y="144352"/>
                      </a:lnTo>
                      <a:lnTo>
                        <a:pt x="40626" y="151267"/>
                      </a:lnTo>
                      <a:lnTo>
                        <a:pt x="48245" y="149442"/>
                      </a:lnTo>
                      <a:lnTo>
                        <a:pt x="54424" y="156325"/>
                      </a:lnTo>
                      <a:lnTo>
                        <a:pt x="52599" y="164329"/>
                      </a:lnTo>
                      <a:lnTo>
                        <a:pt x="55865" y="166857"/>
                      </a:lnTo>
                      <a:lnTo>
                        <a:pt x="62748" y="158150"/>
                      </a:lnTo>
                      <a:lnTo>
                        <a:pt x="75073" y="155620"/>
                      </a:lnTo>
                      <a:lnTo>
                        <a:pt x="71455" y="165033"/>
                      </a:lnTo>
                      <a:lnTo>
                        <a:pt x="87046" y="171948"/>
                      </a:lnTo>
                      <a:lnTo>
                        <a:pt x="85958" y="178831"/>
                      </a:lnTo>
                      <a:lnTo>
                        <a:pt x="96490" y="179567"/>
                      </a:lnTo>
                      <a:lnTo>
                        <a:pt x="122966" y="146176"/>
                      </a:lnTo>
                      <a:lnTo>
                        <a:pt x="142911" y="132378"/>
                      </a:lnTo>
                      <a:lnTo>
                        <a:pt x="152355" y="132378"/>
                      </a:lnTo>
                      <a:lnTo>
                        <a:pt x="169771" y="114258"/>
                      </a:lnTo>
                      <a:lnTo>
                        <a:pt x="171211" y="104814"/>
                      </a:lnTo>
                      <a:lnTo>
                        <a:pt x="194422" y="91048"/>
                      </a:lnTo>
                      <a:lnTo>
                        <a:pt x="191156" y="82340"/>
                      </a:lnTo>
                      <a:lnTo>
                        <a:pt x="177390" y="76546"/>
                      </a:lnTo>
                      <a:lnTo>
                        <a:pt x="179919" y="71104"/>
                      </a:lnTo>
                      <a:lnTo>
                        <a:pt x="173740" y="63484"/>
                      </a:lnTo>
                      <a:lnTo>
                        <a:pt x="191892" y="42803"/>
                      </a:lnTo>
                      <a:lnTo>
                        <a:pt x="194422" y="21386"/>
                      </a:lnTo>
                      <a:lnTo>
                        <a:pt x="176654" y="1014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8" name="Forma Livre: Forma 217">
                  <a:extLst>
                    <a:ext uri="{FF2B5EF4-FFF2-40B4-BE49-F238E27FC236}">
                      <a16:creationId xmlns:a16="http://schemas.microsoft.com/office/drawing/2014/main" id="{05375525-7769-9503-A076-4128FDDD7ADB}"/>
                    </a:ext>
                  </a:extLst>
                </p:cNvPr>
                <p:cNvSpPr/>
                <p:nvPr/>
              </p:nvSpPr>
              <p:spPr>
                <a:xfrm>
                  <a:off x="1777018" y="6166590"/>
                  <a:ext cx="194421" cy="179567"/>
                </a:xfrm>
                <a:custGeom>
                  <a:avLst/>
                  <a:gdLst>
                    <a:gd name="csX0" fmla="*/ 176654 w 194421"/>
                    <a:gd name="csY0" fmla="*/ 10149 h 179567"/>
                    <a:gd name="csX1" fmla="*/ 173036 w 194421"/>
                    <a:gd name="csY1" fmla="*/ 0 h 179567"/>
                    <a:gd name="csX2" fmla="*/ 166857 w 194421"/>
                    <a:gd name="csY2" fmla="*/ 704 h 179567"/>
                    <a:gd name="csX3" fmla="*/ 159974 w 194421"/>
                    <a:gd name="csY3" fmla="*/ 16295 h 179567"/>
                    <a:gd name="csX4" fmla="*/ 148001 w 194421"/>
                    <a:gd name="csY4" fmla="*/ 15207 h 179567"/>
                    <a:gd name="csX5" fmla="*/ 145472 w 194421"/>
                    <a:gd name="csY5" fmla="*/ 22122 h 179567"/>
                    <a:gd name="csX6" fmla="*/ 139293 w 194421"/>
                    <a:gd name="csY6" fmla="*/ 33359 h 179567"/>
                    <a:gd name="csX7" fmla="*/ 133499 w 194421"/>
                    <a:gd name="csY7" fmla="*/ 37713 h 179567"/>
                    <a:gd name="csX8" fmla="*/ 136028 w 194421"/>
                    <a:gd name="csY8" fmla="*/ 40978 h 179567"/>
                    <a:gd name="csX9" fmla="*/ 128409 w 194421"/>
                    <a:gd name="csY9" fmla="*/ 62748 h 179567"/>
                    <a:gd name="csX10" fmla="*/ 117876 w 194421"/>
                    <a:gd name="csY10" fmla="*/ 65277 h 179567"/>
                    <a:gd name="csX11" fmla="*/ 113522 w 194421"/>
                    <a:gd name="csY11" fmla="*/ 86694 h 179567"/>
                    <a:gd name="csX12" fmla="*/ 105935 w 194421"/>
                    <a:gd name="csY12" fmla="*/ 87399 h 179567"/>
                    <a:gd name="csX13" fmla="*/ 85958 w 194421"/>
                    <a:gd name="csY13" fmla="*/ 103022 h 179567"/>
                    <a:gd name="csX14" fmla="*/ 64572 w 194421"/>
                    <a:gd name="csY14" fmla="*/ 83429 h 179567"/>
                    <a:gd name="csX15" fmla="*/ 48982 w 194421"/>
                    <a:gd name="csY15" fmla="*/ 110993 h 179567"/>
                    <a:gd name="csX16" fmla="*/ 34447 w 194421"/>
                    <a:gd name="csY16" fmla="*/ 104814 h 179567"/>
                    <a:gd name="csX17" fmla="*/ 21385 w 194421"/>
                    <a:gd name="csY17" fmla="*/ 112433 h 179567"/>
                    <a:gd name="csX18" fmla="*/ 11973 w 194421"/>
                    <a:gd name="csY18" fmla="*/ 110993 h 179567"/>
                    <a:gd name="csX19" fmla="*/ 2529 w 194421"/>
                    <a:gd name="csY19" fmla="*/ 128761 h 179567"/>
                    <a:gd name="csX20" fmla="*/ 14502 w 194421"/>
                    <a:gd name="csY20" fmla="*/ 131290 h 179567"/>
                    <a:gd name="csX21" fmla="*/ 18120 w 194421"/>
                    <a:gd name="csY21" fmla="*/ 136732 h 179567"/>
                    <a:gd name="csX22" fmla="*/ 1088 w 194421"/>
                    <a:gd name="csY22" fmla="*/ 143647 h 179567"/>
                    <a:gd name="csX23" fmla="*/ 0 w 194421"/>
                    <a:gd name="csY23" fmla="*/ 153060 h 179567"/>
                    <a:gd name="csX24" fmla="*/ 18856 w 194421"/>
                    <a:gd name="csY24" fmla="*/ 158150 h 179567"/>
                    <a:gd name="csX25" fmla="*/ 17416 w 194421"/>
                    <a:gd name="csY25" fmla="*/ 149442 h 179567"/>
                    <a:gd name="csX26" fmla="*/ 30093 w 194421"/>
                    <a:gd name="csY26" fmla="*/ 142559 h 179567"/>
                    <a:gd name="csX27" fmla="*/ 36272 w 194421"/>
                    <a:gd name="csY27" fmla="*/ 144352 h 179567"/>
                    <a:gd name="csX28" fmla="*/ 40626 w 194421"/>
                    <a:gd name="csY28" fmla="*/ 151267 h 179567"/>
                    <a:gd name="csX29" fmla="*/ 48245 w 194421"/>
                    <a:gd name="csY29" fmla="*/ 149442 h 179567"/>
                    <a:gd name="csX30" fmla="*/ 54424 w 194421"/>
                    <a:gd name="csY30" fmla="*/ 156325 h 179567"/>
                    <a:gd name="csX31" fmla="*/ 52599 w 194421"/>
                    <a:gd name="csY31" fmla="*/ 164329 h 179567"/>
                    <a:gd name="csX32" fmla="*/ 55865 w 194421"/>
                    <a:gd name="csY32" fmla="*/ 166857 h 179567"/>
                    <a:gd name="csX33" fmla="*/ 62748 w 194421"/>
                    <a:gd name="csY33" fmla="*/ 158150 h 179567"/>
                    <a:gd name="csX34" fmla="*/ 75073 w 194421"/>
                    <a:gd name="csY34" fmla="*/ 155620 h 179567"/>
                    <a:gd name="csX35" fmla="*/ 71455 w 194421"/>
                    <a:gd name="csY35" fmla="*/ 165033 h 179567"/>
                    <a:gd name="csX36" fmla="*/ 87046 w 194421"/>
                    <a:gd name="csY36" fmla="*/ 171948 h 179567"/>
                    <a:gd name="csX37" fmla="*/ 85958 w 194421"/>
                    <a:gd name="csY37" fmla="*/ 178831 h 179567"/>
                    <a:gd name="csX38" fmla="*/ 96490 w 194421"/>
                    <a:gd name="csY38" fmla="*/ 179567 h 179567"/>
                    <a:gd name="csX39" fmla="*/ 122966 w 194421"/>
                    <a:gd name="csY39" fmla="*/ 146176 h 179567"/>
                    <a:gd name="csX40" fmla="*/ 142911 w 194421"/>
                    <a:gd name="csY40" fmla="*/ 132378 h 179567"/>
                    <a:gd name="csX41" fmla="*/ 152355 w 194421"/>
                    <a:gd name="csY41" fmla="*/ 132378 h 179567"/>
                    <a:gd name="csX42" fmla="*/ 169771 w 194421"/>
                    <a:gd name="csY42" fmla="*/ 114258 h 179567"/>
                    <a:gd name="csX43" fmla="*/ 171211 w 194421"/>
                    <a:gd name="csY43" fmla="*/ 104814 h 179567"/>
                    <a:gd name="csX44" fmla="*/ 194422 w 194421"/>
                    <a:gd name="csY44" fmla="*/ 91048 h 179567"/>
                    <a:gd name="csX45" fmla="*/ 191156 w 194421"/>
                    <a:gd name="csY45" fmla="*/ 82340 h 179567"/>
                    <a:gd name="csX46" fmla="*/ 177390 w 194421"/>
                    <a:gd name="csY46" fmla="*/ 76546 h 179567"/>
                    <a:gd name="csX47" fmla="*/ 179919 w 194421"/>
                    <a:gd name="csY47" fmla="*/ 71104 h 179567"/>
                    <a:gd name="csX48" fmla="*/ 173740 w 194421"/>
                    <a:gd name="csY48" fmla="*/ 63484 h 179567"/>
                    <a:gd name="csX49" fmla="*/ 191892 w 194421"/>
                    <a:gd name="csY49" fmla="*/ 42803 h 179567"/>
                    <a:gd name="csX50" fmla="*/ 194422 w 194421"/>
                    <a:gd name="csY50" fmla="*/ 21386 h 179567"/>
                    <a:gd name="csX51" fmla="*/ 176654 w 194421"/>
                    <a:gd name="csY51" fmla="*/ 10149 h 1795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</a:cxnLst>
                  <a:rect l="l" t="t" r="r" b="b"/>
                  <a:pathLst>
                    <a:path w="194421" h="179567">
                      <a:moveTo>
                        <a:pt x="176654" y="10149"/>
                      </a:moveTo>
                      <a:lnTo>
                        <a:pt x="173036" y="0"/>
                      </a:lnTo>
                      <a:lnTo>
                        <a:pt x="166857" y="704"/>
                      </a:lnTo>
                      <a:lnTo>
                        <a:pt x="159974" y="16295"/>
                      </a:lnTo>
                      <a:lnTo>
                        <a:pt x="148001" y="15207"/>
                      </a:lnTo>
                      <a:lnTo>
                        <a:pt x="145472" y="22122"/>
                      </a:lnTo>
                      <a:lnTo>
                        <a:pt x="139293" y="33359"/>
                      </a:lnTo>
                      <a:lnTo>
                        <a:pt x="133499" y="37713"/>
                      </a:lnTo>
                      <a:lnTo>
                        <a:pt x="136028" y="40978"/>
                      </a:lnTo>
                      <a:lnTo>
                        <a:pt x="128409" y="62748"/>
                      </a:lnTo>
                      <a:lnTo>
                        <a:pt x="117876" y="65277"/>
                      </a:lnTo>
                      <a:lnTo>
                        <a:pt x="113522" y="86694"/>
                      </a:lnTo>
                      <a:lnTo>
                        <a:pt x="105935" y="87399"/>
                      </a:lnTo>
                      <a:lnTo>
                        <a:pt x="85958" y="103022"/>
                      </a:lnTo>
                      <a:lnTo>
                        <a:pt x="64572" y="83429"/>
                      </a:lnTo>
                      <a:lnTo>
                        <a:pt x="48982" y="110993"/>
                      </a:lnTo>
                      <a:lnTo>
                        <a:pt x="34447" y="104814"/>
                      </a:lnTo>
                      <a:lnTo>
                        <a:pt x="21385" y="112433"/>
                      </a:lnTo>
                      <a:lnTo>
                        <a:pt x="11973" y="110993"/>
                      </a:lnTo>
                      <a:lnTo>
                        <a:pt x="2529" y="128761"/>
                      </a:lnTo>
                      <a:lnTo>
                        <a:pt x="14502" y="131290"/>
                      </a:lnTo>
                      <a:lnTo>
                        <a:pt x="18120" y="136732"/>
                      </a:lnTo>
                      <a:lnTo>
                        <a:pt x="1088" y="143647"/>
                      </a:lnTo>
                      <a:lnTo>
                        <a:pt x="0" y="153060"/>
                      </a:lnTo>
                      <a:lnTo>
                        <a:pt x="18856" y="158150"/>
                      </a:lnTo>
                      <a:lnTo>
                        <a:pt x="17416" y="149442"/>
                      </a:lnTo>
                      <a:lnTo>
                        <a:pt x="30093" y="142559"/>
                      </a:lnTo>
                      <a:lnTo>
                        <a:pt x="36272" y="144352"/>
                      </a:lnTo>
                      <a:lnTo>
                        <a:pt x="40626" y="151267"/>
                      </a:lnTo>
                      <a:lnTo>
                        <a:pt x="48245" y="149442"/>
                      </a:lnTo>
                      <a:lnTo>
                        <a:pt x="54424" y="156325"/>
                      </a:lnTo>
                      <a:lnTo>
                        <a:pt x="52599" y="164329"/>
                      </a:lnTo>
                      <a:lnTo>
                        <a:pt x="55865" y="166857"/>
                      </a:lnTo>
                      <a:lnTo>
                        <a:pt x="62748" y="158150"/>
                      </a:lnTo>
                      <a:lnTo>
                        <a:pt x="75073" y="155620"/>
                      </a:lnTo>
                      <a:lnTo>
                        <a:pt x="71455" y="165033"/>
                      </a:lnTo>
                      <a:lnTo>
                        <a:pt x="87046" y="171948"/>
                      </a:lnTo>
                      <a:lnTo>
                        <a:pt x="85958" y="178831"/>
                      </a:lnTo>
                      <a:lnTo>
                        <a:pt x="96490" y="179567"/>
                      </a:lnTo>
                      <a:lnTo>
                        <a:pt x="122966" y="146176"/>
                      </a:lnTo>
                      <a:lnTo>
                        <a:pt x="142911" y="132378"/>
                      </a:lnTo>
                      <a:lnTo>
                        <a:pt x="152355" y="132378"/>
                      </a:lnTo>
                      <a:lnTo>
                        <a:pt x="169771" y="114258"/>
                      </a:lnTo>
                      <a:lnTo>
                        <a:pt x="171211" y="104814"/>
                      </a:lnTo>
                      <a:lnTo>
                        <a:pt x="194422" y="91048"/>
                      </a:lnTo>
                      <a:lnTo>
                        <a:pt x="191156" y="82340"/>
                      </a:lnTo>
                      <a:lnTo>
                        <a:pt x="177390" y="76546"/>
                      </a:lnTo>
                      <a:lnTo>
                        <a:pt x="179919" y="71104"/>
                      </a:lnTo>
                      <a:lnTo>
                        <a:pt x="173740" y="63484"/>
                      </a:lnTo>
                      <a:lnTo>
                        <a:pt x="191892" y="42803"/>
                      </a:lnTo>
                      <a:lnTo>
                        <a:pt x="194422" y="21386"/>
                      </a:lnTo>
                      <a:lnTo>
                        <a:pt x="176654" y="1014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19" name="Forma Livre: Forma 218">
                  <a:extLst>
                    <a:ext uri="{FF2B5EF4-FFF2-40B4-BE49-F238E27FC236}">
                      <a16:creationId xmlns:a16="http://schemas.microsoft.com/office/drawing/2014/main" id="{7674D63C-B83D-C696-B801-2836ACA52454}"/>
                    </a:ext>
                  </a:extLst>
                </p:cNvPr>
                <p:cNvSpPr/>
                <p:nvPr/>
              </p:nvSpPr>
              <p:spPr>
                <a:xfrm>
                  <a:off x="1777018" y="6166590"/>
                  <a:ext cx="194421" cy="179567"/>
                </a:xfrm>
                <a:custGeom>
                  <a:avLst/>
                  <a:gdLst>
                    <a:gd name="csX0" fmla="*/ 176654 w 194421"/>
                    <a:gd name="csY0" fmla="*/ 10149 h 179567"/>
                    <a:gd name="csX1" fmla="*/ 173036 w 194421"/>
                    <a:gd name="csY1" fmla="*/ 0 h 179567"/>
                    <a:gd name="csX2" fmla="*/ 166857 w 194421"/>
                    <a:gd name="csY2" fmla="*/ 704 h 179567"/>
                    <a:gd name="csX3" fmla="*/ 159974 w 194421"/>
                    <a:gd name="csY3" fmla="*/ 16295 h 179567"/>
                    <a:gd name="csX4" fmla="*/ 148001 w 194421"/>
                    <a:gd name="csY4" fmla="*/ 15207 h 179567"/>
                    <a:gd name="csX5" fmla="*/ 145472 w 194421"/>
                    <a:gd name="csY5" fmla="*/ 22122 h 179567"/>
                    <a:gd name="csX6" fmla="*/ 139293 w 194421"/>
                    <a:gd name="csY6" fmla="*/ 33359 h 179567"/>
                    <a:gd name="csX7" fmla="*/ 133499 w 194421"/>
                    <a:gd name="csY7" fmla="*/ 37713 h 179567"/>
                    <a:gd name="csX8" fmla="*/ 136028 w 194421"/>
                    <a:gd name="csY8" fmla="*/ 40978 h 179567"/>
                    <a:gd name="csX9" fmla="*/ 128409 w 194421"/>
                    <a:gd name="csY9" fmla="*/ 62748 h 179567"/>
                    <a:gd name="csX10" fmla="*/ 117876 w 194421"/>
                    <a:gd name="csY10" fmla="*/ 65277 h 179567"/>
                    <a:gd name="csX11" fmla="*/ 113522 w 194421"/>
                    <a:gd name="csY11" fmla="*/ 86694 h 179567"/>
                    <a:gd name="csX12" fmla="*/ 105935 w 194421"/>
                    <a:gd name="csY12" fmla="*/ 87399 h 179567"/>
                    <a:gd name="csX13" fmla="*/ 85958 w 194421"/>
                    <a:gd name="csY13" fmla="*/ 103022 h 179567"/>
                    <a:gd name="csX14" fmla="*/ 64572 w 194421"/>
                    <a:gd name="csY14" fmla="*/ 83429 h 179567"/>
                    <a:gd name="csX15" fmla="*/ 48982 w 194421"/>
                    <a:gd name="csY15" fmla="*/ 110993 h 179567"/>
                    <a:gd name="csX16" fmla="*/ 34447 w 194421"/>
                    <a:gd name="csY16" fmla="*/ 104814 h 179567"/>
                    <a:gd name="csX17" fmla="*/ 21385 w 194421"/>
                    <a:gd name="csY17" fmla="*/ 112433 h 179567"/>
                    <a:gd name="csX18" fmla="*/ 11973 w 194421"/>
                    <a:gd name="csY18" fmla="*/ 110993 h 179567"/>
                    <a:gd name="csX19" fmla="*/ 2529 w 194421"/>
                    <a:gd name="csY19" fmla="*/ 128761 h 179567"/>
                    <a:gd name="csX20" fmla="*/ 14502 w 194421"/>
                    <a:gd name="csY20" fmla="*/ 131290 h 179567"/>
                    <a:gd name="csX21" fmla="*/ 18120 w 194421"/>
                    <a:gd name="csY21" fmla="*/ 136732 h 179567"/>
                    <a:gd name="csX22" fmla="*/ 1088 w 194421"/>
                    <a:gd name="csY22" fmla="*/ 143647 h 179567"/>
                    <a:gd name="csX23" fmla="*/ 0 w 194421"/>
                    <a:gd name="csY23" fmla="*/ 153060 h 179567"/>
                    <a:gd name="csX24" fmla="*/ 18856 w 194421"/>
                    <a:gd name="csY24" fmla="*/ 158150 h 179567"/>
                    <a:gd name="csX25" fmla="*/ 17416 w 194421"/>
                    <a:gd name="csY25" fmla="*/ 149442 h 179567"/>
                    <a:gd name="csX26" fmla="*/ 30093 w 194421"/>
                    <a:gd name="csY26" fmla="*/ 142559 h 179567"/>
                    <a:gd name="csX27" fmla="*/ 36272 w 194421"/>
                    <a:gd name="csY27" fmla="*/ 144352 h 179567"/>
                    <a:gd name="csX28" fmla="*/ 40626 w 194421"/>
                    <a:gd name="csY28" fmla="*/ 151267 h 179567"/>
                    <a:gd name="csX29" fmla="*/ 48245 w 194421"/>
                    <a:gd name="csY29" fmla="*/ 149442 h 179567"/>
                    <a:gd name="csX30" fmla="*/ 54424 w 194421"/>
                    <a:gd name="csY30" fmla="*/ 156325 h 179567"/>
                    <a:gd name="csX31" fmla="*/ 52599 w 194421"/>
                    <a:gd name="csY31" fmla="*/ 164329 h 179567"/>
                    <a:gd name="csX32" fmla="*/ 55865 w 194421"/>
                    <a:gd name="csY32" fmla="*/ 166857 h 179567"/>
                    <a:gd name="csX33" fmla="*/ 62748 w 194421"/>
                    <a:gd name="csY33" fmla="*/ 158150 h 179567"/>
                    <a:gd name="csX34" fmla="*/ 75073 w 194421"/>
                    <a:gd name="csY34" fmla="*/ 155620 h 179567"/>
                    <a:gd name="csX35" fmla="*/ 71455 w 194421"/>
                    <a:gd name="csY35" fmla="*/ 165033 h 179567"/>
                    <a:gd name="csX36" fmla="*/ 87046 w 194421"/>
                    <a:gd name="csY36" fmla="*/ 171948 h 179567"/>
                    <a:gd name="csX37" fmla="*/ 85958 w 194421"/>
                    <a:gd name="csY37" fmla="*/ 178831 h 179567"/>
                    <a:gd name="csX38" fmla="*/ 96490 w 194421"/>
                    <a:gd name="csY38" fmla="*/ 179567 h 179567"/>
                    <a:gd name="csX39" fmla="*/ 122966 w 194421"/>
                    <a:gd name="csY39" fmla="*/ 146176 h 179567"/>
                    <a:gd name="csX40" fmla="*/ 142911 w 194421"/>
                    <a:gd name="csY40" fmla="*/ 132378 h 179567"/>
                    <a:gd name="csX41" fmla="*/ 152355 w 194421"/>
                    <a:gd name="csY41" fmla="*/ 132378 h 179567"/>
                    <a:gd name="csX42" fmla="*/ 169771 w 194421"/>
                    <a:gd name="csY42" fmla="*/ 114258 h 179567"/>
                    <a:gd name="csX43" fmla="*/ 171211 w 194421"/>
                    <a:gd name="csY43" fmla="*/ 104814 h 179567"/>
                    <a:gd name="csX44" fmla="*/ 194422 w 194421"/>
                    <a:gd name="csY44" fmla="*/ 91048 h 179567"/>
                    <a:gd name="csX45" fmla="*/ 191156 w 194421"/>
                    <a:gd name="csY45" fmla="*/ 82340 h 179567"/>
                    <a:gd name="csX46" fmla="*/ 177390 w 194421"/>
                    <a:gd name="csY46" fmla="*/ 76546 h 179567"/>
                    <a:gd name="csX47" fmla="*/ 179919 w 194421"/>
                    <a:gd name="csY47" fmla="*/ 71104 h 179567"/>
                    <a:gd name="csX48" fmla="*/ 173740 w 194421"/>
                    <a:gd name="csY48" fmla="*/ 63484 h 179567"/>
                    <a:gd name="csX49" fmla="*/ 191892 w 194421"/>
                    <a:gd name="csY49" fmla="*/ 42803 h 179567"/>
                    <a:gd name="csX50" fmla="*/ 194422 w 194421"/>
                    <a:gd name="csY50" fmla="*/ 21386 h 179567"/>
                    <a:gd name="csX51" fmla="*/ 176654 w 194421"/>
                    <a:gd name="csY51" fmla="*/ 10149 h 1795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</a:cxnLst>
                  <a:rect l="l" t="t" r="r" b="b"/>
                  <a:pathLst>
                    <a:path w="194421" h="179567">
                      <a:moveTo>
                        <a:pt x="176654" y="10149"/>
                      </a:moveTo>
                      <a:lnTo>
                        <a:pt x="173036" y="0"/>
                      </a:lnTo>
                      <a:lnTo>
                        <a:pt x="166857" y="704"/>
                      </a:lnTo>
                      <a:lnTo>
                        <a:pt x="159974" y="16295"/>
                      </a:lnTo>
                      <a:lnTo>
                        <a:pt x="148001" y="15207"/>
                      </a:lnTo>
                      <a:lnTo>
                        <a:pt x="145472" y="22122"/>
                      </a:lnTo>
                      <a:lnTo>
                        <a:pt x="139293" y="33359"/>
                      </a:lnTo>
                      <a:lnTo>
                        <a:pt x="133499" y="37713"/>
                      </a:lnTo>
                      <a:lnTo>
                        <a:pt x="136028" y="40978"/>
                      </a:lnTo>
                      <a:lnTo>
                        <a:pt x="128409" y="62748"/>
                      </a:lnTo>
                      <a:lnTo>
                        <a:pt x="117876" y="65277"/>
                      </a:lnTo>
                      <a:lnTo>
                        <a:pt x="113522" y="86694"/>
                      </a:lnTo>
                      <a:lnTo>
                        <a:pt x="105935" y="87399"/>
                      </a:lnTo>
                      <a:lnTo>
                        <a:pt x="85958" y="103022"/>
                      </a:lnTo>
                      <a:lnTo>
                        <a:pt x="64572" y="83429"/>
                      </a:lnTo>
                      <a:lnTo>
                        <a:pt x="48982" y="110993"/>
                      </a:lnTo>
                      <a:lnTo>
                        <a:pt x="34447" y="104814"/>
                      </a:lnTo>
                      <a:lnTo>
                        <a:pt x="21385" y="112433"/>
                      </a:lnTo>
                      <a:lnTo>
                        <a:pt x="11973" y="110993"/>
                      </a:lnTo>
                      <a:lnTo>
                        <a:pt x="2529" y="128761"/>
                      </a:lnTo>
                      <a:lnTo>
                        <a:pt x="14502" y="131290"/>
                      </a:lnTo>
                      <a:lnTo>
                        <a:pt x="18120" y="136732"/>
                      </a:lnTo>
                      <a:lnTo>
                        <a:pt x="1088" y="143647"/>
                      </a:lnTo>
                      <a:lnTo>
                        <a:pt x="0" y="153060"/>
                      </a:lnTo>
                      <a:lnTo>
                        <a:pt x="18856" y="158150"/>
                      </a:lnTo>
                      <a:lnTo>
                        <a:pt x="17416" y="149442"/>
                      </a:lnTo>
                      <a:lnTo>
                        <a:pt x="30093" y="142559"/>
                      </a:lnTo>
                      <a:lnTo>
                        <a:pt x="36272" y="144352"/>
                      </a:lnTo>
                      <a:lnTo>
                        <a:pt x="40626" y="151267"/>
                      </a:lnTo>
                      <a:lnTo>
                        <a:pt x="48245" y="149442"/>
                      </a:lnTo>
                      <a:lnTo>
                        <a:pt x="54424" y="156325"/>
                      </a:lnTo>
                      <a:lnTo>
                        <a:pt x="52599" y="164329"/>
                      </a:lnTo>
                      <a:lnTo>
                        <a:pt x="55865" y="166857"/>
                      </a:lnTo>
                      <a:lnTo>
                        <a:pt x="62748" y="158150"/>
                      </a:lnTo>
                      <a:lnTo>
                        <a:pt x="75073" y="155620"/>
                      </a:lnTo>
                      <a:lnTo>
                        <a:pt x="71455" y="165033"/>
                      </a:lnTo>
                      <a:lnTo>
                        <a:pt x="87046" y="171948"/>
                      </a:lnTo>
                      <a:lnTo>
                        <a:pt x="85958" y="178831"/>
                      </a:lnTo>
                      <a:lnTo>
                        <a:pt x="96490" y="179567"/>
                      </a:lnTo>
                      <a:lnTo>
                        <a:pt x="122966" y="146176"/>
                      </a:lnTo>
                      <a:lnTo>
                        <a:pt x="142911" y="132378"/>
                      </a:lnTo>
                      <a:lnTo>
                        <a:pt x="152355" y="132378"/>
                      </a:lnTo>
                      <a:lnTo>
                        <a:pt x="169771" y="114258"/>
                      </a:lnTo>
                      <a:lnTo>
                        <a:pt x="171211" y="104814"/>
                      </a:lnTo>
                      <a:lnTo>
                        <a:pt x="194422" y="91048"/>
                      </a:lnTo>
                      <a:lnTo>
                        <a:pt x="191156" y="82340"/>
                      </a:lnTo>
                      <a:lnTo>
                        <a:pt x="177390" y="76546"/>
                      </a:lnTo>
                      <a:lnTo>
                        <a:pt x="179919" y="71104"/>
                      </a:lnTo>
                      <a:lnTo>
                        <a:pt x="173740" y="63484"/>
                      </a:lnTo>
                      <a:lnTo>
                        <a:pt x="191892" y="42803"/>
                      </a:lnTo>
                      <a:lnTo>
                        <a:pt x="194422" y="21386"/>
                      </a:lnTo>
                      <a:lnTo>
                        <a:pt x="176654" y="1014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0" name="Forma Livre: Forma 219">
                  <a:extLst>
                    <a:ext uri="{FF2B5EF4-FFF2-40B4-BE49-F238E27FC236}">
                      <a16:creationId xmlns:a16="http://schemas.microsoft.com/office/drawing/2014/main" id="{AB8C62CF-8242-F560-CA83-AF9AE53870B6}"/>
                    </a:ext>
                  </a:extLst>
                </p:cNvPr>
                <p:cNvSpPr/>
                <p:nvPr/>
              </p:nvSpPr>
              <p:spPr>
                <a:xfrm>
                  <a:off x="1777018" y="6166590"/>
                  <a:ext cx="194421" cy="179567"/>
                </a:xfrm>
                <a:custGeom>
                  <a:avLst/>
                  <a:gdLst>
                    <a:gd name="csX0" fmla="*/ 176654 w 194421"/>
                    <a:gd name="csY0" fmla="*/ 10149 h 179567"/>
                    <a:gd name="csX1" fmla="*/ 173036 w 194421"/>
                    <a:gd name="csY1" fmla="*/ 0 h 179567"/>
                    <a:gd name="csX2" fmla="*/ 166857 w 194421"/>
                    <a:gd name="csY2" fmla="*/ 704 h 179567"/>
                    <a:gd name="csX3" fmla="*/ 159974 w 194421"/>
                    <a:gd name="csY3" fmla="*/ 16295 h 179567"/>
                    <a:gd name="csX4" fmla="*/ 148001 w 194421"/>
                    <a:gd name="csY4" fmla="*/ 15207 h 179567"/>
                    <a:gd name="csX5" fmla="*/ 145472 w 194421"/>
                    <a:gd name="csY5" fmla="*/ 22122 h 179567"/>
                    <a:gd name="csX6" fmla="*/ 139293 w 194421"/>
                    <a:gd name="csY6" fmla="*/ 33359 h 179567"/>
                    <a:gd name="csX7" fmla="*/ 133499 w 194421"/>
                    <a:gd name="csY7" fmla="*/ 37713 h 179567"/>
                    <a:gd name="csX8" fmla="*/ 136028 w 194421"/>
                    <a:gd name="csY8" fmla="*/ 40978 h 179567"/>
                    <a:gd name="csX9" fmla="*/ 128409 w 194421"/>
                    <a:gd name="csY9" fmla="*/ 62748 h 179567"/>
                    <a:gd name="csX10" fmla="*/ 117876 w 194421"/>
                    <a:gd name="csY10" fmla="*/ 65277 h 179567"/>
                    <a:gd name="csX11" fmla="*/ 113522 w 194421"/>
                    <a:gd name="csY11" fmla="*/ 86694 h 179567"/>
                    <a:gd name="csX12" fmla="*/ 105935 w 194421"/>
                    <a:gd name="csY12" fmla="*/ 87399 h 179567"/>
                    <a:gd name="csX13" fmla="*/ 85958 w 194421"/>
                    <a:gd name="csY13" fmla="*/ 103022 h 179567"/>
                    <a:gd name="csX14" fmla="*/ 64572 w 194421"/>
                    <a:gd name="csY14" fmla="*/ 83429 h 179567"/>
                    <a:gd name="csX15" fmla="*/ 48982 w 194421"/>
                    <a:gd name="csY15" fmla="*/ 110993 h 179567"/>
                    <a:gd name="csX16" fmla="*/ 34447 w 194421"/>
                    <a:gd name="csY16" fmla="*/ 104814 h 179567"/>
                    <a:gd name="csX17" fmla="*/ 21385 w 194421"/>
                    <a:gd name="csY17" fmla="*/ 112433 h 179567"/>
                    <a:gd name="csX18" fmla="*/ 11973 w 194421"/>
                    <a:gd name="csY18" fmla="*/ 110993 h 179567"/>
                    <a:gd name="csX19" fmla="*/ 2529 w 194421"/>
                    <a:gd name="csY19" fmla="*/ 128761 h 179567"/>
                    <a:gd name="csX20" fmla="*/ 14502 w 194421"/>
                    <a:gd name="csY20" fmla="*/ 131290 h 179567"/>
                    <a:gd name="csX21" fmla="*/ 18120 w 194421"/>
                    <a:gd name="csY21" fmla="*/ 136732 h 179567"/>
                    <a:gd name="csX22" fmla="*/ 1088 w 194421"/>
                    <a:gd name="csY22" fmla="*/ 143647 h 179567"/>
                    <a:gd name="csX23" fmla="*/ 0 w 194421"/>
                    <a:gd name="csY23" fmla="*/ 153060 h 179567"/>
                    <a:gd name="csX24" fmla="*/ 18856 w 194421"/>
                    <a:gd name="csY24" fmla="*/ 158150 h 179567"/>
                    <a:gd name="csX25" fmla="*/ 17416 w 194421"/>
                    <a:gd name="csY25" fmla="*/ 149442 h 179567"/>
                    <a:gd name="csX26" fmla="*/ 30093 w 194421"/>
                    <a:gd name="csY26" fmla="*/ 142559 h 179567"/>
                    <a:gd name="csX27" fmla="*/ 36272 w 194421"/>
                    <a:gd name="csY27" fmla="*/ 144352 h 179567"/>
                    <a:gd name="csX28" fmla="*/ 40626 w 194421"/>
                    <a:gd name="csY28" fmla="*/ 151267 h 179567"/>
                    <a:gd name="csX29" fmla="*/ 48245 w 194421"/>
                    <a:gd name="csY29" fmla="*/ 149442 h 179567"/>
                    <a:gd name="csX30" fmla="*/ 54424 w 194421"/>
                    <a:gd name="csY30" fmla="*/ 156325 h 179567"/>
                    <a:gd name="csX31" fmla="*/ 52599 w 194421"/>
                    <a:gd name="csY31" fmla="*/ 164329 h 179567"/>
                    <a:gd name="csX32" fmla="*/ 55865 w 194421"/>
                    <a:gd name="csY32" fmla="*/ 166857 h 179567"/>
                    <a:gd name="csX33" fmla="*/ 62748 w 194421"/>
                    <a:gd name="csY33" fmla="*/ 158150 h 179567"/>
                    <a:gd name="csX34" fmla="*/ 75073 w 194421"/>
                    <a:gd name="csY34" fmla="*/ 155620 h 179567"/>
                    <a:gd name="csX35" fmla="*/ 71455 w 194421"/>
                    <a:gd name="csY35" fmla="*/ 165033 h 179567"/>
                    <a:gd name="csX36" fmla="*/ 87046 w 194421"/>
                    <a:gd name="csY36" fmla="*/ 171948 h 179567"/>
                    <a:gd name="csX37" fmla="*/ 85958 w 194421"/>
                    <a:gd name="csY37" fmla="*/ 178831 h 179567"/>
                    <a:gd name="csX38" fmla="*/ 96490 w 194421"/>
                    <a:gd name="csY38" fmla="*/ 179567 h 179567"/>
                    <a:gd name="csX39" fmla="*/ 122966 w 194421"/>
                    <a:gd name="csY39" fmla="*/ 146176 h 179567"/>
                    <a:gd name="csX40" fmla="*/ 142911 w 194421"/>
                    <a:gd name="csY40" fmla="*/ 132378 h 179567"/>
                    <a:gd name="csX41" fmla="*/ 152355 w 194421"/>
                    <a:gd name="csY41" fmla="*/ 132378 h 179567"/>
                    <a:gd name="csX42" fmla="*/ 169771 w 194421"/>
                    <a:gd name="csY42" fmla="*/ 114258 h 179567"/>
                    <a:gd name="csX43" fmla="*/ 171211 w 194421"/>
                    <a:gd name="csY43" fmla="*/ 104814 h 179567"/>
                    <a:gd name="csX44" fmla="*/ 194422 w 194421"/>
                    <a:gd name="csY44" fmla="*/ 91048 h 179567"/>
                    <a:gd name="csX45" fmla="*/ 191156 w 194421"/>
                    <a:gd name="csY45" fmla="*/ 82340 h 179567"/>
                    <a:gd name="csX46" fmla="*/ 177390 w 194421"/>
                    <a:gd name="csY46" fmla="*/ 76546 h 179567"/>
                    <a:gd name="csX47" fmla="*/ 179919 w 194421"/>
                    <a:gd name="csY47" fmla="*/ 71104 h 179567"/>
                    <a:gd name="csX48" fmla="*/ 173740 w 194421"/>
                    <a:gd name="csY48" fmla="*/ 63484 h 179567"/>
                    <a:gd name="csX49" fmla="*/ 191892 w 194421"/>
                    <a:gd name="csY49" fmla="*/ 42803 h 179567"/>
                    <a:gd name="csX50" fmla="*/ 194422 w 194421"/>
                    <a:gd name="csY50" fmla="*/ 21386 h 179567"/>
                    <a:gd name="csX51" fmla="*/ 176654 w 194421"/>
                    <a:gd name="csY51" fmla="*/ 10149 h 1795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</a:cxnLst>
                  <a:rect l="l" t="t" r="r" b="b"/>
                  <a:pathLst>
                    <a:path w="194421" h="179567">
                      <a:moveTo>
                        <a:pt x="176654" y="10149"/>
                      </a:moveTo>
                      <a:lnTo>
                        <a:pt x="173036" y="0"/>
                      </a:lnTo>
                      <a:lnTo>
                        <a:pt x="166857" y="704"/>
                      </a:lnTo>
                      <a:lnTo>
                        <a:pt x="159974" y="16295"/>
                      </a:lnTo>
                      <a:lnTo>
                        <a:pt x="148001" y="15207"/>
                      </a:lnTo>
                      <a:lnTo>
                        <a:pt x="145472" y="22122"/>
                      </a:lnTo>
                      <a:lnTo>
                        <a:pt x="139293" y="33359"/>
                      </a:lnTo>
                      <a:lnTo>
                        <a:pt x="133499" y="37713"/>
                      </a:lnTo>
                      <a:lnTo>
                        <a:pt x="136028" y="40978"/>
                      </a:lnTo>
                      <a:lnTo>
                        <a:pt x="128409" y="62748"/>
                      </a:lnTo>
                      <a:lnTo>
                        <a:pt x="117876" y="65277"/>
                      </a:lnTo>
                      <a:lnTo>
                        <a:pt x="113522" y="86694"/>
                      </a:lnTo>
                      <a:lnTo>
                        <a:pt x="105935" y="87399"/>
                      </a:lnTo>
                      <a:lnTo>
                        <a:pt x="85958" y="103022"/>
                      </a:lnTo>
                      <a:lnTo>
                        <a:pt x="64572" y="83429"/>
                      </a:lnTo>
                      <a:lnTo>
                        <a:pt x="48982" y="110993"/>
                      </a:lnTo>
                      <a:lnTo>
                        <a:pt x="34447" y="104814"/>
                      </a:lnTo>
                      <a:lnTo>
                        <a:pt x="21385" y="112433"/>
                      </a:lnTo>
                      <a:lnTo>
                        <a:pt x="11973" y="110993"/>
                      </a:lnTo>
                      <a:lnTo>
                        <a:pt x="2529" y="128761"/>
                      </a:lnTo>
                      <a:lnTo>
                        <a:pt x="14502" y="131290"/>
                      </a:lnTo>
                      <a:lnTo>
                        <a:pt x="18120" y="136732"/>
                      </a:lnTo>
                      <a:lnTo>
                        <a:pt x="1088" y="143647"/>
                      </a:lnTo>
                      <a:lnTo>
                        <a:pt x="0" y="153060"/>
                      </a:lnTo>
                      <a:lnTo>
                        <a:pt x="18856" y="158150"/>
                      </a:lnTo>
                      <a:lnTo>
                        <a:pt x="17416" y="149442"/>
                      </a:lnTo>
                      <a:lnTo>
                        <a:pt x="30093" y="142559"/>
                      </a:lnTo>
                      <a:lnTo>
                        <a:pt x="36272" y="144352"/>
                      </a:lnTo>
                      <a:lnTo>
                        <a:pt x="40626" y="151267"/>
                      </a:lnTo>
                      <a:lnTo>
                        <a:pt x="48245" y="149442"/>
                      </a:lnTo>
                      <a:lnTo>
                        <a:pt x="54424" y="156325"/>
                      </a:lnTo>
                      <a:lnTo>
                        <a:pt x="52599" y="164329"/>
                      </a:lnTo>
                      <a:lnTo>
                        <a:pt x="55865" y="166857"/>
                      </a:lnTo>
                      <a:lnTo>
                        <a:pt x="62748" y="158150"/>
                      </a:lnTo>
                      <a:lnTo>
                        <a:pt x="75073" y="155620"/>
                      </a:lnTo>
                      <a:lnTo>
                        <a:pt x="71455" y="165033"/>
                      </a:lnTo>
                      <a:lnTo>
                        <a:pt x="87046" y="171948"/>
                      </a:lnTo>
                      <a:lnTo>
                        <a:pt x="85958" y="178831"/>
                      </a:lnTo>
                      <a:lnTo>
                        <a:pt x="96490" y="179567"/>
                      </a:lnTo>
                      <a:lnTo>
                        <a:pt x="122966" y="146176"/>
                      </a:lnTo>
                      <a:lnTo>
                        <a:pt x="142911" y="132378"/>
                      </a:lnTo>
                      <a:lnTo>
                        <a:pt x="152355" y="132378"/>
                      </a:lnTo>
                      <a:lnTo>
                        <a:pt x="169771" y="114258"/>
                      </a:lnTo>
                      <a:lnTo>
                        <a:pt x="171211" y="104814"/>
                      </a:lnTo>
                      <a:lnTo>
                        <a:pt x="194422" y="91048"/>
                      </a:lnTo>
                      <a:lnTo>
                        <a:pt x="191156" y="82340"/>
                      </a:lnTo>
                      <a:lnTo>
                        <a:pt x="177390" y="76546"/>
                      </a:lnTo>
                      <a:lnTo>
                        <a:pt x="179919" y="71104"/>
                      </a:lnTo>
                      <a:lnTo>
                        <a:pt x="173740" y="63484"/>
                      </a:lnTo>
                      <a:lnTo>
                        <a:pt x="191892" y="42803"/>
                      </a:lnTo>
                      <a:lnTo>
                        <a:pt x="194422" y="21386"/>
                      </a:lnTo>
                      <a:lnTo>
                        <a:pt x="176654" y="1014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1" name="Forma Livre: Forma 220">
                  <a:extLst>
                    <a:ext uri="{FF2B5EF4-FFF2-40B4-BE49-F238E27FC236}">
                      <a16:creationId xmlns:a16="http://schemas.microsoft.com/office/drawing/2014/main" id="{CA96DAEE-AC26-1E43-B65F-79D65DB36355}"/>
                    </a:ext>
                  </a:extLst>
                </p:cNvPr>
                <p:cNvSpPr/>
                <p:nvPr/>
              </p:nvSpPr>
              <p:spPr>
                <a:xfrm>
                  <a:off x="2178219" y="4746029"/>
                  <a:ext cx="253935" cy="454151"/>
                </a:xfrm>
                <a:custGeom>
                  <a:avLst/>
                  <a:gdLst>
                    <a:gd name="csX0" fmla="*/ 248493 w 253935"/>
                    <a:gd name="csY0" fmla="*/ 271704 h 454151"/>
                    <a:gd name="csX1" fmla="*/ 245228 w 253935"/>
                    <a:gd name="csY1" fmla="*/ 264084 h 454151"/>
                    <a:gd name="csX2" fmla="*/ 247053 w 253935"/>
                    <a:gd name="csY2" fmla="*/ 257906 h 454151"/>
                    <a:gd name="csX3" fmla="*/ 253936 w 253935"/>
                    <a:gd name="csY3" fmla="*/ 256465 h 454151"/>
                    <a:gd name="csX4" fmla="*/ 252111 w 253935"/>
                    <a:gd name="csY4" fmla="*/ 245932 h 454151"/>
                    <a:gd name="csX5" fmla="*/ 235784 w 253935"/>
                    <a:gd name="csY5" fmla="*/ 234695 h 454151"/>
                    <a:gd name="csX6" fmla="*/ 217664 w 253935"/>
                    <a:gd name="csY6" fmla="*/ 191892 h 454151"/>
                    <a:gd name="csX7" fmla="*/ 232166 w 253935"/>
                    <a:gd name="csY7" fmla="*/ 177006 h 454151"/>
                    <a:gd name="csX8" fmla="*/ 242699 w 253935"/>
                    <a:gd name="csY8" fmla="*/ 153059 h 454151"/>
                    <a:gd name="csX9" fmla="*/ 233991 w 253935"/>
                    <a:gd name="csY9" fmla="*/ 146913 h 454151"/>
                    <a:gd name="csX10" fmla="*/ 226372 w 253935"/>
                    <a:gd name="csY10" fmla="*/ 129849 h 454151"/>
                    <a:gd name="csX11" fmla="*/ 217664 w 253935"/>
                    <a:gd name="csY11" fmla="*/ 121141 h 454151"/>
                    <a:gd name="csX12" fmla="*/ 217664 w 253935"/>
                    <a:gd name="csY12" fmla="*/ 113522 h 454151"/>
                    <a:gd name="csX13" fmla="*/ 195158 w 253935"/>
                    <a:gd name="csY13" fmla="*/ 105903 h 454151"/>
                    <a:gd name="csX14" fmla="*/ 194454 w 253935"/>
                    <a:gd name="csY14" fmla="*/ 92137 h 454151"/>
                    <a:gd name="csX15" fmla="*/ 187539 w 253935"/>
                    <a:gd name="csY15" fmla="*/ 84133 h 454151"/>
                    <a:gd name="csX16" fmla="*/ 203866 w 253935"/>
                    <a:gd name="csY16" fmla="*/ 35183 h 454151"/>
                    <a:gd name="csX17" fmla="*/ 201337 w 253935"/>
                    <a:gd name="csY17" fmla="*/ 27564 h 454151"/>
                    <a:gd name="csX18" fmla="*/ 188275 w 253935"/>
                    <a:gd name="csY18" fmla="*/ 25739 h 454151"/>
                    <a:gd name="csX19" fmla="*/ 187539 w 253935"/>
                    <a:gd name="csY19" fmla="*/ 17032 h 454151"/>
                    <a:gd name="csX20" fmla="*/ 192629 w 253935"/>
                    <a:gd name="csY20" fmla="*/ 6883 h 454151"/>
                    <a:gd name="csX21" fmla="*/ 154916 w 253935"/>
                    <a:gd name="csY21" fmla="*/ 0 h 454151"/>
                    <a:gd name="csX22" fmla="*/ 143647 w 253935"/>
                    <a:gd name="csY22" fmla="*/ 15239 h 454151"/>
                    <a:gd name="csX23" fmla="*/ 139293 w 253935"/>
                    <a:gd name="csY23" fmla="*/ 46420 h 454151"/>
                    <a:gd name="csX24" fmla="*/ 128056 w 253935"/>
                    <a:gd name="csY24" fmla="*/ 55128 h 454151"/>
                    <a:gd name="csX25" fmla="*/ 136028 w 253935"/>
                    <a:gd name="csY25" fmla="*/ 70367 h 454151"/>
                    <a:gd name="csX26" fmla="*/ 142943 w 253935"/>
                    <a:gd name="csY26" fmla="*/ 79811 h 454151"/>
                    <a:gd name="csX27" fmla="*/ 144384 w 253935"/>
                    <a:gd name="csY27" fmla="*/ 95402 h 454151"/>
                    <a:gd name="csX28" fmla="*/ 141854 w 253935"/>
                    <a:gd name="csY28" fmla="*/ 105903 h 454151"/>
                    <a:gd name="csX29" fmla="*/ 131674 w 253935"/>
                    <a:gd name="csY29" fmla="*/ 119349 h 454151"/>
                    <a:gd name="csX30" fmla="*/ 128056 w 253935"/>
                    <a:gd name="csY30" fmla="*/ 142911 h 454151"/>
                    <a:gd name="csX31" fmla="*/ 122262 w 253935"/>
                    <a:gd name="csY31" fmla="*/ 153059 h 454151"/>
                    <a:gd name="csX32" fmla="*/ 109936 w 253935"/>
                    <a:gd name="csY32" fmla="*/ 161767 h 454151"/>
                    <a:gd name="csX33" fmla="*/ 111729 w 253935"/>
                    <a:gd name="csY33" fmla="*/ 167594 h 454151"/>
                    <a:gd name="csX34" fmla="*/ 107375 w 253935"/>
                    <a:gd name="csY34" fmla="*/ 170123 h 454151"/>
                    <a:gd name="csX35" fmla="*/ 104846 w 253935"/>
                    <a:gd name="csY35" fmla="*/ 198776 h 454151"/>
                    <a:gd name="csX36" fmla="*/ 94698 w 253935"/>
                    <a:gd name="csY36" fmla="*/ 203129 h 454151"/>
                    <a:gd name="csX37" fmla="*/ 96138 w 253935"/>
                    <a:gd name="csY37" fmla="*/ 216543 h 454151"/>
                    <a:gd name="csX38" fmla="*/ 89255 w 253935"/>
                    <a:gd name="csY38" fmla="*/ 233959 h 454151"/>
                    <a:gd name="csX39" fmla="*/ 86694 w 253935"/>
                    <a:gd name="csY39" fmla="*/ 241578 h 454151"/>
                    <a:gd name="csX40" fmla="*/ 91048 w 253935"/>
                    <a:gd name="csY40" fmla="*/ 247757 h 454151"/>
                    <a:gd name="csX41" fmla="*/ 79075 w 253935"/>
                    <a:gd name="csY41" fmla="*/ 260435 h 454151"/>
                    <a:gd name="csX42" fmla="*/ 79811 w 253935"/>
                    <a:gd name="csY42" fmla="*/ 268438 h 454151"/>
                    <a:gd name="csX43" fmla="*/ 72192 w 253935"/>
                    <a:gd name="csY43" fmla="*/ 271704 h 454151"/>
                    <a:gd name="csX44" fmla="*/ 64572 w 253935"/>
                    <a:gd name="csY44" fmla="*/ 291648 h 454151"/>
                    <a:gd name="csX45" fmla="*/ 53335 w 253935"/>
                    <a:gd name="csY45" fmla="*/ 298531 h 454151"/>
                    <a:gd name="csX46" fmla="*/ 55865 w 253935"/>
                    <a:gd name="csY46" fmla="*/ 307239 h 454151"/>
                    <a:gd name="csX47" fmla="*/ 51511 w 253935"/>
                    <a:gd name="csY47" fmla="*/ 316683 h 454151"/>
                    <a:gd name="csX48" fmla="*/ 45364 w 253935"/>
                    <a:gd name="csY48" fmla="*/ 333715 h 454151"/>
                    <a:gd name="csX49" fmla="*/ 19593 w 253935"/>
                    <a:gd name="csY49" fmla="*/ 348249 h 454151"/>
                    <a:gd name="csX50" fmla="*/ 11973 w 253935"/>
                    <a:gd name="csY50" fmla="*/ 345688 h 454151"/>
                    <a:gd name="csX51" fmla="*/ 6883 w 253935"/>
                    <a:gd name="csY51" fmla="*/ 349338 h 454151"/>
                    <a:gd name="csX52" fmla="*/ 6883 w 253935"/>
                    <a:gd name="csY52" fmla="*/ 358750 h 454151"/>
                    <a:gd name="csX53" fmla="*/ 1473 w 253935"/>
                    <a:gd name="csY53" fmla="*/ 360575 h 454151"/>
                    <a:gd name="csX54" fmla="*/ 0 w 253935"/>
                    <a:gd name="csY54" fmla="*/ 371460 h 454151"/>
                    <a:gd name="csX55" fmla="*/ 7619 w 253935"/>
                    <a:gd name="csY55" fmla="*/ 389579 h 454151"/>
                    <a:gd name="csX56" fmla="*/ 22122 w 253935"/>
                    <a:gd name="csY56" fmla="*/ 394670 h 454151"/>
                    <a:gd name="csX57" fmla="*/ 30830 w 253935"/>
                    <a:gd name="csY57" fmla="*/ 384521 h 454151"/>
                    <a:gd name="csX58" fmla="*/ 26476 w 253935"/>
                    <a:gd name="csY58" fmla="*/ 376902 h 454151"/>
                    <a:gd name="csX59" fmla="*/ 46452 w 253935"/>
                    <a:gd name="csY59" fmla="*/ 380167 h 454151"/>
                    <a:gd name="csX60" fmla="*/ 53335 w 253935"/>
                    <a:gd name="csY60" fmla="*/ 372548 h 454151"/>
                    <a:gd name="csX61" fmla="*/ 53335 w 253935"/>
                    <a:gd name="csY61" fmla="*/ 355132 h 454151"/>
                    <a:gd name="csX62" fmla="*/ 81636 w 253935"/>
                    <a:gd name="csY62" fmla="*/ 347513 h 454151"/>
                    <a:gd name="csX63" fmla="*/ 88519 w 253935"/>
                    <a:gd name="csY63" fmla="*/ 347513 h 454151"/>
                    <a:gd name="csX64" fmla="*/ 95402 w 253935"/>
                    <a:gd name="csY64" fmla="*/ 350042 h 454151"/>
                    <a:gd name="csX65" fmla="*/ 90344 w 253935"/>
                    <a:gd name="csY65" fmla="*/ 356957 h 454151"/>
                    <a:gd name="csX66" fmla="*/ 101581 w 253935"/>
                    <a:gd name="csY66" fmla="*/ 369987 h 454151"/>
                    <a:gd name="csX67" fmla="*/ 96138 w 253935"/>
                    <a:gd name="csY67" fmla="*/ 377606 h 454151"/>
                    <a:gd name="csX68" fmla="*/ 103021 w 253935"/>
                    <a:gd name="csY68" fmla="*/ 381960 h 454151"/>
                    <a:gd name="csX69" fmla="*/ 93609 w 253935"/>
                    <a:gd name="csY69" fmla="*/ 386314 h 454151"/>
                    <a:gd name="csX70" fmla="*/ 86694 w 253935"/>
                    <a:gd name="csY70" fmla="*/ 396495 h 454151"/>
                    <a:gd name="csX71" fmla="*/ 91048 w 253935"/>
                    <a:gd name="csY71" fmla="*/ 406995 h 454151"/>
                    <a:gd name="csX72" fmla="*/ 108464 w 253935"/>
                    <a:gd name="csY72" fmla="*/ 406995 h 454151"/>
                    <a:gd name="csX73" fmla="*/ 114290 w 253935"/>
                    <a:gd name="csY73" fmla="*/ 412085 h 454151"/>
                    <a:gd name="csX74" fmla="*/ 122966 w 253935"/>
                    <a:gd name="csY74" fmla="*/ 415351 h 454151"/>
                    <a:gd name="csX75" fmla="*/ 137501 w 253935"/>
                    <a:gd name="csY75" fmla="*/ 438561 h 454151"/>
                    <a:gd name="csX76" fmla="*/ 148001 w 253935"/>
                    <a:gd name="csY76" fmla="*/ 442179 h 454151"/>
                    <a:gd name="csX77" fmla="*/ 152355 w 253935"/>
                    <a:gd name="csY77" fmla="*/ 431678 h 454151"/>
                    <a:gd name="csX78" fmla="*/ 160711 w 253935"/>
                    <a:gd name="csY78" fmla="*/ 426588 h 454151"/>
                    <a:gd name="csX79" fmla="*/ 156709 w 253935"/>
                    <a:gd name="csY79" fmla="*/ 422234 h 454151"/>
                    <a:gd name="csX80" fmla="*/ 160711 w 253935"/>
                    <a:gd name="csY80" fmla="*/ 417880 h 454151"/>
                    <a:gd name="csX81" fmla="*/ 141854 w 253935"/>
                    <a:gd name="csY81" fmla="*/ 405907 h 454151"/>
                    <a:gd name="csX82" fmla="*/ 152355 w 253935"/>
                    <a:gd name="csY82" fmla="*/ 388875 h 454151"/>
                    <a:gd name="csX83" fmla="*/ 167594 w 253935"/>
                    <a:gd name="csY83" fmla="*/ 394670 h 454151"/>
                    <a:gd name="csX84" fmla="*/ 164328 w 253935"/>
                    <a:gd name="csY84" fmla="*/ 400849 h 454151"/>
                    <a:gd name="csX85" fmla="*/ 171948 w 253935"/>
                    <a:gd name="csY85" fmla="*/ 405907 h 454151"/>
                    <a:gd name="csX86" fmla="*/ 178831 w 253935"/>
                    <a:gd name="csY86" fmla="*/ 404466 h 454151"/>
                    <a:gd name="csX87" fmla="*/ 180656 w 253935"/>
                    <a:gd name="csY87" fmla="*/ 394670 h 454151"/>
                    <a:gd name="csX88" fmla="*/ 190100 w 253935"/>
                    <a:gd name="csY88" fmla="*/ 393933 h 454151"/>
                    <a:gd name="csX89" fmla="*/ 196983 w 253935"/>
                    <a:gd name="csY89" fmla="*/ 404466 h 454151"/>
                    <a:gd name="csX90" fmla="*/ 196983 w 253935"/>
                    <a:gd name="csY90" fmla="*/ 415351 h 454151"/>
                    <a:gd name="csX91" fmla="*/ 210781 w 253935"/>
                    <a:gd name="csY91" fmla="*/ 422234 h 454151"/>
                    <a:gd name="csX92" fmla="*/ 211485 w 253935"/>
                    <a:gd name="csY92" fmla="*/ 434559 h 454151"/>
                    <a:gd name="csX93" fmla="*/ 198808 w 253935"/>
                    <a:gd name="csY93" fmla="*/ 435296 h 454151"/>
                    <a:gd name="csX94" fmla="*/ 201337 w 253935"/>
                    <a:gd name="csY94" fmla="*/ 440386 h 454151"/>
                    <a:gd name="csX95" fmla="*/ 211485 w 253935"/>
                    <a:gd name="csY95" fmla="*/ 447269 h 454151"/>
                    <a:gd name="csX96" fmla="*/ 217664 w 253935"/>
                    <a:gd name="csY96" fmla="*/ 446532 h 454151"/>
                    <a:gd name="csX97" fmla="*/ 220929 w 253935"/>
                    <a:gd name="csY97" fmla="*/ 454152 h 454151"/>
                    <a:gd name="csX98" fmla="*/ 234695 w 253935"/>
                    <a:gd name="csY98" fmla="*/ 452359 h 454151"/>
                    <a:gd name="csX99" fmla="*/ 237609 w 253935"/>
                    <a:gd name="csY99" fmla="*/ 450887 h 454151"/>
                    <a:gd name="csX100" fmla="*/ 230726 w 253935"/>
                    <a:gd name="csY100" fmla="*/ 435296 h 454151"/>
                    <a:gd name="csX101" fmla="*/ 244492 w 253935"/>
                    <a:gd name="csY101" fmla="*/ 426588 h 454151"/>
                    <a:gd name="csX102" fmla="*/ 238345 w 253935"/>
                    <a:gd name="csY102" fmla="*/ 404466 h 454151"/>
                    <a:gd name="csX103" fmla="*/ 239049 w 253935"/>
                    <a:gd name="csY103" fmla="*/ 387050 h 454151"/>
                    <a:gd name="csX104" fmla="*/ 228901 w 253935"/>
                    <a:gd name="csY104" fmla="*/ 372548 h 454151"/>
                    <a:gd name="csX105" fmla="*/ 211485 w 253935"/>
                    <a:gd name="csY105" fmla="*/ 366369 h 454151"/>
                    <a:gd name="csX106" fmla="*/ 215135 w 253935"/>
                    <a:gd name="csY106" fmla="*/ 357662 h 454151"/>
                    <a:gd name="csX107" fmla="*/ 232166 w 253935"/>
                    <a:gd name="csY107" fmla="*/ 360575 h 454151"/>
                    <a:gd name="csX108" fmla="*/ 230726 w 253935"/>
                    <a:gd name="csY108" fmla="*/ 347513 h 454151"/>
                    <a:gd name="csX109" fmla="*/ 218400 w 253935"/>
                    <a:gd name="csY109" fmla="*/ 327568 h 454151"/>
                    <a:gd name="csX110" fmla="*/ 225283 w 253935"/>
                    <a:gd name="csY110" fmla="*/ 318124 h 454151"/>
                    <a:gd name="csX111" fmla="*/ 226372 w 253935"/>
                    <a:gd name="csY111" fmla="*/ 298531 h 454151"/>
                    <a:gd name="csX112" fmla="*/ 232166 w 253935"/>
                    <a:gd name="csY112" fmla="*/ 292385 h 454151"/>
                    <a:gd name="csX113" fmla="*/ 245228 w 253935"/>
                    <a:gd name="csY113" fmla="*/ 300356 h 454151"/>
                    <a:gd name="csX114" fmla="*/ 247053 w 253935"/>
                    <a:gd name="csY114" fmla="*/ 297443 h 454151"/>
                    <a:gd name="csX115" fmla="*/ 248493 w 253935"/>
                    <a:gd name="csY115" fmla="*/ 271704 h 45415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253935" h="454151">
                      <a:moveTo>
                        <a:pt x="248493" y="271704"/>
                      </a:moveTo>
                      <a:lnTo>
                        <a:pt x="245228" y="264084"/>
                      </a:lnTo>
                      <a:lnTo>
                        <a:pt x="247053" y="257906"/>
                      </a:lnTo>
                      <a:lnTo>
                        <a:pt x="253936" y="256465"/>
                      </a:lnTo>
                      <a:lnTo>
                        <a:pt x="252111" y="245932"/>
                      </a:lnTo>
                      <a:lnTo>
                        <a:pt x="235784" y="234695"/>
                      </a:lnTo>
                      <a:lnTo>
                        <a:pt x="217664" y="191892"/>
                      </a:lnTo>
                      <a:lnTo>
                        <a:pt x="232166" y="177006"/>
                      </a:lnTo>
                      <a:lnTo>
                        <a:pt x="242699" y="153059"/>
                      </a:lnTo>
                      <a:lnTo>
                        <a:pt x="233991" y="146913"/>
                      </a:lnTo>
                      <a:lnTo>
                        <a:pt x="226372" y="129849"/>
                      </a:lnTo>
                      <a:lnTo>
                        <a:pt x="217664" y="121141"/>
                      </a:lnTo>
                      <a:lnTo>
                        <a:pt x="217664" y="113522"/>
                      </a:lnTo>
                      <a:lnTo>
                        <a:pt x="195158" y="105903"/>
                      </a:lnTo>
                      <a:lnTo>
                        <a:pt x="194454" y="92137"/>
                      </a:lnTo>
                      <a:lnTo>
                        <a:pt x="187539" y="84133"/>
                      </a:lnTo>
                      <a:lnTo>
                        <a:pt x="203866" y="35183"/>
                      </a:lnTo>
                      <a:lnTo>
                        <a:pt x="201337" y="27564"/>
                      </a:lnTo>
                      <a:lnTo>
                        <a:pt x="188275" y="25739"/>
                      </a:lnTo>
                      <a:lnTo>
                        <a:pt x="187539" y="17032"/>
                      </a:lnTo>
                      <a:lnTo>
                        <a:pt x="192629" y="6883"/>
                      </a:lnTo>
                      <a:lnTo>
                        <a:pt x="154916" y="0"/>
                      </a:lnTo>
                      <a:lnTo>
                        <a:pt x="143647" y="15239"/>
                      </a:lnTo>
                      <a:lnTo>
                        <a:pt x="139293" y="46420"/>
                      </a:lnTo>
                      <a:lnTo>
                        <a:pt x="128056" y="55128"/>
                      </a:lnTo>
                      <a:lnTo>
                        <a:pt x="136028" y="70367"/>
                      </a:lnTo>
                      <a:lnTo>
                        <a:pt x="142943" y="79811"/>
                      </a:lnTo>
                      <a:lnTo>
                        <a:pt x="144384" y="95402"/>
                      </a:lnTo>
                      <a:lnTo>
                        <a:pt x="141854" y="105903"/>
                      </a:lnTo>
                      <a:lnTo>
                        <a:pt x="131674" y="119349"/>
                      </a:lnTo>
                      <a:lnTo>
                        <a:pt x="128056" y="142911"/>
                      </a:lnTo>
                      <a:lnTo>
                        <a:pt x="122262" y="153059"/>
                      </a:lnTo>
                      <a:lnTo>
                        <a:pt x="109936" y="161767"/>
                      </a:lnTo>
                      <a:lnTo>
                        <a:pt x="111729" y="167594"/>
                      </a:lnTo>
                      <a:lnTo>
                        <a:pt x="107375" y="170123"/>
                      </a:lnTo>
                      <a:lnTo>
                        <a:pt x="104846" y="198776"/>
                      </a:lnTo>
                      <a:lnTo>
                        <a:pt x="94698" y="203129"/>
                      </a:lnTo>
                      <a:lnTo>
                        <a:pt x="96138" y="216543"/>
                      </a:lnTo>
                      <a:lnTo>
                        <a:pt x="89255" y="233959"/>
                      </a:lnTo>
                      <a:lnTo>
                        <a:pt x="86694" y="241578"/>
                      </a:lnTo>
                      <a:lnTo>
                        <a:pt x="91048" y="247757"/>
                      </a:lnTo>
                      <a:lnTo>
                        <a:pt x="79075" y="260435"/>
                      </a:lnTo>
                      <a:lnTo>
                        <a:pt x="79811" y="268438"/>
                      </a:lnTo>
                      <a:lnTo>
                        <a:pt x="72192" y="271704"/>
                      </a:lnTo>
                      <a:lnTo>
                        <a:pt x="64572" y="291648"/>
                      </a:lnTo>
                      <a:lnTo>
                        <a:pt x="53335" y="298531"/>
                      </a:lnTo>
                      <a:lnTo>
                        <a:pt x="55865" y="307239"/>
                      </a:lnTo>
                      <a:lnTo>
                        <a:pt x="51511" y="316683"/>
                      </a:lnTo>
                      <a:lnTo>
                        <a:pt x="45364" y="333715"/>
                      </a:lnTo>
                      <a:lnTo>
                        <a:pt x="19593" y="348249"/>
                      </a:lnTo>
                      <a:lnTo>
                        <a:pt x="11973" y="345688"/>
                      </a:lnTo>
                      <a:lnTo>
                        <a:pt x="6883" y="349338"/>
                      </a:lnTo>
                      <a:lnTo>
                        <a:pt x="6883" y="358750"/>
                      </a:lnTo>
                      <a:lnTo>
                        <a:pt x="1473" y="360575"/>
                      </a:lnTo>
                      <a:lnTo>
                        <a:pt x="0" y="371460"/>
                      </a:lnTo>
                      <a:lnTo>
                        <a:pt x="7619" y="389579"/>
                      </a:lnTo>
                      <a:lnTo>
                        <a:pt x="22122" y="394670"/>
                      </a:lnTo>
                      <a:lnTo>
                        <a:pt x="30830" y="384521"/>
                      </a:lnTo>
                      <a:lnTo>
                        <a:pt x="26476" y="376902"/>
                      </a:lnTo>
                      <a:lnTo>
                        <a:pt x="46452" y="380167"/>
                      </a:lnTo>
                      <a:lnTo>
                        <a:pt x="53335" y="372548"/>
                      </a:lnTo>
                      <a:lnTo>
                        <a:pt x="53335" y="355132"/>
                      </a:lnTo>
                      <a:lnTo>
                        <a:pt x="81636" y="347513"/>
                      </a:lnTo>
                      <a:lnTo>
                        <a:pt x="88519" y="347513"/>
                      </a:lnTo>
                      <a:lnTo>
                        <a:pt x="95402" y="350042"/>
                      </a:lnTo>
                      <a:lnTo>
                        <a:pt x="90344" y="356957"/>
                      </a:lnTo>
                      <a:lnTo>
                        <a:pt x="101581" y="369987"/>
                      </a:lnTo>
                      <a:lnTo>
                        <a:pt x="96138" y="377606"/>
                      </a:lnTo>
                      <a:lnTo>
                        <a:pt x="103021" y="381960"/>
                      </a:lnTo>
                      <a:lnTo>
                        <a:pt x="93609" y="386314"/>
                      </a:lnTo>
                      <a:lnTo>
                        <a:pt x="86694" y="396495"/>
                      </a:lnTo>
                      <a:lnTo>
                        <a:pt x="91048" y="406995"/>
                      </a:lnTo>
                      <a:lnTo>
                        <a:pt x="108464" y="406995"/>
                      </a:lnTo>
                      <a:lnTo>
                        <a:pt x="114290" y="412085"/>
                      </a:lnTo>
                      <a:lnTo>
                        <a:pt x="122966" y="415351"/>
                      </a:lnTo>
                      <a:lnTo>
                        <a:pt x="137501" y="438561"/>
                      </a:lnTo>
                      <a:lnTo>
                        <a:pt x="148001" y="442179"/>
                      </a:lnTo>
                      <a:lnTo>
                        <a:pt x="152355" y="431678"/>
                      </a:lnTo>
                      <a:lnTo>
                        <a:pt x="160711" y="426588"/>
                      </a:lnTo>
                      <a:lnTo>
                        <a:pt x="156709" y="422234"/>
                      </a:lnTo>
                      <a:lnTo>
                        <a:pt x="160711" y="417880"/>
                      </a:lnTo>
                      <a:lnTo>
                        <a:pt x="141854" y="405907"/>
                      </a:lnTo>
                      <a:lnTo>
                        <a:pt x="152355" y="388875"/>
                      </a:lnTo>
                      <a:lnTo>
                        <a:pt x="167594" y="394670"/>
                      </a:lnTo>
                      <a:lnTo>
                        <a:pt x="164328" y="400849"/>
                      </a:lnTo>
                      <a:lnTo>
                        <a:pt x="171948" y="405907"/>
                      </a:lnTo>
                      <a:lnTo>
                        <a:pt x="178831" y="404466"/>
                      </a:lnTo>
                      <a:lnTo>
                        <a:pt x="180656" y="394670"/>
                      </a:lnTo>
                      <a:lnTo>
                        <a:pt x="190100" y="393933"/>
                      </a:lnTo>
                      <a:lnTo>
                        <a:pt x="196983" y="404466"/>
                      </a:lnTo>
                      <a:lnTo>
                        <a:pt x="196983" y="415351"/>
                      </a:lnTo>
                      <a:lnTo>
                        <a:pt x="210781" y="422234"/>
                      </a:lnTo>
                      <a:lnTo>
                        <a:pt x="211485" y="434559"/>
                      </a:lnTo>
                      <a:lnTo>
                        <a:pt x="198808" y="435296"/>
                      </a:lnTo>
                      <a:lnTo>
                        <a:pt x="201337" y="440386"/>
                      </a:lnTo>
                      <a:lnTo>
                        <a:pt x="211485" y="447269"/>
                      </a:lnTo>
                      <a:lnTo>
                        <a:pt x="217664" y="446532"/>
                      </a:lnTo>
                      <a:lnTo>
                        <a:pt x="220929" y="454152"/>
                      </a:lnTo>
                      <a:lnTo>
                        <a:pt x="234695" y="452359"/>
                      </a:lnTo>
                      <a:lnTo>
                        <a:pt x="237609" y="450887"/>
                      </a:lnTo>
                      <a:lnTo>
                        <a:pt x="230726" y="435296"/>
                      </a:lnTo>
                      <a:lnTo>
                        <a:pt x="244492" y="426588"/>
                      </a:lnTo>
                      <a:lnTo>
                        <a:pt x="238345" y="404466"/>
                      </a:lnTo>
                      <a:lnTo>
                        <a:pt x="239049" y="387050"/>
                      </a:lnTo>
                      <a:lnTo>
                        <a:pt x="228901" y="372548"/>
                      </a:lnTo>
                      <a:lnTo>
                        <a:pt x="211485" y="366369"/>
                      </a:lnTo>
                      <a:lnTo>
                        <a:pt x="215135" y="357662"/>
                      </a:lnTo>
                      <a:lnTo>
                        <a:pt x="232166" y="360575"/>
                      </a:lnTo>
                      <a:lnTo>
                        <a:pt x="230726" y="347513"/>
                      </a:lnTo>
                      <a:lnTo>
                        <a:pt x="218400" y="327568"/>
                      </a:lnTo>
                      <a:lnTo>
                        <a:pt x="225283" y="318124"/>
                      </a:lnTo>
                      <a:lnTo>
                        <a:pt x="226372" y="298531"/>
                      </a:lnTo>
                      <a:lnTo>
                        <a:pt x="232166" y="292385"/>
                      </a:lnTo>
                      <a:lnTo>
                        <a:pt x="245228" y="300356"/>
                      </a:lnTo>
                      <a:lnTo>
                        <a:pt x="247053" y="297443"/>
                      </a:lnTo>
                      <a:lnTo>
                        <a:pt x="248493" y="27170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2" name="Forma Livre: Forma 221">
                  <a:extLst>
                    <a:ext uri="{FF2B5EF4-FFF2-40B4-BE49-F238E27FC236}">
                      <a16:creationId xmlns:a16="http://schemas.microsoft.com/office/drawing/2014/main" id="{5ACAA750-BAAC-7567-1851-3B78346D1D33}"/>
                    </a:ext>
                  </a:extLst>
                </p:cNvPr>
                <p:cNvSpPr/>
                <p:nvPr/>
              </p:nvSpPr>
              <p:spPr>
                <a:xfrm>
                  <a:off x="2178219" y="4746029"/>
                  <a:ext cx="253935" cy="454151"/>
                </a:xfrm>
                <a:custGeom>
                  <a:avLst/>
                  <a:gdLst>
                    <a:gd name="csX0" fmla="*/ 248493 w 253935"/>
                    <a:gd name="csY0" fmla="*/ 271704 h 454151"/>
                    <a:gd name="csX1" fmla="*/ 245228 w 253935"/>
                    <a:gd name="csY1" fmla="*/ 264084 h 454151"/>
                    <a:gd name="csX2" fmla="*/ 247053 w 253935"/>
                    <a:gd name="csY2" fmla="*/ 257906 h 454151"/>
                    <a:gd name="csX3" fmla="*/ 253936 w 253935"/>
                    <a:gd name="csY3" fmla="*/ 256465 h 454151"/>
                    <a:gd name="csX4" fmla="*/ 252111 w 253935"/>
                    <a:gd name="csY4" fmla="*/ 245932 h 454151"/>
                    <a:gd name="csX5" fmla="*/ 235784 w 253935"/>
                    <a:gd name="csY5" fmla="*/ 234695 h 454151"/>
                    <a:gd name="csX6" fmla="*/ 217664 w 253935"/>
                    <a:gd name="csY6" fmla="*/ 191892 h 454151"/>
                    <a:gd name="csX7" fmla="*/ 232166 w 253935"/>
                    <a:gd name="csY7" fmla="*/ 177006 h 454151"/>
                    <a:gd name="csX8" fmla="*/ 242699 w 253935"/>
                    <a:gd name="csY8" fmla="*/ 153059 h 454151"/>
                    <a:gd name="csX9" fmla="*/ 233991 w 253935"/>
                    <a:gd name="csY9" fmla="*/ 146913 h 454151"/>
                    <a:gd name="csX10" fmla="*/ 226372 w 253935"/>
                    <a:gd name="csY10" fmla="*/ 129849 h 454151"/>
                    <a:gd name="csX11" fmla="*/ 217664 w 253935"/>
                    <a:gd name="csY11" fmla="*/ 121141 h 454151"/>
                    <a:gd name="csX12" fmla="*/ 217664 w 253935"/>
                    <a:gd name="csY12" fmla="*/ 113522 h 454151"/>
                    <a:gd name="csX13" fmla="*/ 195158 w 253935"/>
                    <a:gd name="csY13" fmla="*/ 105903 h 454151"/>
                    <a:gd name="csX14" fmla="*/ 194454 w 253935"/>
                    <a:gd name="csY14" fmla="*/ 92137 h 454151"/>
                    <a:gd name="csX15" fmla="*/ 187539 w 253935"/>
                    <a:gd name="csY15" fmla="*/ 84133 h 454151"/>
                    <a:gd name="csX16" fmla="*/ 203866 w 253935"/>
                    <a:gd name="csY16" fmla="*/ 35183 h 454151"/>
                    <a:gd name="csX17" fmla="*/ 201337 w 253935"/>
                    <a:gd name="csY17" fmla="*/ 27564 h 454151"/>
                    <a:gd name="csX18" fmla="*/ 188275 w 253935"/>
                    <a:gd name="csY18" fmla="*/ 25739 h 454151"/>
                    <a:gd name="csX19" fmla="*/ 187539 w 253935"/>
                    <a:gd name="csY19" fmla="*/ 17032 h 454151"/>
                    <a:gd name="csX20" fmla="*/ 192629 w 253935"/>
                    <a:gd name="csY20" fmla="*/ 6883 h 454151"/>
                    <a:gd name="csX21" fmla="*/ 154916 w 253935"/>
                    <a:gd name="csY21" fmla="*/ 0 h 454151"/>
                    <a:gd name="csX22" fmla="*/ 143647 w 253935"/>
                    <a:gd name="csY22" fmla="*/ 15239 h 454151"/>
                    <a:gd name="csX23" fmla="*/ 139293 w 253935"/>
                    <a:gd name="csY23" fmla="*/ 46420 h 454151"/>
                    <a:gd name="csX24" fmla="*/ 128056 w 253935"/>
                    <a:gd name="csY24" fmla="*/ 55128 h 454151"/>
                    <a:gd name="csX25" fmla="*/ 136028 w 253935"/>
                    <a:gd name="csY25" fmla="*/ 70367 h 454151"/>
                    <a:gd name="csX26" fmla="*/ 142943 w 253935"/>
                    <a:gd name="csY26" fmla="*/ 79811 h 454151"/>
                    <a:gd name="csX27" fmla="*/ 144384 w 253935"/>
                    <a:gd name="csY27" fmla="*/ 95402 h 454151"/>
                    <a:gd name="csX28" fmla="*/ 141854 w 253935"/>
                    <a:gd name="csY28" fmla="*/ 105903 h 454151"/>
                    <a:gd name="csX29" fmla="*/ 131674 w 253935"/>
                    <a:gd name="csY29" fmla="*/ 119349 h 454151"/>
                    <a:gd name="csX30" fmla="*/ 128056 w 253935"/>
                    <a:gd name="csY30" fmla="*/ 142911 h 454151"/>
                    <a:gd name="csX31" fmla="*/ 122262 w 253935"/>
                    <a:gd name="csY31" fmla="*/ 153059 h 454151"/>
                    <a:gd name="csX32" fmla="*/ 109936 w 253935"/>
                    <a:gd name="csY32" fmla="*/ 161767 h 454151"/>
                    <a:gd name="csX33" fmla="*/ 111729 w 253935"/>
                    <a:gd name="csY33" fmla="*/ 167594 h 454151"/>
                    <a:gd name="csX34" fmla="*/ 107375 w 253935"/>
                    <a:gd name="csY34" fmla="*/ 170123 h 454151"/>
                    <a:gd name="csX35" fmla="*/ 104846 w 253935"/>
                    <a:gd name="csY35" fmla="*/ 198776 h 454151"/>
                    <a:gd name="csX36" fmla="*/ 94698 w 253935"/>
                    <a:gd name="csY36" fmla="*/ 203129 h 454151"/>
                    <a:gd name="csX37" fmla="*/ 96138 w 253935"/>
                    <a:gd name="csY37" fmla="*/ 216543 h 454151"/>
                    <a:gd name="csX38" fmla="*/ 89255 w 253935"/>
                    <a:gd name="csY38" fmla="*/ 233959 h 454151"/>
                    <a:gd name="csX39" fmla="*/ 86694 w 253935"/>
                    <a:gd name="csY39" fmla="*/ 241578 h 454151"/>
                    <a:gd name="csX40" fmla="*/ 91048 w 253935"/>
                    <a:gd name="csY40" fmla="*/ 247757 h 454151"/>
                    <a:gd name="csX41" fmla="*/ 79075 w 253935"/>
                    <a:gd name="csY41" fmla="*/ 260435 h 454151"/>
                    <a:gd name="csX42" fmla="*/ 79811 w 253935"/>
                    <a:gd name="csY42" fmla="*/ 268438 h 454151"/>
                    <a:gd name="csX43" fmla="*/ 72192 w 253935"/>
                    <a:gd name="csY43" fmla="*/ 271704 h 454151"/>
                    <a:gd name="csX44" fmla="*/ 64572 w 253935"/>
                    <a:gd name="csY44" fmla="*/ 291648 h 454151"/>
                    <a:gd name="csX45" fmla="*/ 53335 w 253935"/>
                    <a:gd name="csY45" fmla="*/ 298531 h 454151"/>
                    <a:gd name="csX46" fmla="*/ 55865 w 253935"/>
                    <a:gd name="csY46" fmla="*/ 307239 h 454151"/>
                    <a:gd name="csX47" fmla="*/ 51511 w 253935"/>
                    <a:gd name="csY47" fmla="*/ 316683 h 454151"/>
                    <a:gd name="csX48" fmla="*/ 45364 w 253935"/>
                    <a:gd name="csY48" fmla="*/ 333715 h 454151"/>
                    <a:gd name="csX49" fmla="*/ 19593 w 253935"/>
                    <a:gd name="csY49" fmla="*/ 348249 h 454151"/>
                    <a:gd name="csX50" fmla="*/ 11973 w 253935"/>
                    <a:gd name="csY50" fmla="*/ 345688 h 454151"/>
                    <a:gd name="csX51" fmla="*/ 6883 w 253935"/>
                    <a:gd name="csY51" fmla="*/ 349338 h 454151"/>
                    <a:gd name="csX52" fmla="*/ 6883 w 253935"/>
                    <a:gd name="csY52" fmla="*/ 358750 h 454151"/>
                    <a:gd name="csX53" fmla="*/ 1441 w 253935"/>
                    <a:gd name="csY53" fmla="*/ 360575 h 454151"/>
                    <a:gd name="csX54" fmla="*/ 0 w 253935"/>
                    <a:gd name="csY54" fmla="*/ 371460 h 454151"/>
                    <a:gd name="csX55" fmla="*/ 7619 w 253935"/>
                    <a:gd name="csY55" fmla="*/ 389579 h 454151"/>
                    <a:gd name="csX56" fmla="*/ 22122 w 253935"/>
                    <a:gd name="csY56" fmla="*/ 394670 h 454151"/>
                    <a:gd name="csX57" fmla="*/ 30830 w 253935"/>
                    <a:gd name="csY57" fmla="*/ 384521 h 454151"/>
                    <a:gd name="csX58" fmla="*/ 26476 w 253935"/>
                    <a:gd name="csY58" fmla="*/ 376902 h 454151"/>
                    <a:gd name="csX59" fmla="*/ 46452 w 253935"/>
                    <a:gd name="csY59" fmla="*/ 380167 h 454151"/>
                    <a:gd name="csX60" fmla="*/ 53335 w 253935"/>
                    <a:gd name="csY60" fmla="*/ 372548 h 454151"/>
                    <a:gd name="csX61" fmla="*/ 53335 w 253935"/>
                    <a:gd name="csY61" fmla="*/ 355132 h 454151"/>
                    <a:gd name="csX62" fmla="*/ 81636 w 253935"/>
                    <a:gd name="csY62" fmla="*/ 347513 h 454151"/>
                    <a:gd name="csX63" fmla="*/ 88519 w 253935"/>
                    <a:gd name="csY63" fmla="*/ 347513 h 454151"/>
                    <a:gd name="csX64" fmla="*/ 95402 w 253935"/>
                    <a:gd name="csY64" fmla="*/ 350042 h 454151"/>
                    <a:gd name="csX65" fmla="*/ 90344 w 253935"/>
                    <a:gd name="csY65" fmla="*/ 356957 h 454151"/>
                    <a:gd name="csX66" fmla="*/ 101581 w 253935"/>
                    <a:gd name="csY66" fmla="*/ 369987 h 454151"/>
                    <a:gd name="csX67" fmla="*/ 96138 w 253935"/>
                    <a:gd name="csY67" fmla="*/ 377606 h 454151"/>
                    <a:gd name="csX68" fmla="*/ 103021 w 253935"/>
                    <a:gd name="csY68" fmla="*/ 381960 h 454151"/>
                    <a:gd name="csX69" fmla="*/ 93609 w 253935"/>
                    <a:gd name="csY69" fmla="*/ 386314 h 454151"/>
                    <a:gd name="csX70" fmla="*/ 86694 w 253935"/>
                    <a:gd name="csY70" fmla="*/ 396495 h 454151"/>
                    <a:gd name="csX71" fmla="*/ 91048 w 253935"/>
                    <a:gd name="csY71" fmla="*/ 406995 h 454151"/>
                    <a:gd name="csX72" fmla="*/ 108464 w 253935"/>
                    <a:gd name="csY72" fmla="*/ 406995 h 454151"/>
                    <a:gd name="csX73" fmla="*/ 114290 w 253935"/>
                    <a:gd name="csY73" fmla="*/ 412085 h 454151"/>
                    <a:gd name="csX74" fmla="*/ 122966 w 253935"/>
                    <a:gd name="csY74" fmla="*/ 415351 h 454151"/>
                    <a:gd name="csX75" fmla="*/ 137501 w 253935"/>
                    <a:gd name="csY75" fmla="*/ 438561 h 454151"/>
                    <a:gd name="csX76" fmla="*/ 148001 w 253935"/>
                    <a:gd name="csY76" fmla="*/ 442179 h 454151"/>
                    <a:gd name="csX77" fmla="*/ 152355 w 253935"/>
                    <a:gd name="csY77" fmla="*/ 431678 h 454151"/>
                    <a:gd name="csX78" fmla="*/ 160711 w 253935"/>
                    <a:gd name="csY78" fmla="*/ 426588 h 454151"/>
                    <a:gd name="csX79" fmla="*/ 156709 w 253935"/>
                    <a:gd name="csY79" fmla="*/ 422234 h 454151"/>
                    <a:gd name="csX80" fmla="*/ 160711 w 253935"/>
                    <a:gd name="csY80" fmla="*/ 417880 h 454151"/>
                    <a:gd name="csX81" fmla="*/ 141854 w 253935"/>
                    <a:gd name="csY81" fmla="*/ 405907 h 454151"/>
                    <a:gd name="csX82" fmla="*/ 152355 w 253935"/>
                    <a:gd name="csY82" fmla="*/ 388875 h 454151"/>
                    <a:gd name="csX83" fmla="*/ 167594 w 253935"/>
                    <a:gd name="csY83" fmla="*/ 394670 h 454151"/>
                    <a:gd name="csX84" fmla="*/ 164328 w 253935"/>
                    <a:gd name="csY84" fmla="*/ 400849 h 454151"/>
                    <a:gd name="csX85" fmla="*/ 171948 w 253935"/>
                    <a:gd name="csY85" fmla="*/ 405907 h 454151"/>
                    <a:gd name="csX86" fmla="*/ 178831 w 253935"/>
                    <a:gd name="csY86" fmla="*/ 404466 h 454151"/>
                    <a:gd name="csX87" fmla="*/ 180656 w 253935"/>
                    <a:gd name="csY87" fmla="*/ 394670 h 454151"/>
                    <a:gd name="csX88" fmla="*/ 190100 w 253935"/>
                    <a:gd name="csY88" fmla="*/ 393933 h 454151"/>
                    <a:gd name="csX89" fmla="*/ 196983 w 253935"/>
                    <a:gd name="csY89" fmla="*/ 404466 h 454151"/>
                    <a:gd name="csX90" fmla="*/ 196983 w 253935"/>
                    <a:gd name="csY90" fmla="*/ 415351 h 454151"/>
                    <a:gd name="csX91" fmla="*/ 210781 w 253935"/>
                    <a:gd name="csY91" fmla="*/ 422234 h 454151"/>
                    <a:gd name="csX92" fmla="*/ 211485 w 253935"/>
                    <a:gd name="csY92" fmla="*/ 434559 h 454151"/>
                    <a:gd name="csX93" fmla="*/ 198808 w 253935"/>
                    <a:gd name="csY93" fmla="*/ 435296 h 454151"/>
                    <a:gd name="csX94" fmla="*/ 201337 w 253935"/>
                    <a:gd name="csY94" fmla="*/ 440386 h 454151"/>
                    <a:gd name="csX95" fmla="*/ 211485 w 253935"/>
                    <a:gd name="csY95" fmla="*/ 447269 h 454151"/>
                    <a:gd name="csX96" fmla="*/ 217664 w 253935"/>
                    <a:gd name="csY96" fmla="*/ 446532 h 454151"/>
                    <a:gd name="csX97" fmla="*/ 220929 w 253935"/>
                    <a:gd name="csY97" fmla="*/ 454152 h 454151"/>
                    <a:gd name="csX98" fmla="*/ 234695 w 253935"/>
                    <a:gd name="csY98" fmla="*/ 452359 h 454151"/>
                    <a:gd name="csX99" fmla="*/ 237609 w 253935"/>
                    <a:gd name="csY99" fmla="*/ 450887 h 454151"/>
                    <a:gd name="csX100" fmla="*/ 230726 w 253935"/>
                    <a:gd name="csY100" fmla="*/ 435296 h 454151"/>
                    <a:gd name="csX101" fmla="*/ 244492 w 253935"/>
                    <a:gd name="csY101" fmla="*/ 426588 h 454151"/>
                    <a:gd name="csX102" fmla="*/ 238345 w 253935"/>
                    <a:gd name="csY102" fmla="*/ 404466 h 454151"/>
                    <a:gd name="csX103" fmla="*/ 239049 w 253935"/>
                    <a:gd name="csY103" fmla="*/ 387050 h 454151"/>
                    <a:gd name="csX104" fmla="*/ 228901 w 253935"/>
                    <a:gd name="csY104" fmla="*/ 372548 h 454151"/>
                    <a:gd name="csX105" fmla="*/ 211485 w 253935"/>
                    <a:gd name="csY105" fmla="*/ 366369 h 454151"/>
                    <a:gd name="csX106" fmla="*/ 215135 w 253935"/>
                    <a:gd name="csY106" fmla="*/ 357662 h 454151"/>
                    <a:gd name="csX107" fmla="*/ 232166 w 253935"/>
                    <a:gd name="csY107" fmla="*/ 360575 h 454151"/>
                    <a:gd name="csX108" fmla="*/ 230726 w 253935"/>
                    <a:gd name="csY108" fmla="*/ 347513 h 454151"/>
                    <a:gd name="csX109" fmla="*/ 218400 w 253935"/>
                    <a:gd name="csY109" fmla="*/ 327568 h 454151"/>
                    <a:gd name="csX110" fmla="*/ 225283 w 253935"/>
                    <a:gd name="csY110" fmla="*/ 318124 h 454151"/>
                    <a:gd name="csX111" fmla="*/ 226372 w 253935"/>
                    <a:gd name="csY111" fmla="*/ 298531 h 454151"/>
                    <a:gd name="csX112" fmla="*/ 232166 w 253935"/>
                    <a:gd name="csY112" fmla="*/ 292385 h 454151"/>
                    <a:gd name="csX113" fmla="*/ 245228 w 253935"/>
                    <a:gd name="csY113" fmla="*/ 300356 h 454151"/>
                    <a:gd name="csX114" fmla="*/ 247053 w 253935"/>
                    <a:gd name="csY114" fmla="*/ 297443 h 454151"/>
                    <a:gd name="csX115" fmla="*/ 248493 w 253935"/>
                    <a:gd name="csY115" fmla="*/ 271704 h 45415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253935" h="454151">
                      <a:moveTo>
                        <a:pt x="248493" y="271704"/>
                      </a:moveTo>
                      <a:lnTo>
                        <a:pt x="245228" y="264084"/>
                      </a:lnTo>
                      <a:lnTo>
                        <a:pt x="247053" y="257906"/>
                      </a:lnTo>
                      <a:lnTo>
                        <a:pt x="253936" y="256465"/>
                      </a:lnTo>
                      <a:lnTo>
                        <a:pt x="252111" y="245932"/>
                      </a:lnTo>
                      <a:lnTo>
                        <a:pt x="235784" y="234695"/>
                      </a:lnTo>
                      <a:lnTo>
                        <a:pt x="217664" y="191892"/>
                      </a:lnTo>
                      <a:lnTo>
                        <a:pt x="232166" y="177006"/>
                      </a:lnTo>
                      <a:lnTo>
                        <a:pt x="242699" y="153059"/>
                      </a:lnTo>
                      <a:lnTo>
                        <a:pt x="233991" y="146913"/>
                      </a:lnTo>
                      <a:lnTo>
                        <a:pt x="226372" y="129849"/>
                      </a:lnTo>
                      <a:lnTo>
                        <a:pt x="217664" y="121141"/>
                      </a:lnTo>
                      <a:lnTo>
                        <a:pt x="217664" y="113522"/>
                      </a:lnTo>
                      <a:lnTo>
                        <a:pt x="195158" y="105903"/>
                      </a:lnTo>
                      <a:lnTo>
                        <a:pt x="194454" y="92137"/>
                      </a:lnTo>
                      <a:lnTo>
                        <a:pt x="187539" y="84133"/>
                      </a:lnTo>
                      <a:lnTo>
                        <a:pt x="203866" y="35183"/>
                      </a:lnTo>
                      <a:lnTo>
                        <a:pt x="201337" y="27564"/>
                      </a:lnTo>
                      <a:lnTo>
                        <a:pt x="188275" y="25739"/>
                      </a:lnTo>
                      <a:lnTo>
                        <a:pt x="187539" y="17032"/>
                      </a:lnTo>
                      <a:lnTo>
                        <a:pt x="192629" y="6883"/>
                      </a:lnTo>
                      <a:lnTo>
                        <a:pt x="154916" y="0"/>
                      </a:lnTo>
                      <a:lnTo>
                        <a:pt x="143647" y="15239"/>
                      </a:lnTo>
                      <a:lnTo>
                        <a:pt x="139293" y="46420"/>
                      </a:lnTo>
                      <a:lnTo>
                        <a:pt x="128056" y="55128"/>
                      </a:lnTo>
                      <a:lnTo>
                        <a:pt x="136028" y="70367"/>
                      </a:lnTo>
                      <a:lnTo>
                        <a:pt x="142943" y="79811"/>
                      </a:lnTo>
                      <a:lnTo>
                        <a:pt x="144384" y="95402"/>
                      </a:lnTo>
                      <a:lnTo>
                        <a:pt x="141854" y="105903"/>
                      </a:lnTo>
                      <a:lnTo>
                        <a:pt x="131674" y="119349"/>
                      </a:lnTo>
                      <a:lnTo>
                        <a:pt x="128056" y="142911"/>
                      </a:lnTo>
                      <a:lnTo>
                        <a:pt x="122262" y="153059"/>
                      </a:lnTo>
                      <a:lnTo>
                        <a:pt x="109936" y="161767"/>
                      </a:lnTo>
                      <a:lnTo>
                        <a:pt x="111729" y="167594"/>
                      </a:lnTo>
                      <a:lnTo>
                        <a:pt x="107375" y="170123"/>
                      </a:lnTo>
                      <a:lnTo>
                        <a:pt x="104846" y="198776"/>
                      </a:lnTo>
                      <a:lnTo>
                        <a:pt x="94698" y="203129"/>
                      </a:lnTo>
                      <a:lnTo>
                        <a:pt x="96138" y="216543"/>
                      </a:lnTo>
                      <a:lnTo>
                        <a:pt x="89255" y="233959"/>
                      </a:lnTo>
                      <a:lnTo>
                        <a:pt x="86694" y="241578"/>
                      </a:lnTo>
                      <a:lnTo>
                        <a:pt x="91048" y="247757"/>
                      </a:lnTo>
                      <a:lnTo>
                        <a:pt x="79075" y="260435"/>
                      </a:lnTo>
                      <a:lnTo>
                        <a:pt x="79811" y="268438"/>
                      </a:lnTo>
                      <a:lnTo>
                        <a:pt x="72192" y="271704"/>
                      </a:lnTo>
                      <a:lnTo>
                        <a:pt x="64572" y="291648"/>
                      </a:lnTo>
                      <a:lnTo>
                        <a:pt x="53335" y="298531"/>
                      </a:lnTo>
                      <a:lnTo>
                        <a:pt x="55865" y="307239"/>
                      </a:lnTo>
                      <a:lnTo>
                        <a:pt x="51511" y="316683"/>
                      </a:lnTo>
                      <a:lnTo>
                        <a:pt x="45364" y="333715"/>
                      </a:lnTo>
                      <a:lnTo>
                        <a:pt x="19593" y="348249"/>
                      </a:lnTo>
                      <a:lnTo>
                        <a:pt x="11973" y="345688"/>
                      </a:lnTo>
                      <a:lnTo>
                        <a:pt x="6883" y="349338"/>
                      </a:lnTo>
                      <a:lnTo>
                        <a:pt x="6883" y="358750"/>
                      </a:lnTo>
                      <a:lnTo>
                        <a:pt x="1441" y="360575"/>
                      </a:lnTo>
                      <a:lnTo>
                        <a:pt x="0" y="371460"/>
                      </a:lnTo>
                      <a:lnTo>
                        <a:pt x="7619" y="389579"/>
                      </a:lnTo>
                      <a:lnTo>
                        <a:pt x="22122" y="394670"/>
                      </a:lnTo>
                      <a:lnTo>
                        <a:pt x="30830" y="384521"/>
                      </a:lnTo>
                      <a:lnTo>
                        <a:pt x="26476" y="376902"/>
                      </a:lnTo>
                      <a:lnTo>
                        <a:pt x="46452" y="380167"/>
                      </a:lnTo>
                      <a:lnTo>
                        <a:pt x="53335" y="372548"/>
                      </a:lnTo>
                      <a:lnTo>
                        <a:pt x="53335" y="355132"/>
                      </a:lnTo>
                      <a:lnTo>
                        <a:pt x="81636" y="347513"/>
                      </a:lnTo>
                      <a:lnTo>
                        <a:pt x="88519" y="347513"/>
                      </a:lnTo>
                      <a:lnTo>
                        <a:pt x="95402" y="350042"/>
                      </a:lnTo>
                      <a:lnTo>
                        <a:pt x="90344" y="356957"/>
                      </a:lnTo>
                      <a:lnTo>
                        <a:pt x="101581" y="369987"/>
                      </a:lnTo>
                      <a:lnTo>
                        <a:pt x="96138" y="377606"/>
                      </a:lnTo>
                      <a:lnTo>
                        <a:pt x="103021" y="381960"/>
                      </a:lnTo>
                      <a:lnTo>
                        <a:pt x="93609" y="386314"/>
                      </a:lnTo>
                      <a:lnTo>
                        <a:pt x="86694" y="396495"/>
                      </a:lnTo>
                      <a:lnTo>
                        <a:pt x="91048" y="406995"/>
                      </a:lnTo>
                      <a:lnTo>
                        <a:pt x="108464" y="406995"/>
                      </a:lnTo>
                      <a:lnTo>
                        <a:pt x="114290" y="412085"/>
                      </a:lnTo>
                      <a:lnTo>
                        <a:pt x="122966" y="415351"/>
                      </a:lnTo>
                      <a:lnTo>
                        <a:pt x="137501" y="438561"/>
                      </a:lnTo>
                      <a:lnTo>
                        <a:pt x="148001" y="442179"/>
                      </a:lnTo>
                      <a:lnTo>
                        <a:pt x="152355" y="431678"/>
                      </a:lnTo>
                      <a:lnTo>
                        <a:pt x="160711" y="426588"/>
                      </a:lnTo>
                      <a:lnTo>
                        <a:pt x="156709" y="422234"/>
                      </a:lnTo>
                      <a:lnTo>
                        <a:pt x="160711" y="417880"/>
                      </a:lnTo>
                      <a:lnTo>
                        <a:pt x="141854" y="405907"/>
                      </a:lnTo>
                      <a:lnTo>
                        <a:pt x="152355" y="388875"/>
                      </a:lnTo>
                      <a:lnTo>
                        <a:pt x="167594" y="394670"/>
                      </a:lnTo>
                      <a:lnTo>
                        <a:pt x="164328" y="400849"/>
                      </a:lnTo>
                      <a:lnTo>
                        <a:pt x="171948" y="405907"/>
                      </a:lnTo>
                      <a:lnTo>
                        <a:pt x="178831" y="404466"/>
                      </a:lnTo>
                      <a:lnTo>
                        <a:pt x="180656" y="394670"/>
                      </a:lnTo>
                      <a:lnTo>
                        <a:pt x="190100" y="393933"/>
                      </a:lnTo>
                      <a:lnTo>
                        <a:pt x="196983" y="404466"/>
                      </a:lnTo>
                      <a:lnTo>
                        <a:pt x="196983" y="415351"/>
                      </a:lnTo>
                      <a:lnTo>
                        <a:pt x="210781" y="422234"/>
                      </a:lnTo>
                      <a:lnTo>
                        <a:pt x="211485" y="434559"/>
                      </a:lnTo>
                      <a:lnTo>
                        <a:pt x="198808" y="435296"/>
                      </a:lnTo>
                      <a:lnTo>
                        <a:pt x="201337" y="440386"/>
                      </a:lnTo>
                      <a:lnTo>
                        <a:pt x="211485" y="447269"/>
                      </a:lnTo>
                      <a:lnTo>
                        <a:pt x="217664" y="446532"/>
                      </a:lnTo>
                      <a:lnTo>
                        <a:pt x="220929" y="454152"/>
                      </a:lnTo>
                      <a:lnTo>
                        <a:pt x="234695" y="452359"/>
                      </a:lnTo>
                      <a:lnTo>
                        <a:pt x="237609" y="450887"/>
                      </a:lnTo>
                      <a:lnTo>
                        <a:pt x="230726" y="435296"/>
                      </a:lnTo>
                      <a:lnTo>
                        <a:pt x="244492" y="426588"/>
                      </a:lnTo>
                      <a:lnTo>
                        <a:pt x="238345" y="404466"/>
                      </a:lnTo>
                      <a:lnTo>
                        <a:pt x="239049" y="387050"/>
                      </a:lnTo>
                      <a:lnTo>
                        <a:pt x="228901" y="372548"/>
                      </a:lnTo>
                      <a:lnTo>
                        <a:pt x="211485" y="366369"/>
                      </a:lnTo>
                      <a:lnTo>
                        <a:pt x="215135" y="357662"/>
                      </a:lnTo>
                      <a:lnTo>
                        <a:pt x="232166" y="360575"/>
                      </a:lnTo>
                      <a:lnTo>
                        <a:pt x="230726" y="347513"/>
                      </a:lnTo>
                      <a:lnTo>
                        <a:pt x="218400" y="327568"/>
                      </a:lnTo>
                      <a:lnTo>
                        <a:pt x="225283" y="318124"/>
                      </a:lnTo>
                      <a:lnTo>
                        <a:pt x="226372" y="298531"/>
                      </a:lnTo>
                      <a:lnTo>
                        <a:pt x="232166" y="292385"/>
                      </a:lnTo>
                      <a:lnTo>
                        <a:pt x="245228" y="300356"/>
                      </a:lnTo>
                      <a:lnTo>
                        <a:pt x="247053" y="297443"/>
                      </a:lnTo>
                      <a:lnTo>
                        <a:pt x="248493" y="27170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3" name="Forma Livre: Forma 222">
                  <a:extLst>
                    <a:ext uri="{FF2B5EF4-FFF2-40B4-BE49-F238E27FC236}">
                      <a16:creationId xmlns:a16="http://schemas.microsoft.com/office/drawing/2014/main" id="{F3499A0D-39FC-F868-18A7-08340FB6F4C4}"/>
                    </a:ext>
                  </a:extLst>
                </p:cNvPr>
                <p:cNvSpPr/>
                <p:nvPr/>
              </p:nvSpPr>
              <p:spPr>
                <a:xfrm>
                  <a:off x="2178219" y="4746029"/>
                  <a:ext cx="253935" cy="454151"/>
                </a:xfrm>
                <a:custGeom>
                  <a:avLst/>
                  <a:gdLst>
                    <a:gd name="csX0" fmla="*/ 248493 w 253935"/>
                    <a:gd name="csY0" fmla="*/ 271704 h 454151"/>
                    <a:gd name="csX1" fmla="*/ 245228 w 253935"/>
                    <a:gd name="csY1" fmla="*/ 264084 h 454151"/>
                    <a:gd name="csX2" fmla="*/ 247053 w 253935"/>
                    <a:gd name="csY2" fmla="*/ 257906 h 454151"/>
                    <a:gd name="csX3" fmla="*/ 253936 w 253935"/>
                    <a:gd name="csY3" fmla="*/ 256465 h 454151"/>
                    <a:gd name="csX4" fmla="*/ 252111 w 253935"/>
                    <a:gd name="csY4" fmla="*/ 245932 h 454151"/>
                    <a:gd name="csX5" fmla="*/ 235784 w 253935"/>
                    <a:gd name="csY5" fmla="*/ 234695 h 454151"/>
                    <a:gd name="csX6" fmla="*/ 217664 w 253935"/>
                    <a:gd name="csY6" fmla="*/ 191892 h 454151"/>
                    <a:gd name="csX7" fmla="*/ 232166 w 253935"/>
                    <a:gd name="csY7" fmla="*/ 177006 h 454151"/>
                    <a:gd name="csX8" fmla="*/ 242699 w 253935"/>
                    <a:gd name="csY8" fmla="*/ 153059 h 454151"/>
                    <a:gd name="csX9" fmla="*/ 233991 w 253935"/>
                    <a:gd name="csY9" fmla="*/ 146913 h 454151"/>
                    <a:gd name="csX10" fmla="*/ 226372 w 253935"/>
                    <a:gd name="csY10" fmla="*/ 129849 h 454151"/>
                    <a:gd name="csX11" fmla="*/ 217664 w 253935"/>
                    <a:gd name="csY11" fmla="*/ 121141 h 454151"/>
                    <a:gd name="csX12" fmla="*/ 217664 w 253935"/>
                    <a:gd name="csY12" fmla="*/ 113522 h 454151"/>
                    <a:gd name="csX13" fmla="*/ 195158 w 253935"/>
                    <a:gd name="csY13" fmla="*/ 105903 h 454151"/>
                    <a:gd name="csX14" fmla="*/ 194454 w 253935"/>
                    <a:gd name="csY14" fmla="*/ 92137 h 454151"/>
                    <a:gd name="csX15" fmla="*/ 187539 w 253935"/>
                    <a:gd name="csY15" fmla="*/ 84133 h 454151"/>
                    <a:gd name="csX16" fmla="*/ 203866 w 253935"/>
                    <a:gd name="csY16" fmla="*/ 35183 h 454151"/>
                    <a:gd name="csX17" fmla="*/ 201337 w 253935"/>
                    <a:gd name="csY17" fmla="*/ 27564 h 454151"/>
                    <a:gd name="csX18" fmla="*/ 188275 w 253935"/>
                    <a:gd name="csY18" fmla="*/ 25739 h 454151"/>
                    <a:gd name="csX19" fmla="*/ 187539 w 253935"/>
                    <a:gd name="csY19" fmla="*/ 17032 h 454151"/>
                    <a:gd name="csX20" fmla="*/ 192629 w 253935"/>
                    <a:gd name="csY20" fmla="*/ 6883 h 454151"/>
                    <a:gd name="csX21" fmla="*/ 154916 w 253935"/>
                    <a:gd name="csY21" fmla="*/ 0 h 454151"/>
                    <a:gd name="csX22" fmla="*/ 143647 w 253935"/>
                    <a:gd name="csY22" fmla="*/ 15239 h 454151"/>
                    <a:gd name="csX23" fmla="*/ 139293 w 253935"/>
                    <a:gd name="csY23" fmla="*/ 46420 h 454151"/>
                    <a:gd name="csX24" fmla="*/ 128056 w 253935"/>
                    <a:gd name="csY24" fmla="*/ 55128 h 454151"/>
                    <a:gd name="csX25" fmla="*/ 136028 w 253935"/>
                    <a:gd name="csY25" fmla="*/ 70367 h 454151"/>
                    <a:gd name="csX26" fmla="*/ 142943 w 253935"/>
                    <a:gd name="csY26" fmla="*/ 79811 h 454151"/>
                    <a:gd name="csX27" fmla="*/ 144384 w 253935"/>
                    <a:gd name="csY27" fmla="*/ 95402 h 454151"/>
                    <a:gd name="csX28" fmla="*/ 141854 w 253935"/>
                    <a:gd name="csY28" fmla="*/ 105903 h 454151"/>
                    <a:gd name="csX29" fmla="*/ 131674 w 253935"/>
                    <a:gd name="csY29" fmla="*/ 119349 h 454151"/>
                    <a:gd name="csX30" fmla="*/ 128056 w 253935"/>
                    <a:gd name="csY30" fmla="*/ 142911 h 454151"/>
                    <a:gd name="csX31" fmla="*/ 122262 w 253935"/>
                    <a:gd name="csY31" fmla="*/ 153059 h 454151"/>
                    <a:gd name="csX32" fmla="*/ 109936 w 253935"/>
                    <a:gd name="csY32" fmla="*/ 161767 h 454151"/>
                    <a:gd name="csX33" fmla="*/ 111729 w 253935"/>
                    <a:gd name="csY33" fmla="*/ 167594 h 454151"/>
                    <a:gd name="csX34" fmla="*/ 107375 w 253935"/>
                    <a:gd name="csY34" fmla="*/ 170123 h 454151"/>
                    <a:gd name="csX35" fmla="*/ 104846 w 253935"/>
                    <a:gd name="csY35" fmla="*/ 198776 h 454151"/>
                    <a:gd name="csX36" fmla="*/ 94698 w 253935"/>
                    <a:gd name="csY36" fmla="*/ 203129 h 454151"/>
                    <a:gd name="csX37" fmla="*/ 96138 w 253935"/>
                    <a:gd name="csY37" fmla="*/ 216543 h 454151"/>
                    <a:gd name="csX38" fmla="*/ 89255 w 253935"/>
                    <a:gd name="csY38" fmla="*/ 233959 h 454151"/>
                    <a:gd name="csX39" fmla="*/ 86694 w 253935"/>
                    <a:gd name="csY39" fmla="*/ 241578 h 454151"/>
                    <a:gd name="csX40" fmla="*/ 91048 w 253935"/>
                    <a:gd name="csY40" fmla="*/ 247757 h 454151"/>
                    <a:gd name="csX41" fmla="*/ 79075 w 253935"/>
                    <a:gd name="csY41" fmla="*/ 260435 h 454151"/>
                    <a:gd name="csX42" fmla="*/ 79811 w 253935"/>
                    <a:gd name="csY42" fmla="*/ 268438 h 454151"/>
                    <a:gd name="csX43" fmla="*/ 72192 w 253935"/>
                    <a:gd name="csY43" fmla="*/ 271704 h 454151"/>
                    <a:gd name="csX44" fmla="*/ 64572 w 253935"/>
                    <a:gd name="csY44" fmla="*/ 291648 h 454151"/>
                    <a:gd name="csX45" fmla="*/ 53335 w 253935"/>
                    <a:gd name="csY45" fmla="*/ 298531 h 454151"/>
                    <a:gd name="csX46" fmla="*/ 55865 w 253935"/>
                    <a:gd name="csY46" fmla="*/ 307239 h 454151"/>
                    <a:gd name="csX47" fmla="*/ 51511 w 253935"/>
                    <a:gd name="csY47" fmla="*/ 316683 h 454151"/>
                    <a:gd name="csX48" fmla="*/ 45364 w 253935"/>
                    <a:gd name="csY48" fmla="*/ 333715 h 454151"/>
                    <a:gd name="csX49" fmla="*/ 19593 w 253935"/>
                    <a:gd name="csY49" fmla="*/ 348249 h 454151"/>
                    <a:gd name="csX50" fmla="*/ 11973 w 253935"/>
                    <a:gd name="csY50" fmla="*/ 345688 h 454151"/>
                    <a:gd name="csX51" fmla="*/ 6883 w 253935"/>
                    <a:gd name="csY51" fmla="*/ 349338 h 454151"/>
                    <a:gd name="csX52" fmla="*/ 6883 w 253935"/>
                    <a:gd name="csY52" fmla="*/ 358750 h 454151"/>
                    <a:gd name="csX53" fmla="*/ 1473 w 253935"/>
                    <a:gd name="csY53" fmla="*/ 360575 h 454151"/>
                    <a:gd name="csX54" fmla="*/ 0 w 253935"/>
                    <a:gd name="csY54" fmla="*/ 371460 h 454151"/>
                    <a:gd name="csX55" fmla="*/ 7619 w 253935"/>
                    <a:gd name="csY55" fmla="*/ 389579 h 454151"/>
                    <a:gd name="csX56" fmla="*/ 22122 w 253935"/>
                    <a:gd name="csY56" fmla="*/ 394670 h 454151"/>
                    <a:gd name="csX57" fmla="*/ 30830 w 253935"/>
                    <a:gd name="csY57" fmla="*/ 384521 h 454151"/>
                    <a:gd name="csX58" fmla="*/ 26476 w 253935"/>
                    <a:gd name="csY58" fmla="*/ 376902 h 454151"/>
                    <a:gd name="csX59" fmla="*/ 46452 w 253935"/>
                    <a:gd name="csY59" fmla="*/ 380167 h 454151"/>
                    <a:gd name="csX60" fmla="*/ 53335 w 253935"/>
                    <a:gd name="csY60" fmla="*/ 372548 h 454151"/>
                    <a:gd name="csX61" fmla="*/ 53335 w 253935"/>
                    <a:gd name="csY61" fmla="*/ 355132 h 454151"/>
                    <a:gd name="csX62" fmla="*/ 81636 w 253935"/>
                    <a:gd name="csY62" fmla="*/ 347513 h 454151"/>
                    <a:gd name="csX63" fmla="*/ 88519 w 253935"/>
                    <a:gd name="csY63" fmla="*/ 347513 h 454151"/>
                    <a:gd name="csX64" fmla="*/ 95402 w 253935"/>
                    <a:gd name="csY64" fmla="*/ 350042 h 454151"/>
                    <a:gd name="csX65" fmla="*/ 90344 w 253935"/>
                    <a:gd name="csY65" fmla="*/ 356957 h 454151"/>
                    <a:gd name="csX66" fmla="*/ 101581 w 253935"/>
                    <a:gd name="csY66" fmla="*/ 369987 h 454151"/>
                    <a:gd name="csX67" fmla="*/ 96138 w 253935"/>
                    <a:gd name="csY67" fmla="*/ 377606 h 454151"/>
                    <a:gd name="csX68" fmla="*/ 103021 w 253935"/>
                    <a:gd name="csY68" fmla="*/ 381960 h 454151"/>
                    <a:gd name="csX69" fmla="*/ 93609 w 253935"/>
                    <a:gd name="csY69" fmla="*/ 386314 h 454151"/>
                    <a:gd name="csX70" fmla="*/ 86694 w 253935"/>
                    <a:gd name="csY70" fmla="*/ 396495 h 454151"/>
                    <a:gd name="csX71" fmla="*/ 91048 w 253935"/>
                    <a:gd name="csY71" fmla="*/ 406995 h 454151"/>
                    <a:gd name="csX72" fmla="*/ 108464 w 253935"/>
                    <a:gd name="csY72" fmla="*/ 406995 h 454151"/>
                    <a:gd name="csX73" fmla="*/ 114290 w 253935"/>
                    <a:gd name="csY73" fmla="*/ 412085 h 454151"/>
                    <a:gd name="csX74" fmla="*/ 122966 w 253935"/>
                    <a:gd name="csY74" fmla="*/ 415351 h 454151"/>
                    <a:gd name="csX75" fmla="*/ 137501 w 253935"/>
                    <a:gd name="csY75" fmla="*/ 438561 h 454151"/>
                    <a:gd name="csX76" fmla="*/ 148001 w 253935"/>
                    <a:gd name="csY76" fmla="*/ 442179 h 454151"/>
                    <a:gd name="csX77" fmla="*/ 152355 w 253935"/>
                    <a:gd name="csY77" fmla="*/ 431678 h 454151"/>
                    <a:gd name="csX78" fmla="*/ 160711 w 253935"/>
                    <a:gd name="csY78" fmla="*/ 426588 h 454151"/>
                    <a:gd name="csX79" fmla="*/ 156709 w 253935"/>
                    <a:gd name="csY79" fmla="*/ 422234 h 454151"/>
                    <a:gd name="csX80" fmla="*/ 160711 w 253935"/>
                    <a:gd name="csY80" fmla="*/ 417880 h 454151"/>
                    <a:gd name="csX81" fmla="*/ 141854 w 253935"/>
                    <a:gd name="csY81" fmla="*/ 405907 h 454151"/>
                    <a:gd name="csX82" fmla="*/ 152355 w 253935"/>
                    <a:gd name="csY82" fmla="*/ 388875 h 454151"/>
                    <a:gd name="csX83" fmla="*/ 167594 w 253935"/>
                    <a:gd name="csY83" fmla="*/ 394670 h 454151"/>
                    <a:gd name="csX84" fmla="*/ 164328 w 253935"/>
                    <a:gd name="csY84" fmla="*/ 400849 h 454151"/>
                    <a:gd name="csX85" fmla="*/ 171948 w 253935"/>
                    <a:gd name="csY85" fmla="*/ 405907 h 454151"/>
                    <a:gd name="csX86" fmla="*/ 178831 w 253935"/>
                    <a:gd name="csY86" fmla="*/ 404466 h 454151"/>
                    <a:gd name="csX87" fmla="*/ 180656 w 253935"/>
                    <a:gd name="csY87" fmla="*/ 394670 h 454151"/>
                    <a:gd name="csX88" fmla="*/ 190100 w 253935"/>
                    <a:gd name="csY88" fmla="*/ 393933 h 454151"/>
                    <a:gd name="csX89" fmla="*/ 196983 w 253935"/>
                    <a:gd name="csY89" fmla="*/ 404466 h 454151"/>
                    <a:gd name="csX90" fmla="*/ 196983 w 253935"/>
                    <a:gd name="csY90" fmla="*/ 415351 h 454151"/>
                    <a:gd name="csX91" fmla="*/ 210781 w 253935"/>
                    <a:gd name="csY91" fmla="*/ 422234 h 454151"/>
                    <a:gd name="csX92" fmla="*/ 211485 w 253935"/>
                    <a:gd name="csY92" fmla="*/ 434559 h 454151"/>
                    <a:gd name="csX93" fmla="*/ 198808 w 253935"/>
                    <a:gd name="csY93" fmla="*/ 435296 h 454151"/>
                    <a:gd name="csX94" fmla="*/ 201337 w 253935"/>
                    <a:gd name="csY94" fmla="*/ 440386 h 454151"/>
                    <a:gd name="csX95" fmla="*/ 211485 w 253935"/>
                    <a:gd name="csY95" fmla="*/ 447269 h 454151"/>
                    <a:gd name="csX96" fmla="*/ 217664 w 253935"/>
                    <a:gd name="csY96" fmla="*/ 446532 h 454151"/>
                    <a:gd name="csX97" fmla="*/ 220929 w 253935"/>
                    <a:gd name="csY97" fmla="*/ 454152 h 454151"/>
                    <a:gd name="csX98" fmla="*/ 234695 w 253935"/>
                    <a:gd name="csY98" fmla="*/ 452359 h 454151"/>
                    <a:gd name="csX99" fmla="*/ 237609 w 253935"/>
                    <a:gd name="csY99" fmla="*/ 450887 h 454151"/>
                    <a:gd name="csX100" fmla="*/ 230726 w 253935"/>
                    <a:gd name="csY100" fmla="*/ 435296 h 454151"/>
                    <a:gd name="csX101" fmla="*/ 244492 w 253935"/>
                    <a:gd name="csY101" fmla="*/ 426588 h 454151"/>
                    <a:gd name="csX102" fmla="*/ 238345 w 253935"/>
                    <a:gd name="csY102" fmla="*/ 404466 h 454151"/>
                    <a:gd name="csX103" fmla="*/ 239049 w 253935"/>
                    <a:gd name="csY103" fmla="*/ 387050 h 454151"/>
                    <a:gd name="csX104" fmla="*/ 228901 w 253935"/>
                    <a:gd name="csY104" fmla="*/ 372548 h 454151"/>
                    <a:gd name="csX105" fmla="*/ 211485 w 253935"/>
                    <a:gd name="csY105" fmla="*/ 366369 h 454151"/>
                    <a:gd name="csX106" fmla="*/ 215135 w 253935"/>
                    <a:gd name="csY106" fmla="*/ 357662 h 454151"/>
                    <a:gd name="csX107" fmla="*/ 232166 w 253935"/>
                    <a:gd name="csY107" fmla="*/ 360575 h 454151"/>
                    <a:gd name="csX108" fmla="*/ 230726 w 253935"/>
                    <a:gd name="csY108" fmla="*/ 347513 h 454151"/>
                    <a:gd name="csX109" fmla="*/ 218400 w 253935"/>
                    <a:gd name="csY109" fmla="*/ 327568 h 454151"/>
                    <a:gd name="csX110" fmla="*/ 225283 w 253935"/>
                    <a:gd name="csY110" fmla="*/ 318124 h 454151"/>
                    <a:gd name="csX111" fmla="*/ 226372 w 253935"/>
                    <a:gd name="csY111" fmla="*/ 298531 h 454151"/>
                    <a:gd name="csX112" fmla="*/ 232166 w 253935"/>
                    <a:gd name="csY112" fmla="*/ 292385 h 454151"/>
                    <a:gd name="csX113" fmla="*/ 245228 w 253935"/>
                    <a:gd name="csY113" fmla="*/ 300356 h 454151"/>
                    <a:gd name="csX114" fmla="*/ 247053 w 253935"/>
                    <a:gd name="csY114" fmla="*/ 297443 h 454151"/>
                    <a:gd name="csX115" fmla="*/ 248493 w 253935"/>
                    <a:gd name="csY115" fmla="*/ 271704 h 45415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253935" h="454151">
                      <a:moveTo>
                        <a:pt x="248493" y="271704"/>
                      </a:moveTo>
                      <a:lnTo>
                        <a:pt x="245228" y="264084"/>
                      </a:lnTo>
                      <a:lnTo>
                        <a:pt x="247053" y="257906"/>
                      </a:lnTo>
                      <a:lnTo>
                        <a:pt x="253936" y="256465"/>
                      </a:lnTo>
                      <a:lnTo>
                        <a:pt x="252111" y="245932"/>
                      </a:lnTo>
                      <a:lnTo>
                        <a:pt x="235784" y="234695"/>
                      </a:lnTo>
                      <a:lnTo>
                        <a:pt x="217664" y="191892"/>
                      </a:lnTo>
                      <a:lnTo>
                        <a:pt x="232166" y="177006"/>
                      </a:lnTo>
                      <a:lnTo>
                        <a:pt x="242699" y="153059"/>
                      </a:lnTo>
                      <a:lnTo>
                        <a:pt x="233991" y="146913"/>
                      </a:lnTo>
                      <a:lnTo>
                        <a:pt x="226372" y="129849"/>
                      </a:lnTo>
                      <a:lnTo>
                        <a:pt x="217664" y="121141"/>
                      </a:lnTo>
                      <a:lnTo>
                        <a:pt x="217664" y="113522"/>
                      </a:lnTo>
                      <a:lnTo>
                        <a:pt x="195158" y="105903"/>
                      </a:lnTo>
                      <a:lnTo>
                        <a:pt x="194454" y="92137"/>
                      </a:lnTo>
                      <a:lnTo>
                        <a:pt x="187539" y="84133"/>
                      </a:lnTo>
                      <a:lnTo>
                        <a:pt x="203866" y="35183"/>
                      </a:lnTo>
                      <a:lnTo>
                        <a:pt x="201337" y="27564"/>
                      </a:lnTo>
                      <a:lnTo>
                        <a:pt x="188275" y="25739"/>
                      </a:lnTo>
                      <a:lnTo>
                        <a:pt x="187539" y="17032"/>
                      </a:lnTo>
                      <a:lnTo>
                        <a:pt x="192629" y="6883"/>
                      </a:lnTo>
                      <a:lnTo>
                        <a:pt x="154916" y="0"/>
                      </a:lnTo>
                      <a:lnTo>
                        <a:pt x="143647" y="15239"/>
                      </a:lnTo>
                      <a:lnTo>
                        <a:pt x="139293" y="46420"/>
                      </a:lnTo>
                      <a:lnTo>
                        <a:pt x="128056" y="55128"/>
                      </a:lnTo>
                      <a:lnTo>
                        <a:pt x="136028" y="70367"/>
                      </a:lnTo>
                      <a:lnTo>
                        <a:pt x="142943" y="79811"/>
                      </a:lnTo>
                      <a:lnTo>
                        <a:pt x="144384" y="95402"/>
                      </a:lnTo>
                      <a:lnTo>
                        <a:pt x="141854" y="105903"/>
                      </a:lnTo>
                      <a:lnTo>
                        <a:pt x="131674" y="119349"/>
                      </a:lnTo>
                      <a:lnTo>
                        <a:pt x="128056" y="142911"/>
                      </a:lnTo>
                      <a:lnTo>
                        <a:pt x="122262" y="153059"/>
                      </a:lnTo>
                      <a:lnTo>
                        <a:pt x="109936" y="161767"/>
                      </a:lnTo>
                      <a:lnTo>
                        <a:pt x="111729" y="167594"/>
                      </a:lnTo>
                      <a:lnTo>
                        <a:pt x="107375" y="170123"/>
                      </a:lnTo>
                      <a:lnTo>
                        <a:pt x="104846" y="198776"/>
                      </a:lnTo>
                      <a:lnTo>
                        <a:pt x="94698" y="203129"/>
                      </a:lnTo>
                      <a:lnTo>
                        <a:pt x="96138" y="216543"/>
                      </a:lnTo>
                      <a:lnTo>
                        <a:pt x="89255" y="233959"/>
                      </a:lnTo>
                      <a:lnTo>
                        <a:pt x="86694" y="241578"/>
                      </a:lnTo>
                      <a:lnTo>
                        <a:pt x="91048" y="247757"/>
                      </a:lnTo>
                      <a:lnTo>
                        <a:pt x="79075" y="260435"/>
                      </a:lnTo>
                      <a:lnTo>
                        <a:pt x="79811" y="268438"/>
                      </a:lnTo>
                      <a:lnTo>
                        <a:pt x="72192" y="271704"/>
                      </a:lnTo>
                      <a:lnTo>
                        <a:pt x="64572" y="291648"/>
                      </a:lnTo>
                      <a:lnTo>
                        <a:pt x="53335" y="298531"/>
                      </a:lnTo>
                      <a:lnTo>
                        <a:pt x="55865" y="307239"/>
                      </a:lnTo>
                      <a:lnTo>
                        <a:pt x="51511" y="316683"/>
                      </a:lnTo>
                      <a:lnTo>
                        <a:pt x="45364" y="333715"/>
                      </a:lnTo>
                      <a:lnTo>
                        <a:pt x="19593" y="348249"/>
                      </a:lnTo>
                      <a:lnTo>
                        <a:pt x="11973" y="345688"/>
                      </a:lnTo>
                      <a:lnTo>
                        <a:pt x="6883" y="349338"/>
                      </a:lnTo>
                      <a:lnTo>
                        <a:pt x="6883" y="358750"/>
                      </a:lnTo>
                      <a:lnTo>
                        <a:pt x="1473" y="360575"/>
                      </a:lnTo>
                      <a:lnTo>
                        <a:pt x="0" y="371460"/>
                      </a:lnTo>
                      <a:lnTo>
                        <a:pt x="7619" y="389579"/>
                      </a:lnTo>
                      <a:lnTo>
                        <a:pt x="22122" y="394670"/>
                      </a:lnTo>
                      <a:lnTo>
                        <a:pt x="30830" y="384521"/>
                      </a:lnTo>
                      <a:lnTo>
                        <a:pt x="26476" y="376902"/>
                      </a:lnTo>
                      <a:lnTo>
                        <a:pt x="46452" y="380167"/>
                      </a:lnTo>
                      <a:lnTo>
                        <a:pt x="53335" y="372548"/>
                      </a:lnTo>
                      <a:lnTo>
                        <a:pt x="53335" y="355132"/>
                      </a:lnTo>
                      <a:lnTo>
                        <a:pt x="81636" y="347513"/>
                      </a:lnTo>
                      <a:lnTo>
                        <a:pt x="88519" y="347513"/>
                      </a:lnTo>
                      <a:lnTo>
                        <a:pt x="95402" y="350042"/>
                      </a:lnTo>
                      <a:lnTo>
                        <a:pt x="90344" y="356957"/>
                      </a:lnTo>
                      <a:lnTo>
                        <a:pt x="101581" y="369987"/>
                      </a:lnTo>
                      <a:lnTo>
                        <a:pt x="96138" y="377606"/>
                      </a:lnTo>
                      <a:lnTo>
                        <a:pt x="103021" y="381960"/>
                      </a:lnTo>
                      <a:lnTo>
                        <a:pt x="93609" y="386314"/>
                      </a:lnTo>
                      <a:lnTo>
                        <a:pt x="86694" y="396495"/>
                      </a:lnTo>
                      <a:lnTo>
                        <a:pt x="91048" y="406995"/>
                      </a:lnTo>
                      <a:lnTo>
                        <a:pt x="108464" y="406995"/>
                      </a:lnTo>
                      <a:lnTo>
                        <a:pt x="114290" y="412085"/>
                      </a:lnTo>
                      <a:lnTo>
                        <a:pt x="122966" y="415351"/>
                      </a:lnTo>
                      <a:lnTo>
                        <a:pt x="137501" y="438561"/>
                      </a:lnTo>
                      <a:lnTo>
                        <a:pt x="148001" y="442179"/>
                      </a:lnTo>
                      <a:lnTo>
                        <a:pt x="152355" y="431678"/>
                      </a:lnTo>
                      <a:lnTo>
                        <a:pt x="160711" y="426588"/>
                      </a:lnTo>
                      <a:lnTo>
                        <a:pt x="156709" y="422234"/>
                      </a:lnTo>
                      <a:lnTo>
                        <a:pt x="160711" y="417880"/>
                      </a:lnTo>
                      <a:lnTo>
                        <a:pt x="141854" y="405907"/>
                      </a:lnTo>
                      <a:lnTo>
                        <a:pt x="152355" y="388875"/>
                      </a:lnTo>
                      <a:lnTo>
                        <a:pt x="167594" y="394670"/>
                      </a:lnTo>
                      <a:lnTo>
                        <a:pt x="164328" y="400849"/>
                      </a:lnTo>
                      <a:lnTo>
                        <a:pt x="171948" y="405907"/>
                      </a:lnTo>
                      <a:lnTo>
                        <a:pt x="178831" y="404466"/>
                      </a:lnTo>
                      <a:lnTo>
                        <a:pt x="180656" y="394670"/>
                      </a:lnTo>
                      <a:lnTo>
                        <a:pt x="190100" y="393933"/>
                      </a:lnTo>
                      <a:lnTo>
                        <a:pt x="196983" y="404466"/>
                      </a:lnTo>
                      <a:lnTo>
                        <a:pt x="196983" y="415351"/>
                      </a:lnTo>
                      <a:lnTo>
                        <a:pt x="210781" y="422234"/>
                      </a:lnTo>
                      <a:lnTo>
                        <a:pt x="211485" y="434559"/>
                      </a:lnTo>
                      <a:lnTo>
                        <a:pt x="198808" y="435296"/>
                      </a:lnTo>
                      <a:lnTo>
                        <a:pt x="201337" y="440386"/>
                      </a:lnTo>
                      <a:lnTo>
                        <a:pt x="211485" y="447269"/>
                      </a:lnTo>
                      <a:lnTo>
                        <a:pt x="217664" y="446532"/>
                      </a:lnTo>
                      <a:lnTo>
                        <a:pt x="220929" y="454152"/>
                      </a:lnTo>
                      <a:lnTo>
                        <a:pt x="234695" y="452359"/>
                      </a:lnTo>
                      <a:lnTo>
                        <a:pt x="237609" y="450887"/>
                      </a:lnTo>
                      <a:lnTo>
                        <a:pt x="230726" y="435296"/>
                      </a:lnTo>
                      <a:lnTo>
                        <a:pt x="244492" y="426588"/>
                      </a:lnTo>
                      <a:lnTo>
                        <a:pt x="238345" y="404466"/>
                      </a:lnTo>
                      <a:lnTo>
                        <a:pt x="239049" y="387050"/>
                      </a:lnTo>
                      <a:lnTo>
                        <a:pt x="228901" y="372548"/>
                      </a:lnTo>
                      <a:lnTo>
                        <a:pt x="211485" y="366369"/>
                      </a:lnTo>
                      <a:lnTo>
                        <a:pt x="215135" y="357662"/>
                      </a:lnTo>
                      <a:lnTo>
                        <a:pt x="232166" y="360575"/>
                      </a:lnTo>
                      <a:lnTo>
                        <a:pt x="230726" y="347513"/>
                      </a:lnTo>
                      <a:lnTo>
                        <a:pt x="218400" y="327568"/>
                      </a:lnTo>
                      <a:lnTo>
                        <a:pt x="225283" y="318124"/>
                      </a:lnTo>
                      <a:lnTo>
                        <a:pt x="226372" y="298531"/>
                      </a:lnTo>
                      <a:lnTo>
                        <a:pt x="232166" y="292385"/>
                      </a:lnTo>
                      <a:lnTo>
                        <a:pt x="245228" y="300356"/>
                      </a:lnTo>
                      <a:lnTo>
                        <a:pt x="247053" y="297443"/>
                      </a:lnTo>
                      <a:lnTo>
                        <a:pt x="248493" y="27170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4" name="Forma Livre: Forma 223">
                  <a:extLst>
                    <a:ext uri="{FF2B5EF4-FFF2-40B4-BE49-F238E27FC236}">
                      <a16:creationId xmlns:a16="http://schemas.microsoft.com/office/drawing/2014/main" id="{D7ECBBC5-67ED-4777-AAFB-2569CBF04256}"/>
                    </a:ext>
                  </a:extLst>
                </p:cNvPr>
                <p:cNvSpPr/>
                <p:nvPr/>
              </p:nvSpPr>
              <p:spPr>
                <a:xfrm>
                  <a:off x="2178219" y="4746029"/>
                  <a:ext cx="253935" cy="454151"/>
                </a:xfrm>
                <a:custGeom>
                  <a:avLst/>
                  <a:gdLst>
                    <a:gd name="csX0" fmla="*/ 248493 w 253935"/>
                    <a:gd name="csY0" fmla="*/ 271704 h 454151"/>
                    <a:gd name="csX1" fmla="*/ 245228 w 253935"/>
                    <a:gd name="csY1" fmla="*/ 264084 h 454151"/>
                    <a:gd name="csX2" fmla="*/ 247053 w 253935"/>
                    <a:gd name="csY2" fmla="*/ 257906 h 454151"/>
                    <a:gd name="csX3" fmla="*/ 253936 w 253935"/>
                    <a:gd name="csY3" fmla="*/ 256465 h 454151"/>
                    <a:gd name="csX4" fmla="*/ 252111 w 253935"/>
                    <a:gd name="csY4" fmla="*/ 245932 h 454151"/>
                    <a:gd name="csX5" fmla="*/ 235784 w 253935"/>
                    <a:gd name="csY5" fmla="*/ 234695 h 454151"/>
                    <a:gd name="csX6" fmla="*/ 217664 w 253935"/>
                    <a:gd name="csY6" fmla="*/ 191892 h 454151"/>
                    <a:gd name="csX7" fmla="*/ 232166 w 253935"/>
                    <a:gd name="csY7" fmla="*/ 177006 h 454151"/>
                    <a:gd name="csX8" fmla="*/ 242699 w 253935"/>
                    <a:gd name="csY8" fmla="*/ 153059 h 454151"/>
                    <a:gd name="csX9" fmla="*/ 233991 w 253935"/>
                    <a:gd name="csY9" fmla="*/ 146913 h 454151"/>
                    <a:gd name="csX10" fmla="*/ 226372 w 253935"/>
                    <a:gd name="csY10" fmla="*/ 129849 h 454151"/>
                    <a:gd name="csX11" fmla="*/ 217664 w 253935"/>
                    <a:gd name="csY11" fmla="*/ 121141 h 454151"/>
                    <a:gd name="csX12" fmla="*/ 217664 w 253935"/>
                    <a:gd name="csY12" fmla="*/ 113522 h 454151"/>
                    <a:gd name="csX13" fmla="*/ 195158 w 253935"/>
                    <a:gd name="csY13" fmla="*/ 105903 h 454151"/>
                    <a:gd name="csX14" fmla="*/ 194454 w 253935"/>
                    <a:gd name="csY14" fmla="*/ 92137 h 454151"/>
                    <a:gd name="csX15" fmla="*/ 187539 w 253935"/>
                    <a:gd name="csY15" fmla="*/ 84133 h 454151"/>
                    <a:gd name="csX16" fmla="*/ 203866 w 253935"/>
                    <a:gd name="csY16" fmla="*/ 35183 h 454151"/>
                    <a:gd name="csX17" fmla="*/ 201337 w 253935"/>
                    <a:gd name="csY17" fmla="*/ 27564 h 454151"/>
                    <a:gd name="csX18" fmla="*/ 188275 w 253935"/>
                    <a:gd name="csY18" fmla="*/ 25739 h 454151"/>
                    <a:gd name="csX19" fmla="*/ 187539 w 253935"/>
                    <a:gd name="csY19" fmla="*/ 17032 h 454151"/>
                    <a:gd name="csX20" fmla="*/ 192629 w 253935"/>
                    <a:gd name="csY20" fmla="*/ 6883 h 454151"/>
                    <a:gd name="csX21" fmla="*/ 154916 w 253935"/>
                    <a:gd name="csY21" fmla="*/ 0 h 454151"/>
                    <a:gd name="csX22" fmla="*/ 143647 w 253935"/>
                    <a:gd name="csY22" fmla="*/ 15239 h 454151"/>
                    <a:gd name="csX23" fmla="*/ 139293 w 253935"/>
                    <a:gd name="csY23" fmla="*/ 46420 h 454151"/>
                    <a:gd name="csX24" fmla="*/ 128056 w 253935"/>
                    <a:gd name="csY24" fmla="*/ 55128 h 454151"/>
                    <a:gd name="csX25" fmla="*/ 136028 w 253935"/>
                    <a:gd name="csY25" fmla="*/ 70367 h 454151"/>
                    <a:gd name="csX26" fmla="*/ 142943 w 253935"/>
                    <a:gd name="csY26" fmla="*/ 79811 h 454151"/>
                    <a:gd name="csX27" fmla="*/ 144384 w 253935"/>
                    <a:gd name="csY27" fmla="*/ 95402 h 454151"/>
                    <a:gd name="csX28" fmla="*/ 141854 w 253935"/>
                    <a:gd name="csY28" fmla="*/ 105903 h 454151"/>
                    <a:gd name="csX29" fmla="*/ 131674 w 253935"/>
                    <a:gd name="csY29" fmla="*/ 119349 h 454151"/>
                    <a:gd name="csX30" fmla="*/ 128056 w 253935"/>
                    <a:gd name="csY30" fmla="*/ 142911 h 454151"/>
                    <a:gd name="csX31" fmla="*/ 122262 w 253935"/>
                    <a:gd name="csY31" fmla="*/ 153059 h 454151"/>
                    <a:gd name="csX32" fmla="*/ 109936 w 253935"/>
                    <a:gd name="csY32" fmla="*/ 161767 h 454151"/>
                    <a:gd name="csX33" fmla="*/ 111729 w 253935"/>
                    <a:gd name="csY33" fmla="*/ 167594 h 454151"/>
                    <a:gd name="csX34" fmla="*/ 107375 w 253935"/>
                    <a:gd name="csY34" fmla="*/ 170123 h 454151"/>
                    <a:gd name="csX35" fmla="*/ 104846 w 253935"/>
                    <a:gd name="csY35" fmla="*/ 198776 h 454151"/>
                    <a:gd name="csX36" fmla="*/ 94698 w 253935"/>
                    <a:gd name="csY36" fmla="*/ 203129 h 454151"/>
                    <a:gd name="csX37" fmla="*/ 96138 w 253935"/>
                    <a:gd name="csY37" fmla="*/ 216543 h 454151"/>
                    <a:gd name="csX38" fmla="*/ 89255 w 253935"/>
                    <a:gd name="csY38" fmla="*/ 233959 h 454151"/>
                    <a:gd name="csX39" fmla="*/ 86694 w 253935"/>
                    <a:gd name="csY39" fmla="*/ 241578 h 454151"/>
                    <a:gd name="csX40" fmla="*/ 91048 w 253935"/>
                    <a:gd name="csY40" fmla="*/ 247757 h 454151"/>
                    <a:gd name="csX41" fmla="*/ 79075 w 253935"/>
                    <a:gd name="csY41" fmla="*/ 260435 h 454151"/>
                    <a:gd name="csX42" fmla="*/ 79811 w 253935"/>
                    <a:gd name="csY42" fmla="*/ 268438 h 454151"/>
                    <a:gd name="csX43" fmla="*/ 72192 w 253935"/>
                    <a:gd name="csY43" fmla="*/ 271704 h 454151"/>
                    <a:gd name="csX44" fmla="*/ 64572 w 253935"/>
                    <a:gd name="csY44" fmla="*/ 291648 h 454151"/>
                    <a:gd name="csX45" fmla="*/ 53335 w 253935"/>
                    <a:gd name="csY45" fmla="*/ 298531 h 454151"/>
                    <a:gd name="csX46" fmla="*/ 55865 w 253935"/>
                    <a:gd name="csY46" fmla="*/ 307239 h 454151"/>
                    <a:gd name="csX47" fmla="*/ 51511 w 253935"/>
                    <a:gd name="csY47" fmla="*/ 316683 h 454151"/>
                    <a:gd name="csX48" fmla="*/ 45364 w 253935"/>
                    <a:gd name="csY48" fmla="*/ 333715 h 454151"/>
                    <a:gd name="csX49" fmla="*/ 19593 w 253935"/>
                    <a:gd name="csY49" fmla="*/ 348249 h 454151"/>
                    <a:gd name="csX50" fmla="*/ 11973 w 253935"/>
                    <a:gd name="csY50" fmla="*/ 345688 h 454151"/>
                    <a:gd name="csX51" fmla="*/ 6883 w 253935"/>
                    <a:gd name="csY51" fmla="*/ 349338 h 454151"/>
                    <a:gd name="csX52" fmla="*/ 6883 w 253935"/>
                    <a:gd name="csY52" fmla="*/ 358750 h 454151"/>
                    <a:gd name="csX53" fmla="*/ 1441 w 253935"/>
                    <a:gd name="csY53" fmla="*/ 360575 h 454151"/>
                    <a:gd name="csX54" fmla="*/ 0 w 253935"/>
                    <a:gd name="csY54" fmla="*/ 371460 h 454151"/>
                    <a:gd name="csX55" fmla="*/ 7619 w 253935"/>
                    <a:gd name="csY55" fmla="*/ 389579 h 454151"/>
                    <a:gd name="csX56" fmla="*/ 22122 w 253935"/>
                    <a:gd name="csY56" fmla="*/ 394670 h 454151"/>
                    <a:gd name="csX57" fmla="*/ 30830 w 253935"/>
                    <a:gd name="csY57" fmla="*/ 384521 h 454151"/>
                    <a:gd name="csX58" fmla="*/ 26476 w 253935"/>
                    <a:gd name="csY58" fmla="*/ 376902 h 454151"/>
                    <a:gd name="csX59" fmla="*/ 46452 w 253935"/>
                    <a:gd name="csY59" fmla="*/ 380167 h 454151"/>
                    <a:gd name="csX60" fmla="*/ 53335 w 253935"/>
                    <a:gd name="csY60" fmla="*/ 372548 h 454151"/>
                    <a:gd name="csX61" fmla="*/ 53335 w 253935"/>
                    <a:gd name="csY61" fmla="*/ 355132 h 454151"/>
                    <a:gd name="csX62" fmla="*/ 81636 w 253935"/>
                    <a:gd name="csY62" fmla="*/ 347513 h 454151"/>
                    <a:gd name="csX63" fmla="*/ 88519 w 253935"/>
                    <a:gd name="csY63" fmla="*/ 347513 h 454151"/>
                    <a:gd name="csX64" fmla="*/ 95402 w 253935"/>
                    <a:gd name="csY64" fmla="*/ 350042 h 454151"/>
                    <a:gd name="csX65" fmla="*/ 90344 w 253935"/>
                    <a:gd name="csY65" fmla="*/ 356957 h 454151"/>
                    <a:gd name="csX66" fmla="*/ 101581 w 253935"/>
                    <a:gd name="csY66" fmla="*/ 369987 h 454151"/>
                    <a:gd name="csX67" fmla="*/ 96138 w 253935"/>
                    <a:gd name="csY67" fmla="*/ 377606 h 454151"/>
                    <a:gd name="csX68" fmla="*/ 103021 w 253935"/>
                    <a:gd name="csY68" fmla="*/ 381960 h 454151"/>
                    <a:gd name="csX69" fmla="*/ 93609 w 253935"/>
                    <a:gd name="csY69" fmla="*/ 386314 h 454151"/>
                    <a:gd name="csX70" fmla="*/ 86694 w 253935"/>
                    <a:gd name="csY70" fmla="*/ 396495 h 454151"/>
                    <a:gd name="csX71" fmla="*/ 91048 w 253935"/>
                    <a:gd name="csY71" fmla="*/ 406995 h 454151"/>
                    <a:gd name="csX72" fmla="*/ 108464 w 253935"/>
                    <a:gd name="csY72" fmla="*/ 406995 h 454151"/>
                    <a:gd name="csX73" fmla="*/ 114290 w 253935"/>
                    <a:gd name="csY73" fmla="*/ 412085 h 454151"/>
                    <a:gd name="csX74" fmla="*/ 122966 w 253935"/>
                    <a:gd name="csY74" fmla="*/ 415351 h 454151"/>
                    <a:gd name="csX75" fmla="*/ 137501 w 253935"/>
                    <a:gd name="csY75" fmla="*/ 438561 h 454151"/>
                    <a:gd name="csX76" fmla="*/ 148001 w 253935"/>
                    <a:gd name="csY76" fmla="*/ 442179 h 454151"/>
                    <a:gd name="csX77" fmla="*/ 152355 w 253935"/>
                    <a:gd name="csY77" fmla="*/ 431678 h 454151"/>
                    <a:gd name="csX78" fmla="*/ 160711 w 253935"/>
                    <a:gd name="csY78" fmla="*/ 426588 h 454151"/>
                    <a:gd name="csX79" fmla="*/ 156709 w 253935"/>
                    <a:gd name="csY79" fmla="*/ 422234 h 454151"/>
                    <a:gd name="csX80" fmla="*/ 160711 w 253935"/>
                    <a:gd name="csY80" fmla="*/ 417880 h 454151"/>
                    <a:gd name="csX81" fmla="*/ 141854 w 253935"/>
                    <a:gd name="csY81" fmla="*/ 405907 h 454151"/>
                    <a:gd name="csX82" fmla="*/ 152355 w 253935"/>
                    <a:gd name="csY82" fmla="*/ 388875 h 454151"/>
                    <a:gd name="csX83" fmla="*/ 167594 w 253935"/>
                    <a:gd name="csY83" fmla="*/ 394670 h 454151"/>
                    <a:gd name="csX84" fmla="*/ 164328 w 253935"/>
                    <a:gd name="csY84" fmla="*/ 400849 h 454151"/>
                    <a:gd name="csX85" fmla="*/ 171948 w 253935"/>
                    <a:gd name="csY85" fmla="*/ 405907 h 454151"/>
                    <a:gd name="csX86" fmla="*/ 178831 w 253935"/>
                    <a:gd name="csY86" fmla="*/ 404466 h 454151"/>
                    <a:gd name="csX87" fmla="*/ 180656 w 253935"/>
                    <a:gd name="csY87" fmla="*/ 394670 h 454151"/>
                    <a:gd name="csX88" fmla="*/ 190100 w 253935"/>
                    <a:gd name="csY88" fmla="*/ 393933 h 454151"/>
                    <a:gd name="csX89" fmla="*/ 196983 w 253935"/>
                    <a:gd name="csY89" fmla="*/ 404466 h 454151"/>
                    <a:gd name="csX90" fmla="*/ 196983 w 253935"/>
                    <a:gd name="csY90" fmla="*/ 415351 h 454151"/>
                    <a:gd name="csX91" fmla="*/ 210781 w 253935"/>
                    <a:gd name="csY91" fmla="*/ 422234 h 454151"/>
                    <a:gd name="csX92" fmla="*/ 211485 w 253935"/>
                    <a:gd name="csY92" fmla="*/ 434559 h 454151"/>
                    <a:gd name="csX93" fmla="*/ 198808 w 253935"/>
                    <a:gd name="csY93" fmla="*/ 435296 h 454151"/>
                    <a:gd name="csX94" fmla="*/ 201337 w 253935"/>
                    <a:gd name="csY94" fmla="*/ 440386 h 454151"/>
                    <a:gd name="csX95" fmla="*/ 211485 w 253935"/>
                    <a:gd name="csY95" fmla="*/ 447269 h 454151"/>
                    <a:gd name="csX96" fmla="*/ 217664 w 253935"/>
                    <a:gd name="csY96" fmla="*/ 446532 h 454151"/>
                    <a:gd name="csX97" fmla="*/ 220929 w 253935"/>
                    <a:gd name="csY97" fmla="*/ 454152 h 454151"/>
                    <a:gd name="csX98" fmla="*/ 234695 w 253935"/>
                    <a:gd name="csY98" fmla="*/ 452359 h 454151"/>
                    <a:gd name="csX99" fmla="*/ 237609 w 253935"/>
                    <a:gd name="csY99" fmla="*/ 450887 h 454151"/>
                    <a:gd name="csX100" fmla="*/ 230726 w 253935"/>
                    <a:gd name="csY100" fmla="*/ 435296 h 454151"/>
                    <a:gd name="csX101" fmla="*/ 244492 w 253935"/>
                    <a:gd name="csY101" fmla="*/ 426588 h 454151"/>
                    <a:gd name="csX102" fmla="*/ 238345 w 253935"/>
                    <a:gd name="csY102" fmla="*/ 404466 h 454151"/>
                    <a:gd name="csX103" fmla="*/ 239049 w 253935"/>
                    <a:gd name="csY103" fmla="*/ 387050 h 454151"/>
                    <a:gd name="csX104" fmla="*/ 228901 w 253935"/>
                    <a:gd name="csY104" fmla="*/ 372548 h 454151"/>
                    <a:gd name="csX105" fmla="*/ 211485 w 253935"/>
                    <a:gd name="csY105" fmla="*/ 366369 h 454151"/>
                    <a:gd name="csX106" fmla="*/ 215135 w 253935"/>
                    <a:gd name="csY106" fmla="*/ 357662 h 454151"/>
                    <a:gd name="csX107" fmla="*/ 232166 w 253935"/>
                    <a:gd name="csY107" fmla="*/ 360575 h 454151"/>
                    <a:gd name="csX108" fmla="*/ 230726 w 253935"/>
                    <a:gd name="csY108" fmla="*/ 347513 h 454151"/>
                    <a:gd name="csX109" fmla="*/ 218400 w 253935"/>
                    <a:gd name="csY109" fmla="*/ 327568 h 454151"/>
                    <a:gd name="csX110" fmla="*/ 225283 w 253935"/>
                    <a:gd name="csY110" fmla="*/ 318124 h 454151"/>
                    <a:gd name="csX111" fmla="*/ 226372 w 253935"/>
                    <a:gd name="csY111" fmla="*/ 298531 h 454151"/>
                    <a:gd name="csX112" fmla="*/ 232166 w 253935"/>
                    <a:gd name="csY112" fmla="*/ 292385 h 454151"/>
                    <a:gd name="csX113" fmla="*/ 245228 w 253935"/>
                    <a:gd name="csY113" fmla="*/ 300356 h 454151"/>
                    <a:gd name="csX114" fmla="*/ 247053 w 253935"/>
                    <a:gd name="csY114" fmla="*/ 297443 h 454151"/>
                    <a:gd name="csX115" fmla="*/ 248493 w 253935"/>
                    <a:gd name="csY115" fmla="*/ 271704 h 45415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</a:cxnLst>
                  <a:rect l="l" t="t" r="r" b="b"/>
                  <a:pathLst>
                    <a:path w="253935" h="454151">
                      <a:moveTo>
                        <a:pt x="248493" y="271704"/>
                      </a:moveTo>
                      <a:lnTo>
                        <a:pt x="245228" y="264084"/>
                      </a:lnTo>
                      <a:lnTo>
                        <a:pt x="247053" y="257906"/>
                      </a:lnTo>
                      <a:lnTo>
                        <a:pt x="253936" y="256465"/>
                      </a:lnTo>
                      <a:lnTo>
                        <a:pt x="252111" y="245932"/>
                      </a:lnTo>
                      <a:lnTo>
                        <a:pt x="235784" y="234695"/>
                      </a:lnTo>
                      <a:lnTo>
                        <a:pt x="217664" y="191892"/>
                      </a:lnTo>
                      <a:lnTo>
                        <a:pt x="232166" y="177006"/>
                      </a:lnTo>
                      <a:lnTo>
                        <a:pt x="242699" y="153059"/>
                      </a:lnTo>
                      <a:lnTo>
                        <a:pt x="233991" y="146913"/>
                      </a:lnTo>
                      <a:lnTo>
                        <a:pt x="226372" y="129849"/>
                      </a:lnTo>
                      <a:lnTo>
                        <a:pt x="217664" y="121141"/>
                      </a:lnTo>
                      <a:lnTo>
                        <a:pt x="217664" y="113522"/>
                      </a:lnTo>
                      <a:lnTo>
                        <a:pt x="195158" y="105903"/>
                      </a:lnTo>
                      <a:lnTo>
                        <a:pt x="194454" y="92137"/>
                      </a:lnTo>
                      <a:lnTo>
                        <a:pt x="187539" y="84133"/>
                      </a:lnTo>
                      <a:lnTo>
                        <a:pt x="203866" y="35183"/>
                      </a:lnTo>
                      <a:lnTo>
                        <a:pt x="201337" y="27564"/>
                      </a:lnTo>
                      <a:lnTo>
                        <a:pt x="188275" y="25739"/>
                      </a:lnTo>
                      <a:lnTo>
                        <a:pt x="187539" y="17032"/>
                      </a:lnTo>
                      <a:lnTo>
                        <a:pt x="192629" y="6883"/>
                      </a:lnTo>
                      <a:lnTo>
                        <a:pt x="154916" y="0"/>
                      </a:lnTo>
                      <a:lnTo>
                        <a:pt x="143647" y="15239"/>
                      </a:lnTo>
                      <a:lnTo>
                        <a:pt x="139293" y="46420"/>
                      </a:lnTo>
                      <a:lnTo>
                        <a:pt x="128056" y="55128"/>
                      </a:lnTo>
                      <a:lnTo>
                        <a:pt x="136028" y="70367"/>
                      </a:lnTo>
                      <a:lnTo>
                        <a:pt x="142943" y="79811"/>
                      </a:lnTo>
                      <a:lnTo>
                        <a:pt x="144384" y="95402"/>
                      </a:lnTo>
                      <a:lnTo>
                        <a:pt x="141854" y="105903"/>
                      </a:lnTo>
                      <a:lnTo>
                        <a:pt x="131674" y="119349"/>
                      </a:lnTo>
                      <a:lnTo>
                        <a:pt x="128056" y="142911"/>
                      </a:lnTo>
                      <a:lnTo>
                        <a:pt x="122262" y="153059"/>
                      </a:lnTo>
                      <a:lnTo>
                        <a:pt x="109936" y="161767"/>
                      </a:lnTo>
                      <a:lnTo>
                        <a:pt x="111729" y="167594"/>
                      </a:lnTo>
                      <a:lnTo>
                        <a:pt x="107375" y="170123"/>
                      </a:lnTo>
                      <a:lnTo>
                        <a:pt x="104846" y="198776"/>
                      </a:lnTo>
                      <a:lnTo>
                        <a:pt x="94698" y="203129"/>
                      </a:lnTo>
                      <a:lnTo>
                        <a:pt x="96138" y="216543"/>
                      </a:lnTo>
                      <a:lnTo>
                        <a:pt x="89255" y="233959"/>
                      </a:lnTo>
                      <a:lnTo>
                        <a:pt x="86694" y="241578"/>
                      </a:lnTo>
                      <a:lnTo>
                        <a:pt x="91048" y="247757"/>
                      </a:lnTo>
                      <a:lnTo>
                        <a:pt x="79075" y="260435"/>
                      </a:lnTo>
                      <a:lnTo>
                        <a:pt x="79811" y="268438"/>
                      </a:lnTo>
                      <a:lnTo>
                        <a:pt x="72192" y="271704"/>
                      </a:lnTo>
                      <a:lnTo>
                        <a:pt x="64572" y="291648"/>
                      </a:lnTo>
                      <a:lnTo>
                        <a:pt x="53335" y="298531"/>
                      </a:lnTo>
                      <a:lnTo>
                        <a:pt x="55865" y="307239"/>
                      </a:lnTo>
                      <a:lnTo>
                        <a:pt x="51511" y="316683"/>
                      </a:lnTo>
                      <a:lnTo>
                        <a:pt x="45364" y="333715"/>
                      </a:lnTo>
                      <a:lnTo>
                        <a:pt x="19593" y="348249"/>
                      </a:lnTo>
                      <a:lnTo>
                        <a:pt x="11973" y="345688"/>
                      </a:lnTo>
                      <a:lnTo>
                        <a:pt x="6883" y="349338"/>
                      </a:lnTo>
                      <a:lnTo>
                        <a:pt x="6883" y="358750"/>
                      </a:lnTo>
                      <a:lnTo>
                        <a:pt x="1441" y="360575"/>
                      </a:lnTo>
                      <a:lnTo>
                        <a:pt x="0" y="371460"/>
                      </a:lnTo>
                      <a:lnTo>
                        <a:pt x="7619" y="389579"/>
                      </a:lnTo>
                      <a:lnTo>
                        <a:pt x="22122" y="394670"/>
                      </a:lnTo>
                      <a:lnTo>
                        <a:pt x="30830" y="384521"/>
                      </a:lnTo>
                      <a:lnTo>
                        <a:pt x="26476" y="376902"/>
                      </a:lnTo>
                      <a:lnTo>
                        <a:pt x="46452" y="380167"/>
                      </a:lnTo>
                      <a:lnTo>
                        <a:pt x="53335" y="372548"/>
                      </a:lnTo>
                      <a:lnTo>
                        <a:pt x="53335" y="355132"/>
                      </a:lnTo>
                      <a:lnTo>
                        <a:pt x="81636" y="347513"/>
                      </a:lnTo>
                      <a:lnTo>
                        <a:pt x="88519" y="347513"/>
                      </a:lnTo>
                      <a:lnTo>
                        <a:pt x="95402" y="350042"/>
                      </a:lnTo>
                      <a:lnTo>
                        <a:pt x="90344" y="356957"/>
                      </a:lnTo>
                      <a:lnTo>
                        <a:pt x="101581" y="369987"/>
                      </a:lnTo>
                      <a:lnTo>
                        <a:pt x="96138" y="377606"/>
                      </a:lnTo>
                      <a:lnTo>
                        <a:pt x="103021" y="381960"/>
                      </a:lnTo>
                      <a:lnTo>
                        <a:pt x="93609" y="386314"/>
                      </a:lnTo>
                      <a:lnTo>
                        <a:pt x="86694" y="396495"/>
                      </a:lnTo>
                      <a:lnTo>
                        <a:pt x="91048" y="406995"/>
                      </a:lnTo>
                      <a:lnTo>
                        <a:pt x="108464" y="406995"/>
                      </a:lnTo>
                      <a:lnTo>
                        <a:pt x="114290" y="412085"/>
                      </a:lnTo>
                      <a:lnTo>
                        <a:pt x="122966" y="415351"/>
                      </a:lnTo>
                      <a:lnTo>
                        <a:pt x="137501" y="438561"/>
                      </a:lnTo>
                      <a:lnTo>
                        <a:pt x="148001" y="442179"/>
                      </a:lnTo>
                      <a:lnTo>
                        <a:pt x="152355" y="431678"/>
                      </a:lnTo>
                      <a:lnTo>
                        <a:pt x="160711" y="426588"/>
                      </a:lnTo>
                      <a:lnTo>
                        <a:pt x="156709" y="422234"/>
                      </a:lnTo>
                      <a:lnTo>
                        <a:pt x="160711" y="417880"/>
                      </a:lnTo>
                      <a:lnTo>
                        <a:pt x="141854" y="405907"/>
                      </a:lnTo>
                      <a:lnTo>
                        <a:pt x="152355" y="388875"/>
                      </a:lnTo>
                      <a:lnTo>
                        <a:pt x="167594" y="394670"/>
                      </a:lnTo>
                      <a:lnTo>
                        <a:pt x="164328" y="400849"/>
                      </a:lnTo>
                      <a:lnTo>
                        <a:pt x="171948" y="405907"/>
                      </a:lnTo>
                      <a:lnTo>
                        <a:pt x="178831" y="404466"/>
                      </a:lnTo>
                      <a:lnTo>
                        <a:pt x="180656" y="394670"/>
                      </a:lnTo>
                      <a:lnTo>
                        <a:pt x="190100" y="393933"/>
                      </a:lnTo>
                      <a:lnTo>
                        <a:pt x="196983" y="404466"/>
                      </a:lnTo>
                      <a:lnTo>
                        <a:pt x="196983" y="415351"/>
                      </a:lnTo>
                      <a:lnTo>
                        <a:pt x="210781" y="422234"/>
                      </a:lnTo>
                      <a:lnTo>
                        <a:pt x="211485" y="434559"/>
                      </a:lnTo>
                      <a:lnTo>
                        <a:pt x="198808" y="435296"/>
                      </a:lnTo>
                      <a:lnTo>
                        <a:pt x="201337" y="440386"/>
                      </a:lnTo>
                      <a:lnTo>
                        <a:pt x="211485" y="447269"/>
                      </a:lnTo>
                      <a:lnTo>
                        <a:pt x="217664" y="446532"/>
                      </a:lnTo>
                      <a:lnTo>
                        <a:pt x="220929" y="454152"/>
                      </a:lnTo>
                      <a:lnTo>
                        <a:pt x="234695" y="452359"/>
                      </a:lnTo>
                      <a:lnTo>
                        <a:pt x="237609" y="450887"/>
                      </a:lnTo>
                      <a:lnTo>
                        <a:pt x="230726" y="435296"/>
                      </a:lnTo>
                      <a:lnTo>
                        <a:pt x="244492" y="426588"/>
                      </a:lnTo>
                      <a:lnTo>
                        <a:pt x="238345" y="404466"/>
                      </a:lnTo>
                      <a:lnTo>
                        <a:pt x="239049" y="387050"/>
                      </a:lnTo>
                      <a:lnTo>
                        <a:pt x="228901" y="372548"/>
                      </a:lnTo>
                      <a:lnTo>
                        <a:pt x="211485" y="366369"/>
                      </a:lnTo>
                      <a:lnTo>
                        <a:pt x="215135" y="357662"/>
                      </a:lnTo>
                      <a:lnTo>
                        <a:pt x="232166" y="360575"/>
                      </a:lnTo>
                      <a:lnTo>
                        <a:pt x="230726" y="347513"/>
                      </a:lnTo>
                      <a:lnTo>
                        <a:pt x="218400" y="327568"/>
                      </a:lnTo>
                      <a:lnTo>
                        <a:pt x="225283" y="318124"/>
                      </a:lnTo>
                      <a:lnTo>
                        <a:pt x="226372" y="298531"/>
                      </a:lnTo>
                      <a:lnTo>
                        <a:pt x="232166" y="292385"/>
                      </a:lnTo>
                      <a:lnTo>
                        <a:pt x="245228" y="300356"/>
                      </a:lnTo>
                      <a:lnTo>
                        <a:pt x="247053" y="297443"/>
                      </a:lnTo>
                      <a:lnTo>
                        <a:pt x="248493" y="27170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11869BD0-6A11-E248-8DD3-BD74E8B749F8}"/>
                    </a:ext>
                  </a:extLst>
                </p:cNvPr>
                <p:cNvSpPr/>
                <p:nvPr/>
              </p:nvSpPr>
              <p:spPr>
                <a:xfrm>
                  <a:off x="2215227" y="5635508"/>
                  <a:ext cx="527464" cy="469774"/>
                </a:xfrm>
                <a:custGeom>
                  <a:avLst/>
                  <a:gdLst>
                    <a:gd name="csX0" fmla="*/ 85958 w 527464"/>
                    <a:gd name="csY0" fmla="*/ 15591 h 469774"/>
                    <a:gd name="csX1" fmla="*/ 77250 w 527464"/>
                    <a:gd name="csY1" fmla="*/ 5058 h 469774"/>
                    <a:gd name="csX2" fmla="*/ 65309 w 527464"/>
                    <a:gd name="csY2" fmla="*/ 0 h 469774"/>
                    <a:gd name="csX3" fmla="*/ 48245 w 527464"/>
                    <a:gd name="csY3" fmla="*/ 7971 h 469774"/>
                    <a:gd name="csX4" fmla="*/ 50774 w 527464"/>
                    <a:gd name="csY4" fmla="*/ 20681 h 469774"/>
                    <a:gd name="csX5" fmla="*/ 38801 w 527464"/>
                    <a:gd name="csY5" fmla="*/ 25035 h 469774"/>
                    <a:gd name="csX6" fmla="*/ 29005 w 527464"/>
                    <a:gd name="csY6" fmla="*/ 17416 h 469774"/>
                    <a:gd name="csX7" fmla="*/ 25739 w 527464"/>
                    <a:gd name="csY7" fmla="*/ 26828 h 469774"/>
                    <a:gd name="csX8" fmla="*/ 18856 w 527464"/>
                    <a:gd name="csY8" fmla="*/ 28301 h 469774"/>
                    <a:gd name="csX9" fmla="*/ 11237 w 527464"/>
                    <a:gd name="csY9" fmla="*/ 37008 h 469774"/>
                    <a:gd name="csX10" fmla="*/ 21385 w 527464"/>
                    <a:gd name="csY10" fmla="*/ 54392 h 469774"/>
                    <a:gd name="csX11" fmla="*/ 5090 w 527464"/>
                    <a:gd name="csY11" fmla="*/ 68926 h 469774"/>
                    <a:gd name="csX12" fmla="*/ 0 w 527464"/>
                    <a:gd name="csY12" fmla="*/ 85958 h 469774"/>
                    <a:gd name="csX13" fmla="*/ 6883 w 527464"/>
                    <a:gd name="csY13" fmla="*/ 104110 h 469774"/>
                    <a:gd name="csX14" fmla="*/ 23947 w 527464"/>
                    <a:gd name="csY14" fmla="*/ 114611 h 469774"/>
                    <a:gd name="csX15" fmla="*/ 37008 w 527464"/>
                    <a:gd name="csY15" fmla="*/ 116083 h 469774"/>
                    <a:gd name="csX16" fmla="*/ 34447 w 527464"/>
                    <a:gd name="csY16" fmla="*/ 124791 h 469774"/>
                    <a:gd name="csX17" fmla="*/ 50774 w 527464"/>
                    <a:gd name="csY17" fmla="*/ 131674 h 469774"/>
                    <a:gd name="csX18" fmla="*/ 45332 w 527464"/>
                    <a:gd name="csY18" fmla="*/ 135292 h 469774"/>
                    <a:gd name="csX19" fmla="*/ 43891 w 527464"/>
                    <a:gd name="csY19" fmla="*/ 148001 h 469774"/>
                    <a:gd name="csX20" fmla="*/ 35184 w 527464"/>
                    <a:gd name="csY20" fmla="*/ 150530 h 469774"/>
                    <a:gd name="csX21" fmla="*/ 48245 w 527464"/>
                    <a:gd name="csY21" fmla="*/ 162504 h 469774"/>
                    <a:gd name="csX22" fmla="*/ 63484 w 527464"/>
                    <a:gd name="csY22" fmla="*/ 154884 h 469774"/>
                    <a:gd name="csX23" fmla="*/ 79811 w 527464"/>
                    <a:gd name="csY23" fmla="*/ 162504 h 469774"/>
                    <a:gd name="csX24" fmla="*/ 88519 w 527464"/>
                    <a:gd name="csY24" fmla="*/ 167946 h 469774"/>
                    <a:gd name="csX25" fmla="*/ 64572 w 527464"/>
                    <a:gd name="csY25" fmla="*/ 185714 h 469774"/>
                    <a:gd name="csX26" fmla="*/ 74721 w 527464"/>
                    <a:gd name="csY26" fmla="*/ 195510 h 469774"/>
                    <a:gd name="csX27" fmla="*/ 67102 w 527464"/>
                    <a:gd name="csY27" fmla="*/ 198776 h 469774"/>
                    <a:gd name="csX28" fmla="*/ 67838 w 527464"/>
                    <a:gd name="csY28" fmla="*/ 204954 h 469774"/>
                    <a:gd name="csX29" fmla="*/ 57689 w 527464"/>
                    <a:gd name="csY29" fmla="*/ 214367 h 469774"/>
                    <a:gd name="csX30" fmla="*/ 62748 w 527464"/>
                    <a:gd name="csY30" fmla="*/ 224547 h 469774"/>
                    <a:gd name="csX31" fmla="*/ 45332 w 527464"/>
                    <a:gd name="csY31" fmla="*/ 232518 h 469774"/>
                    <a:gd name="csX32" fmla="*/ 53335 w 527464"/>
                    <a:gd name="csY32" fmla="*/ 238313 h 469774"/>
                    <a:gd name="csX33" fmla="*/ 57689 w 527464"/>
                    <a:gd name="csY33" fmla="*/ 249582 h 469774"/>
                    <a:gd name="csX34" fmla="*/ 56601 w 527464"/>
                    <a:gd name="csY34" fmla="*/ 252848 h 469774"/>
                    <a:gd name="csX35" fmla="*/ 53335 w 527464"/>
                    <a:gd name="csY35" fmla="*/ 269527 h 469774"/>
                    <a:gd name="csX36" fmla="*/ 62043 w 527464"/>
                    <a:gd name="csY36" fmla="*/ 279675 h 469774"/>
                    <a:gd name="csX37" fmla="*/ 58394 w 527464"/>
                    <a:gd name="csY37" fmla="*/ 287294 h 469774"/>
                    <a:gd name="csX38" fmla="*/ 62748 w 527464"/>
                    <a:gd name="csY38" fmla="*/ 299620 h 469774"/>
                    <a:gd name="csX39" fmla="*/ 59130 w 527464"/>
                    <a:gd name="csY39" fmla="*/ 319949 h 469774"/>
                    <a:gd name="csX40" fmla="*/ 72192 w 527464"/>
                    <a:gd name="csY40" fmla="*/ 328657 h 469774"/>
                    <a:gd name="csX41" fmla="*/ 67102 w 527464"/>
                    <a:gd name="csY41" fmla="*/ 339157 h 469774"/>
                    <a:gd name="csX42" fmla="*/ 76546 w 527464"/>
                    <a:gd name="csY42" fmla="*/ 336628 h 469774"/>
                    <a:gd name="csX43" fmla="*/ 78339 w 527464"/>
                    <a:gd name="csY43" fmla="*/ 332274 h 469774"/>
                    <a:gd name="csX44" fmla="*/ 85958 w 527464"/>
                    <a:gd name="csY44" fmla="*/ 333011 h 469774"/>
                    <a:gd name="csX45" fmla="*/ 89223 w 527464"/>
                    <a:gd name="csY45" fmla="*/ 325391 h 469774"/>
                    <a:gd name="csX46" fmla="*/ 96138 w 527464"/>
                    <a:gd name="csY46" fmla="*/ 322830 h 469774"/>
                    <a:gd name="csX47" fmla="*/ 107375 w 527464"/>
                    <a:gd name="csY47" fmla="*/ 332274 h 469774"/>
                    <a:gd name="csX48" fmla="*/ 116819 w 527464"/>
                    <a:gd name="csY48" fmla="*/ 332274 h 469774"/>
                    <a:gd name="csX49" fmla="*/ 122966 w 527464"/>
                    <a:gd name="csY49" fmla="*/ 309800 h 469774"/>
                    <a:gd name="csX50" fmla="*/ 134203 w 527464"/>
                    <a:gd name="csY50" fmla="*/ 321037 h 469774"/>
                    <a:gd name="csX51" fmla="*/ 134203 w 527464"/>
                    <a:gd name="csY51" fmla="*/ 329745 h 469774"/>
                    <a:gd name="csX52" fmla="*/ 145472 w 527464"/>
                    <a:gd name="csY52" fmla="*/ 328657 h 469774"/>
                    <a:gd name="csX53" fmla="*/ 158150 w 527464"/>
                    <a:gd name="csY53" fmla="*/ 319949 h 469774"/>
                    <a:gd name="csX54" fmla="*/ 171211 w 527464"/>
                    <a:gd name="csY54" fmla="*/ 325391 h 469774"/>
                    <a:gd name="csX55" fmla="*/ 176302 w 527464"/>
                    <a:gd name="csY55" fmla="*/ 322830 h 469774"/>
                    <a:gd name="csX56" fmla="*/ 176302 w 527464"/>
                    <a:gd name="csY56" fmla="*/ 318508 h 469774"/>
                    <a:gd name="csX57" fmla="*/ 185009 w 527464"/>
                    <a:gd name="csY57" fmla="*/ 316684 h 469774"/>
                    <a:gd name="csX58" fmla="*/ 198776 w 527464"/>
                    <a:gd name="csY58" fmla="*/ 319213 h 469774"/>
                    <a:gd name="csX59" fmla="*/ 199512 w 527464"/>
                    <a:gd name="csY59" fmla="*/ 325391 h 469774"/>
                    <a:gd name="csX60" fmla="*/ 207483 w 527464"/>
                    <a:gd name="csY60" fmla="*/ 326095 h 469774"/>
                    <a:gd name="csX61" fmla="*/ 193717 w 527464"/>
                    <a:gd name="csY61" fmla="*/ 335540 h 469774"/>
                    <a:gd name="csX62" fmla="*/ 190068 w 527464"/>
                    <a:gd name="csY62" fmla="*/ 346073 h 469774"/>
                    <a:gd name="csX63" fmla="*/ 195158 w 527464"/>
                    <a:gd name="csY63" fmla="*/ 360575 h 469774"/>
                    <a:gd name="csX64" fmla="*/ 205691 w 527464"/>
                    <a:gd name="csY64" fmla="*/ 367458 h 469774"/>
                    <a:gd name="csX65" fmla="*/ 220193 w 527464"/>
                    <a:gd name="csY65" fmla="*/ 363840 h 469774"/>
                    <a:gd name="csX66" fmla="*/ 220929 w 527464"/>
                    <a:gd name="csY66" fmla="*/ 371812 h 469774"/>
                    <a:gd name="csX67" fmla="*/ 230726 w 527464"/>
                    <a:gd name="csY67" fmla="*/ 374373 h 469774"/>
                    <a:gd name="csX68" fmla="*/ 245964 w 527464"/>
                    <a:gd name="csY68" fmla="*/ 365665 h 469774"/>
                    <a:gd name="csX69" fmla="*/ 248493 w 527464"/>
                    <a:gd name="csY69" fmla="*/ 362400 h 469774"/>
                    <a:gd name="csX70" fmla="*/ 255376 w 527464"/>
                    <a:gd name="csY70" fmla="*/ 365665 h 469774"/>
                    <a:gd name="csX71" fmla="*/ 258994 w 527464"/>
                    <a:gd name="csY71" fmla="*/ 383049 h 469774"/>
                    <a:gd name="csX72" fmla="*/ 264084 w 527464"/>
                    <a:gd name="csY72" fmla="*/ 376902 h 469774"/>
                    <a:gd name="csX73" fmla="*/ 271704 w 527464"/>
                    <a:gd name="csY73" fmla="*/ 383049 h 469774"/>
                    <a:gd name="csX74" fmla="*/ 282236 w 527464"/>
                    <a:gd name="csY74" fmla="*/ 383049 h 469774"/>
                    <a:gd name="csX75" fmla="*/ 296002 w 527464"/>
                    <a:gd name="csY75" fmla="*/ 388139 h 469774"/>
                    <a:gd name="csX76" fmla="*/ 305446 w 527464"/>
                    <a:gd name="csY76" fmla="*/ 378727 h 469774"/>
                    <a:gd name="csX77" fmla="*/ 314859 w 527464"/>
                    <a:gd name="csY77" fmla="*/ 379431 h 469774"/>
                    <a:gd name="csX78" fmla="*/ 323566 w 527464"/>
                    <a:gd name="csY78" fmla="*/ 387050 h 469774"/>
                    <a:gd name="csX79" fmla="*/ 321774 w 527464"/>
                    <a:gd name="csY79" fmla="*/ 395022 h 469774"/>
                    <a:gd name="csX80" fmla="*/ 333011 w 527464"/>
                    <a:gd name="csY80" fmla="*/ 399376 h 469774"/>
                    <a:gd name="csX81" fmla="*/ 338101 w 527464"/>
                    <a:gd name="csY81" fmla="*/ 427677 h 469774"/>
                    <a:gd name="csX82" fmla="*/ 354428 w 527464"/>
                    <a:gd name="csY82" fmla="*/ 430205 h 469774"/>
                    <a:gd name="csX83" fmla="*/ 350074 w 527464"/>
                    <a:gd name="csY83" fmla="*/ 440738 h 469774"/>
                    <a:gd name="csX84" fmla="*/ 358046 w 527464"/>
                    <a:gd name="csY84" fmla="*/ 446533 h 469774"/>
                    <a:gd name="csX85" fmla="*/ 349338 w 527464"/>
                    <a:gd name="csY85" fmla="*/ 462155 h 469774"/>
                    <a:gd name="csX86" fmla="*/ 358782 w 527464"/>
                    <a:gd name="csY86" fmla="*/ 469775 h 469774"/>
                    <a:gd name="csX87" fmla="*/ 385610 w 527464"/>
                    <a:gd name="csY87" fmla="*/ 464685 h 469774"/>
                    <a:gd name="csX88" fmla="*/ 393966 w 527464"/>
                    <a:gd name="csY88" fmla="*/ 457802 h 469774"/>
                    <a:gd name="csX89" fmla="*/ 400849 w 527464"/>
                    <a:gd name="csY89" fmla="*/ 443267 h 469774"/>
                    <a:gd name="csX90" fmla="*/ 406995 w 527464"/>
                    <a:gd name="csY90" fmla="*/ 436384 h 469774"/>
                    <a:gd name="csX91" fmla="*/ 408820 w 527464"/>
                    <a:gd name="csY91" fmla="*/ 430205 h 469774"/>
                    <a:gd name="csX92" fmla="*/ 410261 w 527464"/>
                    <a:gd name="csY92" fmla="*/ 422618 h 469774"/>
                    <a:gd name="csX93" fmla="*/ 411349 w 527464"/>
                    <a:gd name="csY93" fmla="*/ 412086 h 469774"/>
                    <a:gd name="csX94" fmla="*/ 420057 w 527464"/>
                    <a:gd name="csY94" fmla="*/ 413910 h 469774"/>
                    <a:gd name="csX95" fmla="*/ 429501 w 527464"/>
                    <a:gd name="csY95" fmla="*/ 396847 h 469774"/>
                    <a:gd name="csX96" fmla="*/ 444740 w 527464"/>
                    <a:gd name="csY96" fmla="*/ 391404 h 469774"/>
                    <a:gd name="csX97" fmla="*/ 442211 w 527464"/>
                    <a:gd name="csY97" fmla="*/ 385610 h 469774"/>
                    <a:gd name="csX98" fmla="*/ 438945 w 527464"/>
                    <a:gd name="csY98" fmla="*/ 378727 h 469774"/>
                    <a:gd name="csX99" fmla="*/ 446565 w 527464"/>
                    <a:gd name="csY99" fmla="*/ 356221 h 469774"/>
                    <a:gd name="csX100" fmla="*/ 462156 w 527464"/>
                    <a:gd name="csY100" fmla="*/ 346777 h 469774"/>
                    <a:gd name="csX101" fmla="*/ 475922 w 527464"/>
                    <a:gd name="csY101" fmla="*/ 346777 h 469774"/>
                    <a:gd name="csX102" fmla="*/ 481748 w 527464"/>
                    <a:gd name="csY102" fmla="*/ 346777 h 469774"/>
                    <a:gd name="csX103" fmla="*/ 483541 w 527464"/>
                    <a:gd name="csY103" fmla="*/ 346777 h 469774"/>
                    <a:gd name="csX104" fmla="*/ 527464 w 527464"/>
                    <a:gd name="csY104" fmla="*/ 347513 h 469774"/>
                    <a:gd name="csX105" fmla="*/ 499164 w 527464"/>
                    <a:gd name="csY105" fmla="*/ 342423 h 469774"/>
                    <a:gd name="csX106" fmla="*/ 492985 w 527464"/>
                    <a:gd name="csY106" fmla="*/ 333715 h 469774"/>
                    <a:gd name="csX107" fmla="*/ 481012 w 527464"/>
                    <a:gd name="csY107" fmla="*/ 332274 h 469774"/>
                    <a:gd name="csX108" fmla="*/ 471568 w 527464"/>
                    <a:gd name="csY108" fmla="*/ 325391 h 469774"/>
                    <a:gd name="csX109" fmla="*/ 494074 w 527464"/>
                    <a:gd name="csY109" fmla="*/ 286558 h 469774"/>
                    <a:gd name="csX110" fmla="*/ 484277 w 527464"/>
                    <a:gd name="csY110" fmla="*/ 276410 h 469774"/>
                    <a:gd name="csX111" fmla="*/ 492249 w 527464"/>
                    <a:gd name="csY111" fmla="*/ 248846 h 469774"/>
                    <a:gd name="csX112" fmla="*/ 489720 w 527464"/>
                    <a:gd name="csY112" fmla="*/ 240874 h 469774"/>
                    <a:gd name="csX113" fmla="*/ 463980 w 527464"/>
                    <a:gd name="csY113" fmla="*/ 239401 h 469774"/>
                    <a:gd name="csX114" fmla="*/ 457802 w 527464"/>
                    <a:gd name="csY114" fmla="*/ 250286 h 469774"/>
                    <a:gd name="csX115" fmla="*/ 454184 w 527464"/>
                    <a:gd name="csY115" fmla="*/ 238313 h 469774"/>
                    <a:gd name="csX116" fmla="*/ 462892 w 527464"/>
                    <a:gd name="csY116" fmla="*/ 212574 h 469774"/>
                    <a:gd name="csX117" fmla="*/ 467246 w 527464"/>
                    <a:gd name="csY117" fmla="*/ 211837 h 469774"/>
                    <a:gd name="csX118" fmla="*/ 472304 w 527464"/>
                    <a:gd name="csY118" fmla="*/ 199512 h 469774"/>
                    <a:gd name="csX119" fmla="*/ 465421 w 527464"/>
                    <a:gd name="csY119" fmla="*/ 195510 h 469774"/>
                    <a:gd name="csX120" fmla="*/ 446565 w 527464"/>
                    <a:gd name="csY120" fmla="*/ 191893 h 469774"/>
                    <a:gd name="csX121" fmla="*/ 432030 w 527464"/>
                    <a:gd name="csY121" fmla="*/ 166857 h 469774"/>
                    <a:gd name="csX122" fmla="*/ 420057 w 527464"/>
                    <a:gd name="csY122" fmla="*/ 157413 h 469774"/>
                    <a:gd name="csX123" fmla="*/ 423322 w 527464"/>
                    <a:gd name="csY123" fmla="*/ 155620 h 469774"/>
                    <a:gd name="csX124" fmla="*/ 428413 w 527464"/>
                    <a:gd name="csY124" fmla="*/ 150530 h 469774"/>
                    <a:gd name="csX125" fmla="*/ 425884 w 527464"/>
                    <a:gd name="csY125" fmla="*/ 139293 h 469774"/>
                    <a:gd name="csX126" fmla="*/ 407732 w 527464"/>
                    <a:gd name="csY126" fmla="*/ 142911 h 469774"/>
                    <a:gd name="csX127" fmla="*/ 404466 w 527464"/>
                    <a:gd name="csY127" fmla="*/ 134203 h 469774"/>
                    <a:gd name="csX128" fmla="*/ 403378 w 527464"/>
                    <a:gd name="csY128" fmla="*/ 129145 h 469774"/>
                    <a:gd name="csX129" fmla="*/ 398319 w 527464"/>
                    <a:gd name="csY129" fmla="*/ 117172 h 469774"/>
                    <a:gd name="csX130" fmla="*/ 404466 w 527464"/>
                    <a:gd name="csY130" fmla="*/ 98316 h 469774"/>
                    <a:gd name="csX131" fmla="*/ 424059 w 527464"/>
                    <a:gd name="csY131" fmla="*/ 67102 h 469774"/>
                    <a:gd name="csX132" fmla="*/ 427676 w 527464"/>
                    <a:gd name="csY132" fmla="*/ 55129 h 469774"/>
                    <a:gd name="csX133" fmla="*/ 428413 w 527464"/>
                    <a:gd name="csY133" fmla="*/ 44980 h 469774"/>
                    <a:gd name="csX134" fmla="*/ 434591 w 527464"/>
                    <a:gd name="csY134" fmla="*/ 43155 h 469774"/>
                    <a:gd name="csX135" fmla="*/ 442211 w 527464"/>
                    <a:gd name="csY135" fmla="*/ 31918 h 469774"/>
                    <a:gd name="csX136" fmla="*/ 442211 w 527464"/>
                    <a:gd name="csY136" fmla="*/ 28301 h 469774"/>
                    <a:gd name="csX137" fmla="*/ 423322 w 527464"/>
                    <a:gd name="csY137" fmla="*/ 22474 h 469774"/>
                    <a:gd name="csX138" fmla="*/ 401937 w 527464"/>
                    <a:gd name="csY138" fmla="*/ 11973 h 469774"/>
                    <a:gd name="csX139" fmla="*/ 388139 w 527464"/>
                    <a:gd name="csY139" fmla="*/ 2529 h 469774"/>
                    <a:gd name="csX140" fmla="*/ 362400 w 527464"/>
                    <a:gd name="csY140" fmla="*/ 13766 h 469774"/>
                    <a:gd name="csX141" fmla="*/ 351163 w 527464"/>
                    <a:gd name="csY141" fmla="*/ 10501 h 469774"/>
                    <a:gd name="csX142" fmla="*/ 339894 w 527464"/>
                    <a:gd name="csY142" fmla="*/ 10501 h 469774"/>
                    <a:gd name="csX143" fmla="*/ 337365 w 527464"/>
                    <a:gd name="csY143" fmla="*/ 28301 h 469774"/>
                    <a:gd name="csX144" fmla="*/ 321037 w 527464"/>
                    <a:gd name="csY144" fmla="*/ 39538 h 469774"/>
                    <a:gd name="csX145" fmla="*/ 315595 w 527464"/>
                    <a:gd name="csY145" fmla="*/ 46420 h 469774"/>
                    <a:gd name="csX146" fmla="*/ 295298 w 527464"/>
                    <a:gd name="csY146" fmla="*/ 48950 h 469774"/>
                    <a:gd name="csX147" fmla="*/ 288383 w 527464"/>
                    <a:gd name="csY147" fmla="*/ 58394 h 469774"/>
                    <a:gd name="csX148" fmla="*/ 281500 w 527464"/>
                    <a:gd name="csY148" fmla="*/ 60219 h 469774"/>
                    <a:gd name="csX149" fmla="*/ 277146 w 527464"/>
                    <a:gd name="csY149" fmla="*/ 65277 h 469774"/>
                    <a:gd name="csX150" fmla="*/ 275321 w 527464"/>
                    <a:gd name="csY150" fmla="*/ 78339 h 469774"/>
                    <a:gd name="csX151" fmla="*/ 269175 w 527464"/>
                    <a:gd name="csY151" fmla="*/ 81988 h 469774"/>
                    <a:gd name="csX152" fmla="*/ 255376 w 527464"/>
                    <a:gd name="csY152" fmla="*/ 87047 h 469774"/>
                    <a:gd name="csX153" fmla="*/ 242699 w 527464"/>
                    <a:gd name="csY153" fmla="*/ 85254 h 469774"/>
                    <a:gd name="csX154" fmla="*/ 183185 w 527464"/>
                    <a:gd name="csY154" fmla="*/ 73985 h 469774"/>
                    <a:gd name="csX155" fmla="*/ 178126 w 527464"/>
                    <a:gd name="csY155" fmla="*/ 73280 h 469774"/>
                    <a:gd name="csX156" fmla="*/ 162504 w 527464"/>
                    <a:gd name="csY156" fmla="*/ 63836 h 469774"/>
                    <a:gd name="csX157" fmla="*/ 149826 w 527464"/>
                    <a:gd name="csY157" fmla="*/ 62011 h 469774"/>
                    <a:gd name="csX158" fmla="*/ 145472 w 527464"/>
                    <a:gd name="csY158" fmla="*/ 56953 h 469774"/>
                    <a:gd name="csX159" fmla="*/ 137469 w 527464"/>
                    <a:gd name="csY159" fmla="*/ 55865 h 469774"/>
                    <a:gd name="csX160" fmla="*/ 128056 w 527464"/>
                    <a:gd name="csY160" fmla="*/ 46420 h 469774"/>
                    <a:gd name="csX161" fmla="*/ 122230 w 527464"/>
                    <a:gd name="csY161" fmla="*/ 55865 h 469774"/>
                    <a:gd name="csX162" fmla="*/ 110993 w 527464"/>
                    <a:gd name="csY162" fmla="*/ 58394 h 469774"/>
                    <a:gd name="csX163" fmla="*/ 90312 w 527464"/>
                    <a:gd name="csY163" fmla="*/ 38097 h 469774"/>
                    <a:gd name="csX164" fmla="*/ 85958 w 527464"/>
                    <a:gd name="csY164" fmla="*/ 15591 h 4697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</a:cxnLst>
                  <a:rect l="l" t="t" r="r" b="b"/>
                  <a:pathLst>
                    <a:path w="527464" h="469774">
                      <a:moveTo>
                        <a:pt x="85958" y="15591"/>
                      </a:moveTo>
                      <a:lnTo>
                        <a:pt x="77250" y="5058"/>
                      </a:lnTo>
                      <a:lnTo>
                        <a:pt x="65309" y="0"/>
                      </a:lnTo>
                      <a:lnTo>
                        <a:pt x="48245" y="7971"/>
                      </a:lnTo>
                      <a:lnTo>
                        <a:pt x="50774" y="20681"/>
                      </a:lnTo>
                      <a:lnTo>
                        <a:pt x="38801" y="25035"/>
                      </a:lnTo>
                      <a:lnTo>
                        <a:pt x="29005" y="17416"/>
                      </a:lnTo>
                      <a:lnTo>
                        <a:pt x="25739" y="26828"/>
                      </a:lnTo>
                      <a:lnTo>
                        <a:pt x="18856" y="28301"/>
                      </a:lnTo>
                      <a:lnTo>
                        <a:pt x="11237" y="37008"/>
                      </a:lnTo>
                      <a:lnTo>
                        <a:pt x="21385" y="54392"/>
                      </a:lnTo>
                      <a:lnTo>
                        <a:pt x="5090" y="68926"/>
                      </a:lnTo>
                      <a:lnTo>
                        <a:pt x="0" y="85958"/>
                      </a:lnTo>
                      <a:lnTo>
                        <a:pt x="6883" y="104110"/>
                      </a:lnTo>
                      <a:lnTo>
                        <a:pt x="23947" y="114611"/>
                      </a:lnTo>
                      <a:lnTo>
                        <a:pt x="37008" y="116083"/>
                      </a:lnTo>
                      <a:lnTo>
                        <a:pt x="34447" y="124791"/>
                      </a:lnTo>
                      <a:lnTo>
                        <a:pt x="50774" y="131674"/>
                      </a:lnTo>
                      <a:lnTo>
                        <a:pt x="45332" y="135292"/>
                      </a:lnTo>
                      <a:lnTo>
                        <a:pt x="43891" y="148001"/>
                      </a:lnTo>
                      <a:lnTo>
                        <a:pt x="35184" y="150530"/>
                      </a:lnTo>
                      <a:lnTo>
                        <a:pt x="48245" y="162504"/>
                      </a:lnTo>
                      <a:lnTo>
                        <a:pt x="63484" y="154884"/>
                      </a:lnTo>
                      <a:lnTo>
                        <a:pt x="79811" y="162504"/>
                      </a:lnTo>
                      <a:lnTo>
                        <a:pt x="88519" y="167946"/>
                      </a:lnTo>
                      <a:lnTo>
                        <a:pt x="64572" y="185714"/>
                      </a:lnTo>
                      <a:lnTo>
                        <a:pt x="74721" y="195510"/>
                      </a:lnTo>
                      <a:lnTo>
                        <a:pt x="67102" y="198776"/>
                      </a:lnTo>
                      <a:lnTo>
                        <a:pt x="67838" y="204954"/>
                      </a:lnTo>
                      <a:lnTo>
                        <a:pt x="57689" y="214367"/>
                      </a:lnTo>
                      <a:lnTo>
                        <a:pt x="62748" y="224547"/>
                      </a:lnTo>
                      <a:lnTo>
                        <a:pt x="45332" y="232518"/>
                      </a:lnTo>
                      <a:lnTo>
                        <a:pt x="53335" y="238313"/>
                      </a:lnTo>
                      <a:lnTo>
                        <a:pt x="57689" y="249582"/>
                      </a:lnTo>
                      <a:lnTo>
                        <a:pt x="56601" y="252848"/>
                      </a:lnTo>
                      <a:lnTo>
                        <a:pt x="53335" y="269527"/>
                      </a:lnTo>
                      <a:lnTo>
                        <a:pt x="62043" y="279675"/>
                      </a:lnTo>
                      <a:lnTo>
                        <a:pt x="58394" y="287294"/>
                      </a:lnTo>
                      <a:lnTo>
                        <a:pt x="62748" y="299620"/>
                      </a:lnTo>
                      <a:lnTo>
                        <a:pt x="59130" y="319949"/>
                      </a:lnTo>
                      <a:lnTo>
                        <a:pt x="72192" y="328657"/>
                      </a:lnTo>
                      <a:lnTo>
                        <a:pt x="67102" y="339157"/>
                      </a:lnTo>
                      <a:lnTo>
                        <a:pt x="76546" y="336628"/>
                      </a:lnTo>
                      <a:lnTo>
                        <a:pt x="78339" y="332274"/>
                      </a:lnTo>
                      <a:lnTo>
                        <a:pt x="85958" y="333011"/>
                      </a:lnTo>
                      <a:lnTo>
                        <a:pt x="89223" y="325391"/>
                      </a:lnTo>
                      <a:lnTo>
                        <a:pt x="96138" y="322830"/>
                      </a:lnTo>
                      <a:lnTo>
                        <a:pt x="107375" y="332274"/>
                      </a:lnTo>
                      <a:lnTo>
                        <a:pt x="116819" y="332274"/>
                      </a:lnTo>
                      <a:lnTo>
                        <a:pt x="122966" y="309800"/>
                      </a:lnTo>
                      <a:lnTo>
                        <a:pt x="134203" y="321037"/>
                      </a:lnTo>
                      <a:lnTo>
                        <a:pt x="134203" y="329745"/>
                      </a:lnTo>
                      <a:lnTo>
                        <a:pt x="145472" y="328657"/>
                      </a:lnTo>
                      <a:lnTo>
                        <a:pt x="158150" y="319949"/>
                      </a:lnTo>
                      <a:lnTo>
                        <a:pt x="171211" y="325391"/>
                      </a:lnTo>
                      <a:lnTo>
                        <a:pt x="176302" y="322830"/>
                      </a:lnTo>
                      <a:lnTo>
                        <a:pt x="176302" y="318508"/>
                      </a:lnTo>
                      <a:lnTo>
                        <a:pt x="185009" y="316684"/>
                      </a:lnTo>
                      <a:lnTo>
                        <a:pt x="198776" y="319213"/>
                      </a:lnTo>
                      <a:lnTo>
                        <a:pt x="199512" y="325391"/>
                      </a:lnTo>
                      <a:lnTo>
                        <a:pt x="207483" y="326095"/>
                      </a:lnTo>
                      <a:lnTo>
                        <a:pt x="193717" y="335540"/>
                      </a:lnTo>
                      <a:lnTo>
                        <a:pt x="190068" y="346073"/>
                      </a:lnTo>
                      <a:lnTo>
                        <a:pt x="195158" y="360575"/>
                      </a:lnTo>
                      <a:lnTo>
                        <a:pt x="205691" y="367458"/>
                      </a:lnTo>
                      <a:lnTo>
                        <a:pt x="220193" y="363840"/>
                      </a:lnTo>
                      <a:lnTo>
                        <a:pt x="220929" y="371812"/>
                      </a:lnTo>
                      <a:lnTo>
                        <a:pt x="230726" y="374373"/>
                      </a:lnTo>
                      <a:lnTo>
                        <a:pt x="245964" y="365665"/>
                      </a:lnTo>
                      <a:lnTo>
                        <a:pt x="248493" y="362400"/>
                      </a:lnTo>
                      <a:lnTo>
                        <a:pt x="255376" y="365665"/>
                      </a:lnTo>
                      <a:lnTo>
                        <a:pt x="258994" y="383049"/>
                      </a:lnTo>
                      <a:lnTo>
                        <a:pt x="264084" y="376902"/>
                      </a:lnTo>
                      <a:lnTo>
                        <a:pt x="271704" y="383049"/>
                      </a:lnTo>
                      <a:lnTo>
                        <a:pt x="282236" y="383049"/>
                      </a:lnTo>
                      <a:lnTo>
                        <a:pt x="296002" y="388139"/>
                      </a:lnTo>
                      <a:lnTo>
                        <a:pt x="305446" y="378727"/>
                      </a:lnTo>
                      <a:lnTo>
                        <a:pt x="314859" y="379431"/>
                      </a:lnTo>
                      <a:lnTo>
                        <a:pt x="323566" y="387050"/>
                      </a:lnTo>
                      <a:lnTo>
                        <a:pt x="321774" y="395022"/>
                      </a:lnTo>
                      <a:lnTo>
                        <a:pt x="333011" y="399376"/>
                      </a:lnTo>
                      <a:lnTo>
                        <a:pt x="338101" y="427677"/>
                      </a:lnTo>
                      <a:lnTo>
                        <a:pt x="354428" y="430205"/>
                      </a:lnTo>
                      <a:lnTo>
                        <a:pt x="350074" y="440738"/>
                      </a:lnTo>
                      <a:lnTo>
                        <a:pt x="358046" y="446533"/>
                      </a:lnTo>
                      <a:lnTo>
                        <a:pt x="349338" y="462155"/>
                      </a:lnTo>
                      <a:lnTo>
                        <a:pt x="358782" y="469775"/>
                      </a:lnTo>
                      <a:lnTo>
                        <a:pt x="385610" y="464685"/>
                      </a:lnTo>
                      <a:lnTo>
                        <a:pt x="393966" y="457802"/>
                      </a:lnTo>
                      <a:lnTo>
                        <a:pt x="400849" y="443267"/>
                      </a:lnTo>
                      <a:lnTo>
                        <a:pt x="406995" y="436384"/>
                      </a:lnTo>
                      <a:lnTo>
                        <a:pt x="408820" y="430205"/>
                      </a:lnTo>
                      <a:lnTo>
                        <a:pt x="410261" y="422618"/>
                      </a:lnTo>
                      <a:lnTo>
                        <a:pt x="411349" y="412086"/>
                      </a:lnTo>
                      <a:lnTo>
                        <a:pt x="420057" y="413910"/>
                      </a:lnTo>
                      <a:lnTo>
                        <a:pt x="429501" y="396847"/>
                      </a:lnTo>
                      <a:lnTo>
                        <a:pt x="444740" y="391404"/>
                      </a:lnTo>
                      <a:lnTo>
                        <a:pt x="442211" y="385610"/>
                      </a:lnTo>
                      <a:lnTo>
                        <a:pt x="438945" y="378727"/>
                      </a:lnTo>
                      <a:lnTo>
                        <a:pt x="446565" y="356221"/>
                      </a:lnTo>
                      <a:lnTo>
                        <a:pt x="462156" y="346777"/>
                      </a:lnTo>
                      <a:lnTo>
                        <a:pt x="475922" y="346777"/>
                      </a:lnTo>
                      <a:lnTo>
                        <a:pt x="481748" y="346777"/>
                      </a:lnTo>
                      <a:lnTo>
                        <a:pt x="483541" y="346777"/>
                      </a:lnTo>
                      <a:lnTo>
                        <a:pt x="527464" y="347513"/>
                      </a:lnTo>
                      <a:lnTo>
                        <a:pt x="499164" y="342423"/>
                      </a:lnTo>
                      <a:lnTo>
                        <a:pt x="492985" y="333715"/>
                      </a:lnTo>
                      <a:lnTo>
                        <a:pt x="481012" y="332274"/>
                      </a:lnTo>
                      <a:lnTo>
                        <a:pt x="471568" y="325391"/>
                      </a:lnTo>
                      <a:lnTo>
                        <a:pt x="494074" y="286558"/>
                      </a:lnTo>
                      <a:lnTo>
                        <a:pt x="484277" y="276410"/>
                      </a:lnTo>
                      <a:lnTo>
                        <a:pt x="492249" y="248846"/>
                      </a:lnTo>
                      <a:lnTo>
                        <a:pt x="489720" y="240874"/>
                      </a:lnTo>
                      <a:lnTo>
                        <a:pt x="463980" y="239401"/>
                      </a:lnTo>
                      <a:lnTo>
                        <a:pt x="457802" y="250286"/>
                      </a:lnTo>
                      <a:lnTo>
                        <a:pt x="454184" y="238313"/>
                      </a:lnTo>
                      <a:lnTo>
                        <a:pt x="462892" y="212574"/>
                      </a:lnTo>
                      <a:lnTo>
                        <a:pt x="467246" y="211837"/>
                      </a:lnTo>
                      <a:lnTo>
                        <a:pt x="472304" y="199512"/>
                      </a:lnTo>
                      <a:lnTo>
                        <a:pt x="465421" y="195510"/>
                      </a:lnTo>
                      <a:lnTo>
                        <a:pt x="446565" y="191893"/>
                      </a:lnTo>
                      <a:lnTo>
                        <a:pt x="432030" y="166857"/>
                      </a:lnTo>
                      <a:lnTo>
                        <a:pt x="420057" y="157413"/>
                      </a:lnTo>
                      <a:lnTo>
                        <a:pt x="423322" y="155620"/>
                      </a:lnTo>
                      <a:lnTo>
                        <a:pt x="428413" y="150530"/>
                      </a:lnTo>
                      <a:lnTo>
                        <a:pt x="425884" y="139293"/>
                      </a:lnTo>
                      <a:lnTo>
                        <a:pt x="407732" y="142911"/>
                      </a:lnTo>
                      <a:lnTo>
                        <a:pt x="404466" y="134203"/>
                      </a:lnTo>
                      <a:lnTo>
                        <a:pt x="403378" y="129145"/>
                      </a:lnTo>
                      <a:lnTo>
                        <a:pt x="398319" y="117172"/>
                      </a:lnTo>
                      <a:lnTo>
                        <a:pt x="404466" y="98316"/>
                      </a:lnTo>
                      <a:lnTo>
                        <a:pt x="424059" y="67102"/>
                      </a:lnTo>
                      <a:lnTo>
                        <a:pt x="427676" y="55129"/>
                      </a:lnTo>
                      <a:lnTo>
                        <a:pt x="428413" y="44980"/>
                      </a:lnTo>
                      <a:lnTo>
                        <a:pt x="434591" y="43155"/>
                      </a:lnTo>
                      <a:lnTo>
                        <a:pt x="442211" y="31918"/>
                      </a:lnTo>
                      <a:lnTo>
                        <a:pt x="442211" y="28301"/>
                      </a:lnTo>
                      <a:lnTo>
                        <a:pt x="423322" y="22474"/>
                      </a:lnTo>
                      <a:lnTo>
                        <a:pt x="401937" y="11973"/>
                      </a:lnTo>
                      <a:lnTo>
                        <a:pt x="388139" y="2529"/>
                      </a:lnTo>
                      <a:lnTo>
                        <a:pt x="362400" y="13766"/>
                      </a:lnTo>
                      <a:lnTo>
                        <a:pt x="351163" y="10501"/>
                      </a:lnTo>
                      <a:lnTo>
                        <a:pt x="339894" y="10501"/>
                      </a:lnTo>
                      <a:lnTo>
                        <a:pt x="337365" y="28301"/>
                      </a:lnTo>
                      <a:lnTo>
                        <a:pt x="321037" y="39538"/>
                      </a:lnTo>
                      <a:lnTo>
                        <a:pt x="315595" y="46420"/>
                      </a:lnTo>
                      <a:lnTo>
                        <a:pt x="295298" y="48950"/>
                      </a:lnTo>
                      <a:lnTo>
                        <a:pt x="288383" y="58394"/>
                      </a:lnTo>
                      <a:lnTo>
                        <a:pt x="281500" y="60219"/>
                      </a:lnTo>
                      <a:lnTo>
                        <a:pt x="277146" y="65277"/>
                      </a:lnTo>
                      <a:lnTo>
                        <a:pt x="275321" y="78339"/>
                      </a:lnTo>
                      <a:lnTo>
                        <a:pt x="269175" y="81988"/>
                      </a:lnTo>
                      <a:lnTo>
                        <a:pt x="255376" y="87047"/>
                      </a:lnTo>
                      <a:lnTo>
                        <a:pt x="242699" y="85254"/>
                      </a:lnTo>
                      <a:lnTo>
                        <a:pt x="183185" y="73985"/>
                      </a:lnTo>
                      <a:lnTo>
                        <a:pt x="178126" y="73280"/>
                      </a:lnTo>
                      <a:lnTo>
                        <a:pt x="162504" y="63836"/>
                      </a:lnTo>
                      <a:lnTo>
                        <a:pt x="149826" y="62011"/>
                      </a:lnTo>
                      <a:lnTo>
                        <a:pt x="145472" y="56953"/>
                      </a:lnTo>
                      <a:lnTo>
                        <a:pt x="137469" y="55865"/>
                      </a:lnTo>
                      <a:lnTo>
                        <a:pt x="128056" y="46420"/>
                      </a:lnTo>
                      <a:lnTo>
                        <a:pt x="122230" y="55865"/>
                      </a:lnTo>
                      <a:lnTo>
                        <a:pt x="110993" y="58394"/>
                      </a:lnTo>
                      <a:lnTo>
                        <a:pt x="90312" y="38097"/>
                      </a:lnTo>
                      <a:lnTo>
                        <a:pt x="85958" y="15591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F172B5F3-9FF1-3BC2-B58E-19B2B4CD0F0F}"/>
                    </a:ext>
                  </a:extLst>
                </p:cNvPr>
                <p:cNvSpPr/>
                <p:nvPr/>
              </p:nvSpPr>
              <p:spPr>
                <a:xfrm>
                  <a:off x="3253092" y="5114959"/>
                  <a:ext cx="368194" cy="244491"/>
                </a:xfrm>
                <a:custGeom>
                  <a:avLst/>
                  <a:gdLst>
                    <a:gd name="csX0" fmla="*/ 219457 w 368194"/>
                    <a:gd name="csY0" fmla="*/ 13766 h 244491"/>
                    <a:gd name="csX1" fmla="*/ 191156 w 368194"/>
                    <a:gd name="csY1" fmla="*/ 9412 h 244491"/>
                    <a:gd name="csX2" fmla="*/ 186802 w 368194"/>
                    <a:gd name="csY2" fmla="*/ 5442 h 244491"/>
                    <a:gd name="csX3" fmla="*/ 165385 w 368194"/>
                    <a:gd name="csY3" fmla="*/ 25003 h 244491"/>
                    <a:gd name="csX4" fmla="*/ 155620 w 368194"/>
                    <a:gd name="csY4" fmla="*/ 24299 h 244491"/>
                    <a:gd name="csX5" fmla="*/ 150530 w 368194"/>
                    <a:gd name="csY5" fmla="*/ 32622 h 244491"/>
                    <a:gd name="csX6" fmla="*/ 146176 w 368194"/>
                    <a:gd name="csY6" fmla="*/ 31182 h 244491"/>
                    <a:gd name="csX7" fmla="*/ 144736 w 368194"/>
                    <a:gd name="csY7" fmla="*/ 29357 h 244491"/>
                    <a:gd name="csX8" fmla="*/ 140382 w 368194"/>
                    <a:gd name="csY8" fmla="*/ 17384 h 244491"/>
                    <a:gd name="csX9" fmla="*/ 104814 w 368194"/>
                    <a:gd name="csY9" fmla="*/ 41330 h 244491"/>
                    <a:gd name="csX10" fmla="*/ 99020 w 368194"/>
                    <a:gd name="csY10" fmla="*/ 51863 h 244491"/>
                    <a:gd name="csX11" fmla="*/ 62748 w 368194"/>
                    <a:gd name="csY11" fmla="*/ 73248 h 244491"/>
                    <a:gd name="csX12" fmla="*/ 28268 w 368194"/>
                    <a:gd name="csY12" fmla="*/ 71455 h 244491"/>
                    <a:gd name="csX13" fmla="*/ 16295 w 368194"/>
                    <a:gd name="csY13" fmla="*/ 75809 h 244491"/>
                    <a:gd name="csX14" fmla="*/ 13030 w 368194"/>
                    <a:gd name="csY14" fmla="*/ 62748 h 244491"/>
                    <a:gd name="csX15" fmla="*/ 18856 w 368194"/>
                    <a:gd name="csY15" fmla="*/ 48950 h 244491"/>
                    <a:gd name="csX16" fmla="*/ 14502 w 368194"/>
                    <a:gd name="csY16" fmla="*/ 40626 h 244491"/>
                    <a:gd name="csX17" fmla="*/ 0 w 368194"/>
                    <a:gd name="csY17" fmla="*/ 48950 h 244491"/>
                    <a:gd name="csX18" fmla="*/ 2529 w 368194"/>
                    <a:gd name="csY18" fmla="*/ 69631 h 244491"/>
                    <a:gd name="csX19" fmla="*/ 7587 w 368194"/>
                    <a:gd name="csY19" fmla="*/ 84517 h 244491"/>
                    <a:gd name="csX20" fmla="*/ 27564 w 368194"/>
                    <a:gd name="csY20" fmla="*/ 104110 h 244491"/>
                    <a:gd name="csX21" fmla="*/ 30830 w 368194"/>
                    <a:gd name="csY21" fmla="*/ 102637 h 244491"/>
                    <a:gd name="csX22" fmla="*/ 39537 w 368194"/>
                    <a:gd name="csY22" fmla="*/ 85221 h 244491"/>
                    <a:gd name="csX23" fmla="*/ 44596 w 368194"/>
                    <a:gd name="csY23" fmla="*/ 85958 h 244491"/>
                    <a:gd name="csX24" fmla="*/ 43891 w 368194"/>
                    <a:gd name="csY24" fmla="*/ 94666 h 244491"/>
                    <a:gd name="csX25" fmla="*/ 51479 w 368194"/>
                    <a:gd name="csY25" fmla="*/ 101549 h 244491"/>
                    <a:gd name="csX26" fmla="*/ 50774 w 368194"/>
                    <a:gd name="csY26" fmla="*/ 112081 h 244491"/>
                    <a:gd name="csX27" fmla="*/ 55833 w 368194"/>
                    <a:gd name="csY27" fmla="*/ 117876 h 244491"/>
                    <a:gd name="csX28" fmla="*/ 60186 w 368194"/>
                    <a:gd name="csY28" fmla="*/ 114611 h 244491"/>
                    <a:gd name="csX29" fmla="*/ 75809 w 368194"/>
                    <a:gd name="csY29" fmla="*/ 115347 h 244491"/>
                    <a:gd name="csX30" fmla="*/ 96490 w 368194"/>
                    <a:gd name="csY30" fmla="*/ 100844 h 244491"/>
                    <a:gd name="csX31" fmla="*/ 97931 w 368194"/>
                    <a:gd name="csY31" fmla="*/ 102637 h 244491"/>
                    <a:gd name="csX32" fmla="*/ 111729 w 368194"/>
                    <a:gd name="csY32" fmla="*/ 100844 h 244491"/>
                    <a:gd name="csX33" fmla="*/ 111729 w 368194"/>
                    <a:gd name="csY33" fmla="*/ 145440 h 244491"/>
                    <a:gd name="csX34" fmla="*/ 120405 w 368194"/>
                    <a:gd name="csY34" fmla="*/ 175565 h 244491"/>
                    <a:gd name="csX35" fmla="*/ 159238 w 368194"/>
                    <a:gd name="csY35" fmla="*/ 175565 h 244491"/>
                    <a:gd name="csX36" fmla="*/ 166121 w 368194"/>
                    <a:gd name="csY36" fmla="*/ 171211 h 244491"/>
                    <a:gd name="csX37" fmla="*/ 196246 w 368194"/>
                    <a:gd name="csY37" fmla="*/ 154884 h 244491"/>
                    <a:gd name="csX38" fmla="*/ 203129 w 368194"/>
                    <a:gd name="csY38" fmla="*/ 166121 h 244491"/>
                    <a:gd name="csX39" fmla="*/ 221281 w 368194"/>
                    <a:gd name="csY39" fmla="*/ 156709 h 244491"/>
                    <a:gd name="csX40" fmla="*/ 226340 w 368194"/>
                    <a:gd name="csY40" fmla="*/ 159238 h 244491"/>
                    <a:gd name="csX41" fmla="*/ 235047 w 368194"/>
                    <a:gd name="csY41" fmla="*/ 166857 h 244491"/>
                    <a:gd name="csX42" fmla="*/ 247021 w 368194"/>
                    <a:gd name="csY42" fmla="*/ 166857 h 244491"/>
                    <a:gd name="csX43" fmla="*/ 267702 w 368194"/>
                    <a:gd name="csY43" fmla="*/ 190068 h 244491"/>
                    <a:gd name="csX44" fmla="*/ 265173 w 368194"/>
                    <a:gd name="csY44" fmla="*/ 217632 h 244491"/>
                    <a:gd name="csX45" fmla="*/ 279675 w 368194"/>
                    <a:gd name="csY45" fmla="*/ 233959 h 244491"/>
                    <a:gd name="csX46" fmla="*/ 280379 w 368194"/>
                    <a:gd name="csY46" fmla="*/ 240138 h 244491"/>
                    <a:gd name="csX47" fmla="*/ 293441 w 368194"/>
                    <a:gd name="csY47" fmla="*/ 237576 h 244491"/>
                    <a:gd name="csX48" fmla="*/ 311593 w 368194"/>
                    <a:gd name="csY48" fmla="*/ 244492 h 244491"/>
                    <a:gd name="csX49" fmla="*/ 318476 w 368194"/>
                    <a:gd name="csY49" fmla="*/ 239401 h 244491"/>
                    <a:gd name="csX50" fmla="*/ 319212 w 368194"/>
                    <a:gd name="csY50" fmla="*/ 206747 h 244491"/>
                    <a:gd name="csX51" fmla="*/ 328657 w 368194"/>
                    <a:gd name="csY51" fmla="*/ 178094 h 244491"/>
                    <a:gd name="csX52" fmla="*/ 332274 w 368194"/>
                    <a:gd name="csY52" fmla="*/ 148001 h 244491"/>
                    <a:gd name="csX53" fmla="*/ 321742 w 368194"/>
                    <a:gd name="csY53" fmla="*/ 133467 h 244491"/>
                    <a:gd name="csX54" fmla="*/ 321742 w 368194"/>
                    <a:gd name="csY54" fmla="*/ 120405 h 244491"/>
                    <a:gd name="csX55" fmla="*/ 332979 w 368194"/>
                    <a:gd name="csY55" fmla="*/ 108464 h 244491"/>
                    <a:gd name="csX56" fmla="*/ 339157 w 368194"/>
                    <a:gd name="csY56" fmla="*/ 92841 h 244491"/>
                    <a:gd name="csX57" fmla="*/ 346777 w 368194"/>
                    <a:gd name="csY57" fmla="*/ 85958 h 244491"/>
                    <a:gd name="csX58" fmla="*/ 364192 w 368194"/>
                    <a:gd name="csY58" fmla="*/ 64541 h 244491"/>
                    <a:gd name="csX59" fmla="*/ 368194 w 368194"/>
                    <a:gd name="csY59" fmla="*/ 56921 h 244491"/>
                    <a:gd name="csX60" fmla="*/ 352955 w 368194"/>
                    <a:gd name="csY60" fmla="*/ 60187 h 244491"/>
                    <a:gd name="csX61" fmla="*/ 352955 w 368194"/>
                    <a:gd name="csY61" fmla="*/ 45684 h 244491"/>
                    <a:gd name="csX62" fmla="*/ 329745 w 368194"/>
                    <a:gd name="csY62" fmla="*/ 30093 h 244491"/>
                    <a:gd name="csX63" fmla="*/ 313418 w 368194"/>
                    <a:gd name="csY63" fmla="*/ 1793 h 244491"/>
                    <a:gd name="csX64" fmla="*/ 307239 w 368194"/>
                    <a:gd name="csY64" fmla="*/ 0 h 244491"/>
                    <a:gd name="csX65" fmla="*/ 292737 w 368194"/>
                    <a:gd name="csY65" fmla="*/ 11237 h 244491"/>
                    <a:gd name="csX66" fmla="*/ 261523 w 368194"/>
                    <a:gd name="csY66" fmla="*/ 21738 h 244491"/>
                    <a:gd name="csX67" fmla="*/ 255729 w 368194"/>
                    <a:gd name="csY67" fmla="*/ 18120 h 244491"/>
                    <a:gd name="csX68" fmla="*/ 233223 w 368194"/>
                    <a:gd name="csY68" fmla="*/ 16295 h 244491"/>
                    <a:gd name="csX69" fmla="*/ 226340 w 368194"/>
                    <a:gd name="csY69" fmla="*/ 18856 h 244491"/>
                    <a:gd name="csX70" fmla="*/ 219457 w 368194"/>
                    <a:gd name="csY70" fmla="*/ 13766 h 2444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68194" h="244491">
                      <a:moveTo>
                        <a:pt x="219457" y="13766"/>
                      </a:moveTo>
                      <a:lnTo>
                        <a:pt x="191156" y="9412"/>
                      </a:lnTo>
                      <a:lnTo>
                        <a:pt x="186802" y="5442"/>
                      </a:lnTo>
                      <a:lnTo>
                        <a:pt x="165385" y="25003"/>
                      </a:lnTo>
                      <a:lnTo>
                        <a:pt x="155620" y="24299"/>
                      </a:lnTo>
                      <a:lnTo>
                        <a:pt x="150530" y="32622"/>
                      </a:lnTo>
                      <a:lnTo>
                        <a:pt x="146176" y="31182"/>
                      </a:lnTo>
                      <a:lnTo>
                        <a:pt x="144736" y="29357"/>
                      </a:lnTo>
                      <a:lnTo>
                        <a:pt x="140382" y="17384"/>
                      </a:lnTo>
                      <a:lnTo>
                        <a:pt x="104814" y="41330"/>
                      </a:lnTo>
                      <a:lnTo>
                        <a:pt x="99020" y="51863"/>
                      </a:lnTo>
                      <a:lnTo>
                        <a:pt x="62748" y="73248"/>
                      </a:lnTo>
                      <a:lnTo>
                        <a:pt x="28268" y="71455"/>
                      </a:lnTo>
                      <a:lnTo>
                        <a:pt x="16295" y="75809"/>
                      </a:lnTo>
                      <a:lnTo>
                        <a:pt x="13030" y="62748"/>
                      </a:lnTo>
                      <a:lnTo>
                        <a:pt x="18856" y="48950"/>
                      </a:lnTo>
                      <a:lnTo>
                        <a:pt x="14502" y="40626"/>
                      </a:lnTo>
                      <a:lnTo>
                        <a:pt x="0" y="48950"/>
                      </a:lnTo>
                      <a:lnTo>
                        <a:pt x="2529" y="69631"/>
                      </a:lnTo>
                      <a:lnTo>
                        <a:pt x="7587" y="84517"/>
                      </a:lnTo>
                      <a:lnTo>
                        <a:pt x="27564" y="104110"/>
                      </a:lnTo>
                      <a:lnTo>
                        <a:pt x="30830" y="102637"/>
                      </a:lnTo>
                      <a:lnTo>
                        <a:pt x="39537" y="85221"/>
                      </a:lnTo>
                      <a:lnTo>
                        <a:pt x="44596" y="85958"/>
                      </a:lnTo>
                      <a:lnTo>
                        <a:pt x="43891" y="94666"/>
                      </a:lnTo>
                      <a:lnTo>
                        <a:pt x="51479" y="101549"/>
                      </a:lnTo>
                      <a:lnTo>
                        <a:pt x="50774" y="112081"/>
                      </a:lnTo>
                      <a:lnTo>
                        <a:pt x="55833" y="117876"/>
                      </a:lnTo>
                      <a:lnTo>
                        <a:pt x="60186" y="114611"/>
                      </a:lnTo>
                      <a:lnTo>
                        <a:pt x="75809" y="115347"/>
                      </a:lnTo>
                      <a:lnTo>
                        <a:pt x="96490" y="100844"/>
                      </a:lnTo>
                      <a:lnTo>
                        <a:pt x="97931" y="102637"/>
                      </a:lnTo>
                      <a:lnTo>
                        <a:pt x="111729" y="100844"/>
                      </a:lnTo>
                      <a:lnTo>
                        <a:pt x="111729" y="145440"/>
                      </a:lnTo>
                      <a:lnTo>
                        <a:pt x="120405" y="175565"/>
                      </a:lnTo>
                      <a:lnTo>
                        <a:pt x="159238" y="175565"/>
                      </a:lnTo>
                      <a:lnTo>
                        <a:pt x="166121" y="171211"/>
                      </a:lnTo>
                      <a:lnTo>
                        <a:pt x="196246" y="154884"/>
                      </a:lnTo>
                      <a:lnTo>
                        <a:pt x="203129" y="166121"/>
                      </a:lnTo>
                      <a:lnTo>
                        <a:pt x="221281" y="156709"/>
                      </a:lnTo>
                      <a:lnTo>
                        <a:pt x="226340" y="159238"/>
                      </a:lnTo>
                      <a:lnTo>
                        <a:pt x="235047" y="166857"/>
                      </a:lnTo>
                      <a:lnTo>
                        <a:pt x="247021" y="166857"/>
                      </a:lnTo>
                      <a:lnTo>
                        <a:pt x="267702" y="190068"/>
                      </a:lnTo>
                      <a:lnTo>
                        <a:pt x="265173" y="217632"/>
                      </a:lnTo>
                      <a:lnTo>
                        <a:pt x="279675" y="233959"/>
                      </a:lnTo>
                      <a:lnTo>
                        <a:pt x="280379" y="240138"/>
                      </a:lnTo>
                      <a:lnTo>
                        <a:pt x="293441" y="237576"/>
                      </a:lnTo>
                      <a:lnTo>
                        <a:pt x="311593" y="244492"/>
                      </a:lnTo>
                      <a:lnTo>
                        <a:pt x="318476" y="239401"/>
                      </a:lnTo>
                      <a:lnTo>
                        <a:pt x="319212" y="206747"/>
                      </a:lnTo>
                      <a:lnTo>
                        <a:pt x="328657" y="178094"/>
                      </a:lnTo>
                      <a:lnTo>
                        <a:pt x="332274" y="148001"/>
                      </a:lnTo>
                      <a:lnTo>
                        <a:pt x="321742" y="133467"/>
                      </a:lnTo>
                      <a:lnTo>
                        <a:pt x="321742" y="120405"/>
                      </a:lnTo>
                      <a:lnTo>
                        <a:pt x="332979" y="108464"/>
                      </a:lnTo>
                      <a:lnTo>
                        <a:pt x="339157" y="92841"/>
                      </a:lnTo>
                      <a:lnTo>
                        <a:pt x="346777" y="85958"/>
                      </a:lnTo>
                      <a:lnTo>
                        <a:pt x="364192" y="64541"/>
                      </a:lnTo>
                      <a:lnTo>
                        <a:pt x="368194" y="56921"/>
                      </a:lnTo>
                      <a:lnTo>
                        <a:pt x="352955" y="60187"/>
                      </a:lnTo>
                      <a:lnTo>
                        <a:pt x="352955" y="45684"/>
                      </a:lnTo>
                      <a:lnTo>
                        <a:pt x="329745" y="30093"/>
                      </a:lnTo>
                      <a:lnTo>
                        <a:pt x="313418" y="1793"/>
                      </a:lnTo>
                      <a:lnTo>
                        <a:pt x="307239" y="0"/>
                      </a:lnTo>
                      <a:lnTo>
                        <a:pt x="292737" y="11237"/>
                      </a:lnTo>
                      <a:lnTo>
                        <a:pt x="261523" y="21738"/>
                      </a:lnTo>
                      <a:lnTo>
                        <a:pt x="255729" y="18120"/>
                      </a:lnTo>
                      <a:lnTo>
                        <a:pt x="233223" y="16295"/>
                      </a:lnTo>
                      <a:lnTo>
                        <a:pt x="226340" y="18856"/>
                      </a:lnTo>
                      <a:lnTo>
                        <a:pt x="219457" y="1376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F1A64DDC-01ED-ABE8-EDB6-1B92CA0DB911}"/>
                    </a:ext>
                  </a:extLst>
                </p:cNvPr>
                <p:cNvSpPr/>
                <p:nvPr/>
              </p:nvSpPr>
              <p:spPr>
                <a:xfrm>
                  <a:off x="2179691" y="5364509"/>
                  <a:ext cx="526695" cy="358045"/>
                </a:xfrm>
                <a:custGeom>
                  <a:avLst/>
                  <a:gdLst>
                    <a:gd name="csX0" fmla="*/ 413174 w 526695"/>
                    <a:gd name="csY0" fmla="*/ 25035 h 358045"/>
                    <a:gd name="csX1" fmla="*/ 421145 w 526695"/>
                    <a:gd name="csY1" fmla="*/ 10532 h 358045"/>
                    <a:gd name="csX2" fmla="*/ 410613 w 526695"/>
                    <a:gd name="csY2" fmla="*/ 0 h 358045"/>
                    <a:gd name="csX3" fmla="*/ 403730 w 526695"/>
                    <a:gd name="csY3" fmla="*/ 2561 h 358045"/>
                    <a:gd name="csX4" fmla="*/ 404818 w 526695"/>
                    <a:gd name="csY4" fmla="*/ 8708 h 358045"/>
                    <a:gd name="csX5" fmla="*/ 391757 w 526695"/>
                    <a:gd name="csY5" fmla="*/ 25035 h 358045"/>
                    <a:gd name="csX6" fmla="*/ 391757 w 526695"/>
                    <a:gd name="csY6" fmla="*/ 29389 h 358045"/>
                    <a:gd name="csX7" fmla="*/ 381608 w 526695"/>
                    <a:gd name="csY7" fmla="*/ 29389 h 358045"/>
                    <a:gd name="csX8" fmla="*/ 362368 w 526695"/>
                    <a:gd name="csY8" fmla="*/ 37008 h 358045"/>
                    <a:gd name="csX9" fmla="*/ 335892 w 526695"/>
                    <a:gd name="csY9" fmla="*/ 25771 h 358045"/>
                    <a:gd name="csX10" fmla="*/ 329745 w 526695"/>
                    <a:gd name="csY10" fmla="*/ 34479 h 358045"/>
                    <a:gd name="csX11" fmla="*/ 331538 w 526695"/>
                    <a:gd name="csY11" fmla="*/ 54424 h 358045"/>
                    <a:gd name="csX12" fmla="*/ 322830 w 526695"/>
                    <a:gd name="csY12" fmla="*/ 58426 h 358045"/>
                    <a:gd name="csX13" fmla="*/ 295266 w 526695"/>
                    <a:gd name="csY13" fmla="*/ 55160 h 358045"/>
                    <a:gd name="csX14" fmla="*/ 282588 w 526695"/>
                    <a:gd name="csY14" fmla="*/ 70751 h 358045"/>
                    <a:gd name="csX15" fmla="*/ 277146 w 526695"/>
                    <a:gd name="csY15" fmla="*/ 70751 h 358045"/>
                    <a:gd name="csX16" fmla="*/ 274585 w 526695"/>
                    <a:gd name="csY16" fmla="*/ 58426 h 358045"/>
                    <a:gd name="csX17" fmla="*/ 267702 w 526695"/>
                    <a:gd name="csY17" fmla="*/ 53335 h 358045"/>
                    <a:gd name="csX18" fmla="*/ 261907 w 526695"/>
                    <a:gd name="csY18" fmla="*/ 53335 h 358045"/>
                    <a:gd name="csX19" fmla="*/ 255729 w 526695"/>
                    <a:gd name="csY19" fmla="*/ 64572 h 358045"/>
                    <a:gd name="csX20" fmla="*/ 252463 w 526695"/>
                    <a:gd name="csY20" fmla="*/ 77634 h 358045"/>
                    <a:gd name="csX21" fmla="*/ 275673 w 526695"/>
                    <a:gd name="csY21" fmla="*/ 104109 h 358045"/>
                    <a:gd name="csX22" fmla="*/ 273144 w 526695"/>
                    <a:gd name="csY22" fmla="*/ 111729 h 358045"/>
                    <a:gd name="csX23" fmla="*/ 258258 w 526695"/>
                    <a:gd name="csY23" fmla="*/ 111025 h 358045"/>
                    <a:gd name="csX24" fmla="*/ 250638 w 526695"/>
                    <a:gd name="csY24" fmla="*/ 116083 h 358045"/>
                    <a:gd name="csX25" fmla="*/ 236872 w 526695"/>
                    <a:gd name="csY25" fmla="*/ 112818 h 358045"/>
                    <a:gd name="csX26" fmla="*/ 229253 w 526695"/>
                    <a:gd name="csY26" fmla="*/ 129145 h 358045"/>
                    <a:gd name="csX27" fmla="*/ 221281 w 526695"/>
                    <a:gd name="csY27" fmla="*/ 126615 h 358045"/>
                    <a:gd name="csX28" fmla="*/ 219457 w 526695"/>
                    <a:gd name="csY28" fmla="*/ 117171 h 358045"/>
                    <a:gd name="csX29" fmla="*/ 214366 w 526695"/>
                    <a:gd name="csY29" fmla="*/ 113554 h 358045"/>
                    <a:gd name="csX30" fmla="*/ 206747 w 526695"/>
                    <a:gd name="csY30" fmla="*/ 116083 h 358045"/>
                    <a:gd name="csX31" fmla="*/ 202393 w 526695"/>
                    <a:gd name="csY31" fmla="*/ 111025 h 358045"/>
                    <a:gd name="csX32" fmla="*/ 191156 w 526695"/>
                    <a:gd name="csY32" fmla="*/ 118644 h 358045"/>
                    <a:gd name="csX33" fmla="*/ 184273 w 526695"/>
                    <a:gd name="csY33" fmla="*/ 111025 h 358045"/>
                    <a:gd name="csX34" fmla="*/ 175565 w 526695"/>
                    <a:gd name="csY34" fmla="*/ 113554 h 358045"/>
                    <a:gd name="csX35" fmla="*/ 179183 w 526695"/>
                    <a:gd name="csY35" fmla="*/ 139325 h 358045"/>
                    <a:gd name="csX36" fmla="*/ 170475 w 526695"/>
                    <a:gd name="csY36" fmla="*/ 136764 h 358045"/>
                    <a:gd name="csX37" fmla="*/ 169739 w 526695"/>
                    <a:gd name="csY37" fmla="*/ 144768 h 358045"/>
                    <a:gd name="csX38" fmla="*/ 151619 w 526695"/>
                    <a:gd name="csY38" fmla="*/ 157445 h 358045"/>
                    <a:gd name="csX39" fmla="*/ 137821 w 526695"/>
                    <a:gd name="csY39" fmla="*/ 148033 h 358045"/>
                    <a:gd name="csX40" fmla="*/ 125847 w 526695"/>
                    <a:gd name="csY40" fmla="*/ 124791 h 358045"/>
                    <a:gd name="csX41" fmla="*/ 114610 w 526695"/>
                    <a:gd name="csY41" fmla="*/ 124791 h 358045"/>
                    <a:gd name="csX42" fmla="*/ 122230 w 526695"/>
                    <a:gd name="csY42" fmla="*/ 129145 h 358045"/>
                    <a:gd name="csX43" fmla="*/ 125847 w 526695"/>
                    <a:gd name="csY43" fmla="*/ 136764 h 358045"/>
                    <a:gd name="csX44" fmla="*/ 114610 w 526695"/>
                    <a:gd name="csY44" fmla="*/ 147296 h 358045"/>
                    <a:gd name="csX45" fmla="*/ 92137 w 526695"/>
                    <a:gd name="csY45" fmla="*/ 146208 h 358045"/>
                    <a:gd name="csX46" fmla="*/ 79427 w 526695"/>
                    <a:gd name="csY46" fmla="*/ 138589 h 358045"/>
                    <a:gd name="csX47" fmla="*/ 74337 w 526695"/>
                    <a:gd name="csY47" fmla="*/ 143679 h 358045"/>
                    <a:gd name="csX48" fmla="*/ 50038 w 526695"/>
                    <a:gd name="csY48" fmla="*/ 141118 h 358045"/>
                    <a:gd name="csX49" fmla="*/ 47509 w 526695"/>
                    <a:gd name="csY49" fmla="*/ 164328 h 358045"/>
                    <a:gd name="csX50" fmla="*/ 53656 w 526695"/>
                    <a:gd name="csY50" fmla="*/ 166889 h 358045"/>
                    <a:gd name="csX51" fmla="*/ 57657 w 526695"/>
                    <a:gd name="csY51" fmla="*/ 176301 h 358045"/>
                    <a:gd name="csX52" fmla="*/ 36976 w 526695"/>
                    <a:gd name="csY52" fmla="*/ 183217 h 358045"/>
                    <a:gd name="csX53" fmla="*/ 34447 w 526695"/>
                    <a:gd name="csY53" fmla="*/ 192629 h 358045"/>
                    <a:gd name="csX54" fmla="*/ 38801 w 526695"/>
                    <a:gd name="csY54" fmla="*/ 201336 h 358045"/>
                    <a:gd name="csX55" fmla="*/ 34447 w 526695"/>
                    <a:gd name="csY55" fmla="*/ 199512 h 358045"/>
                    <a:gd name="csX56" fmla="*/ 29357 w 526695"/>
                    <a:gd name="csY56" fmla="*/ 204954 h 358045"/>
                    <a:gd name="csX57" fmla="*/ 26092 w 526695"/>
                    <a:gd name="csY57" fmla="*/ 193717 h 358045"/>
                    <a:gd name="csX58" fmla="*/ 13766 w 526695"/>
                    <a:gd name="csY58" fmla="*/ 191924 h 358045"/>
                    <a:gd name="csX59" fmla="*/ 10501 w 526695"/>
                    <a:gd name="csY59" fmla="*/ 198807 h 358045"/>
                    <a:gd name="csX60" fmla="*/ 11237 w 526695"/>
                    <a:gd name="csY60" fmla="*/ 210044 h 358045"/>
                    <a:gd name="csX61" fmla="*/ 0 w 526695"/>
                    <a:gd name="csY61" fmla="*/ 225283 h 358045"/>
                    <a:gd name="csX62" fmla="*/ 13030 w 526695"/>
                    <a:gd name="csY62" fmla="*/ 228901 h 358045"/>
                    <a:gd name="csX63" fmla="*/ 12325 w 526695"/>
                    <a:gd name="csY63" fmla="*/ 238345 h 358045"/>
                    <a:gd name="csX64" fmla="*/ 23562 w 526695"/>
                    <a:gd name="csY64" fmla="*/ 249582 h 358045"/>
                    <a:gd name="csX65" fmla="*/ 20649 w 526695"/>
                    <a:gd name="csY65" fmla="*/ 266645 h 358045"/>
                    <a:gd name="csX66" fmla="*/ 26828 w 526695"/>
                    <a:gd name="csY66" fmla="*/ 272792 h 358045"/>
                    <a:gd name="csX67" fmla="*/ 31182 w 526695"/>
                    <a:gd name="csY67" fmla="*/ 275353 h 358045"/>
                    <a:gd name="csX68" fmla="*/ 26092 w 526695"/>
                    <a:gd name="csY68" fmla="*/ 280411 h 358045"/>
                    <a:gd name="csX69" fmla="*/ 31918 w 526695"/>
                    <a:gd name="csY69" fmla="*/ 293473 h 358045"/>
                    <a:gd name="csX70" fmla="*/ 46773 w 526695"/>
                    <a:gd name="csY70" fmla="*/ 291680 h 358045"/>
                    <a:gd name="csX71" fmla="*/ 54392 w 526695"/>
                    <a:gd name="csY71" fmla="*/ 299300 h 358045"/>
                    <a:gd name="csX72" fmla="*/ 61275 w 526695"/>
                    <a:gd name="csY72" fmla="*/ 297827 h 358045"/>
                    <a:gd name="csX73" fmla="*/ 64540 w 526695"/>
                    <a:gd name="csY73" fmla="*/ 288415 h 358045"/>
                    <a:gd name="csX74" fmla="*/ 74337 w 526695"/>
                    <a:gd name="csY74" fmla="*/ 296034 h 358045"/>
                    <a:gd name="csX75" fmla="*/ 86310 w 526695"/>
                    <a:gd name="csY75" fmla="*/ 291680 h 358045"/>
                    <a:gd name="csX76" fmla="*/ 83781 w 526695"/>
                    <a:gd name="csY76" fmla="*/ 278970 h 358045"/>
                    <a:gd name="csX77" fmla="*/ 100844 w 526695"/>
                    <a:gd name="csY77" fmla="*/ 270999 h 358045"/>
                    <a:gd name="csX78" fmla="*/ 112818 w 526695"/>
                    <a:gd name="csY78" fmla="*/ 276057 h 358045"/>
                    <a:gd name="csX79" fmla="*/ 121494 w 526695"/>
                    <a:gd name="csY79" fmla="*/ 286590 h 358045"/>
                    <a:gd name="csX80" fmla="*/ 125847 w 526695"/>
                    <a:gd name="csY80" fmla="*/ 309064 h 358045"/>
                    <a:gd name="csX81" fmla="*/ 146529 w 526695"/>
                    <a:gd name="csY81" fmla="*/ 329393 h 358045"/>
                    <a:gd name="csX82" fmla="*/ 157798 w 526695"/>
                    <a:gd name="csY82" fmla="*/ 326864 h 358045"/>
                    <a:gd name="csX83" fmla="*/ 163592 w 526695"/>
                    <a:gd name="csY83" fmla="*/ 317419 h 358045"/>
                    <a:gd name="csX84" fmla="*/ 173004 w 526695"/>
                    <a:gd name="csY84" fmla="*/ 326864 h 358045"/>
                    <a:gd name="csX85" fmla="*/ 181008 w 526695"/>
                    <a:gd name="csY85" fmla="*/ 327952 h 358045"/>
                    <a:gd name="csX86" fmla="*/ 185362 w 526695"/>
                    <a:gd name="csY86" fmla="*/ 333010 h 358045"/>
                    <a:gd name="csX87" fmla="*/ 198039 w 526695"/>
                    <a:gd name="csY87" fmla="*/ 334835 h 358045"/>
                    <a:gd name="csX88" fmla="*/ 213662 w 526695"/>
                    <a:gd name="csY88" fmla="*/ 344279 h 358045"/>
                    <a:gd name="csX89" fmla="*/ 218720 w 526695"/>
                    <a:gd name="csY89" fmla="*/ 344983 h 358045"/>
                    <a:gd name="csX90" fmla="*/ 278235 w 526695"/>
                    <a:gd name="csY90" fmla="*/ 356253 h 358045"/>
                    <a:gd name="csX91" fmla="*/ 290912 w 526695"/>
                    <a:gd name="csY91" fmla="*/ 358045 h 358045"/>
                    <a:gd name="csX92" fmla="*/ 304710 w 526695"/>
                    <a:gd name="csY92" fmla="*/ 352987 h 358045"/>
                    <a:gd name="csX93" fmla="*/ 310857 w 526695"/>
                    <a:gd name="csY93" fmla="*/ 349338 h 358045"/>
                    <a:gd name="csX94" fmla="*/ 312682 w 526695"/>
                    <a:gd name="csY94" fmla="*/ 336276 h 358045"/>
                    <a:gd name="csX95" fmla="*/ 317036 w 526695"/>
                    <a:gd name="csY95" fmla="*/ 331218 h 358045"/>
                    <a:gd name="csX96" fmla="*/ 323919 w 526695"/>
                    <a:gd name="csY96" fmla="*/ 329393 h 358045"/>
                    <a:gd name="csX97" fmla="*/ 330834 w 526695"/>
                    <a:gd name="csY97" fmla="*/ 319981 h 358045"/>
                    <a:gd name="csX98" fmla="*/ 351131 w 526695"/>
                    <a:gd name="csY98" fmla="*/ 317419 h 358045"/>
                    <a:gd name="csX99" fmla="*/ 356573 w 526695"/>
                    <a:gd name="csY99" fmla="*/ 310537 h 358045"/>
                    <a:gd name="csX100" fmla="*/ 372900 w 526695"/>
                    <a:gd name="csY100" fmla="*/ 299300 h 358045"/>
                    <a:gd name="csX101" fmla="*/ 375429 w 526695"/>
                    <a:gd name="csY101" fmla="*/ 281500 h 358045"/>
                    <a:gd name="csX102" fmla="*/ 386698 w 526695"/>
                    <a:gd name="csY102" fmla="*/ 281500 h 358045"/>
                    <a:gd name="csX103" fmla="*/ 397935 w 526695"/>
                    <a:gd name="csY103" fmla="*/ 284765 h 358045"/>
                    <a:gd name="csX104" fmla="*/ 423675 w 526695"/>
                    <a:gd name="csY104" fmla="*/ 273528 h 358045"/>
                    <a:gd name="csX105" fmla="*/ 437473 w 526695"/>
                    <a:gd name="csY105" fmla="*/ 282972 h 358045"/>
                    <a:gd name="csX106" fmla="*/ 457065 w 526695"/>
                    <a:gd name="csY106" fmla="*/ 277882 h 358045"/>
                    <a:gd name="csX107" fmla="*/ 465773 w 526695"/>
                    <a:gd name="csY107" fmla="*/ 261555 h 358045"/>
                    <a:gd name="csX108" fmla="*/ 463212 w 526695"/>
                    <a:gd name="csY108" fmla="*/ 255408 h 358045"/>
                    <a:gd name="csX109" fmla="*/ 444356 w 526695"/>
                    <a:gd name="csY109" fmla="*/ 254672 h 358045"/>
                    <a:gd name="csX110" fmla="*/ 450150 w 526695"/>
                    <a:gd name="csY110" fmla="*/ 240874 h 358045"/>
                    <a:gd name="csX111" fmla="*/ 451975 w 526695"/>
                    <a:gd name="csY111" fmla="*/ 235079 h 358045"/>
                    <a:gd name="csX112" fmla="*/ 466477 w 526695"/>
                    <a:gd name="csY112" fmla="*/ 236520 h 358045"/>
                    <a:gd name="csX113" fmla="*/ 474481 w 526695"/>
                    <a:gd name="csY113" fmla="*/ 218752 h 358045"/>
                    <a:gd name="csX114" fmla="*/ 488247 w 526695"/>
                    <a:gd name="csY114" fmla="*/ 216927 h 358045"/>
                    <a:gd name="csX115" fmla="*/ 497691 w 526695"/>
                    <a:gd name="csY115" fmla="*/ 223842 h 358045"/>
                    <a:gd name="csX116" fmla="*/ 506399 w 526695"/>
                    <a:gd name="csY116" fmla="*/ 216927 h 358045"/>
                    <a:gd name="csX117" fmla="*/ 512194 w 526695"/>
                    <a:gd name="csY117" fmla="*/ 199512 h 358045"/>
                    <a:gd name="csX118" fmla="*/ 526696 w 526695"/>
                    <a:gd name="csY118" fmla="*/ 188659 h 358045"/>
                    <a:gd name="csX119" fmla="*/ 525992 w 526695"/>
                    <a:gd name="csY119" fmla="*/ 173772 h 358045"/>
                    <a:gd name="csX120" fmla="*/ 519813 w 526695"/>
                    <a:gd name="csY120" fmla="*/ 171243 h 358045"/>
                    <a:gd name="csX121" fmla="*/ 507840 w 526695"/>
                    <a:gd name="csY121" fmla="*/ 177390 h 358045"/>
                    <a:gd name="csX122" fmla="*/ 492601 w 526695"/>
                    <a:gd name="csY122" fmla="*/ 177390 h 358045"/>
                    <a:gd name="csX123" fmla="*/ 477746 w 526695"/>
                    <a:gd name="csY123" fmla="*/ 166889 h 358045"/>
                    <a:gd name="csX124" fmla="*/ 478835 w 526695"/>
                    <a:gd name="csY124" fmla="*/ 153091 h 358045"/>
                    <a:gd name="csX125" fmla="*/ 484629 w 526695"/>
                    <a:gd name="csY125" fmla="*/ 149826 h 358045"/>
                    <a:gd name="csX126" fmla="*/ 491512 w 526695"/>
                    <a:gd name="csY126" fmla="*/ 159974 h 358045"/>
                    <a:gd name="csX127" fmla="*/ 500220 w 526695"/>
                    <a:gd name="csY127" fmla="*/ 148033 h 358045"/>
                    <a:gd name="csX128" fmla="*/ 507840 w 526695"/>
                    <a:gd name="csY128" fmla="*/ 152355 h 358045"/>
                    <a:gd name="csX129" fmla="*/ 515811 w 526695"/>
                    <a:gd name="csY129" fmla="*/ 148033 h 358045"/>
                    <a:gd name="csX130" fmla="*/ 513282 w 526695"/>
                    <a:gd name="csY130" fmla="*/ 122998 h 358045"/>
                    <a:gd name="csX131" fmla="*/ 502781 w 526695"/>
                    <a:gd name="csY131" fmla="*/ 124086 h 358045"/>
                    <a:gd name="csX132" fmla="*/ 505311 w 526695"/>
                    <a:gd name="csY132" fmla="*/ 117171 h 358045"/>
                    <a:gd name="csX133" fmla="*/ 495866 w 526695"/>
                    <a:gd name="csY133" fmla="*/ 111729 h 358045"/>
                    <a:gd name="csX134" fmla="*/ 498428 w 526695"/>
                    <a:gd name="csY134" fmla="*/ 107759 h 358045"/>
                    <a:gd name="csX135" fmla="*/ 489720 w 526695"/>
                    <a:gd name="csY135" fmla="*/ 97227 h 358045"/>
                    <a:gd name="csX136" fmla="*/ 482805 w 526695"/>
                    <a:gd name="csY136" fmla="*/ 103405 h 358045"/>
                    <a:gd name="csX137" fmla="*/ 477010 w 526695"/>
                    <a:gd name="csY137" fmla="*/ 85990 h 358045"/>
                    <a:gd name="csX138" fmla="*/ 480275 w 526695"/>
                    <a:gd name="csY138" fmla="*/ 75841 h 358045"/>
                    <a:gd name="csX139" fmla="*/ 461419 w 526695"/>
                    <a:gd name="csY139" fmla="*/ 75841 h 358045"/>
                    <a:gd name="csX140" fmla="*/ 456329 w 526695"/>
                    <a:gd name="csY140" fmla="*/ 63868 h 358045"/>
                    <a:gd name="csX141" fmla="*/ 450150 w 526695"/>
                    <a:gd name="csY141" fmla="*/ 62780 h 358045"/>
                    <a:gd name="csX142" fmla="*/ 450150 w 526695"/>
                    <a:gd name="csY142" fmla="*/ 55160 h 358045"/>
                    <a:gd name="csX143" fmla="*/ 433119 w 526695"/>
                    <a:gd name="csY143" fmla="*/ 50806 h 358045"/>
                    <a:gd name="csX144" fmla="*/ 415703 w 526695"/>
                    <a:gd name="csY144" fmla="*/ 36304 h 358045"/>
                    <a:gd name="csX145" fmla="*/ 418616 w 526695"/>
                    <a:gd name="csY145" fmla="*/ 30861 h 358045"/>
                    <a:gd name="csX146" fmla="*/ 413174 w 526695"/>
                    <a:gd name="csY146" fmla="*/ 25035 h 3580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526695" h="358045">
                      <a:moveTo>
                        <a:pt x="413174" y="25035"/>
                      </a:moveTo>
                      <a:lnTo>
                        <a:pt x="421145" y="10532"/>
                      </a:lnTo>
                      <a:lnTo>
                        <a:pt x="410613" y="0"/>
                      </a:lnTo>
                      <a:lnTo>
                        <a:pt x="403730" y="2561"/>
                      </a:lnTo>
                      <a:lnTo>
                        <a:pt x="404818" y="8708"/>
                      </a:lnTo>
                      <a:lnTo>
                        <a:pt x="391757" y="25035"/>
                      </a:lnTo>
                      <a:lnTo>
                        <a:pt x="391757" y="29389"/>
                      </a:lnTo>
                      <a:lnTo>
                        <a:pt x="381608" y="29389"/>
                      </a:lnTo>
                      <a:lnTo>
                        <a:pt x="362368" y="37008"/>
                      </a:lnTo>
                      <a:lnTo>
                        <a:pt x="335892" y="25771"/>
                      </a:lnTo>
                      <a:lnTo>
                        <a:pt x="329745" y="34479"/>
                      </a:lnTo>
                      <a:lnTo>
                        <a:pt x="331538" y="54424"/>
                      </a:lnTo>
                      <a:lnTo>
                        <a:pt x="322830" y="58426"/>
                      </a:lnTo>
                      <a:lnTo>
                        <a:pt x="295266" y="55160"/>
                      </a:lnTo>
                      <a:lnTo>
                        <a:pt x="282588" y="70751"/>
                      </a:lnTo>
                      <a:lnTo>
                        <a:pt x="277146" y="70751"/>
                      </a:lnTo>
                      <a:lnTo>
                        <a:pt x="274585" y="58426"/>
                      </a:lnTo>
                      <a:lnTo>
                        <a:pt x="267702" y="53335"/>
                      </a:lnTo>
                      <a:lnTo>
                        <a:pt x="261907" y="53335"/>
                      </a:lnTo>
                      <a:lnTo>
                        <a:pt x="255729" y="64572"/>
                      </a:lnTo>
                      <a:lnTo>
                        <a:pt x="252463" y="77634"/>
                      </a:lnTo>
                      <a:lnTo>
                        <a:pt x="275673" y="104109"/>
                      </a:lnTo>
                      <a:lnTo>
                        <a:pt x="273144" y="111729"/>
                      </a:lnTo>
                      <a:lnTo>
                        <a:pt x="258258" y="111025"/>
                      </a:lnTo>
                      <a:lnTo>
                        <a:pt x="250638" y="116083"/>
                      </a:lnTo>
                      <a:lnTo>
                        <a:pt x="236872" y="112818"/>
                      </a:lnTo>
                      <a:lnTo>
                        <a:pt x="229253" y="129145"/>
                      </a:lnTo>
                      <a:lnTo>
                        <a:pt x="221281" y="126615"/>
                      </a:lnTo>
                      <a:lnTo>
                        <a:pt x="219457" y="117171"/>
                      </a:lnTo>
                      <a:lnTo>
                        <a:pt x="214366" y="113554"/>
                      </a:lnTo>
                      <a:lnTo>
                        <a:pt x="206747" y="116083"/>
                      </a:lnTo>
                      <a:lnTo>
                        <a:pt x="202393" y="111025"/>
                      </a:lnTo>
                      <a:lnTo>
                        <a:pt x="191156" y="118644"/>
                      </a:lnTo>
                      <a:lnTo>
                        <a:pt x="184273" y="111025"/>
                      </a:lnTo>
                      <a:lnTo>
                        <a:pt x="175565" y="113554"/>
                      </a:lnTo>
                      <a:lnTo>
                        <a:pt x="179183" y="139325"/>
                      </a:lnTo>
                      <a:lnTo>
                        <a:pt x="170475" y="136764"/>
                      </a:lnTo>
                      <a:lnTo>
                        <a:pt x="169739" y="144768"/>
                      </a:lnTo>
                      <a:lnTo>
                        <a:pt x="151619" y="157445"/>
                      </a:lnTo>
                      <a:lnTo>
                        <a:pt x="137821" y="148033"/>
                      </a:lnTo>
                      <a:lnTo>
                        <a:pt x="125847" y="124791"/>
                      </a:lnTo>
                      <a:lnTo>
                        <a:pt x="114610" y="124791"/>
                      </a:lnTo>
                      <a:lnTo>
                        <a:pt x="122230" y="129145"/>
                      </a:lnTo>
                      <a:lnTo>
                        <a:pt x="125847" y="136764"/>
                      </a:lnTo>
                      <a:lnTo>
                        <a:pt x="114610" y="147296"/>
                      </a:lnTo>
                      <a:lnTo>
                        <a:pt x="92137" y="146208"/>
                      </a:lnTo>
                      <a:lnTo>
                        <a:pt x="79427" y="138589"/>
                      </a:lnTo>
                      <a:lnTo>
                        <a:pt x="74337" y="143679"/>
                      </a:lnTo>
                      <a:lnTo>
                        <a:pt x="50038" y="141118"/>
                      </a:lnTo>
                      <a:lnTo>
                        <a:pt x="47509" y="164328"/>
                      </a:lnTo>
                      <a:lnTo>
                        <a:pt x="53656" y="166889"/>
                      </a:lnTo>
                      <a:lnTo>
                        <a:pt x="57657" y="176301"/>
                      </a:lnTo>
                      <a:lnTo>
                        <a:pt x="36976" y="183217"/>
                      </a:lnTo>
                      <a:lnTo>
                        <a:pt x="34447" y="192629"/>
                      </a:lnTo>
                      <a:lnTo>
                        <a:pt x="38801" y="201336"/>
                      </a:lnTo>
                      <a:lnTo>
                        <a:pt x="34447" y="199512"/>
                      </a:lnTo>
                      <a:lnTo>
                        <a:pt x="29357" y="204954"/>
                      </a:lnTo>
                      <a:lnTo>
                        <a:pt x="26092" y="193717"/>
                      </a:lnTo>
                      <a:lnTo>
                        <a:pt x="13766" y="191924"/>
                      </a:lnTo>
                      <a:lnTo>
                        <a:pt x="10501" y="198807"/>
                      </a:lnTo>
                      <a:lnTo>
                        <a:pt x="11237" y="210044"/>
                      </a:lnTo>
                      <a:lnTo>
                        <a:pt x="0" y="225283"/>
                      </a:lnTo>
                      <a:lnTo>
                        <a:pt x="13030" y="228901"/>
                      </a:lnTo>
                      <a:lnTo>
                        <a:pt x="12325" y="238345"/>
                      </a:lnTo>
                      <a:lnTo>
                        <a:pt x="23562" y="249582"/>
                      </a:lnTo>
                      <a:lnTo>
                        <a:pt x="20649" y="266645"/>
                      </a:lnTo>
                      <a:lnTo>
                        <a:pt x="26828" y="272792"/>
                      </a:lnTo>
                      <a:lnTo>
                        <a:pt x="31182" y="275353"/>
                      </a:lnTo>
                      <a:lnTo>
                        <a:pt x="26092" y="280411"/>
                      </a:lnTo>
                      <a:lnTo>
                        <a:pt x="31918" y="293473"/>
                      </a:lnTo>
                      <a:lnTo>
                        <a:pt x="46773" y="291680"/>
                      </a:lnTo>
                      <a:lnTo>
                        <a:pt x="54392" y="299300"/>
                      </a:lnTo>
                      <a:lnTo>
                        <a:pt x="61275" y="297827"/>
                      </a:lnTo>
                      <a:lnTo>
                        <a:pt x="64540" y="288415"/>
                      </a:lnTo>
                      <a:lnTo>
                        <a:pt x="74337" y="296034"/>
                      </a:lnTo>
                      <a:lnTo>
                        <a:pt x="86310" y="291680"/>
                      </a:lnTo>
                      <a:lnTo>
                        <a:pt x="83781" y="278970"/>
                      </a:lnTo>
                      <a:lnTo>
                        <a:pt x="100844" y="270999"/>
                      </a:lnTo>
                      <a:lnTo>
                        <a:pt x="112818" y="276057"/>
                      </a:lnTo>
                      <a:lnTo>
                        <a:pt x="121494" y="286590"/>
                      </a:lnTo>
                      <a:lnTo>
                        <a:pt x="125847" y="309064"/>
                      </a:lnTo>
                      <a:lnTo>
                        <a:pt x="146529" y="329393"/>
                      </a:lnTo>
                      <a:lnTo>
                        <a:pt x="157798" y="326864"/>
                      </a:lnTo>
                      <a:lnTo>
                        <a:pt x="163592" y="317419"/>
                      </a:lnTo>
                      <a:lnTo>
                        <a:pt x="173004" y="326864"/>
                      </a:lnTo>
                      <a:lnTo>
                        <a:pt x="181008" y="327952"/>
                      </a:lnTo>
                      <a:lnTo>
                        <a:pt x="185362" y="333010"/>
                      </a:lnTo>
                      <a:lnTo>
                        <a:pt x="198039" y="334835"/>
                      </a:lnTo>
                      <a:lnTo>
                        <a:pt x="213662" y="344279"/>
                      </a:lnTo>
                      <a:lnTo>
                        <a:pt x="218720" y="344983"/>
                      </a:lnTo>
                      <a:lnTo>
                        <a:pt x="278235" y="356253"/>
                      </a:lnTo>
                      <a:lnTo>
                        <a:pt x="290912" y="358045"/>
                      </a:lnTo>
                      <a:lnTo>
                        <a:pt x="304710" y="352987"/>
                      </a:lnTo>
                      <a:lnTo>
                        <a:pt x="310857" y="349338"/>
                      </a:lnTo>
                      <a:lnTo>
                        <a:pt x="312682" y="336276"/>
                      </a:lnTo>
                      <a:lnTo>
                        <a:pt x="317036" y="331218"/>
                      </a:lnTo>
                      <a:lnTo>
                        <a:pt x="323919" y="329393"/>
                      </a:lnTo>
                      <a:lnTo>
                        <a:pt x="330834" y="319981"/>
                      </a:lnTo>
                      <a:lnTo>
                        <a:pt x="351131" y="317419"/>
                      </a:lnTo>
                      <a:lnTo>
                        <a:pt x="356573" y="310537"/>
                      </a:lnTo>
                      <a:lnTo>
                        <a:pt x="372900" y="299300"/>
                      </a:lnTo>
                      <a:lnTo>
                        <a:pt x="375429" y="281500"/>
                      </a:lnTo>
                      <a:lnTo>
                        <a:pt x="386698" y="281500"/>
                      </a:lnTo>
                      <a:lnTo>
                        <a:pt x="397935" y="284765"/>
                      </a:lnTo>
                      <a:lnTo>
                        <a:pt x="423675" y="273528"/>
                      </a:lnTo>
                      <a:lnTo>
                        <a:pt x="437473" y="282972"/>
                      </a:lnTo>
                      <a:lnTo>
                        <a:pt x="457065" y="277882"/>
                      </a:lnTo>
                      <a:lnTo>
                        <a:pt x="465773" y="261555"/>
                      </a:lnTo>
                      <a:lnTo>
                        <a:pt x="463212" y="255408"/>
                      </a:lnTo>
                      <a:lnTo>
                        <a:pt x="444356" y="254672"/>
                      </a:lnTo>
                      <a:lnTo>
                        <a:pt x="450150" y="240874"/>
                      </a:lnTo>
                      <a:lnTo>
                        <a:pt x="451975" y="235079"/>
                      </a:lnTo>
                      <a:lnTo>
                        <a:pt x="466477" y="236520"/>
                      </a:lnTo>
                      <a:lnTo>
                        <a:pt x="474481" y="218752"/>
                      </a:lnTo>
                      <a:lnTo>
                        <a:pt x="488247" y="216927"/>
                      </a:lnTo>
                      <a:lnTo>
                        <a:pt x="497691" y="223842"/>
                      </a:lnTo>
                      <a:lnTo>
                        <a:pt x="506399" y="216927"/>
                      </a:lnTo>
                      <a:lnTo>
                        <a:pt x="512194" y="199512"/>
                      </a:lnTo>
                      <a:lnTo>
                        <a:pt x="526696" y="188659"/>
                      </a:lnTo>
                      <a:lnTo>
                        <a:pt x="525992" y="173772"/>
                      </a:lnTo>
                      <a:lnTo>
                        <a:pt x="519813" y="171243"/>
                      </a:lnTo>
                      <a:lnTo>
                        <a:pt x="507840" y="177390"/>
                      </a:lnTo>
                      <a:lnTo>
                        <a:pt x="492601" y="177390"/>
                      </a:lnTo>
                      <a:lnTo>
                        <a:pt x="477746" y="166889"/>
                      </a:lnTo>
                      <a:lnTo>
                        <a:pt x="478835" y="153091"/>
                      </a:lnTo>
                      <a:lnTo>
                        <a:pt x="484629" y="149826"/>
                      </a:lnTo>
                      <a:lnTo>
                        <a:pt x="491512" y="159974"/>
                      </a:lnTo>
                      <a:lnTo>
                        <a:pt x="500220" y="148033"/>
                      </a:lnTo>
                      <a:lnTo>
                        <a:pt x="507840" y="152355"/>
                      </a:lnTo>
                      <a:lnTo>
                        <a:pt x="515811" y="148033"/>
                      </a:lnTo>
                      <a:lnTo>
                        <a:pt x="513282" y="122998"/>
                      </a:lnTo>
                      <a:lnTo>
                        <a:pt x="502781" y="124086"/>
                      </a:lnTo>
                      <a:lnTo>
                        <a:pt x="505311" y="117171"/>
                      </a:lnTo>
                      <a:lnTo>
                        <a:pt x="495866" y="111729"/>
                      </a:lnTo>
                      <a:lnTo>
                        <a:pt x="498428" y="107759"/>
                      </a:lnTo>
                      <a:lnTo>
                        <a:pt x="489720" y="97227"/>
                      </a:lnTo>
                      <a:lnTo>
                        <a:pt x="482805" y="103405"/>
                      </a:lnTo>
                      <a:lnTo>
                        <a:pt x="477010" y="85990"/>
                      </a:lnTo>
                      <a:lnTo>
                        <a:pt x="480275" y="75841"/>
                      </a:lnTo>
                      <a:lnTo>
                        <a:pt x="461419" y="75841"/>
                      </a:lnTo>
                      <a:lnTo>
                        <a:pt x="456329" y="63868"/>
                      </a:lnTo>
                      <a:lnTo>
                        <a:pt x="450150" y="62780"/>
                      </a:lnTo>
                      <a:lnTo>
                        <a:pt x="450150" y="55160"/>
                      </a:lnTo>
                      <a:lnTo>
                        <a:pt x="433119" y="50806"/>
                      </a:lnTo>
                      <a:lnTo>
                        <a:pt x="415703" y="36304"/>
                      </a:lnTo>
                      <a:lnTo>
                        <a:pt x="418616" y="30861"/>
                      </a:lnTo>
                      <a:lnTo>
                        <a:pt x="413174" y="2503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8" name="Forma Livre: Forma 227">
                  <a:extLst>
                    <a:ext uri="{FF2B5EF4-FFF2-40B4-BE49-F238E27FC236}">
                      <a16:creationId xmlns:a16="http://schemas.microsoft.com/office/drawing/2014/main" id="{41A8AFC3-3EF7-AD65-EA3C-662944F96EAD}"/>
                    </a:ext>
                  </a:extLst>
                </p:cNvPr>
                <p:cNvSpPr/>
                <p:nvPr/>
              </p:nvSpPr>
              <p:spPr>
                <a:xfrm>
                  <a:off x="2179691" y="5364509"/>
                  <a:ext cx="526695" cy="358045"/>
                </a:xfrm>
                <a:custGeom>
                  <a:avLst/>
                  <a:gdLst>
                    <a:gd name="csX0" fmla="*/ 413174 w 526695"/>
                    <a:gd name="csY0" fmla="*/ 25035 h 358045"/>
                    <a:gd name="csX1" fmla="*/ 421145 w 526695"/>
                    <a:gd name="csY1" fmla="*/ 10532 h 358045"/>
                    <a:gd name="csX2" fmla="*/ 410613 w 526695"/>
                    <a:gd name="csY2" fmla="*/ 0 h 358045"/>
                    <a:gd name="csX3" fmla="*/ 403730 w 526695"/>
                    <a:gd name="csY3" fmla="*/ 2561 h 358045"/>
                    <a:gd name="csX4" fmla="*/ 404818 w 526695"/>
                    <a:gd name="csY4" fmla="*/ 8708 h 358045"/>
                    <a:gd name="csX5" fmla="*/ 391757 w 526695"/>
                    <a:gd name="csY5" fmla="*/ 25035 h 358045"/>
                    <a:gd name="csX6" fmla="*/ 391757 w 526695"/>
                    <a:gd name="csY6" fmla="*/ 29389 h 358045"/>
                    <a:gd name="csX7" fmla="*/ 381608 w 526695"/>
                    <a:gd name="csY7" fmla="*/ 29389 h 358045"/>
                    <a:gd name="csX8" fmla="*/ 362368 w 526695"/>
                    <a:gd name="csY8" fmla="*/ 37008 h 358045"/>
                    <a:gd name="csX9" fmla="*/ 335892 w 526695"/>
                    <a:gd name="csY9" fmla="*/ 25771 h 358045"/>
                    <a:gd name="csX10" fmla="*/ 329745 w 526695"/>
                    <a:gd name="csY10" fmla="*/ 34479 h 358045"/>
                    <a:gd name="csX11" fmla="*/ 331538 w 526695"/>
                    <a:gd name="csY11" fmla="*/ 54424 h 358045"/>
                    <a:gd name="csX12" fmla="*/ 322830 w 526695"/>
                    <a:gd name="csY12" fmla="*/ 58426 h 358045"/>
                    <a:gd name="csX13" fmla="*/ 295266 w 526695"/>
                    <a:gd name="csY13" fmla="*/ 55160 h 358045"/>
                    <a:gd name="csX14" fmla="*/ 282588 w 526695"/>
                    <a:gd name="csY14" fmla="*/ 70751 h 358045"/>
                    <a:gd name="csX15" fmla="*/ 277146 w 526695"/>
                    <a:gd name="csY15" fmla="*/ 70751 h 358045"/>
                    <a:gd name="csX16" fmla="*/ 274585 w 526695"/>
                    <a:gd name="csY16" fmla="*/ 58426 h 358045"/>
                    <a:gd name="csX17" fmla="*/ 267702 w 526695"/>
                    <a:gd name="csY17" fmla="*/ 53335 h 358045"/>
                    <a:gd name="csX18" fmla="*/ 261907 w 526695"/>
                    <a:gd name="csY18" fmla="*/ 53335 h 358045"/>
                    <a:gd name="csX19" fmla="*/ 255729 w 526695"/>
                    <a:gd name="csY19" fmla="*/ 64572 h 358045"/>
                    <a:gd name="csX20" fmla="*/ 252463 w 526695"/>
                    <a:gd name="csY20" fmla="*/ 77634 h 358045"/>
                    <a:gd name="csX21" fmla="*/ 275673 w 526695"/>
                    <a:gd name="csY21" fmla="*/ 104109 h 358045"/>
                    <a:gd name="csX22" fmla="*/ 273144 w 526695"/>
                    <a:gd name="csY22" fmla="*/ 111729 h 358045"/>
                    <a:gd name="csX23" fmla="*/ 258258 w 526695"/>
                    <a:gd name="csY23" fmla="*/ 111025 h 358045"/>
                    <a:gd name="csX24" fmla="*/ 250638 w 526695"/>
                    <a:gd name="csY24" fmla="*/ 116083 h 358045"/>
                    <a:gd name="csX25" fmla="*/ 236872 w 526695"/>
                    <a:gd name="csY25" fmla="*/ 112818 h 358045"/>
                    <a:gd name="csX26" fmla="*/ 229253 w 526695"/>
                    <a:gd name="csY26" fmla="*/ 129145 h 358045"/>
                    <a:gd name="csX27" fmla="*/ 221281 w 526695"/>
                    <a:gd name="csY27" fmla="*/ 126615 h 358045"/>
                    <a:gd name="csX28" fmla="*/ 219457 w 526695"/>
                    <a:gd name="csY28" fmla="*/ 117171 h 358045"/>
                    <a:gd name="csX29" fmla="*/ 214366 w 526695"/>
                    <a:gd name="csY29" fmla="*/ 113554 h 358045"/>
                    <a:gd name="csX30" fmla="*/ 206747 w 526695"/>
                    <a:gd name="csY30" fmla="*/ 116083 h 358045"/>
                    <a:gd name="csX31" fmla="*/ 202393 w 526695"/>
                    <a:gd name="csY31" fmla="*/ 111025 h 358045"/>
                    <a:gd name="csX32" fmla="*/ 191156 w 526695"/>
                    <a:gd name="csY32" fmla="*/ 118644 h 358045"/>
                    <a:gd name="csX33" fmla="*/ 184273 w 526695"/>
                    <a:gd name="csY33" fmla="*/ 111025 h 358045"/>
                    <a:gd name="csX34" fmla="*/ 175565 w 526695"/>
                    <a:gd name="csY34" fmla="*/ 113554 h 358045"/>
                    <a:gd name="csX35" fmla="*/ 179183 w 526695"/>
                    <a:gd name="csY35" fmla="*/ 139325 h 358045"/>
                    <a:gd name="csX36" fmla="*/ 170475 w 526695"/>
                    <a:gd name="csY36" fmla="*/ 136764 h 358045"/>
                    <a:gd name="csX37" fmla="*/ 169739 w 526695"/>
                    <a:gd name="csY37" fmla="*/ 144768 h 358045"/>
                    <a:gd name="csX38" fmla="*/ 151619 w 526695"/>
                    <a:gd name="csY38" fmla="*/ 157445 h 358045"/>
                    <a:gd name="csX39" fmla="*/ 137821 w 526695"/>
                    <a:gd name="csY39" fmla="*/ 148033 h 358045"/>
                    <a:gd name="csX40" fmla="*/ 125847 w 526695"/>
                    <a:gd name="csY40" fmla="*/ 124791 h 358045"/>
                    <a:gd name="csX41" fmla="*/ 114610 w 526695"/>
                    <a:gd name="csY41" fmla="*/ 124791 h 358045"/>
                    <a:gd name="csX42" fmla="*/ 122230 w 526695"/>
                    <a:gd name="csY42" fmla="*/ 129145 h 358045"/>
                    <a:gd name="csX43" fmla="*/ 125847 w 526695"/>
                    <a:gd name="csY43" fmla="*/ 136764 h 358045"/>
                    <a:gd name="csX44" fmla="*/ 114610 w 526695"/>
                    <a:gd name="csY44" fmla="*/ 147296 h 358045"/>
                    <a:gd name="csX45" fmla="*/ 92137 w 526695"/>
                    <a:gd name="csY45" fmla="*/ 146208 h 358045"/>
                    <a:gd name="csX46" fmla="*/ 79427 w 526695"/>
                    <a:gd name="csY46" fmla="*/ 138589 h 358045"/>
                    <a:gd name="csX47" fmla="*/ 74337 w 526695"/>
                    <a:gd name="csY47" fmla="*/ 143679 h 358045"/>
                    <a:gd name="csX48" fmla="*/ 50038 w 526695"/>
                    <a:gd name="csY48" fmla="*/ 141118 h 358045"/>
                    <a:gd name="csX49" fmla="*/ 47509 w 526695"/>
                    <a:gd name="csY49" fmla="*/ 164328 h 358045"/>
                    <a:gd name="csX50" fmla="*/ 53656 w 526695"/>
                    <a:gd name="csY50" fmla="*/ 166889 h 358045"/>
                    <a:gd name="csX51" fmla="*/ 57657 w 526695"/>
                    <a:gd name="csY51" fmla="*/ 176301 h 358045"/>
                    <a:gd name="csX52" fmla="*/ 36976 w 526695"/>
                    <a:gd name="csY52" fmla="*/ 183217 h 358045"/>
                    <a:gd name="csX53" fmla="*/ 34447 w 526695"/>
                    <a:gd name="csY53" fmla="*/ 192629 h 358045"/>
                    <a:gd name="csX54" fmla="*/ 38801 w 526695"/>
                    <a:gd name="csY54" fmla="*/ 201336 h 358045"/>
                    <a:gd name="csX55" fmla="*/ 34447 w 526695"/>
                    <a:gd name="csY55" fmla="*/ 199512 h 358045"/>
                    <a:gd name="csX56" fmla="*/ 29357 w 526695"/>
                    <a:gd name="csY56" fmla="*/ 204954 h 358045"/>
                    <a:gd name="csX57" fmla="*/ 26092 w 526695"/>
                    <a:gd name="csY57" fmla="*/ 193717 h 358045"/>
                    <a:gd name="csX58" fmla="*/ 13766 w 526695"/>
                    <a:gd name="csY58" fmla="*/ 191924 h 358045"/>
                    <a:gd name="csX59" fmla="*/ 10501 w 526695"/>
                    <a:gd name="csY59" fmla="*/ 198807 h 358045"/>
                    <a:gd name="csX60" fmla="*/ 11237 w 526695"/>
                    <a:gd name="csY60" fmla="*/ 210044 h 358045"/>
                    <a:gd name="csX61" fmla="*/ 0 w 526695"/>
                    <a:gd name="csY61" fmla="*/ 225283 h 358045"/>
                    <a:gd name="csX62" fmla="*/ 13030 w 526695"/>
                    <a:gd name="csY62" fmla="*/ 228901 h 358045"/>
                    <a:gd name="csX63" fmla="*/ 12325 w 526695"/>
                    <a:gd name="csY63" fmla="*/ 238345 h 358045"/>
                    <a:gd name="csX64" fmla="*/ 23562 w 526695"/>
                    <a:gd name="csY64" fmla="*/ 249582 h 358045"/>
                    <a:gd name="csX65" fmla="*/ 20649 w 526695"/>
                    <a:gd name="csY65" fmla="*/ 266645 h 358045"/>
                    <a:gd name="csX66" fmla="*/ 26828 w 526695"/>
                    <a:gd name="csY66" fmla="*/ 272792 h 358045"/>
                    <a:gd name="csX67" fmla="*/ 31182 w 526695"/>
                    <a:gd name="csY67" fmla="*/ 275353 h 358045"/>
                    <a:gd name="csX68" fmla="*/ 26092 w 526695"/>
                    <a:gd name="csY68" fmla="*/ 280411 h 358045"/>
                    <a:gd name="csX69" fmla="*/ 31918 w 526695"/>
                    <a:gd name="csY69" fmla="*/ 293473 h 358045"/>
                    <a:gd name="csX70" fmla="*/ 46773 w 526695"/>
                    <a:gd name="csY70" fmla="*/ 291680 h 358045"/>
                    <a:gd name="csX71" fmla="*/ 54392 w 526695"/>
                    <a:gd name="csY71" fmla="*/ 299300 h 358045"/>
                    <a:gd name="csX72" fmla="*/ 61275 w 526695"/>
                    <a:gd name="csY72" fmla="*/ 297827 h 358045"/>
                    <a:gd name="csX73" fmla="*/ 64540 w 526695"/>
                    <a:gd name="csY73" fmla="*/ 288415 h 358045"/>
                    <a:gd name="csX74" fmla="*/ 74337 w 526695"/>
                    <a:gd name="csY74" fmla="*/ 296034 h 358045"/>
                    <a:gd name="csX75" fmla="*/ 86310 w 526695"/>
                    <a:gd name="csY75" fmla="*/ 291680 h 358045"/>
                    <a:gd name="csX76" fmla="*/ 83781 w 526695"/>
                    <a:gd name="csY76" fmla="*/ 278970 h 358045"/>
                    <a:gd name="csX77" fmla="*/ 100844 w 526695"/>
                    <a:gd name="csY77" fmla="*/ 270999 h 358045"/>
                    <a:gd name="csX78" fmla="*/ 112818 w 526695"/>
                    <a:gd name="csY78" fmla="*/ 276057 h 358045"/>
                    <a:gd name="csX79" fmla="*/ 121494 w 526695"/>
                    <a:gd name="csY79" fmla="*/ 286590 h 358045"/>
                    <a:gd name="csX80" fmla="*/ 125847 w 526695"/>
                    <a:gd name="csY80" fmla="*/ 309064 h 358045"/>
                    <a:gd name="csX81" fmla="*/ 146529 w 526695"/>
                    <a:gd name="csY81" fmla="*/ 329393 h 358045"/>
                    <a:gd name="csX82" fmla="*/ 157798 w 526695"/>
                    <a:gd name="csY82" fmla="*/ 326864 h 358045"/>
                    <a:gd name="csX83" fmla="*/ 163592 w 526695"/>
                    <a:gd name="csY83" fmla="*/ 317419 h 358045"/>
                    <a:gd name="csX84" fmla="*/ 173004 w 526695"/>
                    <a:gd name="csY84" fmla="*/ 326864 h 358045"/>
                    <a:gd name="csX85" fmla="*/ 181008 w 526695"/>
                    <a:gd name="csY85" fmla="*/ 327952 h 358045"/>
                    <a:gd name="csX86" fmla="*/ 185362 w 526695"/>
                    <a:gd name="csY86" fmla="*/ 333010 h 358045"/>
                    <a:gd name="csX87" fmla="*/ 198039 w 526695"/>
                    <a:gd name="csY87" fmla="*/ 334835 h 358045"/>
                    <a:gd name="csX88" fmla="*/ 213662 w 526695"/>
                    <a:gd name="csY88" fmla="*/ 344279 h 358045"/>
                    <a:gd name="csX89" fmla="*/ 218720 w 526695"/>
                    <a:gd name="csY89" fmla="*/ 344983 h 358045"/>
                    <a:gd name="csX90" fmla="*/ 278235 w 526695"/>
                    <a:gd name="csY90" fmla="*/ 356253 h 358045"/>
                    <a:gd name="csX91" fmla="*/ 290912 w 526695"/>
                    <a:gd name="csY91" fmla="*/ 358045 h 358045"/>
                    <a:gd name="csX92" fmla="*/ 304710 w 526695"/>
                    <a:gd name="csY92" fmla="*/ 352987 h 358045"/>
                    <a:gd name="csX93" fmla="*/ 310857 w 526695"/>
                    <a:gd name="csY93" fmla="*/ 349338 h 358045"/>
                    <a:gd name="csX94" fmla="*/ 312682 w 526695"/>
                    <a:gd name="csY94" fmla="*/ 336276 h 358045"/>
                    <a:gd name="csX95" fmla="*/ 317036 w 526695"/>
                    <a:gd name="csY95" fmla="*/ 331218 h 358045"/>
                    <a:gd name="csX96" fmla="*/ 323919 w 526695"/>
                    <a:gd name="csY96" fmla="*/ 329393 h 358045"/>
                    <a:gd name="csX97" fmla="*/ 330834 w 526695"/>
                    <a:gd name="csY97" fmla="*/ 319981 h 358045"/>
                    <a:gd name="csX98" fmla="*/ 351131 w 526695"/>
                    <a:gd name="csY98" fmla="*/ 317419 h 358045"/>
                    <a:gd name="csX99" fmla="*/ 356573 w 526695"/>
                    <a:gd name="csY99" fmla="*/ 310537 h 358045"/>
                    <a:gd name="csX100" fmla="*/ 372900 w 526695"/>
                    <a:gd name="csY100" fmla="*/ 299300 h 358045"/>
                    <a:gd name="csX101" fmla="*/ 375429 w 526695"/>
                    <a:gd name="csY101" fmla="*/ 281500 h 358045"/>
                    <a:gd name="csX102" fmla="*/ 386698 w 526695"/>
                    <a:gd name="csY102" fmla="*/ 281500 h 358045"/>
                    <a:gd name="csX103" fmla="*/ 397935 w 526695"/>
                    <a:gd name="csY103" fmla="*/ 284765 h 358045"/>
                    <a:gd name="csX104" fmla="*/ 423675 w 526695"/>
                    <a:gd name="csY104" fmla="*/ 273528 h 358045"/>
                    <a:gd name="csX105" fmla="*/ 437473 w 526695"/>
                    <a:gd name="csY105" fmla="*/ 282972 h 358045"/>
                    <a:gd name="csX106" fmla="*/ 457065 w 526695"/>
                    <a:gd name="csY106" fmla="*/ 277882 h 358045"/>
                    <a:gd name="csX107" fmla="*/ 465773 w 526695"/>
                    <a:gd name="csY107" fmla="*/ 261555 h 358045"/>
                    <a:gd name="csX108" fmla="*/ 463212 w 526695"/>
                    <a:gd name="csY108" fmla="*/ 255408 h 358045"/>
                    <a:gd name="csX109" fmla="*/ 444356 w 526695"/>
                    <a:gd name="csY109" fmla="*/ 254672 h 358045"/>
                    <a:gd name="csX110" fmla="*/ 450150 w 526695"/>
                    <a:gd name="csY110" fmla="*/ 240874 h 358045"/>
                    <a:gd name="csX111" fmla="*/ 451975 w 526695"/>
                    <a:gd name="csY111" fmla="*/ 235079 h 358045"/>
                    <a:gd name="csX112" fmla="*/ 466477 w 526695"/>
                    <a:gd name="csY112" fmla="*/ 236520 h 358045"/>
                    <a:gd name="csX113" fmla="*/ 474481 w 526695"/>
                    <a:gd name="csY113" fmla="*/ 218752 h 358045"/>
                    <a:gd name="csX114" fmla="*/ 488247 w 526695"/>
                    <a:gd name="csY114" fmla="*/ 216927 h 358045"/>
                    <a:gd name="csX115" fmla="*/ 497691 w 526695"/>
                    <a:gd name="csY115" fmla="*/ 223842 h 358045"/>
                    <a:gd name="csX116" fmla="*/ 506399 w 526695"/>
                    <a:gd name="csY116" fmla="*/ 216927 h 358045"/>
                    <a:gd name="csX117" fmla="*/ 512194 w 526695"/>
                    <a:gd name="csY117" fmla="*/ 199512 h 358045"/>
                    <a:gd name="csX118" fmla="*/ 526696 w 526695"/>
                    <a:gd name="csY118" fmla="*/ 188659 h 358045"/>
                    <a:gd name="csX119" fmla="*/ 525992 w 526695"/>
                    <a:gd name="csY119" fmla="*/ 173772 h 358045"/>
                    <a:gd name="csX120" fmla="*/ 519813 w 526695"/>
                    <a:gd name="csY120" fmla="*/ 171243 h 358045"/>
                    <a:gd name="csX121" fmla="*/ 507840 w 526695"/>
                    <a:gd name="csY121" fmla="*/ 177390 h 358045"/>
                    <a:gd name="csX122" fmla="*/ 492601 w 526695"/>
                    <a:gd name="csY122" fmla="*/ 177390 h 358045"/>
                    <a:gd name="csX123" fmla="*/ 477746 w 526695"/>
                    <a:gd name="csY123" fmla="*/ 166889 h 358045"/>
                    <a:gd name="csX124" fmla="*/ 478835 w 526695"/>
                    <a:gd name="csY124" fmla="*/ 153091 h 358045"/>
                    <a:gd name="csX125" fmla="*/ 484629 w 526695"/>
                    <a:gd name="csY125" fmla="*/ 149826 h 358045"/>
                    <a:gd name="csX126" fmla="*/ 491512 w 526695"/>
                    <a:gd name="csY126" fmla="*/ 159974 h 358045"/>
                    <a:gd name="csX127" fmla="*/ 500220 w 526695"/>
                    <a:gd name="csY127" fmla="*/ 148033 h 358045"/>
                    <a:gd name="csX128" fmla="*/ 507840 w 526695"/>
                    <a:gd name="csY128" fmla="*/ 152355 h 358045"/>
                    <a:gd name="csX129" fmla="*/ 515811 w 526695"/>
                    <a:gd name="csY129" fmla="*/ 148033 h 358045"/>
                    <a:gd name="csX130" fmla="*/ 513282 w 526695"/>
                    <a:gd name="csY130" fmla="*/ 122998 h 358045"/>
                    <a:gd name="csX131" fmla="*/ 502781 w 526695"/>
                    <a:gd name="csY131" fmla="*/ 124086 h 358045"/>
                    <a:gd name="csX132" fmla="*/ 505311 w 526695"/>
                    <a:gd name="csY132" fmla="*/ 117171 h 358045"/>
                    <a:gd name="csX133" fmla="*/ 495866 w 526695"/>
                    <a:gd name="csY133" fmla="*/ 111729 h 358045"/>
                    <a:gd name="csX134" fmla="*/ 498428 w 526695"/>
                    <a:gd name="csY134" fmla="*/ 107759 h 358045"/>
                    <a:gd name="csX135" fmla="*/ 489720 w 526695"/>
                    <a:gd name="csY135" fmla="*/ 97227 h 358045"/>
                    <a:gd name="csX136" fmla="*/ 482805 w 526695"/>
                    <a:gd name="csY136" fmla="*/ 103405 h 358045"/>
                    <a:gd name="csX137" fmla="*/ 477010 w 526695"/>
                    <a:gd name="csY137" fmla="*/ 85990 h 358045"/>
                    <a:gd name="csX138" fmla="*/ 480275 w 526695"/>
                    <a:gd name="csY138" fmla="*/ 75841 h 358045"/>
                    <a:gd name="csX139" fmla="*/ 461419 w 526695"/>
                    <a:gd name="csY139" fmla="*/ 75841 h 358045"/>
                    <a:gd name="csX140" fmla="*/ 456329 w 526695"/>
                    <a:gd name="csY140" fmla="*/ 63868 h 358045"/>
                    <a:gd name="csX141" fmla="*/ 450150 w 526695"/>
                    <a:gd name="csY141" fmla="*/ 62780 h 358045"/>
                    <a:gd name="csX142" fmla="*/ 450150 w 526695"/>
                    <a:gd name="csY142" fmla="*/ 55160 h 358045"/>
                    <a:gd name="csX143" fmla="*/ 433119 w 526695"/>
                    <a:gd name="csY143" fmla="*/ 50806 h 358045"/>
                    <a:gd name="csX144" fmla="*/ 415703 w 526695"/>
                    <a:gd name="csY144" fmla="*/ 36304 h 358045"/>
                    <a:gd name="csX145" fmla="*/ 418616 w 526695"/>
                    <a:gd name="csY145" fmla="*/ 30861 h 358045"/>
                    <a:gd name="csX146" fmla="*/ 413174 w 526695"/>
                    <a:gd name="csY146" fmla="*/ 25035 h 3580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526695" h="358045">
                      <a:moveTo>
                        <a:pt x="413174" y="25035"/>
                      </a:moveTo>
                      <a:lnTo>
                        <a:pt x="421145" y="10532"/>
                      </a:lnTo>
                      <a:lnTo>
                        <a:pt x="410613" y="0"/>
                      </a:lnTo>
                      <a:lnTo>
                        <a:pt x="403730" y="2561"/>
                      </a:lnTo>
                      <a:lnTo>
                        <a:pt x="404818" y="8708"/>
                      </a:lnTo>
                      <a:lnTo>
                        <a:pt x="391757" y="25035"/>
                      </a:lnTo>
                      <a:lnTo>
                        <a:pt x="391757" y="29389"/>
                      </a:lnTo>
                      <a:lnTo>
                        <a:pt x="381608" y="29389"/>
                      </a:lnTo>
                      <a:lnTo>
                        <a:pt x="362368" y="37008"/>
                      </a:lnTo>
                      <a:lnTo>
                        <a:pt x="335892" y="25771"/>
                      </a:lnTo>
                      <a:lnTo>
                        <a:pt x="329745" y="34479"/>
                      </a:lnTo>
                      <a:lnTo>
                        <a:pt x="331538" y="54424"/>
                      </a:lnTo>
                      <a:lnTo>
                        <a:pt x="322830" y="58426"/>
                      </a:lnTo>
                      <a:lnTo>
                        <a:pt x="295266" y="55160"/>
                      </a:lnTo>
                      <a:lnTo>
                        <a:pt x="282588" y="70751"/>
                      </a:lnTo>
                      <a:lnTo>
                        <a:pt x="277146" y="70751"/>
                      </a:lnTo>
                      <a:lnTo>
                        <a:pt x="274585" y="58426"/>
                      </a:lnTo>
                      <a:lnTo>
                        <a:pt x="267702" y="53335"/>
                      </a:lnTo>
                      <a:lnTo>
                        <a:pt x="261907" y="53335"/>
                      </a:lnTo>
                      <a:lnTo>
                        <a:pt x="255729" y="64572"/>
                      </a:lnTo>
                      <a:lnTo>
                        <a:pt x="252463" y="77634"/>
                      </a:lnTo>
                      <a:lnTo>
                        <a:pt x="275673" y="104109"/>
                      </a:lnTo>
                      <a:lnTo>
                        <a:pt x="273144" y="111729"/>
                      </a:lnTo>
                      <a:lnTo>
                        <a:pt x="258258" y="111025"/>
                      </a:lnTo>
                      <a:lnTo>
                        <a:pt x="250638" y="116083"/>
                      </a:lnTo>
                      <a:lnTo>
                        <a:pt x="236872" y="112818"/>
                      </a:lnTo>
                      <a:lnTo>
                        <a:pt x="229253" y="129145"/>
                      </a:lnTo>
                      <a:lnTo>
                        <a:pt x="221281" y="126615"/>
                      </a:lnTo>
                      <a:lnTo>
                        <a:pt x="219457" y="117171"/>
                      </a:lnTo>
                      <a:lnTo>
                        <a:pt x="214366" y="113554"/>
                      </a:lnTo>
                      <a:lnTo>
                        <a:pt x="206747" y="116083"/>
                      </a:lnTo>
                      <a:lnTo>
                        <a:pt x="202393" y="111025"/>
                      </a:lnTo>
                      <a:lnTo>
                        <a:pt x="191156" y="118644"/>
                      </a:lnTo>
                      <a:lnTo>
                        <a:pt x="184273" y="111025"/>
                      </a:lnTo>
                      <a:lnTo>
                        <a:pt x="175565" y="113554"/>
                      </a:lnTo>
                      <a:lnTo>
                        <a:pt x="179183" y="139325"/>
                      </a:lnTo>
                      <a:lnTo>
                        <a:pt x="170475" y="136764"/>
                      </a:lnTo>
                      <a:lnTo>
                        <a:pt x="169739" y="144768"/>
                      </a:lnTo>
                      <a:lnTo>
                        <a:pt x="151619" y="157445"/>
                      </a:lnTo>
                      <a:lnTo>
                        <a:pt x="137821" y="148033"/>
                      </a:lnTo>
                      <a:lnTo>
                        <a:pt x="125847" y="124791"/>
                      </a:lnTo>
                      <a:lnTo>
                        <a:pt x="114610" y="124791"/>
                      </a:lnTo>
                      <a:lnTo>
                        <a:pt x="122230" y="129145"/>
                      </a:lnTo>
                      <a:lnTo>
                        <a:pt x="125847" y="136764"/>
                      </a:lnTo>
                      <a:lnTo>
                        <a:pt x="114610" y="147296"/>
                      </a:lnTo>
                      <a:lnTo>
                        <a:pt x="92137" y="146208"/>
                      </a:lnTo>
                      <a:lnTo>
                        <a:pt x="79427" y="138589"/>
                      </a:lnTo>
                      <a:lnTo>
                        <a:pt x="74337" y="143679"/>
                      </a:lnTo>
                      <a:lnTo>
                        <a:pt x="50038" y="141118"/>
                      </a:lnTo>
                      <a:lnTo>
                        <a:pt x="47509" y="164328"/>
                      </a:lnTo>
                      <a:lnTo>
                        <a:pt x="53656" y="166889"/>
                      </a:lnTo>
                      <a:lnTo>
                        <a:pt x="57657" y="176301"/>
                      </a:lnTo>
                      <a:lnTo>
                        <a:pt x="36976" y="183217"/>
                      </a:lnTo>
                      <a:lnTo>
                        <a:pt x="34447" y="192629"/>
                      </a:lnTo>
                      <a:lnTo>
                        <a:pt x="38801" y="201336"/>
                      </a:lnTo>
                      <a:lnTo>
                        <a:pt x="34447" y="199512"/>
                      </a:lnTo>
                      <a:lnTo>
                        <a:pt x="29357" y="204954"/>
                      </a:lnTo>
                      <a:lnTo>
                        <a:pt x="26092" y="193717"/>
                      </a:lnTo>
                      <a:lnTo>
                        <a:pt x="13766" y="191924"/>
                      </a:lnTo>
                      <a:lnTo>
                        <a:pt x="10501" y="198807"/>
                      </a:lnTo>
                      <a:lnTo>
                        <a:pt x="11237" y="210044"/>
                      </a:lnTo>
                      <a:lnTo>
                        <a:pt x="0" y="225283"/>
                      </a:lnTo>
                      <a:lnTo>
                        <a:pt x="13030" y="228901"/>
                      </a:lnTo>
                      <a:lnTo>
                        <a:pt x="12325" y="238345"/>
                      </a:lnTo>
                      <a:lnTo>
                        <a:pt x="23562" y="249582"/>
                      </a:lnTo>
                      <a:lnTo>
                        <a:pt x="20649" y="266645"/>
                      </a:lnTo>
                      <a:lnTo>
                        <a:pt x="26828" y="272792"/>
                      </a:lnTo>
                      <a:lnTo>
                        <a:pt x="31182" y="275353"/>
                      </a:lnTo>
                      <a:lnTo>
                        <a:pt x="26092" y="280411"/>
                      </a:lnTo>
                      <a:lnTo>
                        <a:pt x="31918" y="293473"/>
                      </a:lnTo>
                      <a:lnTo>
                        <a:pt x="46773" y="291680"/>
                      </a:lnTo>
                      <a:lnTo>
                        <a:pt x="54392" y="299300"/>
                      </a:lnTo>
                      <a:lnTo>
                        <a:pt x="61275" y="297827"/>
                      </a:lnTo>
                      <a:lnTo>
                        <a:pt x="64540" y="288415"/>
                      </a:lnTo>
                      <a:lnTo>
                        <a:pt x="74337" y="296034"/>
                      </a:lnTo>
                      <a:lnTo>
                        <a:pt x="86310" y="291680"/>
                      </a:lnTo>
                      <a:lnTo>
                        <a:pt x="83781" y="278970"/>
                      </a:lnTo>
                      <a:lnTo>
                        <a:pt x="100844" y="270999"/>
                      </a:lnTo>
                      <a:lnTo>
                        <a:pt x="112818" y="276057"/>
                      </a:lnTo>
                      <a:lnTo>
                        <a:pt x="121494" y="286590"/>
                      </a:lnTo>
                      <a:lnTo>
                        <a:pt x="125847" y="309064"/>
                      </a:lnTo>
                      <a:lnTo>
                        <a:pt x="146529" y="329393"/>
                      </a:lnTo>
                      <a:lnTo>
                        <a:pt x="157798" y="326864"/>
                      </a:lnTo>
                      <a:lnTo>
                        <a:pt x="163592" y="317419"/>
                      </a:lnTo>
                      <a:lnTo>
                        <a:pt x="173004" y="326864"/>
                      </a:lnTo>
                      <a:lnTo>
                        <a:pt x="181008" y="327952"/>
                      </a:lnTo>
                      <a:lnTo>
                        <a:pt x="185362" y="333010"/>
                      </a:lnTo>
                      <a:lnTo>
                        <a:pt x="198039" y="334835"/>
                      </a:lnTo>
                      <a:lnTo>
                        <a:pt x="213662" y="344279"/>
                      </a:lnTo>
                      <a:lnTo>
                        <a:pt x="218720" y="344983"/>
                      </a:lnTo>
                      <a:lnTo>
                        <a:pt x="278235" y="356253"/>
                      </a:lnTo>
                      <a:lnTo>
                        <a:pt x="290912" y="358045"/>
                      </a:lnTo>
                      <a:lnTo>
                        <a:pt x="304710" y="352987"/>
                      </a:lnTo>
                      <a:lnTo>
                        <a:pt x="310857" y="349338"/>
                      </a:lnTo>
                      <a:lnTo>
                        <a:pt x="312682" y="336276"/>
                      </a:lnTo>
                      <a:lnTo>
                        <a:pt x="317036" y="331218"/>
                      </a:lnTo>
                      <a:lnTo>
                        <a:pt x="323919" y="329393"/>
                      </a:lnTo>
                      <a:lnTo>
                        <a:pt x="330834" y="319981"/>
                      </a:lnTo>
                      <a:lnTo>
                        <a:pt x="351131" y="317419"/>
                      </a:lnTo>
                      <a:lnTo>
                        <a:pt x="356573" y="310537"/>
                      </a:lnTo>
                      <a:lnTo>
                        <a:pt x="372900" y="299300"/>
                      </a:lnTo>
                      <a:lnTo>
                        <a:pt x="375429" y="281500"/>
                      </a:lnTo>
                      <a:lnTo>
                        <a:pt x="386698" y="281500"/>
                      </a:lnTo>
                      <a:lnTo>
                        <a:pt x="397935" y="284765"/>
                      </a:lnTo>
                      <a:lnTo>
                        <a:pt x="423675" y="273528"/>
                      </a:lnTo>
                      <a:lnTo>
                        <a:pt x="437473" y="282972"/>
                      </a:lnTo>
                      <a:lnTo>
                        <a:pt x="457065" y="277882"/>
                      </a:lnTo>
                      <a:lnTo>
                        <a:pt x="465773" y="261555"/>
                      </a:lnTo>
                      <a:lnTo>
                        <a:pt x="463212" y="255408"/>
                      </a:lnTo>
                      <a:lnTo>
                        <a:pt x="444356" y="254672"/>
                      </a:lnTo>
                      <a:lnTo>
                        <a:pt x="450150" y="240874"/>
                      </a:lnTo>
                      <a:lnTo>
                        <a:pt x="451975" y="235079"/>
                      </a:lnTo>
                      <a:lnTo>
                        <a:pt x="466477" y="236520"/>
                      </a:lnTo>
                      <a:lnTo>
                        <a:pt x="474481" y="218752"/>
                      </a:lnTo>
                      <a:lnTo>
                        <a:pt x="488247" y="216927"/>
                      </a:lnTo>
                      <a:lnTo>
                        <a:pt x="497691" y="223842"/>
                      </a:lnTo>
                      <a:lnTo>
                        <a:pt x="506399" y="216927"/>
                      </a:lnTo>
                      <a:lnTo>
                        <a:pt x="512194" y="199512"/>
                      </a:lnTo>
                      <a:lnTo>
                        <a:pt x="526696" y="188659"/>
                      </a:lnTo>
                      <a:lnTo>
                        <a:pt x="525992" y="173772"/>
                      </a:lnTo>
                      <a:lnTo>
                        <a:pt x="519813" y="171243"/>
                      </a:lnTo>
                      <a:lnTo>
                        <a:pt x="507840" y="177390"/>
                      </a:lnTo>
                      <a:lnTo>
                        <a:pt x="492601" y="177390"/>
                      </a:lnTo>
                      <a:lnTo>
                        <a:pt x="477746" y="166889"/>
                      </a:lnTo>
                      <a:lnTo>
                        <a:pt x="478835" y="153091"/>
                      </a:lnTo>
                      <a:lnTo>
                        <a:pt x="484629" y="149826"/>
                      </a:lnTo>
                      <a:lnTo>
                        <a:pt x="491512" y="159974"/>
                      </a:lnTo>
                      <a:lnTo>
                        <a:pt x="500220" y="148033"/>
                      </a:lnTo>
                      <a:lnTo>
                        <a:pt x="507840" y="152355"/>
                      </a:lnTo>
                      <a:lnTo>
                        <a:pt x="515811" y="148033"/>
                      </a:lnTo>
                      <a:lnTo>
                        <a:pt x="513282" y="122998"/>
                      </a:lnTo>
                      <a:lnTo>
                        <a:pt x="502781" y="124086"/>
                      </a:lnTo>
                      <a:lnTo>
                        <a:pt x="505311" y="117171"/>
                      </a:lnTo>
                      <a:lnTo>
                        <a:pt x="495866" y="111729"/>
                      </a:lnTo>
                      <a:lnTo>
                        <a:pt x="498428" y="107759"/>
                      </a:lnTo>
                      <a:lnTo>
                        <a:pt x="489720" y="97227"/>
                      </a:lnTo>
                      <a:lnTo>
                        <a:pt x="482805" y="103405"/>
                      </a:lnTo>
                      <a:lnTo>
                        <a:pt x="477010" y="85990"/>
                      </a:lnTo>
                      <a:lnTo>
                        <a:pt x="480275" y="75841"/>
                      </a:lnTo>
                      <a:lnTo>
                        <a:pt x="461419" y="75841"/>
                      </a:lnTo>
                      <a:lnTo>
                        <a:pt x="456329" y="63868"/>
                      </a:lnTo>
                      <a:lnTo>
                        <a:pt x="450150" y="62780"/>
                      </a:lnTo>
                      <a:lnTo>
                        <a:pt x="450150" y="55160"/>
                      </a:lnTo>
                      <a:lnTo>
                        <a:pt x="433119" y="50806"/>
                      </a:lnTo>
                      <a:lnTo>
                        <a:pt x="415703" y="36304"/>
                      </a:lnTo>
                      <a:lnTo>
                        <a:pt x="418616" y="30861"/>
                      </a:lnTo>
                      <a:lnTo>
                        <a:pt x="413174" y="2503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29" name="Forma Livre: Forma 228">
                  <a:extLst>
                    <a:ext uri="{FF2B5EF4-FFF2-40B4-BE49-F238E27FC236}">
                      <a16:creationId xmlns:a16="http://schemas.microsoft.com/office/drawing/2014/main" id="{E7AA010D-547C-F814-D7F2-5A2E07015B15}"/>
                    </a:ext>
                  </a:extLst>
                </p:cNvPr>
                <p:cNvSpPr/>
                <p:nvPr/>
              </p:nvSpPr>
              <p:spPr>
                <a:xfrm>
                  <a:off x="2179691" y="5364509"/>
                  <a:ext cx="526695" cy="358045"/>
                </a:xfrm>
                <a:custGeom>
                  <a:avLst/>
                  <a:gdLst>
                    <a:gd name="csX0" fmla="*/ 413174 w 526695"/>
                    <a:gd name="csY0" fmla="*/ 25035 h 358045"/>
                    <a:gd name="csX1" fmla="*/ 421145 w 526695"/>
                    <a:gd name="csY1" fmla="*/ 10532 h 358045"/>
                    <a:gd name="csX2" fmla="*/ 410613 w 526695"/>
                    <a:gd name="csY2" fmla="*/ 0 h 358045"/>
                    <a:gd name="csX3" fmla="*/ 403730 w 526695"/>
                    <a:gd name="csY3" fmla="*/ 2561 h 358045"/>
                    <a:gd name="csX4" fmla="*/ 404818 w 526695"/>
                    <a:gd name="csY4" fmla="*/ 8708 h 358045"/>
                    <a:gd name="csX5" fmla="*/ 391757 w 526695"/>
                    <a:gd name="csY5" fmla="*/ 25035 h 358045"/>
                    <a:gd name="csX6" fmla="*/ 391757 w 526695"/>
                    <a:gd name="csY6" fmla="*/ 29389 h 358045"/>
                    <a:gd name="csX7" fmla="*/ 381608 w 526695"/>
                    <a:gd name="csY7" fmla="*/ 29389 h 358045"/>
                    <a:gd name="csX8" fmla="*/ 362368 w 526695"/>
                    <a:gd name="csY8" fmla="*/ 37008 h 358045"/>
                    <a:gd name="csX9" fmla="*/ 335892 w 526695"/>
                    <a:gd name="csY9" fmla="*/ 25771 h 358045"/>
                    <a:gd name="csX10" fmla="*/ 329745 w 526695"/>
                    <a:gd name="csY10" fmla="*/ 34479 h 358045"/>
                    <a:gd name="csX11" fmla="*/ 331538 w 526695"/>
                    <a:gd name="csY11" fmla="*/ 54424 h 358045"/>
                    <a:gd name="csX12" fmla="*/ 322830 w 526695"/>
                    <a:gd name="csY12" fmla="*/ 58426 h 358045"/>
                    <a:gd name="csX13" fmla="*/ 295266 w 526695"/>
                    <a:gd name="csY13" fmla="*/ 55160 h 358045"/>
                    <a:gd name="csX14" fmla="*/ 282588 w 526695"/>
                    <a:gd name="csY14" fmla="*/ 70751 h 358045"/>
                    <a:gd name="csX15" fmla="*/ 277146 w 526695"/>
                    <a:gd name="csY15" fmla="*/ 70751 h 358045"/>
                    <a:gd name="csX16" fmla="*/ 274585 w 526695"/>
                    <a:gd name="csY16" fmla="*/ 58426 h 358045"/>
                    <a:gd name="csX17" fmla="*/ 267702 w 526695"/>
                    <a:gd name="csY17" fmla="*/ 53335 h 358045"/>
                    <a:gd name="csX18" fmla="*/ 261907 w 526695"/>
                    <a:gd name="csY18" fmla="*/ 53335 h 358045"/>
                    <a:gd name="csX19" fmla="*/ 255729 w 526695"/>
                    <a:gd name="csY19" fmla="*/ 64572 h 358045"/>
                    <a:gd name="csX20" fmla="*/ 252463 w 526695"/>
                    <a:gd name="csY20" fmla="*/ 77634 h 358045"/>
                    <a:gd name="csX21" fmla="*/ 275673 w 526695"/>
                    <a:gd name="csY21" fmla="*/ 104109 h 358045"/>
                    <a:gd name="csX22" fmla="*/ 273144 w 526695"/>
                    <a:gd name="csY22" fmla="*/ 111729 h 358045"/>
                    <a:gd name="csX23" fmla="*/ 258258 w 526695"/>
                    <a:gd name="csY23" fmla="*/ 111025 h 358045"/>
                    <a:gd name="csX24" fmla="*/ 250638 w 526695"/>
                    <a:gd name="csY24" fmla="*/ 116083 h 358045"/>
                    <a:gd name="csX25" fmla="*/ 236872 w 526695"/>
                    <a:gd name="csY25" fmla="*/ 112818 h 358045"/>
                    <a:gd name="csX26" fmla="*/ 229253 w 526695"/>
                    <a:gd name="csY26" fmla="*/ 129145 h 358045"/>
                    <a:gd name="csX27" fmla="*/ 221281 w 526695"/>
                    <a:gd name="csY27" fmla="*/ 126615 h 358045"/>
                    <a:gd name="csX28" fmla="*/ 219457 w 526695"/>
                    <a:gd name="csY28" fmla="*/ 117171 h 358045"/>
                    <a:gd name="csX29" fmla="*/ 214366 w 526695"/>
                    <a:gd name="csY29" fmla="*/ 113554 h 358045"/>
                    <a:gd name="csX30" fmla="*/ 206747 w 526695"/>
                    <a:gd name="csY30" fmla="*/ 116083 h 358045"/>
                    <a:gd name="csX31" fmla="*/ 202393 w 526695"/>
                    <a:gd name="csY31" fmla="*/ 111025 h 358045"/>
                    <a:gd name="csX32" fmla="*/ 191156 w 526695"/>
                    <a:gd name="csY32" fmla="*/ 118644 h 358045"/>
                    <a:gd name="csX33" fmla="*/ 184273 w 526695"/>
                    <a:gd name="csY33" fmla="*/ 111025 h 358045"/>
                    <a:gd name="csX34" fmla="*/ 175565 w 526695"/>
                    <a:gd name="csY34" fmla="*/ 113554 h 358045"/>
                    <a:gd name="csX35" fmla="*/ 179183 w 526695"/>
                    <a:gd name="csY35" fmla="*/ 139325 h 358045"/>
                    <a:gd name="csX36" fmla="*/ 170475 w 526695"/>
                    <a:gd name="csY36" fmla="*/ 136764 h 358045"/>
                    <a:gd name="csX37" fmla="*/ 169739 w 526695"/>
                    <a:gd name="csY37" fmla="*/ 144768 h 358045"/>
                    <a:gd name="csX38" fmla="*/ 151619 w 526695"/>
                    <a:gd name="csY38" fmla="*/ 157445 h 358045"/>
                    <a:gd name="csX39" fmla="*/ 137821 w 526695"/>
                    <a:gd name="csY39" fmla="*/ 148033 h 358045"/>
                    <a:gd name="csX40" fmla="*/ 125847 w 526695"/>
                    <a:gd name="csY40" fmla="*/ 124791 h 358045"/>
                    <a:gd name="csX41" fmla="*/ 114610 w 526695"/>
                    <a:gd name="csY41" fmla="*/ 124791 h 358045"/>
                    <a:gd name="csX42" fmla="*/ 122230 w 526695"/>
                    <a:gd name="csY42" fmla="*/ 129145 h 358045"/>
                    <a:gd name="csX43" fmla="*/ 125847 w 526695"/>
                    <a:gd name="csY43" fmla="*/ 136764 h 358045"/>
                    <a:gd name="csX44" fmla="*/ 114610 w 526695"/>
                    <a:gd name="csY44" fmla="*/ 147296 h 358045"/>
                    <a:gd name="csX45" fmla="*/ 92137 w 526695"/>
                    <a:gd name="csY45" fmla="*/ 146208 h 358045"/>
                    <a:gd name="csX46" fmla="*/ 79427 w 526695"/>
                    <a:gd name="csY46" fmla="*/ 138589 h 358045"/>
                    <a:gd name="csX47" fmla="*/ 74337 w 526695"/>
                    <a:gd name="csY47" fmla="*/ 143679 h 358045"/>
                    <a:gd name="csX48" fmla="*/ 50038 w 526695"/>
                    <a:gd name="csY48" fmla="*/ 141118 h 358045"/>
                    <a:gd name="csX49" fmla="*/ 47509 w 526695"/>
                    <a:gd name="csY49" fmla="*/ 164328 h 358045"/>
                    <a:gd name="csX50" fmla="*/ 53656 w 526695"/>
                    <a:gd name="csY50" fmla="*/ 166889 h 358045"/>
                    <a:gd name="csX51" fmla="*/ 57657 w 526695"/>
                    <a:gd name="csY51" fmla="*/ 176301 h 358045"/>
                    <a:gd name="csX52" fmla="*/ 36976 w 526695"/>
                    <a:gd name="csY52" fmla="*/ 183217 h 358045"/>
                    <a:gd name="csX53" fmla="*/ 34447 w 526695"/>
                    <a:gd name="csY53" fmla="*/ 192629 h 358045"/>
                    <a:gd name="csX54" fmla="*/ 38801 w 526695"/>
                    <a:gd name="csY54" fmla="*/ 201336 h 358045"/>
                    <a:gd name="csX55" fmla="*/ 34447 w 526695"/>
                    <a:gd name="csY55" fmla="*/ 199512 h 358045"/>
                    <a:gd name="csX56" fmla="*/ 29357 w 526695"/>
                    <a:gd name="csY56" fmla="*/ 204954 h 358045"/>
                    <a:gd name="csX57" fmla="*/ 26092 w 526695"/>
                    <a:gd name="csY57" fmla="*/ 193717 h 358045"/>
                    <a:gd name="csX58" fmla="*/ 13766 w 526695"/>
                    <a:gd name="csY58" fmla="*/ 191924 h 358045"/>
                    <a:gd name="csX59" fmla="*/ 10501 w 526695"/>
                    <a:gd name="csY59" fmla="*/ 198807 h 358045"/>
                    <a:gd name="csX60" fmla="*/ 11237 w 526695"/>
                    <a:gd name="csY60" fmla="*/ 210044 h 358045"/>
                    <a:gd name="csX61" fmla="*/ 0 w 526695"/>
                    <a:gd name="csY61" fmla="*/ 225283 h 358045"/>
                    <a:gd name="csX62" fmla="*/ 13030 w 526695"/>
                    <a:gd name="csY62" fmla="*/ 228901 h 358045"/>
                    <a:gd name="csX63" fmla="*/ 12325 w 526695"/>
                    <a:gd name="csY63" fmla="*/ 238345 h 358045"/>
                    <a:gd name="csX64" fmla="*/ 23562 w 526695"/>
                    <a:gd name="csY64" fmla="*/ 249582 h 358045"/>
                    <a:gd name="csX65" fmla="*/ 20649 w 526695"/>
                    <a:gd name="csY65" fmla="*/ 266645 h 358045"/>
                    <a:gd name="csX66" fmla="*/ 26828 w 526695"/>
                    <a:gd name="csY66" fmla="*/ 272792 h 358045"/>
                    <a:gd name="csX67" fmla="*/ 31182 w 526695"/>
                    <a:gd name="csY67" fmla="*/ 275353 h 358045"/>
                    <a:gd name="csX68" fmla="*/ 26092 w 526695"/>
                    <a:gd name="csY68" fmla="*/ 280411 h 358045"/>
                    <a:gd name="csX69" fmla="*/ 31918 w 526695"/>
                    <a:gd name="csY69" fmla="*/ 293473 h 358045"/>
                    <a:gd name="csX70" fmla="*/ 46773 w 526695"/>
                    <a:gd name="csY70" fmla="*/ 291680 h 358045"/>
                    <a:gd name="csX71" fmla="*/ 54392 w 526695"/>
                    <a:gd name="csY71" fmla="*/ 299300 h 358045"/>
                    <a:gd name="csX72" fmla="*/ 61275 w 526695"/>
                    <a:gd name="csY72" fmla="*/ 297827 h 358045"/>
                    <a:gd name="csX73" fmla="*/ 64540 w 526695"/>
                    <a:gd name="csY73" fmla="*/ 288415 h 358045"/>
                    <a:gd name="csX74" fmla="*/ 74337 w 526695"/>
                    <a:gd name="csY74" fmla="*/ 296034 h 358045"/>
                    <a:gd name="csX75" fmla="*/ 86310 w 526695"/>
                    <a:gd name="csY75" fmla="*/ 291680 h 358045"/>
                    <a:gd name="csX76" fmla="*/ 83781 w 526695"/>
                    <a:gd name="csY76" fmla="*/ 278970 h 358045"/>
                    <a:gd name="csX77" fmla="*/ 100844 w 526695"/>
                    <a:gd name="csY77" fmla="*/ 270999 h 358045"/>
                    <a:gd name="csX78" fmla="*/ 112818 w 526695"/>
                    <a:gd name="csY78" fmla="*/ 276057 h 358045"/>
                    <a:gd name="csX79" fmla="*/ 121494 w 526695"/>
                    <a:gd name="csY79" fmla="*/ 286590 h 358045"/>
                    <a:gd name="csX80" fmla="*/ 125847 w 526695"/>
                    <a:gd name="csY80" fmla="*/ 309064 h 358045"/>
                    <a:gd name="csX81" fmla="*/ 146529 w 526695"/>
                    <a:gd name="csY81" fmla="*/ 329393 h 358045"/>
                    <a:gd name="csX82" fmla="*/ 157798 w 526695"/>
                    <a:gd name="csY82" fmla="*/ 326864 h 358045"/>
                    <a:gd name="csX83" fmla="*/ 163592 w 526695"/>
                    <a:gd name="csY83" fmla="*/ 317419 h 358045"/>
                    <a:gd name="csX84" fmla="*/ 173004 w 526695"/>
                    <a:gd name="csY84" fmla="*/ 326864 h 358045"/>
                    <a:gd name="csX85" fmla="*/ 181008 w 526695"/>
                    <a:gd name="csY85" fmla="*/ 327952 h 358045"/>
                    <a:gd name="csX86" fmla="*/ 185362 w 526695"/>
                    <a:gd name="csY86" fmla="*/ 333010 h 358045"/>
                    <a:gd name="csX87" fmla="*/ 198039 w 526695"/>
                    <a:gd name="csY87" fmla="*/ 334835 h 358045"/>
                    <a:gd name="csX88" fmla="*/ 213662 w 526695"/>
                    <a:gd name="csY88" fmla="*/ 344279 h 358045"/>
                    <a:gd name="csX89" fmla="*/ 218720 w 526695"/>
                    <a:gd name="csY89" fmla="*/ 344983 h 358045"/>
                    <a:gd name="csX90" fmla="*/ 278235 w 526695"/>
                    <a:gd name="csY90" fmla="*/ 356253 h 358045"/>
                    <a:gd name="csX91" fmla="*/ 290912 w 526695"/>
                    <a:gd name="csY91" fmla="*/ 358045 h 358045"/>
                    <a:gd name="csX92" fmla="*/ 304710 w 526695"/>
                    <a:gd name="csY92" fmla="*/ 352987 h 358045"/>
                    <a:gd name="csX93" fmla="*/ 310857 w 526695"/>
                    <a:gd name="csY93" fmla="*/ 349338 h 358045"/>
                    <a:gd name="csX94" fmla="*/ 312682 w 526695"/>
                    <a:gd name="csY94" fmla="*/ 336276 h 358045"/>
                    <a:gd name="csX95" fmla="*/ 317036 w 526695"/>
                    <a:gd name="csY95" fmla="*/ 331218 h 358045"/>
                    <a:gd name="csX96" fmla="*/ 323919 w 526695"/>
                    <a:gd name="csY96" fmla="*/ 329393 h 358045"/>
                    <a:gd name="csX97" fmla="*/ 330834 w 526695"/>
                    <a:gd name="csY97" fmla="*/ 319981 h 358045"/>
                    <a:gd name="csX98" fmla="*/ 351131 w 526695"/>
                    <a:gd name="csY98" fmla="*/ 317419 h 358045"/>
                    <a:gd name="csX99" fmla="*/ 356573 w 526695"/>
                    <a:gd name="csY99" fmla="*/ 310537 h 358045"/>
                    <a:gd name="csX100" fmla="*/ 372900 w 526695"/>
                    <a:gd name="csY100" fmla="*/ 299300 h 358045"/>
                    <a:gd name="csX101" fmla="*/ 375429 w 526695"/>
                    <a:gd name="csY101" fmla="*/ 281500 h 358045"/>
                    <a:gd name="csX102" fmla="*/ 386698 w 526695"/>
                    <a:gd name="csY102" fmla="*/ 281500 h 358045"/>
                    <a:gd name="csX103" fmla="*/ 397935 w 526695"/>
                    <a:gd name="csY103" fmla="*/ 284765 h 358045"/>
                    <a:gd name="csX104" fmla="*/ 423675 w 526695"/>
                    <a:gd name="csY104" fmla="*/ 273528 h 358045"/>
                    <a:gd name="csX105" fmla="*/ 437473 w 526695"/>
                    <a:gd name="csY105" fmla="*/ 282972 h 358045"/>
                    <a:gd name="csX106" fmla="*/ 457065 w 526695"/>
                    <a:gd name="csY106" fmla="*/ 277882 h 358045"/>
                    <a:gd name="csX107" fmla="*/ 465773 w 526695"/>
                    <a:gd name="csY107" fmla="*/ 261555 h 358045"/>
                    <a:gd name="csX108" fmla="*/ 463212 w 526695"/>
                    <a:gd name="csY108" fmla="*/ 255408 h 358045"/>
                    <a:gd name="csX109" fmla="*/ 444356 w 526695"/>
                    <a:gd name="csY109" fmla="*/ 254672 h 358045"/>
                    <a:gd name="csX110" fmla="*/ 450150 w 526695"/>
                    <a:gd name="csY110" fmla="*/ 240874 h 358045"/>
                    <a:gd name="csX111" fmla="*/ 451975 w 526695"/>
                    <a:gd name="csY111" fmla="*/ 235079 h 358045"/>
                    <a:gd name="csX112" fmla="*/ 466477 w 526695"/>
                    <a:gd name="csY112" fmla="*/ 236520 h 358045"/>
                    <a:gd name="csX113" fmla="*/ 474481 w 526695"/>
                    <a:gd name="csY113" fmla="*/ 218752 h 358045"/>
                    <a:gd name="csX114" fmla="*/ 488247 w 526695"/>
                    <a:gd name="csY114" fmla="*/ 216927 h 358045"/>
                    <a:gd name="csX115" fmla="*/ 497691 w 526695"/>
                    <a:gd name="csY115" fmla="*/ 223842 h 358045"/>
                    <a:gd name="csX116" fmla="*/ 506399 w 526695"/>
                    <a:gd name="csY116" fmla="*/ 216927 h 358045"/>
                    <a:gd name="csX117" fmla="*/ 512194 w 526695"/>
                    <a:gd name="csY117" fmla="*/ 199512 h 358045"/>
                    <a:gd name="csX118" fmla="*/ 526696 w 526695"/>
                    <a:gd name="csY118" fmla="*/ 188659 h 358045"/>
                    <a:gd name="csX119" fmla="*/ 525992 w 526695"/>
                    <a:gd name="csY119" fmla="*/ 173772 h 358045"/>
                    <a:gd name="csX120" fmla="*/ 519813 w 526695"/>
                    <a:gd name="csY120" fmla="*/ 171243 h 358045"/>
                    <a:gd name="csX121" fmla="*/ 507840 w 526695"/>
                    <a:gd name="csY121" fmla="*/ 177390 h 358045"/>
                    <a:gd name="csX122" fmla="*/ 492601 w 526695"/>
                    <a:gd name="csY122" fmla="*/ 177390 h 358045"/>
                    <a:gd name="csX123" fmla="*/ 477746 w 526695"/>
                    <a:gd name="csY123" fmla="*/ 166889 h 358045"/>
                    <a:gd name="csX124" fmla="*/ 478835 w 526695"/>
                    <a:gd name="csY124" fmla="*/ 153091 h 358045"/>
                    <a:gd name="csX125" fmla="*/ 484629 w 526695"/>
                    <a:gd name="csY125" fmla="*/ 149826 h 358045"/>
                    <a:gd name="csX126" fmla="*/ 491512 w 526695"/>
                    <a:gd name="csY126" fmla="*/ 159974 h 358045"/>
                    <a:gd name="csX127" fmla="*/ 500220 w 526695"/>
                    <a:gd name="csY127" fmla="*/ 148033 h 358045"/>
                    <a:gd name="csX128" fmla="*/ 507840 w 526695"/>
                    <a:gd name="csY128" fmla="*/ 152355 h 358045"/>
                    <a:gd name="csX129" fmla="*/ 515811 w 526695"/>
                    <a:gd name="csY129" fmla="*/ 148033 h 358045"/>
                    <a:gd name="csX130" fmla="*/ 513282 w 526695"/>
                    <a:gd name="csY130" fmla="*/ 122998 h 358045"/>
                    <a:gd name="csX131" fmla="*/ 502781 w 526695"/>
                    <a:gd name="csY131" fmla="*/ 124086 h 358045"/>
                    <a:gd name="csX132" fmla="*/ 505311 w 526695"/>
                    <a:gd name="csY132" fmla="*/ 117171 h 358045"/>
                    <a:gd name="csX133" fmla="*/ 495866 w 526695"/>
                    <a:gd name="csY133" fmla="*/ 111729 h 358045"/>
                    <a:gd name="csX134" fmla="*/ 498428 w 526695"/>
                    <a:gd name="csY134" fmla="*/ 107759 h 358045"/>
                    <a:gd name="csX135" fmla="*/ 489720 w 526695"/>
                    <a:gd name="csY135" fmla="*/ 97227 h 358045"/>
                    <a:gd name="csX136" fmla="*/ 482805 w 526695"/>
                    <a:gd name="csY136" fmla="*/ 103405 h 358045"/>
                    <a:gd name="csX137" fmla="*/ 477010 w 526695"/>
                    <a:gd name="csY137" fmla="*/ 85990 h 358045"/>
                    <a:gd name="csX138" fmla="*/ 480275 w 526695"/>
                    <a:gd name="csY138" fmla="*/ 75841 h 358045"/>
                    <a:gd name="csX139" fmla="*/ 461419 w 526695"/>
                    <a:gd name="csY139" fmla="*/ 75841 h 358045"/>
                    <a:gd name="csX140" fmla="*/ 456329 w 526695"/>
                    <a:gd name="csY140" fmla="*/ 63868 h 358045"/>
                    <a:gd name="csX141" fmla="*/ 450150 w 526695"/>
                    <a:gd name="csY141" fmla="*/ 62780 h 358045"/>
                    <a:gd name="csX142" fmla="*/ 450150 w 526695"/>
                    <a:gd name="csY142" fmla="*/ 55160 h 358045"/>
                    <a:gd name="csX143" fmla="*/ 433119 w 526695"/>
                    <a:gd name="csY143" fmla="*/ 50806 h 358045"/>
                    <a:gd name="csX144" fmla="*/ 415703 w 526695"/>
                    <a:gd name="csY144" fmla="*/ 36304 h 358045"/>
                    <a:gd name="csX145" fmla="*/ 418616 w 526695"/>
                    <a:gd name="csY145" fmla="*/ 30861 h 358045"/>
                    <a:gd name="csX146" fmla="*/ 413174 w 526695"/>
                    <a:gd name="csY146" fmla="*/ 25035 h 3580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526695" h="358045">
                      <a:moveTo>
                        <a:pt x="413174" y="25035"/>
                      </a:moveTo>
                      <a:lnTo>
                        <a:pt x="421145" y="10532"/>
                      </a:lnTo>
                      <a:lnTo>
                        <a:pt x="410613" y="0"/>
                      </a:lnTo>
                      <a:lnTo>
                        <a:pt x="403730" y="2561"/>
                      </a:lnTo>
                      <a:lnTo>
                        <a:pt x="404818" y="8708"/>
                      </a:lnTo>
                      <a:lnTo>
                        <a:pt x="391757" y="25035"/>
                      </a:lnTo>
                      <a:lnTo>
                        <a:pt x="391757" y="29389"/>
                      </a:lnTo>
                      <a:lnTo>
                        <a:pt x="381608" y="29389"/>
                      </a:lnTo>
                      <a:lnTo>
                        <a:pt x="362368" y="37008"/>
                      </a:lnTo>
                      <a:lnTo>
                        <a:pt x="335892" y="25771"/>
                      </a:lnTo>
                      <a:lnTo>
                        <a:pt x="329745" y="34479"/>
                      </a:lnTo>
                      <a:lnTo>
                        <a:pt x="331538" y="54424"/>
                      </a:lnTo>
                      <a:lnTo>
                        <a:pt x="322830" y="58426"/>
                      </a:lnTo>
                      <a:lnTo>
                        <a:pt x="295266" y="55160"/>
                      </a:lnTo>
                      <a:lnTo>
                        <a:pt x="282588" y="70751"/>
                      </a:lnTo>
                      <a:lnTo>
                        <a:pt x="277146" y="70751"/>
                      </a:lnTo>
                      <a:lnTo>
                        <a:pt x="274585" y="58426"/>
                      </a:lnTo>
                      <a:lnTo>
                        <a:pt x="267702" y="53335"/>
                      </a:lnTo>
                      <a:lnTo>
                        <a:pt x="261907" y="53335"/>
                      </a:lnTo>
                      <a:lnTo>
                        <a:pt x="255729" y="64572"/>
                      </a:lnTo>
                      <a:lnTo>
                        <a:pt x="252463" y="77634"/>
                      </a:lnTo>
                      <a:lnTo>
                        <a:pt x="275673" y="104109"/>
                      </a:lnTo>
                      <a:lnTo>
                        <a:pt x="273144" y="111729"/>
                      </a:lnTo>
                      <a:lnTo>
                        <a:pt x="258258" y="111025"/>
                      </a:lnTo>
                      <a:lnTo>
                        <a:pt x="250638" y="116083"/>
                      </a:lnTo>
                      <a:lnTo>
                        <a:pt x="236872" y="112818"/>
                      </a:lnTo>
                      <a:lnTo>
                        <a:pt x="229253" y="129145"/>
                      </a:lnTo>
                      <a:lnTo>
                        <a:pt x="221281" y="126615"/>
                      </a:lnTo>
                      <a:lnTo>
                        <a:pt x="219457" y="117171"/>
                      </a:lnTo>
                      <a:lnTo>
                        <a:pt x="214366" y="113554"/>
                      </a:lnTo>
                      <a:lnTo>
                        <a:pt x="206747" y="116083"/>
                      </a:lnTo>
                      <a:lnTo>
                        <a:pt x="202393" y="111025"/>
                      </a:lnTo>
                      <a:lnTo>
                        <a:pt x="191156" y="118644"/>
                      </a:lnTo>
                      <a:lnTo>
                        <a:pt x="184273" y="111025"/>
                      </a:lnTo>
                      <a:lnTo>
                        <a:pt x="175565" y="113554"/>
                      </a:lnTo>
                      <a:lnTo>
                        <a:pt x="179183" y="139325"/>
                      </a:lnTo>
                      <a:lnTo>
                        <a:pt x="170475" y="136764"/>
                      </a:lnTo>
                      <a:lnTo>
                        <a:pt x="169739" y="144768"/>
                      </a:lnTo>
                      <a:lnTo>
                        <a:pt x="151619" y="157445"/>
                      </a:lnTo>
                      <a:lnTo>
                        <a:pt x="137821" y="148033"/>
                      </a:lnTo>
                      <a:lnTo>
                        <a:pt x="125847" y="124791"/>
                      </a:lnTo>
                      <a:lnTo>
                        <a:pt x="114610" y="124791"/>
                      </a:lnTo>
                      <a:lnTo>
                        <a:pt x="122230" y="129145"/>
                      </a:lnTo>
                      <a:lnTo>
                        <a:pt x="125847" y="136764"/>
                      </a:lnTo>
                      <a:lnTo>
                        <a:pt x="114610" y="147296"/>
                      </a:lnTo>
                      <a:lnTo>
                        <a:pt x="92137" y="146208"/>
                      </a:lnTo>
                      <a:lnTo>
                        <a:pt x="79427" y="138589"/>
                      </a:lnTo>
                      <a:lnTo>
                        <a:pt x="74337" y="143679"/>
                      </a:lnTo>
                      <a:lnTo>
                        <a:pt x="50038" y="141118"/>
                      </a:lnTo>
                      <a:lnTo>
                        <a:pt x="47509" y="164328"/>
                      </a:lnTo>
                      <a:lnTo>
                        <a:pt x="53656" y="166889"/>
                      </a:lnTo>
                      <a:lnTo>
                        <a:pt x="57657" y="176301"/>
                      </a:lnTo>
                      <a:lnTo>
                        <a:pt x="36976" y="183217"/>
                      </a:lnTo>
                      <a:lnTo>
                        <a:pt x="34447" y="192629"/>
                      </a:lnTo>
                      <a:lnTo>
                        <a:pt x="38801" y="201336"/>
                      </a:lnTo>
                      <a:lnTo>
                        <a:pt x="34447" y="199512"/>
                      </a:lnTo>
                      <a:lnTo>
                        <a:pt x="29357" y="204954"/>
                      </a:lnTo>
                      <a:lnTo>
                        <a:pt x="26092" y="193717"/>
                      </a:lnTo>
                      <a:lnTo>
                        <a:pt x="13766" y="191924"/>
                      </a:lnTo>
                      <a:lnTo>
                        <a:pt x="10501" y="198807"/>
                      </a:lnTo>
                      <a:lnTo>
                        <a:pt x="11237" y="210044"/>
                      </a:lnTo>
                      <a:lnTo>
                        <a:pt x="0" y="225283"/>
                      </a:lnTo>
                      <a:lnTo>
                        <a:pt x="13030" y="228901"/>
                      </a:lnTo>
                      <a:lnTo>
                        <a:pt x="12325" y="238345"/>
                      </a:lnTo>
                      <a:lnTo>
                        <a:pt x="23562" y="249582"/>
                      </a:lnTo>
                      <a:lnTo>
                        <a:pt x="20649" y="266645"/>
                      </a:lnTo>
                      <a:lnTo>
                        <a:pt x="26828" y="272792"/>
                      </a:lnTo>
                      <a:lnTo>
                        <a:pt x="31182" y="275353"/>
                      </a:lnTo>
                      <a:lnTo>
                        <a:pt x="26092" y="280411"/>
                      </a:lnTo>
                      <a:lnTo>
                        <a:pt x="31918" y="293473"/>
                      </a:lnTo>
                      <a:lnTo>
                        <a:pt x="46773" y="291680"/>
                      </a:lnTo>
                      <a:lnTo>
                        <a:pt x="54392" y="299300"/>
                      </a:lnTo>
                      <a:lnTo>
                        <a:pt x="61275" y="297827"/>
                      </a:lnTo>
                      <a:lnTo>
                        <a:pt x="64540" y="288415"/>
                      </a:lnTo>
                      <a:lnTo>
                        <a:pt x="74337" y="296034"/>
                      </a:lnTo>
                      <a:lnTo>
                        <a:pt x="86310" y="291680"/>
                      </a:lnTo>
                      <a:lnTo>
                        <a:pt x="83781" y="278970"/>
                      </a:lnTo>
                      <a:lnTo>
                        <a:pt x="100844" y="270999"/>
                      </a:lnTo>
                      <a:lnTo>
                        <a:pt x="112818" y="276057"/>
                      </a:lnTo>
                      <a:lnTo>
                        <a:pt x="121494" y="286590"/>
                      </a:lnTo>
                      <a:lnTo>
                        <a:pt x="125847" y="309064"/>
                      </a:lnTo>
                      <a:lnTo>
                        <a:pt x="146529" y="329393"/>
                      </a:lnTo>
                      <a:lnTo>
                        <a:pt x="157798" y="326864"/>
                      </a:lnTo>
                      <a:lnTo>
                        <a:pt x="163592" y="317419"/>
                      </a:lnTo>
                      <a:lnTo>
                        <a:pt x="173004" y="326864"/>
                      </a:lnTo>
                      <a:lnTo>
                        <a:pt x="181008" y="327952"/>
                      </a:lnTo>
                      <a:lnTo>
                        <a:pt x="185362" y="333010"/>
                      </a:lnTo>
                      <a:lnTo>
                        <a:pt x="198039" y="334835"/>
                      </a:lnTo>
                      <a:lnTo>
                        <a:pt x="213662" y="344279"/>
                      </a:lnTo>
                      <a:lnTo>
                        <a:pt x="218720" y="344983"/>
                      </a:lnTo>
                      <a:lnTo>
                        <a:pt x="278235" y="356253"/>
                      </a:lnTo>
                      <a:lnTo>
                        <a:pt x="290912" y="358045"/>
                      </a:lnTo>
                      <a:lnTo>
                        <a:pt x="304710" y="352987"/>
                      </a:lnTo>
                      <a:lnTo>
                        <a:pt x="310857" y="349338"/>
                      </a:lnTo>
                      <a:lnTo>
                        <a:pt x="312682" y="336276"/>
                      </a:lnTo>
                      <a:lnTo>
                        <a:pt x="317036" y="331218"/>
                      </a:lnTo>
                      <a:lnTo>
                        <a:pt x="323919" y="329393"/>
                      </a:lnTo>
                      <a:lnTo>
                        <a:pt x="330834" y="319981"/>
                      </a:lnTo>
                      <a:lnTo>
                        <a:pt x="351131" y="317419"/>
                      </a:lnTo>
                      <a:lnTo>
                        <a:pt x="356573" y="310537"/>
                      </a:lnTo>
                      <a:lnTo>
                        <a:pt x="372900" y="299300"/>
                      </a:lnTo>
                      <a:lnTo>
                        <a:pt x="375429" y="281500"/>
                      </a:lnTo>
                      <a:lnTo>
                        <a:pt x="386698" y="281500"/>
                      </a:lnTo>
                      <a:lnTo>
                        <a:pt x="397935" y="284765"/>
                      </a:lnTo>
                      <a:lnTo>
                        <a:pt x="423675" y="273528"/>
                      </a:lnTo>
                      <a:lnTo>
                        <a:pt x="437473" y="282972"/>
                      </a:lnTo>
                      <a:lnTo>
                        <a:pt x="457065" y="277882"/>
                      </a:lnTo>
                      <a:lnTo>
                        <a:pt x="465773" y="261555"/>
                      </a:lnTo>
                      <a:lnTo>
                        <a:pt x="463212" y="255408"/>
                      </a:lnTo>
                      <a:lnTo>
                        <a:pt x="444356" y="254672"/>
                      </a:lnTo>
                      <a:lnTo>
                        <a:pt x="450150" y="240874"/>
                      </a:lnTo>
                      <a:lnTo>
                        <a:pt x="451975" y="235079"/>
                      </a:lnTo>
                      <a:lnTo>
                        <a:pt x="466477" y="236520"/>
                      </a:lnTo>
                      <a:lnTo>
                        <a:pt x="474481" y="218752"/>
                      </a:lnTo>
                      <a:lnTo>
                        <a:pt x="488247" y="216927"/>
                      </a:lnTo>
                      <a:lnTo>
                        <a:pt x="497691" y="223842"/>
                      </a:lnTo>
                      <a:lnTo>
                        <a:pt x="506399" y="216927"/>
                      </a:lnTo>
                      <a:lnTo>
                        <a:pt x="512194" y="199512"/>
                      </a:lnTo>
                      <a:lnTo>
                        <a:pt x="526696" y="188659"/>
                      </a:lnTo>
                      <a:lnTo>
                        <a:pt x="525992" y="173772"/>
                      </a:lnTo>
                      <a:lnTo>
                        <a:pt x="519813" y="171243"/>
                      </a:lnTo>
                      <a:lnTo>
                        <a:pt x="507840" y="177390"/>
                      </a:lnTo>
                      <a:lnTo>
                        <a:pt x="492601" y="177390"/>
                      </a:lnTo>
                      <a:lnTo>
                        <a:pt x="477746" y="166889"/>
                      </a:lnTo>
                      <a:lnTo>
                        <a:pt x="478835" y="153091"/>
                      </a:lnTo>
                      <a:lnTo>
                        <a:pt x="484629" y="149826"/>
                      </a:lnTo>
                      <a:lnTo>
                        <a:pt x="491512" y="159974"/>
                      </a:lnTo>
                      <a:lnTo>
                        <a:pt x="500220" y="148033"/>
                      </a:lnTo>
                      <a:lnTo>
                        <a:pt x="507840" y="152355"/>
                      </a:lnTo>
                      <a:lnTo>
                        <a:pt x="515811" y="148033"/>
                      </a:lnTo>
                      <a:lnTo>
                        <a:pt x="513282" y="122998"/>
                      </a:lnTo>
                      <a:lnTo>
                        <a:pt x="502781" y="124086"/>
                      </a:lnTo>
                      <a:lnTo>
                        <a:pt x="505311" y="117171"/>
                      </a:lnTo>
                      <a:lnTo>
                        <a:pt x="495866" y="111729"/>
                      </a:lnTo>
                      <a:lnTo>
                        <a:pt x="498428" y="107759"/>
                      </a:lnTo>
                      <a:lnTo>
                        <a:pt x="489720" y="97227"/>
                      </a:lnTo>
                      <a:lnTo>
                        <a:pt x="482805" y="103405"/>
                      </a:lnTo>
                      <a:lnTo>
                        <a:pt x="477010" y="85990"/>
                      </a:lnTo>
                      <a:lnTo>
                        <a:pt x="480275" y="75841"/>
                      </a:lnTo>
                      <a:lnTo>
                        <a:pt x="461419" y="75841"/>
                      </a:lnTo>
                      <a:lnTo>
                        <a:pt x="456329" y="63868"/>
                      </a:lnTo>
                      <a:lnTo>
                        <a:pt x="450150" y="62780"/>
                      </a:lnTo>
                      <a:lnTo>
                        <a:pt x="450150" y="55160"/>
                      </a:lnTo>
                      <a:lnTo>
                        <a:pt x="433119" y="50806"/>
                      </a:lnTo>
                      <a:lnTo>
                        <a:pt x="415703" y="36304"/>
                      </a:lnTo>
                      <a:lnTo>
                        <a:pt x="418616" y="30861"/>
                      </a:lnTo>
                      <a:lnTo>
                        <a:pt x="413174" y="2503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0" name="Forma Livre: Forma 229">
                  <a:extLst>
                    <a:ext uri="{FF2B5EF4-FFF2-40B4-BE49-F238E27FC236}">
                      <a16:creationId xmlns:a16="http://schemas.microsoft.com/office/drawing/2014/main" id="{6B8CFB85-16BD-6029-A4F2-F031245292FD}"/>
                    </a:ext>
                  </a:extLst>
                </p:cNvPr>
                <p:cNvSpPr/>
                <p:nvPr/>
              </p:nvSpPr>
              <p:spPr>
                <a:xfrm>
                  <a:off x="2179691" y="5364509"/>
                  <a:ext cx="526695" cy="358045"/>
                </a:xfrm>
                <a:custGeom>
                  <a:avLst/>
                  <a:gdLst>
                    <a:gd name="csX0" fmla="*/ 413174 w 526695"/>
                    <a:gd name="csY0" fmla="*/ 25035 h 358045"/>
                    <a:gd name="csX1" fmla="*/ 421145 w 526695"/>
                    <a:gd name="csY1" fmla="*/ 10532 h 358045"/>
                    <a:gd name="csX2" fmla="*/ 410613 w 526695"/>
                    <a:gd name="csY2" fmla="*/ 0 h 358045"/>
                    <a:gd name="csX3" fmla="*/ 403730 w 526695"/>
                    <a:gd name="csY3" fmla="*/ 2561 h 358045"/>
                    <a:gd name="csX4" fmla="*/ 404818 w 526695"/>
                    <a:gd name="csY4" fmla="*/ 8708 h 358045"/>
                    <a:gd name="csX5" fmla="*/ 391757 w 526695"/>
                    <a:gd name="csY5" fmla="*/ 25035 h 358045"/>
                    <a:gd name="csX6" fmla="*/ 391757 w 526695"/>
                    <a:gd name="csY6" fmla="*/ 29389 h 358045"/>
                    <a:gd name="csX7" fmla="*/ 381608 w 526695"/>
                    <a:gd name="csY7" fmla="*/ 29389 h 358045"/>
                    <a:gd name="csX8" fmla="*/ 362368 w 526695"/>
                    <a:gd name="csY8" fmla="*/ 37008 h 358045"/>
                    <a:gd name="csX9" fmla="*/ 335892 w 526695"/>
                    <a:gd name="csY9" fmla="*/ 25771 h 358045"/>
                    <a:gd name="csX10" fmla="*/ 329745 w 526695"/>
                    <a:gd name="csY10" fmla="*/ 34479 h 358045"/>
                    <a:gd name="csX11" fmla="*/ 331538 w 526695"/>
                    <a:gd name="csY11" fmla="*/ 54424 h 358045"/>
                    <a:gd name="csX12" fmla="*/ 322830 w 526695"/>
                    <a:gd name="csY12" fmla="*/ 58426 h 358045"/>
                    <a:gd name="csX13" fmla="*/ 295266 w 526695"/>
                    <a:gd name="csY13" fmla="*/ 55160 h 358045"/>
                    <a:gd name="csX14" fmla="*/ 282588 w 526695"/>
                    <a:gd name="csY14" fmla="*/ 70751 h 358045"/>
                    <a:gd name="csX15" fmla="*/ 277146 w 526695"/>
                    <a:gd name="csY15" fmla="*/ 70751 h 358045"/>
                    <a:gd name="csX16" fmla="*/ 274585 w 526695"/>
                    <a:gd name="csY16" fmla="*/ 58426 h 358045"/>
                    <a:gd name="csX17" fmla="*/ 267702 w 526695"/>
                    <a:gd name="csY17" fmla="*/ 53335 h 358045"/>
                    <a:gd name="csX18" fmla="*/ 261907 w 526695"/>
                    <a:gd name="csY18" fmla="*/ 53335 h 358045"/>
                    <a:gd name="csX19" fmla="*/ 255729 w 526695"/>
                    <a:gd name="csY19" fmla="*/ 64572 h 358045"/>
                    <a:gd name="csX20" fmla="*/ 252463 w 526695"/>
                    <a:gd name="csY20" fmla="*/ 77634 h 358045"/>
                    <a:gd name="csX21" fmla="*/ 275673 w 526695"/>
                    <a:gd name="csY21" fmla="*/ 104109 h 358045"/>
                    <a:gd name="csX22" fmla="*/ 273144 w 526695"/>
                    <a:gd name="csY22" fmla="*/ 111729 h 358045"/>
                    <a:gd name="csX23" fmla="*/ 258258 w 526695"/>
                    <a:gd name="csY23" fmla="*/ 111025 h 358045"/>
                    <a:gd name="csX24" fmla="*/ 250638 w 526695"/>
                    <a:gd name="csY24" fmla="*/ 116083 h 358045"/>
                    <a:gd name="csX25" fmla="*/ 236872 w 526695"/>
                    <a:gd name="csY25" fmla="*/ 112818 h 358045"/>
                    <a:gd name="csX26" fmla="*/ 229253 w 526695"/>
                    <a:gd name="csY26" fmla="*/ 129145 h 358045"/>
                    <a:gd name="csX27" fmla="*/ 221281 w 526695"/>
                    <a:gd name="csY27" fmla="*/ 126615 h 358045"/>
                    <a:gd name="csX28" fmla="*/ 219457 w 526695"/>
                    <a:gd name="csY28" fmla="*/ 117171 h 358045"/>
                    <a:gd name="csX29" fmla="*/ 214366 w 526695"/>
                    <a:gd name="csY29" fmla="*/ 113554 h 358045"/>
                    <a:gd name="csX30" fmla="*/ 206747 w 526695"/>
                    <a:gd name="csY30" fmla="*/ 116083 h 358045"/>
                    <a:gd name="csX31" fmla="*/ 202393 w 526695"/>
                    <a:gd name="csY31" fmla="*/ 111025 h 358045"/>
                    <a:gd name="csX32" fmla="*/ 191156 w 526695"/>
                    <a:gd name="csY32" fmla="*/ 118644 h 358045"/>
                    <a:gd name="csX33" fmla="*/ 184273 w 526695"/>
                    <a:gd name="csY33" fmla="*/ 111025 h 358045"/>
                    <a:gd name="csX34" fmla="*/ 175565 w 526695"/>
                    <a:gd name="csY34" fmla="*/ 113554 h 358045"/>
                    <a:gd name="csX35" fmla="*/ 179183 w 526695"/>
                    <a:gd name="csY35" fmla="*/ 139325 h 358045"/>
                    <a:gd name="csX36" fmla="*/ 170475 w 526695"/>
                    <a:gd name="csY36" fmla="*/ 136764 h 358045"/>
                    <a:gd name="csX37" fmla="*/ 169739 w 526695"/>
                    <a:gd name="csY37" fmla="*/ 144768 h 358045"/>
                    <a:gd name="csX38" fmla="*/ 151619 w 526695"/>
                    <a:gd name="csY38" fmla="*/ 157445 h 358045"/>
                    <a:gd name="csX39" fmla="*/ 137821 w 526695"/>
                    <a:gd name="csY39" fmla="*/ 148033 h 358045"/>
                    <a:gd name="csX40" fmla="*/ 125847 w 526695"/>
                    <a:gd name="csY40" fmla="*/ 124791 h 358045"/>
                    <a:gd name="csX41" fmla="*/ 114610 w 526695"/>
                    <a:gd name="csY41" fmla="*/ 124791 h 358045"/>
                    <a:gd name="csX42" fmla="*/ 122230 w 526695"/>
                    <a:gd name="csY42" fmla="*/ 129145 h 358045"/>
                    <a:gd name="csX43" fmla="*/ 125847 w 526695"/>
                    <a:gd name="csY43" fmla="*/ 136764 h 358045"/>
                    <a:gd name="csX44" fmla="*/ 114610 w 526695"/>
                    <a:gd name="csY44" fmla="*/ 147296 h 358045"/>
                    <a:gd name="csX45" fmla="*/ 92137 w 526695"/>
                    <a:gd name="csY45" fmla="*/ 146208 h 358045"/>
                    <a:gd name="csX46" fmla="*/ 79427 w 526695"/>
                    <a:gd name="csY46" fmla="*/ 138589 h 358045"/>
                    <a:gd name="csX47" fmla="*/ 74337 w 526695"/>
                    <a:gd name="csY47" fmla="*/ 143679 h 358045"/>
                    <a:gd name="csX48" fmla="*/ 50038 w 526695"/>
                    <a:gd name="csY48" fmla="*/ 141118 h 358045"/>
                    <a:gd name="csX49" fmla="*/ 47509 w 526695"/>
                    <a:gd name="csY49" fmla="*/ 164328 h 358045"/>
                    <a:gd name="csX50" fmla="*/ 53656 w 526695"/>
                    <a:gd name="csY50" fmla="*/ 166889 h 358045"/>
                    <a:gd name="csX51" fmla="*/ 57657 w 526695"/>
                    <a:gd name="csY51" fmla="*/ 176301 h 358045"/>
                    <a:gd name="csX52" fmla="*/ 36976 w 526695"/>
                    <a:gd name="csY52" fmla="*/ 183217 h 358045"/>
                    <a:gd name="csX53" fmla="*/ 34447 w 526695"/>
                    <a:gd name="csY53" fmla="*/ 192629 h 358045"/>
                    <a:gd name="csX54" fmla="*/ 38801 w 526695"/>
                    <a:gd name="csY54" fmla="*/ 201336 h 358045"/>
                    <a:gd name="csX55" fmla="*/ 34447 w 526695"/>
                    <a:gd name="csY55" fmla="*/ 199512 h 358045"/>
                    <a:gd name="csX56" fmla="*/ 29357 w 526695"/>
                    <a:gd name="csY56" fmla="*/ 204954 h 358045"/>
                    <a:gd name="csX57" fmla="*/ 26092 w 526695"/>
                    <a:gd name="csY57" fmla="*/ 193717 h 358045"/>
                    <a:gd name="csX58" fmla="*/ 13766 w 526695"/>
                    <a:gd name="csY58" fmla="*/ 191924 h 358045"/>
                    <a:gd name="csX59" fmla="*/ 10501 w 526695"/>
                    <a:gd name="csY59" fmla="*/ 198807 h 358045"/>
                    <a:gd name="csX60" fmla="*/ 11237 w 526695"/>
                    <a:gd name="csY60" fmla="*/ 210044 h 358045"/>
                    <a:gd name="csX61" fmla="*/ 0 w 526695"/>
                    <a:gd name="csY61" fmla="*/ 225283 h 358045"/>
                    <a:gd name="csX62" fmla="*/ 13030 w 526695"/>
                    <a:gd name="csY62" fmla="*/ 228901 h 358045"/>
                    <a:gd name="csX63" fmla="*/ 12325 w 526695"/>
                    <a:gd name="csY63" fmla="*/ 238345 h 358045"/>
                    <a:gd name="csX64" fmla="*/ 23562 w 526695"/>
                    <a:gd name="csY64" fmla="*/ 249582 h 358045"/>
                    <a:gd name="csX65" fmla="*/ 20649 w 526695"/>
                    <a:gd name="csY65" fmla="*/ 266645 h 358045"/>
                    <a:gd name="csX66" fmla="*/ 26828 w 526695"/>
                    <a:gd name="csY66" fmla="*/ 272792 h 358045"/>
                    <a:gd name="csX67" fmla="*/ 31182 w 526695"/>
                    <a:gd name="csY67" fmla="*/ 275353 h 358045"/>
                    <a:gd name="csX68" fmla="*/ 26092 w 526695"/>
                    <a:gd name="csY68" fmla="*/ 280411 h 358045"/>
                    <a:gd name="csX69" fmla="*/ 31918 w 526695"/>
                    <a:gd name="csY69" fmla="*/ 293473 h 358045"/>
                    <a:gd name="csX70" fmla="*/ 46773 w 526695"/>
                    <a:gd name="csY70" fmla="*/ 291680 h 358045"/>
                    <a:gd name="csX71" fmla="*/ 54392 w 526695"/>
                    <a:gd name="csY71" fmla="*/ 299300 h 358045"/>
                    <a:gd name="csX72" fmla="*/ 61275 w 526695"/>
                    <a:gd name="csY72" fmla="*/ 297827 h 358045"/>
                    <a:gd name="csX73" fmla="*/ 64540 w 526695"/>
                    <a:gd name="csY73" fmla="*/ 288415 h 358045"/>
                    <a:gd name="csX74" fmla="*/ 74337 w 526695"/>
                    <a:gd name="csY74" fmla="*/ 296034 h 358045"/>
                    <a:gd name="csX75" fmla="*/ 86310 w 526695"/>
                    <a:gd name="csY75" fmla="*/ 291680 h 358045"/>
                    <a:gd name="csX76" fmla="*/ 83781 w 526695"/>
                    <a:gd name="csY76" fmla="*/ 278970 h 358045"/>
                    <a:gd name="csX77" fmla="*/ 100844 w 526695"/>
                    <a:gd name="csY77" fmla="*/ 270999 h 358045"/>
                    <a:gd name="csX78" fmla="*/ 112818 w 526695"/>
                    <a:gd name="csY78" fmla="*/ 276057 h 358045"/>
                    <a:gd name="csX79" fmla="*/ 121494 w 526695"/>
                    <a:gd name="csY79" fmla="*/ 286590 h 358045"/>
                    <a:gd name="csX80" fmla="*/ 125847 w 526695"/>
                    <a:gd name="csY80" fmla="*/ 309064 h 358045"/>
                    <a:gd name="csX81" fmla="*/ 146529 w 526695"/>
                    <a:gd name="csY81" fmla="*/ 329393 h 358045"/>
                    <a:gd name="csX82" fmla="*/ 157798 w 526695"/>
                    <a:gd name="csY82" fmla="*/ 326864 h 358045"/>
                    <a:gd name="csX83" fmla="*/ 163592 w 526695"/>
                    <a:gd name="csY83" fmla="*/ 317419 h 358045"/>
                    <a:gd name="csX84" fmla="*/ 173004 w 526695"/>
                    <a:gd name="csY84" fmla="*/ 326864 h 358045"/>
                    <a:gd name="csX85" fmla="*/ 181008 w 526695"/>
                    <a:gd name="csY85" fmla="*/ 327952 h 358045"/>
                    <a:gd name="csX86" fmla="*/ 185362 w 526695"/>
                    <a:gd name="csY86" fmla="*/ 333010 h 358045"/>
                    <a:gd name="csX87" fmla="*/ 198039 w 526695"/>
                    <a:gd name="csY87" fmla="*/ 334835 h 358045"/>
                    <a:gd name="csX88" fmla="*/ 213662 w 526695"/>
                    <a:gd name="csY88" fmla="*/ 344279 h 358045"/>
                    <a:gd name="csX89" fmla="*/ 218720 w 526695"/>
                    <a:gd name="csY89" fmla="*/ 344983 h 358045"/>
                    <a:gd name="csX90" fmla="*/ 278235 w 526695"/>
                    <a:gd name="csY90" fmla="*/ 356253 h 358045"/>
                    <a:gd name="csX91" fmla="*/ 290912 w 526695"/>
                    <a:gd name="csY91" fmla="*/ 358045 h 358045"/>
                    <a:gd name="csX92" fmla="*/ 304710 w 526695"/>
                    <a:gd name="csY92" fmla="*/ 352987 h 358045"/>
                    <a:gd name="csX93" fmla="*/ 310857 w 526695"/>
                    <a:gd name="csY93" fmla="*/ 349338 h 358045"/>
                    <a:gd name="csX94" fmla="*/ 312682 w 526695"/>
                    <a:gd name="csY94" fmla="*/ 336276 h 358045"/>
                    <a:gd name="csX95" fmla="*/ 317036 w 526695"/>
                    <a:gd name="csY95" fmla="*/ 331218 h 358045"/>
                    <a:gd name="csX96" fmla="*/ 323919 w 526695"/>
                    <a:gd name="csY96" fmla="*/ 329393 h 358045"/>
                    <a:gd name="csX97" fmla="*/ 330834 w 526695"/>
                    <a:gd name="csY97" fmla="*/ 319981 h 358045"/>
                    <a:gd name="csX98" fmla="*/ 351131 w 526695"/>
                    <a:gd name="csY98" fmla="*/ 317419 h 358045"/>
                    <a:gd name="csX99" fmla="*/ 356573 w 526695"/>
                    <a:gd name="csY99" fmla="*/ 310537 h 358045"/>
                    <a:gd name="csX100" fmla="*/ 372900 w 526695"/>
                    <a:gd name="csY100" fmla="*/ 299300 h 358045"/>
                    <a:gd name="csX101" fmla="*/ 375429 w 526695"/>
                    <a:gd name="csY101" fmla="*/ 281500 h 358045"/>
                    <a:gd name="csX102" fmla="*/ 386698 w 526695"/>
                    <a:gd name="csY102" fmla="*/ 281500 h 358045"/>
                    <a:gd name="csX103" fmla="*/ 397935 w 526695"/>
                    <a:gd name="csY103" fmla="*/ 284765 h 358045"/>
                    <a:gd name="csX104" fmla="*/ 423675 w 526695"/>
                    <a:gd name="csY104" fmla="*/ 273528 h 358045"/>
                    <a:gd name="csX105" fmla="*/ 437473 w 526695"/>
                    <a:gd name="csY105" fmla="*/ 282972 h 358045"/>
                    <a:gd name="csX106" fmla="*/ 457065 w 526695"/>
                    <a:gd name="csY106" fmla="*/ 277882 h 358045"/>
                    <a:gd name="csX107" fmla="*/ 465773 w 526695"/>
                    <a:gd name="csY107" fmla="*/ 261555 h 358045"/>
                    <a:gd name="csX108" fmla="*/ 463212 w 526695"/>
                    <a:gd name="csY108" fmla="*/ 255408 h 358045"/>
                    <a:gd name="csX109" fmla="*/ 444356 w 526695"/>
                    <a:gd name="csY109" fmla="*/ 254672 h 358045"/>
                    <a:gd name="csX110" fmla="*/ 450150 w 526695"/>
                    <a:gd name="csY110" fmla="*/ 240874 h 358045"/>
                    <a:gd name="csX111" fmla="*/ 451975 w 526695"/>
                    <a:gd name="csY111" fmla="*/ 235079 h 358045"/>
                    <a:gd name="csX112" fmla="*/ 466477 w 526695"/>
                    <a:gd name="csY112" fmla="*/ 236520 h 358045"/>
                    <a:gd name="csX113" fmla="*/ 474481 w 526695"/>
                    <a:gd name="csY113" fmla="*/ 218752 h 358045"/>
                    <a:gd name="csX114" fmla="*/ 488247 w 526695"/>
                    <a:gd name="csY114" fmla="*/ 216927 h 358045"/>
                    <a:gd name="csX115" fmla="*/ 497691 w 526695"/>
                    <a:gd name="csY115" fmla="*/ 223842 h 358045"/>
                    <a:gd name="csX116" fmla="*/ 506399 w 526695"/>
                    <a:gd name="csY116" fmla="*/ 216927 h 358045"/>
                    <a:gd name="csX117" fmla="*/ 512194 w 526695"/>
                    <a:gd name="csY117" fmla="*/ 199512 h 358045"/>
                    <a:gd name="csX118" fmla="*/ 526696 w 526695"/>
                    <a:gd name="csY118" fmla="*/ 188659 h 358045"/>
                    <a:gd name="csX119" fmla="*/ 525992 w 526695"/>
                    <a:gd name="csY119" fmla="*/ 173772 h 358045"/>
                    <a:gd name="csX120" fmla="*/ 519813 w 526695"/>
                    <a:gd name="csY120" fmla="*/ 171243 h 358045"/>
                    <a:gd name="csX121" fmla="*/ 507840 w 526695"/>
                    <a:gd name="csY121" fmla="*/ 177390 h 358045"/>
                    <a:gd name="csX122" fmla="*/ 492601 w 526695"/>
                    <a:gd name="csY122" fmla="*/ 177390 h 358045"/>
                    <a:gd name="csX123" fmla="*/ 477746 w 526695"/>
                    <a:gd name="csY123" fmla="*/ 166889 h 358045"/>
                    <a:gd name="csX124" fmla="*/ 478835 w 526695"/>
                    <a:gd name="csY124" fmla="*/ 153091 h 358045"/>
                    <a:gd name="csX125" fmla="*/ 484629 w 526695"/>
                    <a:gd name="csY125" fmla="*/ 149826 h 358045"/>
                    <a:gd name="csX126" fmla="*/ 491512 w 526695"/>
                    <a:gd name="csY126" fmla="*/ 159974 h 358045"/>
                    <a:gd name="csX127" fmla="*/ 500220 w 526695"/>
                    <a:gd name="csY127" fmla="*/ 148033 h 358045"/>
                    <a:gd name="csX128" fmla="*/ 507840 w 526695"/>
                    <a:gd name="csY128" fmla="*/ 152355 h 358045"/>
                    <a:gd name="csX129" fmla="*/ 515811 w 526695"/>
                    <a:gd name="csY129" fmla="*/ 148033 h 358045"/>
                    <a:gd name="csX130" fmla="*/ 513282 w 526695"/>
                    <a:gd name="csY130" fmla="*/ 122998 h 358045"/>
                    <a:gd name="csX131" fmla="*/ 502781 w 526695"/>
                    <a:gd name="csY131" fmla="*/ 124086 h 358045"/>
                    <a:gd name="csX132" fmla="*/ 505311 w 526695"/>
                    <a:gd name="csY132" fmla="*/ 117171 h 358045"/>
                    <a:gd name="csX133" fmla="*/ 495866 w 526695"/>
                    <a:gd name="csY133" fmla="*/ 111729 h 358045"/>
                    <a:gd name="csX134" fmla="*/ 498428 w 526695"/>
                    <a:gd name="csY134" fmla="*/ 107759 h 358045"/>
                    <a:gd name="csX135" fmla="*/ 489720 w 526695"/>
                    <a:gd name="csY135" fmla="*/ 97227 h 358045"/>
                    <a:gd name="csX136" fmla="*/ 482805 w 526695"/>
                    <a:gd name="csY136" fmla="*/ 103405 h 358045"/>
                    <a:gd name="csX137" fmla="*/ 477010 w 526695"/>
                    <a:gd name="csY137" fmla="*/ 85990 h 358045"/>
                    <a:gd name="csX138" fmla="*/ 480275 w 526695"/>
                    <a:gd name="csY138" fmla="*/ 75841 h 358045"/>
                    <a:gd name="csX139" fmla="*/ 461419 w 526695"/>
                    <a:gd name="csY139" fmla="*/ 75841 h 358045"/>
                    <a:gd name="csX140" fmla="*/ 456329 w 526695"/>
                    <a:gd name="csY140" fmla="*/ 63868 h 358045"/>
                    <a:gd name="csX141" fmla="*/ 450150 w 526695"/>
                    <a:gd name="csY141" fmla="*/ 62780 h 358045"/>
                    <a:gd name="csX142" fmla="*/ 450150 w 526695"/>
                    <a:gd name="csY142" fmla="*/ 55160 h 358045"/>
                    <a:gd name="csX143" fmla="*/ 433119 w 526695"/>
                    <a:gd name="csY143" fmla="*/ 50806 h 358045"/>
                    <a:gd name="csX144" fmla="*/ 415703 w 526695"/>
                    <a:gd name="csY144" fmla="*/ 36304 h 358045"/>
                    <a:gd name="csX145" fmla="*/ 418616 w 526695"/>
                    <a:gd name="csY145" fmla="*/ 30861 h 358045"/>
                    <a:gd name="csX146" fmla="*/ 413174 w 526695"/>
                    <a:gd name="csY146" fmla="*/ 25035 h 3580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</a:cxnLst>
                  <a:rect l="l" t="t" r="r" b="b"/>
                  <a:pathLst>
                    <a:path w="526695" h="358045">
                      <a:moveTo>
                        <a:pt x="413174" y="25035"/>
                      </a:moveTo>
                      <a:lnTo>
                        <a:pt x="421145" y="10532"/>
                      </a:lnTo>
                      <a:lnTo>
                        <a:pt x="410613" y="0"/>
                      </a:lnTo>
                      <a:lnTo>
                        <a:pt x="403730" y="2561"/>
                      </a:lnTo>
                      <a:lnTo>
                        <a:pt x="404818" y="8708"/>
                      </a:lnTo>
                      <a:lnTo>
                        <a:pt x="391757" y="25035"/>
                      </a:lnTo>
                      <a:lnTo>
                        <a:pt x="391757" y="29389"/>
                      </a:lnTo>
                      <a:lnTo>
                        <a:pt x="381608" y="29389"/>
                      </a:lnTo>
                      <a:lnTo>
                        <a:pt x="362368" y="37008"/>
                      </a:lnTo>
                      <a:lnTo>
                        <a:pt x="335892" y="25771"/>
                      </a:lnTo>
                      <a:lnTo>
                        <a:pt x="329745" y="34479"/>
                      </a:lnTo>
                      <a:lnTo>
                        <a:pt x="331538" y="54424"/>
                      </a:lnTo>
                      <a:lnTo>
                        <a:pt x="322830" y="58426"/>
                      </a:lnTo>
                      <a:lnTo>
                        <a:pt x="295266" y="55160"/>
                      </a:lnTo>
                      <a:lnTo>
                        <a:pt x="282588" y="70751"/>
                      </a:lnTo>
                      <a:lnTo>
                        <a:pt x="277146" y="70751"/>
                      </a:lnTo>
                      <a:lnTo>
                        <a:pt x="274585" y="58426"/>
                      </a:lnTo>
                      <a:lnTo>
                        <a:pt x="267702" y="53335"/>
                      </a:lnTo>
                      <a:lnTo>
                        <a:pt x="261907" y="53335"/>
                      </a:lnTo>
                      <a:lnTo>
                        <a:pt x="255729" y="64572"/>
                      </a:lnTo>
                      <a:lnTo>
                        <a:pt x="252463" y="77634"/>
                      </a:lnTo>
                      <a:lnTo>
                        <a:pt x="275673" y="104109"/>
                      </a:lnTo>
                      <a:lnTo>
                        <a:pt x="273144" y="111729"/>
                      </a:lnTo>
                      <a:lnTo>
                        <a:pt x="258258" y="111025"/>
                      </a:lnTo>
                      <a:lnTo>
                        <a:pt x="250638" y="116083"/>
                      </a:lnTo>
                      <a:lnTo>
                        <a:pt x="236872" y="112818"/>
                      </a:lnTo>
                      <a:lnTo>
                        <a:pt x="229253" y="129145"/>
                      </a:lnTo>
                      <a:lnTo>
                        <a:pt x="221281" y="126615"/>
                      </a:lnTo>
                      <a:lnTo>
                        <a:pt x="219457" y="117171"/>
                      </a:lnTo>
                      <a:lnTo>
                        <a:pt x="214366" y="113554"/>
                      </a:lnTo>
                      <a:lnTo>
                        <a:pt x="206747" y="116083"/>
                      </a:lnTo>
                      <a:lnTo>
                        <a:pt x="202393" y="111025"/>
                      </a:lnTo>
                      <a:lnTo>
                        <a:pt x="191156" y="118644"/>
                      </a:lnTo>
                      <a:lnTo>
                        <a:pt x="184273" y="111025"/>
                      </a:lnTo>
                      <a:lnTo>
                        <a:pt x="175565" y="113554"/>
                      </a:lnTo>
                      <a:lnTo>
                        <a:pt x="179183" y="139325"/>
                      </a:lnTo>
                      <a:lnTo>
                        <a:pt x="170475" y="136764"/>
                      </a:lnTo>
                      <a:lnTo>
                        <a:pt x="169739" y="144768"/>
                      </a:lnTo>
                      <a:lnTo>
                        <a:pt x="151619" y="157445"/>
                      </a:lnTo>
                      <a:lnTo>
                        <a:pt x="137821" y="148033"/>
                      </a:lnTo>
                      <a:lnTo>
                        <a:pt x="125847" y="124791"/>
                      </a:lnTo>
                      <a:lnTo>
                        <a:pt x="114610" y="124791"/>
                      </a:lnTo>
                      <a:lnTo>
                        <a:pt x="122230" y="129145"/>
                      </a:lnTo>
                      <a:lnTo>
                        <a:pt x="125847" y="136764"/>
                      </a:lnTo>
                      <a:lnTo>
                        <a:pt x="114610" y="147296"/>
                      </a:lnTo>
                      <a:lnTo>
                        <a:pt x="92137" y="146208"/>
                      </a:lnTo>
                      <a:lnTo>
                        <a:pt x="79427" y="138589"/>
                      </a:lnTo>
                      <a:lnTo>
                        <a:pt x="74337" y="143679"/>
                      </a:lnTo>
                      <a:lnTo>
                        <a:pt x="50038" y="141118"/>
                      </a:lnTo>
                      <a:lnTo>
                        <a:pt x="47509" y="164328"/>
                      </a:lnTo>
                      <a:lnTo>
                        <a:pt x="53656" y="166889"/>
                      </a:lnTo>
                      <a:lnTo>
                        <a:pt x="57657" y="176301"/>
                      </a:lnTo>
                      <a:lnTo>
                        <a:pt x="36976" y="183217"/>
                      </a:lnTo>
                      <a:lnTo>
                        <a:pt x="34447" y="192629"/>
                      </a:lnTo>
                      <a:lnTo>
                        <a:pt x="38801" y="201336"/>
                      </a:lnTo>
                      <a:lnTo>
                        <a:pt x="34447" y="199512"/>
                      </a:lnTo>
                      <a:lnTo>
                        <a:pt x="29357" y="204954"/>
                      </a:lnTo>
                      <a:lnTo>
                        <a:pt x="26092" y="193717"/>
                      </a:lnTo>
                      <a:lnTo>
                        <a:pt x="13766" y="191924"/>
                      </a:lnTo>
                      <a:lnTo>
                        <a:pt x="10501" y="198807"/>
                      </a:lnTo>
                      <a:lnTo>
                        <a:pt x="11237" y="210044"/>
                      </a:lnTo>
                      <a:lnTo>
                        <a:pt x="0" y="225283"/>
                      </a:lnTo>
                      <a:lnTo>
                        <a:pt x="13030" y="228901"/>
                      </a:lnTo>
                      <a:lnTo>
                        <a:pt x="12325" y="238345"/>
                      </a:lnTo>
                      <a:lnTo>
                        <a:pt x="23562" y="249582"/>
                      </a:lnTo>
                      <a:lnTo>
                        <a:pt x="20649" y="266645"/>
                      </a:lnTo>
                      <a:lnTo>
                        <a:pt x="26828" y="272792"/>
                      </a:lnTo>
                      <a:lnTo>
                        <a:pt x="31182" y="275353"/>
                      </a:lnTo>
                      <a:lnTo>
                        <a:pt x="26092" y="280411"/>
                      </a:lnTo>
                      <a:lnTo>
                        <a:pt x="31918" y="293473"/>
                      </a:lnTo>
                      <a:lnTo>
                        <a:pt x="46773" y="291680"/>
                      </a:lnTo>
                      <a:lnTo>
                        <a:pt x="54392" y="299300"/>
                      </a:lnTo>
                      <a:lnTo>
                        <a:pt x="61275" y="297827"/>
                      </a:lnTo>
                      <a:lnTo>
                        <a:pt x="64540" y="288415"/>
                      </a:lnTo>
                      <a:lnTo>
                        <a:pt x="74337" y="296034"/>
                      </a:lnTo>
                      <a:lnTo>
                        <a:pt x="86310" y="291680"/>
                      </a:lnTo>
                      <a:lnTo>
                        <a:pt x="83781" y="278970"/>
                      </a:lnTo>
                      <a:lnTo>
                        <a:pt x="100844" y="270999"/>
                      </a:lnTo>
                      <a:lnTo>
                        <a:pt x="112818" y="276057"/>
                      </a:lnTo>
                      <a:lnTo>
                        <a:pt x="121494" y="286590"/>
                      </a:lnTo>
                      <a:lnTo>
                        <a:pt x="125847" y="309064"/>
                      </a:lnTo>
                      <a:lnTo>
                        <a:pt x="146529" y="329393"/>
                      </a:lnTo>
                      <a:lnTo>
                        <a:pt x="157798" y="326864"/>
                      </a:lnTo>
                      <a:lnTo>
                        <a:pt x="163592" y="317419"/>
                      </a:lnTo>
                      <a:lnTo>
                        <a:pt x="173004" y="326864"/>
                      </a:lnTo>
                      <a:lnTo>
                        <a:pt x="181008" y="327952"/>
                      </a:lnTo>
                      <a:lnTo>
                        <a:pt x="185362" y="333010"/>
                      </a:lnTo>
                      <a:lnTo>
                        <a:pt x="198039" y="334835"/>
                      </a:lnTo>
                      <a:lnTo>
                        <a:pt x="213662" y="344279"/>
                      </a:lnTo>
                      <a:lnTo>
                        <a:pt x="218720" y="344983"/>
                      </a:lnTo>
                      <a:lnTo>
                        <a:pt x="278235" y="356253"/>
                      </a:lnTo>
                      <a:lnTo>
                        <a:pt x="290912" y="358045"/>
                      </a:lnTo>
                      <a:lnTo>
                        <a:pt x="304710" y="352987"/>
                      </a:lnTo>
                      <a:lnTo>
                        <a:pt x="310857" y="349338"/>
                      </a:lnTo>
                      <a:lnTo>
                        <a:pt x="312682" y="336276"/>
                      </a:lnTo>
                      <a:lnTo>
                        <a:pt x="317036" y="331218"/>
                      </a:lnTo>
                      <a:lnTo>
                        <a:pt x="323919" y="329393"/>
                      </a:lnTo>
                      <a:lnTo>
                        <a:pt x="330834" y="319981"/>
                      </a:lnTo>
                      <a:lnTo>
                        <a:pt x="351131" y="317419"/>
                      </a:lnTo>
                      <a:lnTo>
                        <a:pt x="356573" y="310537"/>
                      </a:lnTo>
                      <a:lnTo>
                        <a:pt x="372900" y="299300"/>
                      </a:lnTo>
                      <a:lnTo>
                        <a:pt x="375429" y="281500"/>
                      </a:lnTo>
                      <a:lnTo>
                        <a:pt x="386698" y="281500"/>
                      </a:lnTo>
                      <a:lnTo>
                        <a:pt x="397935" y="284765"/>
                      </a:lnTo>
                      <a:lnTo>
                        <a:pt x="423675" y="273528"/>
                      </a:lnTo>
                      <a:lnTo>
                        <a:pt x="437473" y="282972"/>
                      </a:lnTo>
                      <a:lnTo>
                        <a:pt x="457065" y="277882"/>
                      </a:lnTo>
                      <a:lnTo>
                        <a:pt x="465773" y="261555"/>
                      </a:lnTo>
                      <a:lnTo>
                        <a:pt x="463212" y="255408"/>
                      </a:lnTo>
                      <a:lnTo>
                        <a:pt x="444356" y="254672"/>
                      </a:lnTo>
                      <a:lnTo>
                        <a:pt x="450150" y="240874"/>
                      </a:lnTo>
                      <a:lnTo>
                        <a:pt x="451975" y="235079"/>
                      </a:lnTo>
                      <a:lnTo>
                        <a:pt x="466477" y="236520"/>
                      </a:lnTo>
                      <a:lnTo>
                        <a:pt x="474481" y="218752"/>
                      </a:lnTo>
                      <a:lnTo>
                        <a:pt x="488247" y="216927"/>
                      </a:lnTo>
                      <a:lnTo>
                        <a:pt x="497691" y="223842"/>
                      </a:lnTo>
                      <a:lnTo>
                        <a:pt x="506399" y="216927"/>
                      </a:lnTo>
                      <a:lnTo>
                        <a:pt x="512194" y="199512"/>
                      </a:lnTo>
                      <a:lnTo>
                        <a:pt x="526696" y="188659"/>
                      </a:lnTo>
                      <a:lnTo>
                        <a:pt x="525992" y="173772"/>
                      </a:lnTo>
                      <a:lnTo>
                        <a:pt x="519813" y="171243"/>
                      </a:lnTo>
                      <a:lnTo>
                        <a:pt x="507840" y="177390"/>
                      </a:lnTo>
                      <a:lnTo>
                        <a:pt x="492601" y="177390"/>
                      </a:lnTo>
                      <a:lnTo>
                        <a:pt x="477746" y="166889"/>
                      </a:lnTo>
                      <a:lnTo>
                        <a:pt x="478835" y="153091"/>
                      </a:lnTo>
                      <a:lnTo>
                        <a:pt x="484629" y="149826"/>
                      </a:lnTo>
                      <a:lnTo>
                        <a:pt x="491512" y="159974"/>
                      </a:lnTo>
                      <a:lnTo>
                        <a:pt x="500220" y="148033"/>
                      </a:lnTo>
                      <a:lnTo>
                        <a:pt x="507840" y="152355"/>
                      </a:lnTo>
                      <a:lnTo>
                        <a:pt x="515811" y="148033"/>
                      </a:lnTo>
                      <a:lnTo>
                        <a:pt x="513282" y="122998"/>
                      </a:lnTo>
                      <a:lnTo>
                        <a:pt x="502781" y="124086"/>
                      </a:lnTo>
                      <a:lnTo>
                        <a:pt x="505311" y="117171"/>
                      </a:lnTo>
                      <a:lnTo>
                        <a:pt x="495866" y="111729"/>
                      </a:lnTo>
                      <a:lnTo>
                        <a:pt x="498428" y="107759"/>
                      </a:lnTo>
                      <a:lnTo>
                        <a:pt x="489720" y="97227"/>
                      </a:lnTo>
                      <a:lnTo>
                        <a:pt x="482805" y="103405"/>
                      </a:lnTo>
                      <a:lnTo>
                        <a:pt x="477010" y="85990"/>
                      </a:lnTo>
                      <a:lnTo>
                        <a:pt x="480275" y="75841"/>
                      </a:lnTo>
                      <a:lnTo>
                        <a:pt x="461419" y="75841"/>
                      </a:lnTo>
                      <a:lnTo>
                        <a:pt x="456329" y="63868"/>
                      </a:lnTo>
                      <a:lnTo>
                        <a:pt x="450150" y="62780"/>
                      </a:lnTo>
                      <a:lnTo>
                        <a:pt x="450150" y="55160"/>
                      </a:lnTo>
                      <a:lnTo>
                        <a:pt x="433119" y="50806"/>
                      </a:lnTo>
                      <a:lnTo>
                        <a:pt x="415703" y="36304"/>
                      </a:lnTo>
                      <a:lnTo>
                        <a:pt x="418616" y="30861"/>
                      </a:lnTo>
                      <a:lnTo>
                        <a:pt x="413174" y="2503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1" name="Forma Livre: Forma 230">
                  <a:extLst>
                    <a:ext uri="{FF2B5EF4-FFF2-40B4-BE49-F238E27FC236}">
                      <a16:creationId xmlns:a16="http://schemas.microsoft.com/office/drawing/2014/main" id="{C9497EBB-FF0A-46A4-0550-6FED19825EC6}"/>
                    </a:ext>
                  </a:extLst>
                </p:cNvPr>
                <p:cNvSpPr/>
                <p:nvPr/>
              </p:nvSpPr>
              <p:spPr>
                <a:xfrm>
                  <a:off x="2883073" y="3808304"/>
                  <a:ext cx="685966" cy="644251"/>
                </a:xfrm>
                <a:custGeom>
                  <a:avLst/>
                  <a:gdLst>
                    <a:gd name="csX0" fmla="*/ 307976 w 685966"/>
                    <a:gd name="csY0" fmla="*/ 5058 h 644251"/>
                    <a:gd name="csX1" fmla="*/ 292385 w 685966"/>
                    <a:gd name="csY1" fmla="*/ 704 h 644251"/>
                    <a:gd name="csX2" fmla="*/ 284029 w 685966"/>
                    <a:gd name="csY2" fmla="*/ 0 h 644251"/>
                    <a:gd name="csX3" fmla="*/ 279675 w 685966"/>
                    <a:gd name="csY3" fmla="*/ 13766 h 644251"/>
                    <a:gd name="csX4" fmla="*/ 267702 w 685966"/>
                    <a:gd name="csY4" fmla="*/ 13766 h 644251"/>
                    <a:gd name="csX5" fmla="*/ 263348 w 685966"/>
                    <a:gd name="csY5" fmla="*/ 8324 h 644251"/>
                    <a:gd name="csX6" fmla="*/ 243403 w 685966"/>
                    <a:gd name="csY6" fmla="*/ 14502 h 644251"/>
                    <a:gd name="csX7" fmla="*/ 240874 w 685966"/>
                    <a:gd name="csY7" fmla="*/ 18856 h 644251"/>
                    <a:gd name="csX8" fmla="*/ 247021 w 685966"/>
                    <a:gd name="csY8" fmla="*/ 21385 h 644251"/>
                    <a:gd name="csX9" fmla="*/ 252111 w 685966"/>
                    <a:gd name="csY9" fmla="*/ 35183 h 644251"/>
                    <a:gd name="csX10" fmla="*/ 239049 w 685966"/>
                    <a:gd name="csY10" fmla="*/ 35888 h 644251"/>
                    <a:gd name="csX11" fmla="*/ 233255 w 685966"/>
                    <a:gd name="csY11" fmla="*/ 47861 h 644251"/>
                    <a:gd name="csX12" fmla="*/ 219457 w 685966"/>
                    <a:gd name="csY12" fmla="*/ 47157 h 644251"/>
                    <a:gd name="csX13" fmla="*/ 216928 w 685966"/>
                    <a:gd name="csY13" fmla="*/ 38449 h 644251"/>
                    <a:gd name="csX14" fmla="*/ 199512 w 685966"/>
                    <a:gd name="csY14" fmla="*/ 46420 h 644251"/>
                    <a:gd name="csX15" fmla="*/ 207483 w 685966"/>
                    <a:gd name="csY15" fmla="*/ 77250 h 644251"/>
                    <a:gd name="csX16" fmla="*/ 174477 w 685966"/>
                    <a:gd name="csY16" fmla="*/ 89223 h 644251"/>
                    <a:gd name="csX17" fmla="*/ 141822 w 685966"/>
                    <a:gd name="csY17" fmla="*/ 85958 h 644251"/>
                    <a:gd name="csX18" fmla="*/ 138557 w 685966"/>
                    <a:gd name="csY18" fmla="*/ 84165 h 644251"/>
                    <a:gd name="csX19" fmla="*/ 122230 w 685966"/>
                    <a:gd name="csY19" fmla="*/ 93577 h 644251"/>
                    <a:gd name="csX20" fmla="*/ 101549 w 685966"/>
                    <a:gd name="csY20" fmla="*/ 97195 h 644251"/>
                    <a:gd name="csX21" fmla="*/ 99020 w 685966"/>
                    <a:gd name="csY21" fmla="*/ 114995 h 644251"/>
                    <a:gd name="csX22" fmla="*/ 90312 w 685966"/>
                    <a:gd name="csY22" fmla="*/ 127320 h 644251"/>
                    <a:gd name="csX23" fmla="*/ 94666 w 685966"/>
                    <a:gd name="csY23" fmla="*/ 138205 h 644251"/>
                    <a:gd name="csX24" fmla="*/ 86694 w 685966"/>
                    <a:gd name="csY24" fmla="*/ 169386 h 644251"/>
                    <a:gd name="csX25" fmla="*/ 84133 w 685966"/>
                    <a:gd name="csY25" fmla="*/ 188979 h 644251"/>
                    <a:gd name="csX26" fmla="*/ 50774 w 685966"/>
                    <a:gd name="csY26" fmla="*/ 197687 h 644251"/>
                    <a:gd name="csX27" fmla="*/ 45684 w 685966"/>
                    <a:gd name="csY27" fmla="*/ 220193 h 644251"/>
                    <a:gd name="csX28" fmla="*/ 35888 w 685966"/>
                    <a:gd name="csY28" fmla="*/ 224547 h 644251"/>
                    <a:gd name="csX29" fmla="*/ 37713 w 685966"/>
                    <a:gd name="csY29" fmla="*/ 238313 h 644251"/>
                    <a:gd name="csX30" fmla="*/ 33359 w 685966"/>
                    <a:gd name="csY30" fmla="*/ 254640 h 644251"/>
                    <a:gd name="csX31" fmla="*/ 18856 w 685966"/>
                    <a:gd name="csY31" fmla="*/ 258642 h 644251"/>
                    <a:gd name="csX32" fmla="*/ 22474 w 685966"/>
                    <a:gd name="csY32" fmla="*/ 269879 h 644251"/>
                    <a:gd name="csX33" fmla="*/ 0 w 685966"/>
                    <a:gd name="csY33" fmla="*/ 290560 h 644251"/>
                    <a:gd name="csX34" fmla="*/ 10149 w 685966"/>
                    <a:gd name="csY34" fmla="*/ 301092 h 644251"/>
                    <a:gd name="csX35" fmla="*/ 8708 w 685966"/>
                    <a:gd name="csY35" fmla="*/ 309416 h 644251"/>
                    <a:gd name="csX36" fmla="*/ 14502 w 685966"/>
                    <a:gd name="csY36" fmla="*/ 311241 h 644251"/>
                    <a:gd name="csX37" fmla="*/ 10149 w 685966"/>
                    <a:gd name="csY37" fmla="*/ 313770 h 644251"/>
                    <a:gd name="csX38" fmla="*/ 11237 w 685966"/>
                    <a:gd name="csY38" fmla="*/ 327568 h 644251"/>
                    <a:gd name="csX39" fmla="*/ 19593 w 685966"/>
                    <a:gd name="csY39" fmla="*/ 330097 h 644251"/>
                    <a:gd name="csX40" fmla="*/ 29357 w 685966"/>
                    <a:gd name="csY40" fmla="*/ 326832 h 644251"/>
                    <a:gd name="csX41" fmla="*/ 55128 w 685966"/>
                    <a:gd name="csY41" fmla="*/ 327568 h 644251"/>
                    <a:gd name="csX42" fmla="*/ 60219 w 685966"/>
                    <a:gd name="csY42" fmla="*/ 331186 h 644251"/>
                    <a:gd name="csX43" fmla="*/ 64572 w 685966"/>
                    <a:gd name="csY43" fmla="*/ 349306 h 644251"/>
                    <a:gd name="csX44" fmla="*/ 56569 w 685966"/>
                    <a:gd name="csY44" fmla="*/ 359486 h 644251"/>
                    <a:gd name="csX45" fmla="*/ 39537 w 685966"/>
                    <a:gd name="csY45" fmla="*/ 368898 h 644251"/>
                    <a:gd name="csX46" fmla="*/ 40242 w 685966"/>
                    <a:gd name="csY46" fmla="*/ 372548 h 644251"/>
                    <a:gd name="csX47" fmla="*/ 79075 w 685966"/>
                    <a:gd name="csY47" fmla="*/ 389579 h 644251"/>
                    <a:gd name="csX48" fmla="*/ 86694 w 685966"/>
                    <a:gd name="csY48" fmla="*/ 399023 h 644251"/>
                    <a:gd name="csX49" fmla="*/ 78339 w 685966"/>
                    <a:gd name="csY49" fmla="*/ 402641 h 644251"/>
                    <a:gd name="csX50" fmla="*/ 73248 w 685966"/>
                    <a:gd name="csY50" fmla="*/ 422234 h 644251"/>
                    <a:gd name="csX51" fmla="*/ 74721 w 685966"/>
                    <a:gd name="csY51" fmla="*/ 439649 h 644251"/>
                    <a:gd name="csX52" fmla="*/ 68926 w 685966"/>
                    <a:gd name="csY52" fmla="*/ 448005 h 644251"/>
                    <a:gd name="csX53" fmla="*/ 42803 w 685966"/>
                    <a:gd name="csY53" fmla="*/ 461771 h 644251"/>
                    <a:gd name="csX54" fmla="*/ 37713 w 685966"/>
                    <a:gd name="csY54" fmla="*/ 474833 h 644251"/>
                    <a:gd name="csX55" fmla="*/ 43891 w 685966"/>
                    <a:gd name="csY55" fmla="*/ 487543 h 644251"/>
                    <a:gd name="csX56" fmla="*/ 31918 w 685966"/>
                    <a:gd name="csY56" fmla="*/ 495514 h 644251"/>
                    <a:gd name="csX57" fmla="*/ 40242 w 685966"/>
                    <a:gd name="csY57" fmla="*/ 504958 h 644251"/>
                    <a:gd name="csX58" fmla="*/ 44596 w 685966"/>
                    <a:gd name="csY58" fmla="*/ 513666 h 644251"/>
                    <a:gd name="csX59" fmla="*/ 66365 w 685966"/>
                    <a:gd name="csY59" fmla="*/ 512578 h 644251"/>
                    <a:gd name="csX60" fmla="*/ 79075 w 685966"/>
                    <a:gd name="csY60" fmla="*/ 498780 h 644251"/>
                    <a:gd name="csX61" fmla="*/ 78339 w 685966"/>
                    <a:gd name="csY61" fmla="*/ 487543 h 644251"/>
                    <a:gd name="csX62" fmla="*/ 91048 w 685966"/>
                    <a:gd name="csY62" fmla="*/ 484277 h 644251"/>
                    <a:gd name="csX63" fmla="*/ 103374 w 685966"/>
                    <a:gd name="csY63" fmla="*/ 488631 h 644251"/>
                    <a:gd name="csX64" fmla="*/ 126584 w 685966"/>
                    <a:gd name="csY64" fmla="*/ 465421 h 644251"/>
                    <a:gd name="csX65" fmla="*/ 134203 w 685966"/>
                    <a:gd name="csY65" fmla="*/ 464332 h 644251"/>
                    <a:gd name="csX66" fmla="*/ 141822 w 685966"/>
                    <a:gd name="csY66" fmla="*/ 468686 h 644251"/>
                    <a:gd name="csX67" fmla="*/ 133499 w 685966"/>
                    <a:gd name="csY67" fmla="*/ 473744 h 644251"/>
                    <a:gd name="csX68" fmla="*/ 129849 w 685966"/>
                    <a:gd name="csY68" fmla="*/ 484981 h 644251"/>
                    <a:gd name="csX69" fmla="*/ 147265 w 685966"/>
                    <a:gd name="csY69" fmla="*/ 510016 h 644251"/>
                    <a:gd name="csX70" fmla="*/ 139293 w 685966"/>
                    <a:gd name="csY70" fmla="*/ 537581 h 644251"/>
                    <a:gd name="csX71" fmla="*/ 154884 w 685966"/>
                    <a:gd name="csY71" fmla="*/ 538317 h 644251"/>
                    <a:gd name="csX72" fmla="*/ 151267 w 685966"/>
                    <a:gd name="csY72" fmla="*/ 558262 h 644251"/>
                    <a:gd name="csX73" fmla="*/ 170475 w 685966"/>
                    <a:gd name="csY73" fmla="*/ 560823 h 644251"/>
                    <a:gd name="csX74" fmla="*/ 193717 w 685966"/>
                    <a:gd name="csY74" fmla="*/ 548850 h 644251"/>
                    <a:gd name="csX75" fmla="*/ 211485 w 685966"/>
                    <a:gd name="csY75" fmla="*/ 547025 h 644251"/>
                    <a:gd name="csX76" fmla="*/ 215839 w 685966"/>
                    <a:gd name="csY76" fmla="*/ 523815 h 644251"/>
                    <a:gd name="csX77" fmla="*/ 228901 w 685966"/>
                    <a:gd name="csY77" fmla="*/ 523815 h 644251"/>
                    <a:gd name="csX78" fmla="*/ 237609 w 685966"/>
                    <a:gd name="csY78" fmla="*/ 528873 h 644251"/>
                    <a:gd name="csX79" fmla="*/ 257169 w 685966"/>
                    <a:gd name="csY79" fmla="*/ 521990 h 644251"/>
                    <a:gd name="csX80" fmla="*/ 272792 w 685966"/>
                    <a:gd name="csY80" fmla="*/ 526344 h 644251"/>
                    <a:gd name="csX81" fmla="*/ 282204 w 685966"/>
                    <a:gd name="csY81" fmla="*/ 521253 h 644251"/>
                    <a:gd name="csX82" fmla="*/ 282941 w 685966"/>
                    <a:gd name="csY82" fmla="*/ 531434 h 644251"/>
                    <a:gd name="csX83" fmla="*/ 305447 w 685966"/>
                    <a:gd name="csY83" fmla="*/ 546288 h 644251"/>
                    <a:gd name="csX84" fmla="*/ 307976 w 685966"/>
                    <a:gd name="csY84" fmla="*/ 547761 h 644251"/>
                    <a:gd name="csX85" fmla="*/ 373637 w 685966"/>
                    <a:gd name="csY85" fmla="*/ 587651 h 644251"/>
                    <a:gd name="csX86" fmla="*/ 373637 w 685966"/>
                    <a:gd name="csY86" fmla="*/ 588387 h 644251"/>
                    <a:gd name="csX87" fmla="*/ 381256 w 685966"/>
                    <a:gd name="csY87" fmla="*/ 582208 h 644251"/>
                    <a:gd name="csX88" fmla="*/ 381960 w 685966"/>
                    <a:gd name="csY88" fmla="*/ 577150 h 644251"/>
                    <a:gd name="csX89" fmla="*/ 393933 w 685966"/>
                    <a:gd name="csY89" fmla="*/ 577150 h 644251"/>
                    <a:gd name="csX90" fmla="*/ 401937 w 685966"/>
                    <a:gd name="csY90" fmla="*/ 602153 h 644251"/>
                    <a:gd name="csX91" fmla="*/ 406291 w 685966"/>
                    <a:gd name="csY91" fmla="*/ 606507 h 644251"/>
                    <a:gd name="csX92" fmla="*/ 420793 w 685966"/>
                    <a:gd name="csY92" fmla="*/ 602889 h 644251"/>
                    <a:gd name="csX93" fmla="*/ 433855 w 685966"/>
                    <a:gd name="csY93" fmla="*/ 618480 h 644251"/>
                    <a:gd name="csX94" fmla="*/ 434559 w 685966"/>
                    <a:gd name="csY94" fmla="*/ 632278 h 644251"/>
                    <a:gd name="csX95" fmla="*/ 441474 w 685966"/>
                    <a:gd name="csY95" fmla="*/ 639898 h 644251"/>
                    <a:gd name="csX96" fmla="*/ 447621 w 685966"/>
                    <a:gd name="csY96" fmla="*/ 641723 h 644251"/>
                    <a:gd name="csX97" fmla="*/ 459594 w 685966"/>
                    <a:gd name="csY97" fmla="*/ 636632 h 644251"/>
                    <a:gd name="csX98" fmla="*/ 474129 w 685966"/>
                    <a:gd name="csY98" fmla="*/ 644252 h 644251"/>
                    <a:gd name="csX99" fmla="*/ 495514 w 685966"/>
                    <a:gd name="csY99" fmla="*/ 583297 h 644251"/>
                    <a:gd name="csX100" fmla="*/ 506751 w 685966"/>
                    <a:gd name="csY100" fmla="*/ 569531 h 644251"/>
                    <a:gd name="csX101" fmla="*/ 513666 w 685966"/>
                    <a:gd name="csY101" fmla="*/ 569531 h 644251"/>
                    <a:gd name="csX102" fmla="*/ 513666 w 685966"/>
                    <a:gd name="csY102" fmla="*/ 561527 h 644251"/>
                    <a:gd name="csX103" fmla="*/ 525639 w 685966"/>
                    <a:gd name="csY103" fmla="*/ 557173 h 644251"/>
                    <a:gd name="csX104" fmla="*/ 524167 w 685966"/>
                    <a:gd name="csY104" fmla="*/ 551379 h 644251"/>
                    <a:gd name="csX105" fmla="*/ 529257 w 685966"/>
                    <a:gd name="csY105" fmla="*/ 544496 h 644251"/>
                    <a:gd name="csX106" fmla="*/ 543023 w 685966"/>
                    <a:gd name="csY106" fmla="*/ 546288 h 644251"/>
                    <a:gd name="csX107" fmla="*/ 550642 w 685966"/>
                    <a:gd name="csY107" fmla="*/ 533963 h 644251"/>
                    <a:gd name="csX108" fmla="*/ 559350 w 685966"/>
                    <a:gd name="csY108" fmla="*/ 532522 h 644251"/>
                    <a:gd name="csX109" fmla="*/ 615215 w 685966"/>
                    <a:gd name="csY109" fmla="*/ 545200 h 644251"/>
                    <a:gd name="csX110" fmla="*/ 675433 w 685966"/>
                    <a:gd name="csY110" fmla="*/ 521253 h 644251"/>
                    <a:gd name="csX111" fmla="*/ 676522 w 685966"/>
                    <a:gd name="csY111" fmla="*/ 516195 h 644251"/>
                    <a:gd name="csX112" fmla="*/ 683437 w 685966"/>
                    <a:gd name="csY112" fmla="*/ 514370 h 644251"/>
                    <a:gd name="csX113" fmla="*/ 676522 w 685966"/>
                    <a:gd name="csY113" fmla="*/ 489335 h 644251"/>
                    <a:gd name="csX114" fmla="*/ 680876 w 685966"/>
                    <a:gd name="csY114" fmla="*/ 484277 h 644251"/>
                    <a:gd name="csX115" fmla="*/ 660195 w 685966"/>
                    <a:gd name="csY115" fmla="*/ 461067 h 644251"/>
                    <a:gd name="csX116" fmla="*/ 658402 w 685966"/>
                    <a:gd name="csY116" fmla="*/ 443651 h 644251"/>
                    <a:gd name="csX117" fmla="*/ 681612 w 685966"/>
                    <a:gd name="csY117" fmla="*/ 432766 h 644251"/>
                    <a:gd name="csX118" fmla="*/ 685966 w 685966"/>
                    <a:gd name="csY118" fmla="*/ 424763 h 644251"/>
                    <a:gd name="csX119" fmla="*/ 679787 w 685966"/>
                    <a:gd name="csY119" fmla="*/ 419705 h 644251"/>
                    <a:gd name="csX120" fmla="*/ 679083 w 685966"/>
                    <a:gd name="csY120" fmla="*/ 405907 h 644251"/>
                    <a:gd name="csX121" fmla="*/ 656577 w 685966"/>
                    <a:gd name="csY121" fmla="*/ 416439 h 644251"/>
                    <a:gd name="csX122" fmla="*/ 598888 w 685966"/>
                    <a:gd name="csY122" fmla="*/ 402641 h 644251"/>
                    <a:gd name="csX123" fmla="*/ 545584 w 685966"/>
                    <a:gd name="csY123" fmla="*/ 406643 h 644251"/>
                    <a:gd name="csX124" fmla="*/ 534315 w 685966"/>
                    <a:gd name="csY124" fmla="*/ 405202 h 644251"/>
                    <a:gd name="csX125" fmla="*/ 512930 w 685966"/>
                    <a:gd name="csY125" fmla="*/ 382696 h 644251"/>
                    <a:gd name="csX126" fmla="*/ 502397 w 685966"/>
                    <a:gd name="csY126" fmla="*/ 379431 h 644251"/>
                    <a:gd name="csX127" fmla="*/ 498427 w 685966"/>
                    <a:gd name="csY127" fmla="*/ 375077 h 644251"/>
                    <a:gd name="csX128" fmla="*/ 485366 w 685966"/>
                    <a:gd name="csY128" fmla="*/ 362752 h 644251"/>
                    <a:gd name="csX129" fmla="*/ 465389 w 685966"/>
                    <a:gd name="csY129" fmla="*/ 358750 h 644251"/>
                    <a:gd name="csX130" fmla="*/ 466477 w 685966"/>
                    <a:gd name="csY130" fmla="*/ 347513 h 644251"/>
                    <a:gd name="csX131" fmla="*/ 441474 w 685966"/>
                    <a:gd name="csY131" fmla="*/ 336276 h 644251"/>
                    <a:gd name="csX132" fmla="*/ 430205 w 685966"/>
                    <a:gd name="csY132" fmla="*/ 322478 h 644251"/>
                    <a:gd name="csX133" fmla="*/ 421498 w 685966"/>
                    <a:gd name="csY133" fmla="*/ 297443 h 644251"/>
                    <a:gd name="csX134" fmla="*/ 420793 w 685966"/>
                    <a:gd name="csY134" fmla="*/ 278586 h 644251"/>
                    <a:gd name="csX135" fmla="*/ 412085 w 685966"/>
                    <a:gd name="csY135" fmla="*/ 274233 h 644251"/>
                    <a:gd name="csX136" fmla="*/ 409556 w 685966"/>
                    <a:gd name="csY136" fmla="*/ 264084 h 644251"/>
                    <a:gd name="csX137" fmla="*/ 398287 w 685966"/>
                    <a:gd name="csY137" fmla="*/ 269879 h 644251"/>
                    <a:gd name="csX138" fmla="*/ 381960 w 685966"/>
                    <a:gd name="csY138" fmla="*/ 268438 h 644251"/>
                    <a:gd name="csX139" fmla="*/ 377606 w 685966"/>
                    <a:gd name="csY139" fmla="*/ 277850 h 644251"/>
                    <a:gd name="csX140" fmla="*/ 358750 w 685966"/>
                    <a:gd name="csY140" fmla="*/ 277850 h 644251"/>
                    <a:gd name="csX141" fmla="*/ 352955 w 685966"/>
                    <a:gd name="csY141" fmla="*/ 287294 h 644251"/>
                    <a:gd name="csX142" fmla="*/ 346072 w 685966"/>
                    <a:gd name="csY142" fmla="*/ 289119 h 644251"/>
                    <a:gd name="csX143" fmla="*/ 343159 w 685966"/>
                    <a:gd name="csY143" fmla="*/ 289823 h 644251"/>
                    <a:gd name="csX144" fmla="*/ 339157 w 685966"/>
                    <a:gd name="csY144" fmla="*/ 276762 h 644251"/>
                    <a:gd name="csX145" fmla="*/ 333715 w 685966"/>
                    <a:gd name="csY145" fmla="*/ 274233 h 644251"/>
                    <a:gd name="csX146" fmla="*/ 321037 w 685966"/>
                    <a:gd name="csY146" fmla="*/ 232166 h 644251"/>
                    <a:gd name="csX147" fmla="*/ 319949 w 685966"/>
                    <a:gd name="csY147" fmla="*/ 203866 h 644251"/>
                    <a:gd name="csX148" fmla="*/ 328657 w 685966"/>
                    <a:gd name="csY148" fmla="*/ 203866 h 644251"/>
                    <a:gd name="csX149" fmla="*/ 331186 w 685966"/>
                    <a:gd name="csY149" fmla="*/ 197687 h 644251"/>
                    <a:gd name="csX150" fmla="*/ 321742 w 685966"/>
                    <a:gd name="csY150" fmla="*/ 191892 h 644251"/>
                    <a:gd name="csX151" fmla="*/ 333011 w 685966"/>
                    <a:gd name="csY151" fmla="*/ 183185 h 644251"/>
                    <a:gd name="csX152" fmla="*/ 344984 w 685966"/>
                    <a:gd name="csY152" fmla="*/ 157413 h 644251"/>
                    <a:gd name="csX153" fmla="*/ 369283 w 685966"/>
                    <a:gd name="csY153" fmla="*/ 165033 h 644251"/>
                    <a:gd name="csX154" fmla="*/ 395758 w 685966"/>
                    <a:gd name="csY154" fmla="*/ 168298 h 644251"/>
                    <a:gd name="csX155" fmla="*/ 421498 w 685966"/>
                    <a:gd name="csY155" fmla="*/ 180655 h 644251"/>
                    <a:gd name="csX156" fmla="*/ 444004 w 685966"/>
                    <a:gd name="csY156" fmla="*/ 157413 h 644251"/>
                    <a:gd name="csX157" fmla="*/ 446533 w 685966"/>
                    <a:gd name="csY157" fmla="*/ 149442 h 644251"/>
                    <a:gd name="csX158" fmla="*/ 469039 w 685966"/>
                    <a:gd name="csY158" fmla="*/ 134203 h 644251"/>
                    <a:gd name="csX159" fmla="*/ 474129 w 685966"/>
                    <a:gd name="csY159" fmla="*/ 124791 h 644251"/>
                    <a:gd name="csX160" fmla="*/ 451623 w 685966"/>
                    <a:gd name="csY160" fmla="*/ 111729 h 644251"/>
                    <a:gd name="csX161" fmla="*/ 457802 w 685966"/>
                    <a:gd name="csY161" fmla="*/ 95402 h 644251"/>
                    <a:gd name="csX162" fmla="*/ 465389 w 685966"/>
                    <a:gd name="csY162" fmla="*/ 88487 h 644251"/>
                    <a:gd name="csX163" fmla="*/ 466477 w 685966"/>
                    <a:gd name="csY163" fmla="*/ 73985 h 644251"/>
                    <a:gd name="csX164" fmla="*/ 454536 w 685966"/>
                    <a:gd name="csY164" fmla="*/ 70367 h 644251"/>
                    <a:gd name="csX165" fmla="*/ 445828 w 685966"/>
                    <a:gd name="csY165" fmla="*/ 68542 h 644251"/>
                    <a:gd name="csX166" fmla="*/ 434559 w 685966"/>
                    <a:gd name="csY166" fmla="*/ 56569 h 644251"/>
                    <a:gd name="csX167" fmla="*/ 428413 w 685966"/>
                    <a:gd name="csY167" fmla="*/ 57657 h 644251"/>
                    <a:gd name="csX168" fmla="*/ 426940 w 685966"/>
                    <a:gd name="csY168" fmla="*/ 63484 h 644251"/>
                    <a:gd name="csX169" fmla="*/ 398287 w 685966"/>
                    <a:gd name="csY169" fmla="*/ 68542 h 644251"/>
                    <a:gd name="csX170" fmla="*/ 378695 w 685966"/>
                    <a:gd name="csY170" fmla="*/ 48949 h 644251"/>
                    <a:gd name="csX171" fmla="*/ 361279 w 685966"/>
                    <a:gd name="csY171" fmla="*/ 60923 h 644251"/>
                    <a:gd name="csX172" fmla="*/ 353692 w 685966"/>
                    <a:gd name="csY172" fmla="*/ 66013 h 644251"/>
                    <a:gd name="csX173" fmla="*/ 352955 w 685966"/>
                    <a:gd name="csY173" fmla="*/ 50774 h 644251"/>
                    <a:gd name="csX174" fmla="*/ 347513 w 685966"/>
                    <a:gd name="csY174" fmla="*/ 48949 h 644251"/>
                    <a:gd name="csX175" fmla="*/ 332274 w 685966"/>
                    <a:gd name="csY175" fmla="*/ 14502 h 644251"/>
                    <a:gd name="csX176" fmla="*/ 324303 w 685966"/>
                    <a:gd name="csY176" fmla="*/ 10148 h 644251"/>
                    <a:gd name="csX177" fmla="*/ 312330 w 685966"/>
                    <a:gd name="csY177" fmla="*/ 17032 h 644251"/>
                    <a:gd name="csX178" fmla="*/ 307976 w 685966"/>
                    <a:gd name="csY178" fmla="*/ 5058 h 64425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</a:cxnLst>
                  <a:rect l="l" t="t" r="r" b="b"/>
                  <a:pathLst>
                    <a:path w="685966" h="644251">
                      <a:moveTo>
                        <a:pt x="307976" y="5058"/>
                      </a:moveTo>
                      <a:lnTo>
                        <a:pt x="292385" y="704"/>
                      </a:lnTo>
                      <a:lnTo>
                        <a:pt x="284029" y="0"/>
                      </a:lnTo>
                      <a:lnTo>
                        <a:pt x="279675" y="13766"/>
                      </a:lnTo>
                      <a:lnTo>
                        <a:pt x="267702" y="13766"/>
                      </a:lnTo>
                      <a:lnTo>
                        <a:pt x="263348" y="8324"/>
                      </a:lnTo>
                      <a:lnTo>
                        <a:pt x="243403" y="14502"/>
                      </a:lnTo>
                      <a:lnTo>
                        <a:pt x="240874" y="18856"/>
                      </a:lnTo>
                      <a:lnTo>
                        <a:pt x="247021" y="21385"/>
                      </a:lnTo>
                      <a:lnTo>
                        <a:pt x="252111" y="35183"/>
                      </a:lnTo>
                      <a:lnTo>
                        <a:pt x="239049" y="35888"/>
                      </a:lnTo>
                      <a:lnTo>
                        <a:pt x="233255" y="47861"/>
                      </a:lnTo>
                      <a:lnTo>
                        <a:pt x="219457" y="47157"/>
                      </a:lnTo>
                      <a:lnTo>
                        <a:pt x="216928" y="38449"/>
                      </a:lnTo>
                      <a:lnTo>
                        <a:pt x="199512" y="46420"/>
                      </a:lnTo>
                      <a:lnTo>
                        <a:pt x="207483" y="77250"/>
                      </a:lnTo>
                      <a:lnTo>
                        <a:pt x="174477" y="89223"/>
                      </a:lnTo>
                      <a:lnTo>
                        <a:pt x="141822" y="85958"/>
                      </a:lnTo>
                      <a:lnTo>
                        <a:pt x="138557" y="84165"/>
                      </a:lnTo>
                      <a:lnTo>
                        <a:pt x="122230" y="93577"/>
                      </a:lnTo>
                      <a:lnTo>
                        <a:pt x="101549" y="97195"/>
                      </a:lnTo>
                      <a:lnTo>
                        <a:pt x="99020" y="114995"/>
                      </a:lnTo>
                      <a:lnTo>
                        <a:pt x="90312" y="127320"/>
                      </a:lnTo>
                      <a:lnTo>
                        <a:pt x="94666" y="138205"/>
                      </a:lnTo>
                      <a:lnTo>
                        <a:pt x="86694" y="169386"/>
                      </a:lnTo>
                      <a:lnTo>
                        <a:pt x="84133" y="188979"/>
                      </a:lnTo>
                      <a:lnTo>
                        <a:pt x="50774" y="197687"/>
                      </a:lnTo>
                      <a:lnTo>
                        <a:pt x="45684" y="220193"/>
                      </a:lnTo>
                      <a:lnTo>
                        <a:pt x="35888" y="224547"/>
                      </a:lnTo>
                      <a:lnTo>
                        <a:pt x="37713" y="238313"/>
                      </a:lnTo>
                      <a:lnTo>
                        <a:pt x="33359" y="254640"/>
                      </a:lnTo>
                      <a:lnTo>
                        <a:pt x="18856" y="258642"/>
                      </a:lnTo>
                      <a:lnTo>
                        <a:pt x="22474" y="269879"/>
                      </a:lnTo>
                      <a:lnTo>
                        <a:pt x="0" y="290560"/>
                      </a:lnTo>
                      <a:lnTo>
                        <a:pt x="10149" y="301092"/>
                      </a:lnTo>
                      <a:lnTo>
                        <a:pt x="8708" y="309416"/>
                      </a:lnTo>
                      <a:lnTo>
                        <a:pt x="14502" y="311241"/>
                      </a:lnTo>
                      <a:lnTo>
                        <a:pt x="10149" y="313770"/>
                      </a:lnTo>
                      <a:lnTo>
                        <a:pt x="11237" y="327568"/>
                      </a:lnTo>
                      <a:lnTo>
                        <a:pt x="19593" y="330097"/>
                      </a:lnTo>
                      <a:lnTo>
                        <a:pt x="29357" y="326832"/>
                      </a:lnTo>
                      <a:lnTo>
                        <a:pt x="55128" y="327568"/>
                      </a:lnTo>
                      <a:lnTo>
                        <a:pt x="60219" y="331186"/>
                      </a:lnTo>
                      <a:lnTo>
                        <a:pt x="64572" y="349306"/>
                      </a:lnTo>
                      <a:lnTo>
                        <a:pt x="56569" y="359486"/>
                      </a:lnTo>
                      <a:lnTo>
                        <a:pt x="39537" y="368898"/>
                      </a:lnTo>
                      <a:lnTo>
                        <a:pt x="40242" y="372548"/>
                      </a:lnTo>
                      <a:lnTo>
                        <a:pt x="79075" y="389579"/>
                      </a:lnTo>
                      <a:lnTo>
                        <a:pt x="86694" y="399023"/>
                      </a:lnTo>
                      <a:lnTo>
                        <a:pt x="78339" y="402641"/>
                      </a:lnTo>
                      <a:lnTo>
                        <a:pt x="73248" y="422234"/>
                      </a:lnTo>
                      <a:lnTo>
                        <a:pt x="74721" y="439649"/>
                      </a:lnTo>
                      <a:lnTo>
                        <a:pt x="68926" y="448005"/>
                      </a:lnTo>
                      <a:lnTo>
                        <a:pt x="42803" y="461771"/>
                      </a:lnTo>
                      <a:lnTo>
                        <a:pt x="37713" y="474833"/>
                      </a:lnTo>
                      <a:lnTo>
                        <a:pt x="43891" y="487543"/>
                      </a:lnTo>
                      <a:lnTo>
                        <a:pt x="31918" y="495514"/>
                      </a:lnTo>
                      <a:lnTo>
                        <a:pt x="40242" y="504958"/>
                      </a:lnTo>
                      <a:lnTo>
                        <a:pt x="44596" y="513666"/>
                      </a:lnTo>
                      <a:lnTo>
                        <a:pt x="66365" y="512578"/>
                      </a:lnTo>
                      <a:lnTo>
                        <a:pt x="79075" y="498780"/>
                      </a:lnTo>
                      <a:lnTo>
                        <a:pt x="78339" y="487543"/>
                      </a:lnTo>
                      <a:lnTo>
                        <a:pt x="91048" y="484277"/>
                      </a:lnTo>
                      <a:lnTo>
                        <a:pt x="103374" y="488631"/>
                      </a:lnTo>
                      <a:lnTo>
                        <a:pt x="126584" y="465421"/>
                      </a:lnTo>
                      <a:lnTo>
                        <a:pt x="134203" y="464332"/>
                      </a:lnTo>
                      <a:lnTo>
                        <a:pt x="141822" y="468686"/>
                      </a:lnTo>
                      <a:lnTo>
                        <a:pt x="133499" y="473744"/>
                      </a:lnTo>
                      <a:lnTo>
                        <a:pt x="129849" y="484981"/>
                      </a:lnTo>
                      <a:lnTo>
                        <a:pt x="147265" y="510016"/>
                      </a:lnTo>
                      <a:lnTo>
                        <a:pt x="139293" y="537581"/>
                      </a:lnTo>
                      <a:lnTo>
                        <a:pt x="154884" y="538317"/>
                      </a:lnTo>
                      <a:lnTo>
                        <a:pt x="151267" y="558262"/>
                      </a:lnTo>
                      <a:lnTo>
                        <a:pt x="170475" y="560823"/>
                      </a:lnTo>
                      <a:lnTo>
                        <a:pt x="193717" y="548850"/>
                      </a:lnTo>
                      <a:lnTo>
                        <a:pt x="211485" y="547025"/>
                      </a:lnTo>
                      <a:lnTo>
                        <a:pt x="215839" y="523815"/>
                      </a:lnTo>
                      <a:lnTo>
                        <a:pt x="228901" y="523815"/>
                      </a:lnTo>
                      <a:lnTo>
                        <a:pt x="237609" y="528873"/>
                      </a:lnTo>
                      <a:lnTo>
                        <a:pt x="257169" y="521990"/>
                      </a:lnTo>
                      <a:lnTo>
                        <a:pt x="272792" y="526344"/>
                      </a:lnTo>
                      <a:lnTo>
                        <a:pt x="282204" y="521253"/>
                      </a:lnTo>
                      <a:lnTo>
                        <a:pt x="282941" y="531434"/>
                      </a:lnTo>
                      <a:lnTo>
                        <a:pt x="305447" y="546288"/>
                      </a:lnTo>
                      <a:lnTo>
                        <a:pt x="307976" y="547761"/>
                      </a:lnTo>
                      <a:lnTo>
                        <a:pt x="373637" y="587651"/>
                      </a:lnTo>
                      <a:lnTo>
                        <a:pt x="373637" y="588387"/>
                      </a:lnTo>
                      <a:lnTo>
                        <a:pt x="381256" y="582208"/>
                      </a:lnTo>
                      <a:lnTo>
                        <a:pt x="381960" y="577150"/>
                      </a:lnTo>
                      <a:lnTo>
                        <a:pt x="393933" y="577150"/>
                      </a:lnTo>
                      <a:lnTo>
                        <a:pt x="401937" y="602153"/>
                      </a:lnTo>
                      <a:lnTo>
                        <a:pt x="406291" y="606507"/>
                      </a:lnTo>
                      <a:lnTo>
                        <a:pt x="420793" y="602889"/>
                      </a:lnTo>
                      <a:lnTo>
                        <a:pt x="433855" y="618480"/>
                      </a:lnTo>
                      <a:lnTo>
                        <a:pt x="434559" y="632278"/>
                      </a:lnTo>
                      <a:lnTo>
                        <a:pt x="441474" y="639898"/>
                      </a:lnTo>
                      <a:lnTo>
                        <a:pt x="447621" y="641723"/>
                      </a:lnTo>
                      <a:lnTo>
                        <a:pt x="459594" y="636632"/>
                      </a:lnTo>
                      <a:lnTo>
                        <a:pt x="474129" y="644252"/>
                      </a:lnTo>
                      <a:lnTo>
                        <a:pt x="495514" y="583297"/>
                      </a:lnTo>
                      <a:lnTo>
                        <a:pt x="506751" y="569531"/>
                      </a:lnTo>
                      <a:lnTo>
                        <a:pt x="513666" y="569531"/>
                      </a:lnTo>
                      <a:lnTo>
                        <a:pt x="513666" y="561527"/>
                      </a:lnTo>
                      <a:lnTo>
                        <a:pt x="525639" y="557173"/>
                      </a:lnTo>
                      <a:lnTo>
                        <a:pt x="524167" y="551379"/>
                      </a:lnTo>
                      <a:lnTo>
                        <a:pt x="529257" y="544496"/>
                      </a:lnTo>
                      <a:lnTo>
                        <a:pt x="543023" y="546288"/>
                      </a:lnTo>
                      <a:lnTo>
                        <a:pt x="550642" y="533963"/>
                      </a:lnTo>
                      <a:lnTo>
                        <a:pt x="559350" y="532522"/>
                      </a:lnTo>
                      <a:lnTo>
                        <a:pt x="615215" y="545200"/>
                      </a:lnTo>
                      <a:lnTo>
                        <a:pt x="675433" y="521253"/>
                      </a:lnTo>
                      <a:lnTo>
                        <a:pt x="676522" y="516195"/>
                      </a:lnTo>
                      <a:lnTo>
                        <a:pt x="683437" y="514370"/>
                      </a:lnTo>
                      <a:lnTo>
                        <a:pt x="676522" y="489335"/>
                      </a:lnTo>
                      <a:lnTo>
                        <a:pt x="680876" y="484277"/>
                      </a:lnTo>
                      <a:lnTo>
                        <a:pt x="660195" y="461067"/>
                      </a:lnTo>
                      <a:lnTo>
                        <a:pt x="658402" y="443651"/>
                      </a:lnTo>
                      <a:lnTo>
                        <a:pt x="681612" y="432766"/>
                      </a:lnTo>
                      <a:lnTo>
                        <a:pt x="685966" y="424763"/>
                      </a:lnTo>
                      <a:lnTo>
                        <a:pt x="679787" y="419705"/>
                      </a:lnTo>
                      <a:lnTo>
                        <a:pt x="679083" y="405907"/>
                      </a:lnTo>
                      <a:lnTo>
                        <a:pt x="656577" y="416439"/>
                      </a:lnTo>
                      <a:lnTo>
                        <a:pt x="598888" y="402641"/>
                      </a:lnTo>
                      <a:lnTo>
                        <a:pt x="545584" y="406643"/>
                      </a:lnTo>
                      <a:lnTo>
                        <a:pt x="534315" y="405202"/>
                      </a:lnTo>
                      <a:lnTo>
                        <a:pt x="512930" y="382696"/>
                      </a:lnTo>
                      <a:lnTo>
                        <a:pt x="502397" y="379431"/>
                      </a:lnTo>
                      <a:lnTo>
                        <a:pt x="498427" y="375077"/>
                      </a:lnTo>
                      <a:lnTo>
                        <a:pt x="485366" y="362752"/>
                      </a:lnTo>
                      <a:lnTo>
                        <a:pt x="465389" y="358750"/>
                      </a:lnTo>
                      <a:lnTo>
                        <a:pt x="466477" y="347513"/>
                      </a:lnTo>
                      <a:lnTo>
                        <a:pt x="441474" y="336276"/>
                      </a:lnTo>
                      <a:lnTo>
                        <a:pt x="430205" y="322478"/>
                      </a:lnTo>
                      <a:lnTo>
                        <a:pt x="421498" y="297443"/>
                      </a:lnTo>
                      <a:lnTo>
                        <a:pt x="420793" y="278586"/>
                      </a:lnTo>
                      <a:lnTo>
                        <a:pt x="412085" y="274233"/>
                      </a:lnTo>
                      <a:lnTo>
                        <a:pt x="409556" y="264084"/>
                      </a:lnTo>
                      <a:lnTo>
                        <a:pt x="398287" y="269879"/>
                      </a:lnTo>
                      <a:lnTo>
                        <a:pt x="381960" y="268438"/>
                      </a:lnTo>
                      <a:lnTo>
                        <a:pt x="377606" y="277850"/>
                      </a:lnTo>
                      <a:lnTo>
                        <a:pt x="358750" y="277850"/>
                      </a:lnTo>
                      <a:lnTo>
                        <a:pt x="352955" y="287294"/>
                      </a:lnTo>
                      <a:lnTo>
                        <a:pt x="346072" y="289119"/>
                      </a:lnTo>
                      <a:lnTo>
                        <a:pt x="343159" y="289823"/>
                      </a:lnTo>
                      <a:lnTo>
                        <a:pt x="339157" y="276762"/>
                      </a:lnTo>
                      <a:lnTo>
                        <a:pt x="333715" y="274233"/>
                      </a:lnTo>
                      <a:lnTo>
                        <a:pt x="321037" y="232166"/>
                      </a:lnTo>
                      <a:lnTo>
                        <a:pt x="319949" y="203866"/>
                      </a:lnTo>
                      <a:lnTo>
                        <a:pt x="328657" y="203866"/>
                      </a:lnTo>
                      <a:lnTo>
                        <a:pt x="331186" y="197687"/>
                      </a:lnTo>
                      <a:lnTo>
                        <a:pt x="321742" y="191892"/>
                      </a:lnTo>
                      <a:lnTo>
                        <a:pt x="333011" y="183185"/>
                      </a:lnTo>
                      <a:lnTo>
                        <a:pt x="344984" y="157413"/>
                      </a:lnTo>
                      <a:lnTo>
                        <a:pt x="369283" y="165033"/>
                      </a:lnTo>
                      <a:lnTo>
                        <a:pt x="395758" y="168298"/>
                      </a:lnTo>
                      <a:lnTo>
                        <a:pt x="421498" y="180655"/>
                      </a:lnTo>
                      <a:lnTo>
                        <a:pt x="444004" y="157413"/>
                      </a:lnTo>
                      <a:lnTo>
                        <a:pt x="446533" y="149442"/>
                      </a:lnTo>
                      <a:lnTo>
                        <a:pt x="469039" y="134203"/>
                      </a:lnTo>
                      <a:lnTo>
                        <a:pt x="474129" y="124791"/>
                      </a:lnTo>
                      <a:lnTo>
                        <a:pt x="451623" y="111729"/>
                      </a:lnTo>
                      <a:lnTo>
                        <a:pt x="457802" y="95402"/>
                      </a:lnTo>
                      <a:lnTo>
                        <a:pt x="465389" y="88487"/>
                      </a:lnTo>
                      <a:lnTo>
                        <a:pt x="466477" y="73985"/>
                      </a:lnTo>
                      <a:lnTo>
                        <a:pt x="454536" y="70367"/>
                      </a:lnTo>
                      <a:lnTo>
                        <a:pt x="445828" y="68542"/>
                      </a:lnTo>
                      <a:lnTo>
                        <a:pt x="434559" y="56569"/>
                      </a:lnTo>
                      <a:lnTo>
                        <a:pt x="428413" y="57657"/>
                      </a:lnTo>
                      <a:lnTo>
                        <a:pt x="426940" y="63484"/>
                      </a:lnTo>
                      <a:lnTo>
                        <a:pt x="398287" y="68542"/>
                      </a:lnTo>
                      <a:lnTo>
                        <a:pt x="378695" y="48949"/>
                      </a:lnTo>
                      <a:lnTo>
                        <a:pt x="361279" y="60923"/>
                      </a:lnTo>
                      <a:lnTo>
                        <a:pt x="353692" y="66013"/>
                      </a:lnTo>
                      <a:lnTo>
                        <a:pt x="352955" y="50774"/>
                      </a:lnTo>
                      <a:lnTo>
                        <a:pt x="347513" y="48949"/>
                      </a:lnTo>
                      <a:lnTo>
                        <a:pt x="332274" y="14502"/>
                      </a:lnTo>
                      <a:lnTo>
                        <a:pt x="324303" y="10148"/>
                      </a:lnTo>
                      <a:lnTo>
                        <a:pt x="312330" y="17032"/>
                      </a:lnTo>
                      <a:lnTo>
                        <a:pt x="307976" y="505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9F5AF12F-41E9-5557-DF0D-DCB5BDF3F1C3}"/>
                    </a:ext>
                  </a:extLst>
                </p:cNvPr>
                <p:cNvSpPr/>
                <p:nvPr/>
              </p:nvSpPr>
              <p:spPr>
                <a:xfrm>
                  <a:off x="4017396" y="2414218"/>
                  <a:ext cx="482836" cy="720445"/>
                </a:xfrm>
                <a:custGeom>
                  <a:avLst/>
                  <a:gdLst>
                    <a:gd name="csX0" fmla="*/ 327952 w 482836"/>
                    <a:gd name="csY0" fmla="*/ 109552 h 720445"/>
                    <a:gd name="csX1" fmla="*/ 260819 w 482836"/>
                    <a:gd name="csY1" fmla="*/ 66397 h 720445"/>
                    <a:gd name="csX2" fmla="*/ 217664 w 482836"/>
                    <a:gd name="csY2" fmla="*/ 39537 h 720445"/>
                    <a:gd name="csX3" fmla="*/ 156709 w 482836"/>
                    <a:gd name="csY3" fmla="*/ 0 h 720445"/>
                    <a:gd name="csX4" fmla="*/ 152355 w 482836"/>
                    <a:gd name="csY4" fmla="*/ 5442 h 720445"/>
                    <a:gd name="csX5" fmla="*/ 167594 w 482836"/>
                    <a:gd name="csY5" fmla="*/ 17416 h 720445"/>
                    <a:gd name="csX6" fmla="*/ 170507 w 482836"/>
                    <a:gd name="csY6" fmla="*/ 31918 h 720445"/>
                    <a:gd name="csX7" fmla="*/ 165065 w 482836"/>
                    <a:gd name="csY7" fmla="*/ 43155 h 720445"/>
                    <a:gd name="csX8" fmla="*/ 154916 w 482836"/>
                    <a:gd name="csY8" fmla="*/ 46420 h 720445"/>
                    <a:gd name="csX9" fmla="*/ 134235 w 482836"/>
                    <a:gd name="csY9" fmla="*/ 75073 h 720445"/>
                    <a:gd name="csX10" fmla="*/ 120437 w 482836"/>
                    <a:gd name="csY10" fmla="*/ 79427 h 720445"/>
                    <a:gd name="csX11" fmla="*/ 115379 w 482836"/>
                    <a:gd name="csY11" fmla="*/ 85254 h 720445"/>
                    <a:gd name="csX12" fmla="*/ 134971 w 482836"/>
                    <a:gd name="csY12" fmla="*/ 106639 h 720445"/>
                    <a:gd name="csX13" fmla="*/ 122262 w 482836"/>
                    <a:gd name="csY13" fmla="*/ 141118 h 720445"/>
                    <a:gd name="csX14" fmla="*/ 125527 w 482836"/>
                    <a:gd name="csY14" fmla="*/ 156709 h 720445"/>
                    <a:gd name="csX15" fmla="*/ 148738 w 482836"/>
                    <a:gd name="csY15" fmla="*/ 177390 h 720445"/>
                    <a:gd name="csX16" fmla="*/ 131706 w 482836"/>
                    <a:gd name="csY16" fmla="*/ 179919 h 720445"/>
                    <a:gd name="csX17" fmla="*/ 97963 w 482836"/>
                    <a:gd name="csY17" fmla="*/ 176654 h 720445"/>
                    <a:gd name="csX18" fmla="*/ 104110 w 482836"/>
                    <a:gd name="csY18" fmla="*/ 180656 h 720445"/>
                    <a:gd name="csX19" fmla="*/ 94698 w 482836"/>
                    <a:gd name="csY19" fmla="*/ 193717 h 720445"/>
                    <a:gd name="csX20" fmla="*/ 94698 w 482836"/>
                    <a:gd name="csY20" fmla="*/ 223811 h 720445"/>
                    <a:gd name="csX21" fmla="*/ 112818 w 482836"/>
                    <a:gd name="csY21" fmla="*/ 272792 h 720445"/>
                    <a:gd name="csX22" fmla="*/ 115379 w 482836"/>
                    <a:gd name="csY22" fmla="*/ 283325 h 720445"/>
                    <a:gd name="csX23" fmla="*/ 116083 w 482836"/>
                    <a:gd name="csY23" fmla="*/ 284029 h 720445"/>
                    <a:gd name="csX24" fmla="*/ 120437 w 482836"/>
                    <a:gd name="csY24" fmla="*/ 302181 h 720445"/>
                    <a:gd name="csX25" fmla="*/ 121173 w 482836"/>
                    <a:gd name="csY25" fmla="*/ 311593 h 720445"/>
                    <a:gd name="csX26" fmla="*/ 105935 w 482836"/>
                    <a:gd name="csY26" fmla="*/ 329745 h 720445"/>
                    <a:gd name="csX27" fmla="*/ 86694 w 482836"/>
                    <a:gd name="csY27" fmla="*/ 339894 h 720445"/>
                    <a:gd name="csX28" fmla="*/ 72192 w 482836"/>
                    <a:gd name="csY28" fmla="*/ 344248 h 720445"/>
                    <a:gd name="csX29" fmla="*/ 52599 w 482836"/>
                    <a:gd name="csY29" fmla="*/ 343543 h 720445"/>
                    <a:gd name="csX30" fmla="*/ 37008 w 482836"/>
                    <a:gd name="csY30" fmla="*/ 337364 h 720445"/>
                    <a:gd name="csX31" fmla="*/ 19593 w 482836"/>
                    <a:gd name="csY31" fmla="*/ 339189 h 720445"/>
                    <a:gd name="csX32" fmla="*/ 0 w 482836"/>
                    <a:gd name="csY32" fmla="*/ 352955 h 720445"/>
                    <a:gd name="csX33" fmla="*/ 45716 w 482836"/>
                    <a:gd name="csY33" fmla="*/ 409556 h 720445"/>
                    <a:gd name="csX34" fmla="*/ 117172 w 482836"/>
                    <a:gd name="csY34" fmla="*/ 497339 h 720445"/>
                    <a:gd name="csX35" fmla="*/ 160711 w 482836"/>
                    <a:gd name="csY35" fmla="*/ 551763 h 720445"/>
                    <a:gd name="csX36" fmla="*/ 241963 w 482836"/>
                    <a:gd name="csY36" fmla="*/ 649694 h 720445"/>
                    <a:gd name="csX37" fmla="*/ 255377 w 482836"/>
                    <a:gd name="csY37" fmla="*/ 666021 h 720445"/>
                    <a:gd name="csX38" fmla="*/ 264084 w 482836"/>
                    <a:gd name="csY38" fmla="*/ 654784 h 720445"/>
                    <a:gd name="csX39" fmla="*/ 296002 w 482836"/>
                    <a:gd name="csY39" fmla="*/ 659138 h 720445"/>
                    <a:gd name="csX40" fmla="*/ 284765 w 482836"/>
                    <a:gd name="csY40" fmla="*/ 667846 h 720445"/>
                    <a:gd name="csX41" fmla="*/ 287327 w 482836"/>
                    <a:gd name="csY41" fmla="*/ 675465 h 720445"/>
                    <a:gd name="csX42" fmla="*/ 282973 w 482836"/>
                    <a:gd name="csY42" fmla="*/ 683437 h 720445"/>
                    <a:gd name="csX43" fmla="*/ 296002 w 482836"/>
                    <a:gd name="csY43" fmla="*/ 685966 h 720445"/>
                    <a:gd name="csX44" fmla="*/ 294209 w 482836"/>
                    <a:gd name="csY44" fmla="*/ 692881 h 720445"/>
                    <a:gd name="csX45" fmla="*/ 281500 w 482836"/>
                    <a:gd name="csY45" fmla="*/ 697939 h 720445"/>
                    <a:gd name="csX46" fmla="*/ 290944 w 482836"/>
                    <a:gd name="csY46" fmla="*/ 705559 h 720445"/>
                    <a:gd name="csX47" fmla="*/ 287327 w 482836"/>
                    <a:gd name="csY47" fmla="*/ 717532 h 720445"/>
                    <a:gd name="csX48" fmla="*/ 294209 w 482836"/>
                    <a:gd name="csY48" fmla="*/ 720445 h 720445"/>
                    <a:gd name="csX49" fmla="*/ 302181 w 482836"/>
                    <a:gd name="csY49" fmla="*/ 719357 h 720445"/>
                    <a:gd name="csX50" fmla="*/ 310537 w 482836"/>
                    <a:gd name="csY50" fmla="*/ 707383 h 720445"/>
                    <a:gd name="csX51" fmla="*/ 326864 w 482836"/>
                    <a:gd name="csY51" fmla="*/ 697939 h 720445"/>
                    <a:gd name="csX52" fmla="*/ 336276 w 482836"/>
                    <a:gd name="csY52" fmla="*/ 699764 h 720445"/>
                    <a:gd name="csX53" fmla="*/ 375109 w 482836"/>
                    <a:gd name="csY53" fmla="*/ 699764 h 720445"/>
                    <a:gd name="csX54" fmla="*/ 388875 w 482836"/>
                    <a:gd name="csY54" fmla="*/ 617776 h 720445"/>
                    <a:gd name="csX55" fmla="*/ 405202 w 482836"/>
                    <a:gd name="csY55" fmla="*/ 558646 h 720445"/>
                    <a:gd name="csX56" fmla="*/ 400144 w 482836"/>
                    <a:gd name="csY56" fmla="*/ 540494 h 720445"/>
                    <a:gd name="csX57" fmla="*/ 400144 w 482836"/>
                    <a:gd name="csY57" fmla="*/ 505310 h 720445"/>
                    <a:gd name="csX58" fmla="*/ 395054 w 482836"/>
                    <a:gd name="csY58" fmla="*/ 499868 h 720445"/>
                    <a:gd name="csX59" fmla="*/ 400144 w 482836"/>
                    <a:gd name="csY59" fmla="*/ 494810 h 720445"/>
                    <a:gd name="csX60" fmla="*/ 400144 w 482836"/>
                    <a:gd name="csY60" fmla="*/ 426972 h 720445"/>
                    <a:gd name="csX61" fmla="*/ 434591 w 482836"/>
                    <a:gd name="csY61" fmla="*/ 329745 h 720445"/>
                    <a:gd name="csX62" fmla="*/ 437857 w 482836"/>
                    <a:gd name="csY62" fmla="*/ 314154 h 720445"/>
                    <a:gd name="csX63" fmla="*/ 478483 w 482836"/>
                    <a:gd name="csY63" fmla="*/ 228164 h 720445"/>
                    <a:gd name="csX64" fmla="*/ 475954 w 482836"/>
                    <a:gd name="csY64" fmla="*/ 225635 h 720445"/>
                    <a:gd name="csX65" fmla="*/ 482837 w 482836"/>
                    <a:gd name="csY65" fmla="*/ 204954 h 720445"/>
                    <a:gd name="csX66" fmla="*/ 478483 w 482836"/>
                    <a:gd name="csY66" fmla="*/ 202425 h 720445"/>
                    <a:gd name="csX67" fmla="*/ 471600 w 482836"/>
                    <a:gd name="csY67" fmla="*/ 193717 h 720445"/>
                    <a:gd name="csX68" fmla="*/ 452743 w 482836"/>
                    <a:gd name="csY68" fmla="*/ 188627 h 720445"/>
                    <a:gd name="csX69" fmla="*/ 327952 w 482836"/>
                    <a:gd name="csY69" fmla="*/ 109552 h 7204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</a:cxnLst>
                  <a:rect l="l" t="t" r="r" b="b"/>
                  <a:pathLst>
                    <a:path w="482836" h="720445">
                      <a:moveTo>
                        <a:pt x="327952" y="109552"/>
                      </a:moveTo>
                      <a:lnTo>
                        <a:pt x="260819" y="66397"/>
                      </a:lnTo>
                      <a:lnTo>
                        <a:pt x="217664" y="39537"/>
                      </a:lnTo>
                      <a:lnTo>
                        <a:pt x="156709" y="0"/>
                      </a:lnTo>
                      <a:lnTo>
                        <a:pt x="152355" y="5442"/>
                      </a:lnTo>
                      <a:lnTo>
                        <a:pt x="167594" y="17416"/>
                      </a:lnTo>
                      <a:lnTo>
                        <a:pt x="170507" y="31918"/>
                      </a:lnTo>
                      <a:lnTo>
                        <a:pt x="165065" y="43155"/>
                      </a:lnTo>
                      <a:lnTo>
                        <a:pt x="154916" y="46420"/>
                      </a:lnTo>
                      <a:lnTo>
                        <a:pt x="134235" y="75073"/>
                      </a:lnTo>
                      <a:lnTo>
                        <a:pt x="120437" y="79427"/>
                      </a:lnTo>
                      <a:lnTo>
                        <a:pt x="115379" y="85254"/>
                      </a:lnTo>
                      <a:lnTo>
                        <a:pt x="134971" y="106639"/>
                      </a:lnTo>
                      <a:lnTo>
                        <a:pt x="122262" y="141118"/>
                      </a:lnTo>
                      <a:lnTo>
                        <a:pt x="125527" y="156709"/>
                      </a:lnTo>
                      <a:lnTo>
                        <a:pt x="148738" y="177390"/>
                      </a:lnTo>
                      <a:lnTo>
                        <a:pt x="131706" y="179919"/>
                      </a:lnTo>
                      <a:lnTo>
                        <a:pt x="97963" y="176654"/>
                      </a:lnTo>
                      <a:lnTo>
                        <a:pt x="104110" y="180656"/>
                      </a:lnTo>
                      <a:lnTo>
                        <a:pt x="94698" y="193717"/>
                      </a:lnTo>
                      <a:lnTo>
                        <a:pt x="94698" y="223811"/>
                      </a:lnTo>
                      <a:lnTo>
                        <a:pt x="112818" y="272792"/>
                      </a:lnTo>
                      <a:lnTo>
                        <a:pt x="115379" y="283325"/>
                      </a:lnTo>
                      <a:lnTo>
                        <a:pt x="116083" y="284029"/>
                      </a:lnTo>
                      <a:lnTo>
                        <a:pt x="120437" y="302181"/>
                      </a:lnTo>
                      <a:lnTo>
                        <a:pt x="121173" y="311593"/>
                      </a:lnTo>
                      <a:lnTo>
                        <a:pt x="105935" y="329745"/>
                      </a:lnTo>
                      <a:lnTo>
                        <a:pt x="86694" y="339894"/>
                      </a:lnTo>
                      <a:lnTo>
                        <a:pt x="72192" y="344248"/>
                      </a:lnTo>
                      <a:lnTo>
                        <a:pt x="52599" y="343543"/>
                      </a:lnTo>
                      <a:lnTo>
                        <a:pt x="37008" y="337364"/>
                      </a:lnTo>
                      <a:lnTo>
                        <a:pt x="19593" y="339189"/>
                      </a:lnTo>
                      <a:lnTo>
                        <a:pt x="0" y="352955"/>
                      </a:lnTo>
                      <a:lnTo>
                        <a:pt x="45716" y="409556"/>
                      </a:lnTo>
                      <a:lnTo>
                        <a:pt x="117172" y="497339"/>
                      </a:lnTo>
                      <a:lnTo>
                        <a:pt x="160711" y="551763"/>
                      </a:lnTo>
                      <a:lnTo>
                        <a:pt x="241963" y="649694"/>
                      </a:lnTo>
                      <a:lnTo>
                        <a:pt x="255377" y="666021"/>
                      </a:lnTo>
                      <a:lnTo>
                        <a:pt x="264084" y="654784"/>
                      </a:lnTo>
                      <a:lnTo>
                        <a:pt x="296002" y="659138"/>
                      </a:lnTo>
                      <a:lnTo>
                        <a:pt x="284765" y="667846"/>
                      </a:lnTo>
                      <a:lnTo>
                        <a:pt x="287327" y="675465"/>
                      </a:lnTo>
                      <a:lnTo>
                        <a:pt x="282973" y="683437"/>
                      </a:lnTo>
                      <a:lnTo>
                        <a:pt x="296002" y="685966"/>
                      </a:lnTo>
                      <a:lnTo>
                        <a:pt x="294209" y="692881"/>
                      </a:lnTo>
                      <a:lnTo>
                        <a:pt x="281500" y="697939"/>
                      </a:lnTo>
                      <a:lnTo>
                        <a:pt x="290944" y="705559"/>
                      </a:lnTo>
                      <a:lnTo>
                        <a:pt x="287327" y="717532"/>
                      </a:lnTo>
                      <a:lnTo>
                        <a:pt x="294209" y="720445"/>
                      </a:lnTo>
                      <a:lnTo>
                        <a:pt x="302181" y="719357"/>
                      </a:lnTo>
                      <a:lnTo>
                        <a:pt x="310537" y="707383"/>
                      </a:lnTo>
                      <a:lnTo>
                        <a:pt x="326864" y="697939"/>
                      </a:lnTo>
                      <a:lnTo>
                        <a:pt x="336276" y="699764"/>
                      </a:lnTo>
                      <a:lnTo>
                        <a:pt x="375109" y="699764"/>
                      </a:lnTo>
                      <a:lnTo>
                        <a:pt x="388875" y="617776"/>
                      </a:lnTo>
                      <a:lnTo>
                        <a:pt x="405202" y="558646"/>
                      </a:lnTo>
                      <a:lnTo>
                        <a:pt x="400144" y="540494"/>
                      </a:lnTo>
                      <a:lnTo>
                        <a:pt x="400144" y="505310"/>
                      </a:lnTo>
                      <a:lnTo>
                        <a:pt x="395054" y="499868"/>
                      </a:lnTo>
                      <a:lnTo>
                        <a:pt x="400144" y="494810"/>
                      </a:lnTo>
                      <a:lnTo>
                        <a:pt x="400144" y="426972"/>
                      </a:lnTo>
                      <a:lnTo>
                        <a:pt x="434591" y="329745"/>
                      </a:lnTo>
                      <a:lnTo>
                        <a:pt x="437857" y="314154"/>
                      </a:lnTo>
                      <a:lnTo>
                        <a:pt x="478483" y="228164"/>
                      </a:lnTo>
                      <a:lnTo>
                        <a:pt x="475954" y="225635"/>
                      </a:lnTo>
                      <a:lnTo>
                        <a:pt x="482837" y="204954"/>
                      </a:lnTo>
                      <a:lnTo>
                        <a:pt x="478483" y="202425"/>
                      </a:lnTo>
                      <a:lnTo>
                        <a:pt x="471600" y="193717"/>
                      </a:lnTo>
                      <a:lnTo>
                        <a:pt x="452743" y="188627"/>
                      </a:lnTo>
                      <a:lnTo>
                        <a:pt x="327952" y="10955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3" name="Forma Livre: Forma 232">
                  <a:extLst>
                    <a:ext uri="{FF2B5EF4-FFF2-40B4-BE49-F238E27FC236}">
                      <a16:creationId xmlns:a16="http://schemas.microsoft.com/office/drawing/2014/main" id="{C3BA6494-94E1-C59D-3003-12073731B654}"/>
                    </a:ext>
                  </a:extLst>
                </p:cNvPr>
                <p:cNvSpPr/>
                <p:nvPr/>
              </p:nvSpPr>
              <p:spPr>
                <a:xfrm>
                  <a:off x="4017396" y="2414218"/>
                  <a:ext cx="482836" cy="720445"/>
                </a:xfrm>
                <a:custGeom>
                  <a:avLst/>
                  <a:gdLst>
                    <a:gd name="csX0" fmla="*/ 327952 w 482836"/>
                    <a:gd name="csY0" fmla="*/ 109552 h 720445"/>
                    <a:gd name="csX1" fmla="*/ 260819 w 482836"/>
                    <a:gd name="csY1" fmla="*/ 66397 h 720445"/>
                    <a:gd name="csX2" fmla="*/ 217664 w 482836"/>
                    <a:gd name="csY2" fmla="*/ 39537 h 720445"/>
                    <a:gd name="csX3" fmla="*/ 156709 w 482836"/>
                    <a:gd name="csY3" fmla="*/ 0 h 720445"/>
                    <a:gd name="csX4" fmla="*/ 152355 w 482836"/>
                    <a:gd name="csY4" fmla="*/ 5442 h 720445"/>
                    <a:gd name="csX5" fmla="*/ 167594 w 482836"/>
                    <a:gd name="csY5" fmla="*/ 17416 h 720445"/>
                    <a:gd name="csX6" fmla="*/ 170507 w 482836"/>
                    <a:gd name="csY6" fmla="*/ 31918 h 720445"/>
                    <a:gd name="csX7" fmla="*/ 165065 w 482836"/>
                    <a:gd name="csY7" fmla="*/ 43155 h 720445"/>
                    <a:gd name="csX8" fmla="*/ 154916 w 482836"/>
                    <a:gd name="csY8" fmla="*/ 46420 h 720445"/>
                    <a:gd name="csX9" fmla="*/ 134235 w 482836"/>
                    <a:gd name="csY9" fmla="*/ 75073 h 720445"/>
                    <a:gd name="csX10" fmla="*/ 120437 w 482836"/>
                    <a:gd name="csY10" fmla="*/ 79427 h 720445"/>
                    <a:gd name="csX11" fmla="*/ 115379 w 482836"/>
                    <a:gd name="csY11" fmla="*/ 85254 h 720445"/>
                    <a:gd name="csX12" fmla="*/ 134971 w 482836"/>
                    <a:gd name="csY12" fmla="*/ 106639 h 720445"/>
                    <a:gd name="csX13" fmla="*/ 122262 w 482836"/>
                    <a:gd name="csY13" fmla="*/ 141118 h 720445"/>
                    <a:gd name="csX14" fmla="*/ 125527 w 482836"/>
                    <a:gd name="csY14" fmla="*/ 156709 h 720445"/>
                    <a:gd name="csX15" fmla="*/ 148738 w 482836"/>
                    <a:gd name="csY15" fmla="*/ 177390 h 720445"/>
                    <a:gd name="csX16" fmla="*/ 131706 w 482836"/>
                    <a:gd name="csY16" fmla="*/ 179919 h 720445"/>
                    <a:gd name="csX17" fmla="*/ 97963 w 482836"/>
                    <a:gd name="csY17" fmla="*/ 176654 h 720445"/>
                    <a:gd name="csX18" fmla="*/ 104110 w 482836"/>
                    <a:gd name="csY18" fmla="*/ 180656 h 720445"/>
                    <a:gd name="csX19" fmla="*/ 94698 w 482836"/>
                    <a:gd name="csY19" fmla="*/ 193717 h 720445"/>
                    <a:gd name="csX20" fmla="*/ 94698 w 482836"/>
                    <a:gd name="csY20" fmla="*/ 223811 h 720445"/>
                    <a:gd name="csX21" fmla="*/ 112818 w 482836"/>
                    <a:gd name="csY21" fmla="*/ 272792 h 720445"/>
                    <a:gd name="csX22" fmla="*/ 115379 w 482836"/>
                    <a:gd name="csY22" fmla="*/ 283325 h 720445"/>
                    <a:gd name="csX23" fmla="*/ 116083 w 482836"/>
                    <a:gd name="csY23" fmla="*/ 284029 h 720445"/>
                    <a:gd name="csX24" fmla="*/ 120437 w 482836"/>
                    <a:gd name="csY24" fmla="*/ 302181 h 720445"/>
                    <a:gd name="csX25" fmla="*/ 121173 w 482836"/>
                    <a:gd name="csY25" fmla="*/ 311593 h 720445"/>
                    <a:gd name="csX26" fmla="*/ 105935 w 482836"/>
                    <a:gd name="csY26" fmla="*/ 329745 h 720445"/>
                    <a:gd name="csX27" fmla="*/ 86694 w 482836"/>
                    <a:gd name="csY27" fmla="*/ 339894 h 720445"/>
                    <a:gd name="csX28" fmla="*/ 72192 w 482836"/>
                    <a:gd name="csY28" fmla="*/ 344248 h 720445"/>
                    <a:gd name="csX29" fmla="*/ 52599 w 482836"/>
                    <a:gd name="csY29" fmla="*/ 343543 h 720445"/>
                    <a:gd name="csX30" fmla="*/ 37008 w 482836"/>
                    <a:gd name="csY30" fmla="*/ 337364 h 720445"/>
                    <a:gd name="csX31" fmla="*/ 19593 w 482836"/>
                    <a:gd name="csY31" fmla="*/ 339189 h 720445"/>
                    <a:gd name="csX32" fmla="*/ 0 w 482836"/>
                    <a:gd name="csY32" fmla="*/ 352955 h 720445"/>
                    <a:gd name="csX33" fmla="*/ 45716 w 482836"/>
                    <a:gd name="csY33" fmla="*/ 409556 h 720445"/>
                    <a:gd name="csX34" fmla="*/ 117172 w 482836"/>
                    <a:gd name="csY34" fmla="*/ 497339 h 720445"/>
                    <a:gd name="csX35" fmla="*/ 160711 w 482836"/>
                    <a:gd name="csY35" fmla="*/ 551763 h 720445"/>
                    <a:gd name="csX36" fmla="*/ 241963 w 482836"/>
                    <a:gd name="csY36" fmla="*/ 649694 h 720445"/>
                    <a:gd name="csX37" fmla="*/ 255377 w 482836"/>
                    <a:gd name="csY37" fmla="*/ 666021 h 720445"/>
                    <a:gd name="csX38" fmla="*/ 264084 w 482836"/>
                    <a:gd name="csY38" fmla="*/ 654784 h 720445"/>
                    <a:gd name="csX39" fmla="*/ 296002 w 482836"/>
                    <a:gd name="csY39" fmla="*/ 659138 h 720445"/>
                    <a:gd name="csX40" fmla="*/ 284765 w 482836"/>
                    <a:gd name="csY40" fmla="*/ 667846 h 720445"/>
                    <a:gd name="csX41" fmla="*/ 287327 w 482836"/>
                    <a:gd name="csY41" fmla="*/ 675465 h 720445"/>
                    <a:gd name="csX42" fmla="*/ 282973 w 482836"/>
                    <a:gd name="csY42" fmla="*/ 683437 h 720445"/>
                    <a:gd name="csX43" fmla="*/ 296002 w 482836"/>
                    <a:gd name="csY43" fmla="*/ 685966 h 720445"/>
                    <a:gd name="csX44" fmla="*/ 294209 w 482836"/>
                    <a:gd name="csY44" fmla="*/ 692881 h 720445"/>
                    <a:gd name="csX45" fmla="*/ 281500 w 482836"/>
                    <a:gd name="csY45" fmla="*/ 697939 h 720445"/>
                    <a:gd name="csX46" fmla="*/ 290944 w 482836"/>
                    <a:gd name="csY46" fmla="*/ 705559 h 720445"/>
                    <a:gd name="csX47" fmla="*/ 287327 w 482836"/>
                    <a:gd name="csY47" fmla="*/ 717532 h 720445"/>
                    <a:gd name="csX48" fmla="*/ 294209 w 482836"/>
                    <a:gd name="csY48" fmla="*/ 720445 h 720445"/>
                    <a:gd name="csX49" fmla="*/ 302181 w 482836"/>
                    <a:gd name="csY49" fmla="*/ 719357 h 720445"/>
                    <a:gd name="csX50" fmla="*/ 310537 w 482836"/>
                    <a:gd name="csY50" fmla="*/ 707383 h 720445"/>
                    <a:gd name="csX51" fmla="*/ 326864 w 482836"/>
                    <a:gd name="csY51" fmla="*/ 697939 h 720445"/>
                    <a:gd name="csX52" fmla="*/ 336276 w 482836"/>
                    <a:gd name="csY52" fmla="*/ 699764 h 720445"/>
                    <a:gd name="csX53" fmla="*/ 375109 w 482836"/>
                    <a:gd name="csY53" fmla="*/ 699764 h 720445"/>
                    <a:gd name="csX54" fmla="*/ 388875 w 482836"/>
                    <a:gd name="csY54" fmla="*/ 617776 h 720445"/>
                    <a:gd name="csX55" fmla="*/ 405202 w 482836"/>
                    <a:gd name="csY55" fmla="*/ 558646 h 720445"/>
                    <a:gd name="csX56" fmla="*/ 400144 w 482836"/>
                    <a:gd name="csY56" fmla="*/ 540494 h 720445"/>
                    <a:gd name="csX57" fmla="*/ 400144 w 482836"/>
                    <a:gd name="csY57" fmla="*/ 505310 h 720445"/>
                    <a:gd name="csX58" fmla="*/ 395054 w 482836"/>
                    <a:gd name="csY58" fmla="*/ 499868 h 720445"/>
                    <a:gd name="csX59" fmla="*/ 400144 w 482836"/>
                    <a:gd name="csY59" fmla="*/ 494810 h 720445"/>
                    <a:gd name="csX60" fmla="*/ 400144 w 482836"/>
                    <a:gd name="csY60" fmla="*/ 426972 h 720445"/>
                    <a:gd name="csX61" fmla="*/ 434591 w 482836"/>
                    <a:gd name="csY61" fmla="*/ 329745 h 720445"/>
                    <a:gd name="csX62" fmla="*/ 437857 w 482836"/>
                    <a:gd name="csY62" fmla="*/ 314154 h 720445"/>
                    <a:gd name="csX63" fmla="*/ 478483 w 482836"/>
                    <a:gd name="csY63" fmla="*/ 228164 h 720445"/>
                    <a:gd name="csX64" fmla="*/ 475954 w 482836"/>
                    <a:gd name="csY64" fmla="*/ 225635 h 720445"/>
                    <a:gd name="csX65" fmla="*/ 482837 w 482836"/>
                    <a:gd name="csY65" fmla="*/ 204954 h 720445"/>
                    <a:gd name="csX66" fmla="*/ 478483 w 482836"/>
                    <a:gd name="csY66" fmla="*/ 202425 h 720445"/>
                    <a:gd name="csX67" fmla="*/ 471600 w 482836"/>
                    <a:gd name="csY67" fmla="*/ 193717 h 720445"/>
                    <a:gd name="csX68" fmla="*/ 452743 w 482836"/>
                    <a:gd name="csY68" fmla="*/ 188627 h 720445"/>
                    <a:gd name="csX69" fmla="*/ 327952 w 482836"/>
                    <a:gd name="csY69" fmla="*/ 109552 h 7204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</a:cxnLst>
                  <a:rect l="l" t="t" r="r" b="b"/>
                  <a:pathLst>
                    <a:path w="482836" h="720445">
                      <a:moveTo>
                        <a:pt x="327952" y="109552"/>
                      </a:moveTo>
                      <a:lnTo>
                        <a:pt x="260819" y="66397"/>
                      </a:lnTo>
                      <a:lnTo>
                        <a:pt x="217664" y="39537"/>
                      </a:lnTo>
                      <a:lnTo>
                        <a:pt x="156709" y="0"/>
                      </a:lnTo>
                      <a:lnTo>
                        <a:pt x="152355" y="5442"/>
                      </a:lnTo>
                      <a:lnTo>
                        <a:pt x="167594" y="17416"/>
                      </a:lnTo>
                      <a:lnTo>
                        <a:pt x="170507" y="31918"/>
                      </a:lnTo>
                      <a:lnTo>
                        <a:pt x="165065" y="43155"/>
                      </a:lnTo>
                      <a:lnTo>
                        <a:pt x="154916" y="46420"/>
                      </a:lnTo>
                      <a:lnTo>
                        <a:pt x="134235" y="75073"/>
                      </a:lnTo>
                      <a:lnTo>
                        <a:pt x="120437" y="79427"/>
                      </a:lnTo>
                      <a:lnTo>
                        <a:pt x="115379" y="85254"/>
                      </a:lnTo>
                      <a:lnTo>
                        <a:pt x="134971" y="106639"/>
                      </a:lnTo>
                      <a:lnTo>
                        <a:pt x="122262" y="141118"/>
                      </a:lnTo>
                      <a:lnTo>
                        <a:pt x="125527" y="156709"/>
                      </a:lnTo>
                      <a:lnTo>
                        <a:pt x="148738" y="177390"/>
                      </a:lnTo>
                      <a:lnTo>
                        <a:pt x="131706" y="179919"/>
                      </a:lnTo>
                      <a:lnTo>
                        <a:pt x="97963" y="176654"/>
                      </a:lnTo>
                      <a:lnTo>
                        <a:pt x="104110" y="180656"/>
                      </a:lnTo>
                      <a:lnTo>
                        <a:pt x="94698" y="193717"/>
                      </a:lnTo>
                      <a:lnTo>
                        <a:pt x="94698" y="223811"/>
                      </a:lnTo>
                      <a:lnTo>
                        <a:pt x="112818" y="272792"/>
                      </a:lnTo>
                      <a:lnTo>
                        <a:pt x="115379" y="283325"/>
                      </a:lnTo>
                      <a:lnTo>
                        <a:pt x="116083" y="284029"/>
                      </a:lnTo>
                      <a:lnTo>
                        <a:pt x="120437" y="302181"/>
                      </a:lnTo>
                      <a:lnTo>
                        <a:pt x="121173" y="311593"/>
                      </a:lnTo>
                      <a:lnTo>
                        <a:pt x="105935" y="329745"/>
                      </a:lnTo>
                      <a:lnTo>
                        <a:pt x="86694" y="339894"/>
                      </a:lnTo>
                      <a:lnTo>
                        <a:pt x="72192" y="344248"/>
                      </a:lnTo>
                      <a:lnTo>
                        <a:pt x="52599" y="343543"/>
                      </a:lnTo>
                      <a:lnTo>
                        <a:pt x="37008" y="337364"/>
                      </a:lnTo>
                      <a:lnTo>
                        <a:pt x="19593" y="339189"/>
                      </a:lnTo>
                      <a:lnTo>
                        <a:pt x="0" y="352955"/>
                      </a:lnTo>
                      <a:lnTo>
                        <a:pt x="45716" y="409556"/>
                      </a:lnTo>
                      <a:lnTo>
                        <a:pt x="117172" y="497339"/>
                      </a:lnTo>
                      <a:lnTo>
                        <a:pt x="160711" y="551763"/>
                      </a:lnTo>
                      <a:lnTo>
                        <a:pt x="241963" y="649694"/>
                      </a:lnTo>
                      <a:lnTo>
                        <a:pt x="255377" y="666021"/>
                      </a:lnTo>
                      <a:lnTo>
                        <a:pt x="264084" y="654784"/>
                      </a:lnTo>
                      <a:lnTo>
                        <a:pt x="296002" y="659138"/>
                      </a:lnTo>
                      <a:lnTo>
                        <a:pt x="284765" y="667846"/>
                      </a:lnTo>
                      <a:lnTo>
                        <a:pt x="287327" y="675465"/>
                      </a:lnTo>
                      <a:lnTo>
                        <a:pt x="282973" y="683437"/>
                      </a:lnTo>
                      <a:lnTo>
                        <a:pt x="296002" y="685966"/>
                      </a:lnTo>
                      <a:lnTo>
                        <a:pt x="294209" y="692881"/>
                      </a:lnTo>
                      <a:lnTo>
                        <a:pt x="281500" y="697939"/>
                      </a:lnTo>
                      <a:lnTo>
                        <a:pt x="290944" y="705559"/>
                      </a:lnTo>
                      <a:lnTo>
                        <a:pt x="287327" y="717532"/>
                      </a:lnTo>
                      <a:lnTo>
                        <a:pt x="294209" y="720445"/>
                      </a:lnTo>
                      <a:lnTo>
                        <a:pt x="302181" y="719357"/>
                      </a:lnTo>
                      <a:lnTo>
                        <a:pt x="310537" y="707383"/>
                      </a:lnTo>
                      <a:lnTo>
                        <a:pt x="326864" y="697939"/>
                      </a:lnTo>
                      <a:lnTo>
                        <a:pt x="336276" y="699764"/>
                      </a:lnTo>
                      <a:lnTo>
                        <a:pt x="375109" y="699764"/>
                      </a:lnTo>
                      <a:lnTo>
                        <a:pt x="388875" y="617776"/>
                      </a:lnTo>
                      <a:lnTo>
                        <a:pt x="405202" y="558646"/>
                      </a:lnTo>
                      <a:lnTo>
                        <a:pt x="400144" y="540494"/>
                      </a:lnTo>
                      <a:lnTo>
                        <a:pt x="400144" y="505310"/>
                      </a:lnTo>
                      <a:lnTo>
                        <a:pt x="395054" y="499868"/>
                      </a:lnTo>
                      <a:lnTo>
                        <a:pt x="400144" y="494810"/>
                      </a:lnTo>
                      <a:lnTo>
                        <a:pt x="400144" y="426972"/>
                      </a:lnTo>
                      <a:lnTo>
                        <a:pt x="434591" y="329745"/>
                      </a:lnTo>
                      <a:lnTo>
                        <a:pt x="437857" y="314154"/>
                      </a:lnTo>
                      <a:lnTo>
                        <a:pt x="478483" y="228164"/>
                      </a:lnTo>
                      <a:lnTo>
                        <a:pt x="475954" y="225635"/>
                      </a:lnTo>
                      <a:lnTo>
                        <a:pt x="482837" y="204954"/>
                      </a:lnTo>
                      <a:lnTo>
                        <a:pt x="478483" y="202425"/>
                      </a:lnTo>
                      <a:lnTo>
                        <a:pt x="471600" y="193717"/>
                      </a:lnTo>
                      <a:lnTo>
                        <a:pt x="452743" y="188627"/>
                      </a:lnTo>
                      <a:lnTo>
                        <a:pt x="327952" y="10955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C1B46436-5F29-2491-DBDE-53AB0B79615B}"/>
                    </a:ext>
                  </a:extLst>
                </p:cNvPr>
                <p:cNvSpPr/>
                <p:nvPr/>
              </p:nvSpPr>
              <p:spPr>
                <a:xfrm>
                  <a:off x="4017396" y="2414218"/>
                  <a:ext cx="482836" cy="720445"/>
                </a:xfrm>
                <a:custGeom>
                  <a:avLst/>
                  <a:gdLst>
                    <a:gd name="csX0" fmla="*/ 327952 w 482836"/>
                    <a:gd name="csY0" fmla="*/ 109552 h 720445"/>
                    <a:gd name="csX1" fmla="*/ 260819 w 482836"/>
                    <a:gd name="csY1" fmla="*/ 66397 h 720445"/>
                    <a:gd name="csX2" fmla="*/ 217664 w 482836"/>
                    <a:gd name="csY2" fmla="*/ 39537 h 720445"/>
                    <a:gd name="csX3" fmla="*/ 156709 w 482836"/>
                    <a:gd name="csY3" fmla="*/ 0 h 720445"/>
                    <a:gd name="csX4" fmla="*/ 152355 w 482836"/>
                    <a:gd name="csY4" fmla="*/ 5442 h 720445"/>
                    <a:gd name="csX5" fmla="*/ 167594 w 482836"/>
                    <a:gd name="csY5" fmla="*/ 17416 h 720445"/>
                    <a:gd name="csX6" fmla="*/ 170507 w 482836"/>
                    <a:gd name="csY6" fmla="*/ 31918 h 720445"/>
                    <a:gd name="csX7" fmla="*/ 165065 w 482836"/>
                    <a:gd name="csY7" fmla="*/ 43155 h 720445"/>
                    <a:gd name="csX8" fmla="*/ 154916 w 482836"/>
                    <a:gd name="csY8" fmla="*/ 46420 h 720445"/>
                    <a:gd name="csX9" fmla="*/ 134235 w 482836"/>
                    <a:gd name="csY9" fmla="*/ 75073 h 720445"/>
                    <a:gd name="csX10" fmla="*/ 120437 w 482836"/>
                    <a:gd name="csY10" fmla="*/ 79427 h 720445"/>
                    <a:gd name="csX11" fmla="*/ 115379 w 482836"/>
                    <a:gd name="csY11" fmla="*/ 85254 h 720445"/>
                    <a:gd name="csX12" fmla="*/ 134971 w 482836"/>
                    <a:gd name="csY12" fmla="*/ 106639 h 720445"/>
                    <a:gd name="csX13" fmla="*/ 122262 w 482836"/>
                    <a:gd name="csY13" fmla="*/ 141118 h 720445"/>
                    <a:gd name="csX14" fmla="*/ 125527 w 482836"/>
                    <a:gd name="csY14" fmla="*/ 156709 h 720445"/>
                    <a:gd name="csX15" fmla="*/ 148738 w 482836"/>
                    <a:gd name="csY15" fmla="*/ 177390 h 720445"/>
                    <a:gd name="csX16" fmla="*/ 131706 w 482836"/>
                    <a:gd name="csY16" fmla="*/ 179919 h 720445"/>
                    <a:gd name="csX17" fmla="*/ 97963 w 482836"/>
                    <a:gd name="csY17" fmla="*/ 176654 h 720445"/>
                    <a:gd name="csX18" fmla="*/ 104110 w 482836"/>
                    <a:gd name="csY18" fmla="*/ 180656 h 720445"/>
                    <a:gd name="csX19" fmla="*/ 94698 w 482836"/>
                    <a:gd name="csY19" fmla="*/ 193717 h 720445"/>
                    <a:gd name="csX20" fmla="*/ 94698 w 482836"/>
                    <a:gd name="csY20" fmla="*/ 223811 h 720445"/>
                    <a:gd name="csX21" fmla="*/ 112818 w 482836"/>
                    <a:gd name="csY21" fmla="*/ 272792 h 720445"/>
                    <a:gd name="csX22" fmla="*/ 115379 w 482836"/>
                    <a:gd name="csY22" fmla="*/ 283325 h 720445"/>
                    <a:gd name="csX23" fmla="*/ 116083 w 482836"/>
                    <a:gd name="csY23" fmla="*/ 284029 h 720445"/>
                    <a:gd name="csX24" fmla="*/ 120437 w 482836"/>
                    <a:gd name="csY24" fmla="*/ 302181 h 720445"/>
                    <a:gd name="csX25" fmla="*/ 121173 w 482836"/>
                    <a:gd name="csY25" fmla="*/ 311593 h 720445"/>
                    <a:gd name="csX26" fmla="*/ 105935 w 482836"/>
                    <a:gd name="csY26" fmla="*/ 329745 h 720445"/>
                    <a:gd name="csX27" fmla="*/ 86694 w 482836"/>
                    <a:gd name="csY27" fmla="*/ 339894 h 720445"/>
                    <a:gd name="csX28" fmla="*/ 72192 w 482836"/>
                    <a:gd name="csY28" fmla="*/ 344248 h 720445"/>
                    <a:gd name="csX29" fmla="*/ 52599 w 482836"/>
                    <a:gd name="csY29" fmla="*/ 343543 h 720445"/>
                    <a:gd name="csX30" fmla="*/ 37008 w 482836"/>
                    <a:gd name="csY30" fmla="*/ 337364 h 720445"/>
                    <a:gd name="csX31" fmla="*/ 19593 w 482836"/>
                    <a:gd name="csY31" fmla="*/ 339189 h 720445"/>
                    <a:gd name="csX32" fmla="*/ 0 w 482836"/>
                    <a:gd name="csY32" fmla="*/ 352955 h 720445"/>
                    <a:gd name="csX33" fmla="*/ 45716 w 482836"/>
                    <a:gd name="csY33" fmla="*/ 409556 h 720445"/>
                    <a:gd name="csX34" fmla="*/ 117172 w 482836"/>
                    <a:gd name="csY34" fmla="*/ 497339 h 720445"/>
                    <a:gd name="csX35" fmla="*/ 160711 w 482836"/>
                    <a:gd name="csY35" fmla="*/ 551763 h 720445"/>
                    <a:gd name="csX36" fmla="*/ 241963 w 482836"/>
                    <a:gd name="csY36" fmla="*/ 649694 h 720445"/>
                    <a:gd name="csX37" fmla="*/ 255377 w 482836"/>
                    <a:gd name="csY37" fmla="*/ 666021 h 720445"/>
                    <a:gd name="csX38" fmla="*/ 264084 w 482836"/>
                    <a:gd name="csY38" fmla="*/ 654784 h 720445"/>
                    <a:gd name="csX39" fmla="*/ 296002 w 482836"/>
                    <a:gd name="csY39" fmla="*/ 659138 h 720445"/>
                    <a:gd name="csX40" fmla="*/ 284765 w 482836"/>
                    <a:gd name="csY40" fmla="*/ 667846 h 720445"/>
                    <a:gd name="csX41" fmla="*/ 287327 w 482836"/>
                    <a:gd name="csY41" fmla="*/ 675465 h 720445"/>
                    <a:gd name="csX42" fmla="*/ 282973 w 482836"/>
                    <a:gd name="csY42" fmla="*/ 683437 h 720445"/>
                    <a:gd name="csX43" fmla="*/ 296002 w 482836"/>
                    <a:gd name="csY43" fmla="*/ 685966 h 720445"/>
                    <a:gd name="csX44" fmla="*/ 294209 w 482836"/>
                    <a:gd name="csY44" fmla="*/ 692881 h 720445"/>
                    <a:gd name="csX45" fmla="*/ 281500 w 482836"/>
                    <a:gd name="csY45" fmla="*/ 697939 h 720445"/>
                    <a:gd name="csX46" fmla="*/ 290944 w 482836"/>
                    <a:gd name="csY46" fmla="*/ 705559 h 720445"/>
                    <a:gd name="csX47" fmla="*/ 287327 w 482836"/>
                    <a:gd name="csY47" fmla="*/ 717532 h 720445"/>
                    <a:gd name="csX48" fmla="*/ 294209 w 482836"/>
                    <a:gd name="csY48" fmla="*/ 720445 h 720445"/>
                    <a:gd name="csX49" fmla="*/ 302181 w 482836"/>
                    <a:gd name="csY49" fmla="*/ 719357 h 720445"/>
                    <a:gd name="csX50" fmla="*/ 310537 w 482836"/>
                    <a:gd name="csY50" fmla="*/ 707383 h 720445"/>
                    <a:gd name="csX51" fmla="*/ 326864 w 482836"/>
                    <a:gd name="csY51" fmla="*/ 697939 h 720445"/>
                    <a:gd name="csX52" fmla="*/ 336276 w 482836"/>
                    <a:gd name="csY52" fmla="*/ 699764 h 720445"/>
                    <a:gd name="csX53" fmla="*/ 375109 w 482836"/>
                    <a:gd name="csY53" fmla="*/ 699764 h 720445"/>
                    <a:gd name="csX54" fmla="*/ 388875 w 482836"/>
                    <a:gd name="csY54" fmla="*/ 617776 h 720445"/>
                    <a:gd name="csX55" fmla="*/ 405202 w 482836"/>
                    <a:gd name="csY55" fmla="*/ 558646 h 720445"/>
                    <a:gd name="csX56" fmla="*/ 400144 w 482836"/>
                    <a:gd name="csY56" fmla="*/ 540494 h 720445"/>
                    <a:gd name="csX57" fmla="*/ 400144 w 482836"/>
                    <a:gd name="csY57" fmla="*/ 505310 h 720445"/>
                    <a:gd name="csX58" fmla="*/ 395054 w 482836"/>
                    <a:gd name="csY58" fmla="*/ 499868 h 720445"/>
                    <a:gd name="csX59" fmla="*/ 400144 w 482836"/>
                    <a:gd name="csY59" fmla="*/ 494810 h 720445"/>
                    <a:gd name="csX60" fmla="*/ 400144 w 482836"/>
                    <a:gd name="csY60" fmla="*/ 426972 h 720445"/>
                    <a:gd name="csX61" fmla="*/ 434591 w 482836"/>
                    <a:gd name="csY61" fmla="*/ 329745 h 720445"/>
                    <a:gd name="csX62" fmla="*/ 437857 w 482836"/>
                    <a:gd name="csY62" fmla="*/ 314154 h 720445"/>
                    <a:gd name="csX63" fmla="*/ 478483 w 482836"/>
                    <a:gd name="csY63" fmla="*/ 228164 h 720445"/>
                    <a:gd name="csX64" fmla="*/ 475954 w 482836"/>
                    <a:gd name="csY64" fmla="*/ 225635 h 720445"/>
                    <a:gd name="csX65" fmla="*/ 482837 w 482836"/>
                    <a:gd name="csY65" fmla="*/ 204954 h 720445"/>
                    <a:gd name="csX66" fmla="*/ 478483 w 482836"/>
                    <a:gd name="csY66" fmla="*/ 202425 h 720445"/>
                    <a:gd name="csX67" fmla="*/ 471600 w 482836"/>
                    <a:gd name="csY67" fmla="*/ 193717 h 720445"/>
                    <a:gd name="csX68" fmla="*/ 452743 w 482836"/>
                    <a:gd name="csY68" fmla="*/ 188627 h 720445"/>
                    <a:gd name="csX69" fmla="*/ 327952 w 482836"/>
                    <a:gd name="csY69" fmla="*/ 109552 h 7204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</a:cxnLst>
                  <a:rect l="l" t="t" r="r" b="b"/>
                  <a:pathLst>
                    <a:path w="482836" h="720445">
                      <a:moveTo>
                        <a:pt x="327952" y="109552"/>
                      </a:moveTo>
                      <a:lnTo>
                        <a:pt x="260819" y="66397"/>
                      </a:lnTo>
                      <a:lnTo>
                        <a:pt x="217664" y="39537"/>
                      </a:lnTo>
                      <a:lnTo>
                        <a:pt x="156709" y="0"/>
                      </a:lnTo>
                      <a:lnTo>
                        <a:pt x="152355" y="5442"/>
                      </a:lnTo>
                      <a:lnTo>
                        <a:pt x="167594" y="17416"/>
                      </a:lnTo>
                      <a:lnTo>
                        <a:pt x="170507" y="31918"/>
                      </a:lnTo>
                      <a:lnTo>
                        <a:pt x="165065" y="43155"/>
                      </a:lnTo>
                      <a:lnTo>
                        <a:pt x="154916" y="46420"/>
                      </a:lnTo>
                      <a:lnTo>
                        <a:pt x="134235" y="75073"/>
                      </a:lnTo>
                      <a:lnTo>
                        <a:pt x="120437" y="79427"/>
                      </a:lnTo>
                      <a:lnTo>
                        <a:pt x="115379" y="85254"/>
                      </a:lnTo>
                      <a:lnTo>
                        <a:pt x="134971" y="106639"/>
                      </a:lnTo>
                      <a:lnTo>
                        <a:pt x="122262" y="141118"/>
                      </a:lnTo>
                      <a:lnTo>
                        <a:pt x="125527" y="156709"/>
                      </a:lnTo>
                      <a:lnTo>
                        <a:pt x="148738" y="177390"/>
                      </a:lnTo>
                      <a:lnTo>
                        <a:pt x="131706" y="179919"/>
                      </a:lnTo>
                      <a:lnTo>
                        <a:pt x="97963" y="176654"/>
                      </a:lnTo>
                      <a:lnTo>
                        <a:pt x="104110" y="180656"/>
                      </a:lnTo>
                      <a:lnTo>
                        <a:pt x="94698" y="193717"/>
                      </a:lnTo>
                      <a:lnTo>
                        <a:pt x="94698" y="223811"/>
                      </a:lnTo>
                      <a:lnTo>
                        <a:pt x="112818" y="272792"/>
                      </a:lnTo>
                      <a:lnTo>
                        <a:pt x="115379" y="283325"/>
                      </a:lnTo>
                      <a:lnTo>
                        <a:pt x="116083" y="284029"/>
                      </a:lnTo>
                      <a:lnTo>
                        <a:pt x="120437" y="302181"/>
                      </a:lnTo>
                      <a:lnTo>
                        <a:pt x="121173" y="311593"/>
                      </a:lnTo>
                      <a:lnTo>
                        <a:pt x="105935" y="329745"/>
                      </a:lnTo>
                      <a:lnTo>
                        <a:pt x="86694" y="339894"/>
                      </a:lnTo>
                      <a:lnTo>
                        <a:pt x="72192" y="344248"/>
                      </a:lnTo>
                      <a:lnTo>
                        <a:pt x="52599" y="343543"/>
                      </a:lnTo>
                      <a:lnTo>
                        <a:pt x="37008" y="337364"/>
                      </a:lnTo>
                      <a:lnTo>
                        <a:pt x="19593" y="339189"/>
                      </a:lnTo>
                      <a:lnTo>
                        <a:pt x="0" y="352955"/>
                      </a:lnTo>
                      <a:lnTo>
                        <a:pt x="45716" y="409556"/>
                      </a:lnTo>
                      <a:lnTo>
                        <a:pt x="117172" y="497339"/>
                      </a:lnTo>
                      <a:lnTo>
                        <a:pt x="160711" y="551763"/>
                      </a:lnTo>
                      <a:lnTo>
                        <a:pt x="241963" y="649694"/>
                      </a:lnTo>
                      <a:lnTo>
                        <a:pt x="255377" y="666021"/>
                      </a:lnTo>
                      <a:lnTo>
                        <a:pt x="264084" y="654784"/>
                      </a:lnTo>
                      <a:lnTo>
                        <a:pt x="296002" y="659138"/>
                      </a:lnTo>
                      <a:lnTo>
                        <a:pt x="284765" y="667846"/>
                      </a:lnTo>
                      <a:lnTo>
                        <a:pt x="287327" y="675465"/>
                      </a:lnTo>
                      <a:lnTo>
                        <a:pt x="282973" y="683437"/>
                      </a:lnTo>
                      <a:lnTo>
                        <a:pt x="296002" y="685966"/>
                      </a:lnTo>
                      <a:lnTo>
                        <a:pt x="294209" y="692881"/>
                      </a:lnTo>
                      <a:lnTo>
                        <a:pt x="281500" y="697939"/>
                      </a:lnTo>
                      <a:lnTo>
                        <a:pt x="290944" y="705559"/>
                      </a:lnTo>
                      <a:lnTo>
                        <a:pt x="287327" y="717532"/>
                      </a:lnTo>
                      <a:lnTo>
                        <a:pt x="294209" y="720445"/>
                      </a:lnTo>
                      <a:lnTo>
                        <a:pt x="302181" y="719357"/>
                      </a:lnTo>
                      <a:lnTo>
                        <a:pt x="310537" y="707383"/>
                      </a:lnTo>
                      <a:lnTo>
                        <a:pt x="326864" y="697939"/>
                      </a:lnTo>
                      <a:lnTo>
                        <a:pt x="336276" y="699764"/>
                      </a:lnTo>
                      <a:lnTo>
                        <a:pt x="375109" y="699764"/>
                      </a:lnTo>
                      <a:lnTo>
                        <a:pt x="388875" y="617776"/>
                      </a:lnTo>
                      <a:lnTo>
                        <a:pt x="405202" y="558646"/>
                      </a:lnTo>
                      <a:lnTo>
                        <a:pt x="400144" y="540494"/>
                      </a:lnTo>
                      <a:lnTo>
                        <a:pt x="400144" y="505310"/>
                      </a:lnTo>
                      <a:lnTo>
                        <a:pt x="395054" y="499868"/>
                      </a:lnTo>
                      <a:lnTo>
                        <a:pt x="400144" y="494810"/>
                      </a:lnTo>
                      <a:lnTo>
                        <a:pt x="400144" y="426972"/>
                      </a:lnTo>
                      <a:lnTo>
                        <a:pt x="434591" y="329745"/>
                      </a:lnTo>
                      <a:lnTo>
                        <a:pt x="437857" y="314154"/>
                      </a:lnTo>
                      <a:lnTo>
                        <a:pt x="478483" y="228164"/>
                      </a:lnTo>
                      <a:lnTo>
                        <a:pt x="475954" y="225635"/>
                      </a:lnTo>
                      <a:lnTo>
                        <a:pt x="482837" y="204954"/>
                      </a:lnTo>
                      <a:lnTo>
                        <a:pt x="478483" y="202425"/>
                      </a:lnTo>
                      <a:lnTo>
                        <a:pt x="471600" y="193717"/>
                      </a:lnTo>
                      <a:lnTo>
                        <a:pt x="452743" y="188627"/>
                      </a:lnTo>
                      <a:lnTo>
                        <a:pt x="327952" y="10955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1ADC6F0F-9C24-ECEC-AA05-E7DC34311094}"/>
                    </a:ext>
                  </a:extLst>
                </p:cNvPr>
                <p:cNvSpPr/>
                <p:nvPr/>
              </p:nvSpPr>
              <p:spPr>
                <a:xfrm>
                  <a:off x="4017396" y="2414218"/>
                  <a:ext cx="482836" cy="720445"/>
                </a:xfrm>
                <a:custGeom>
                  <a:avLst/>
                  <a:gdLst>
                    <a:gd name="csX0" fmla="*/ 327952 w 482836"/>
                    <a:gd name="csY0" fmla="*/ 109552 h 720445"/>
                    <a:gd name="csX1" fmla="*/ 260819 w 482836"/>
                    <a:gd name="csY1" fmla="*/ 66397 h 720445"/>
                    <a:gd name="csX2" fmla="*/ 217664 w 482836"/>
                    <a:gd name="csY2" fmla="*/ 39537 h 720445"/>
                    <a:gd name="csX3" fmla="*/ 156709 w 482836"/>
                    <a:gd name="csY3" fmla="*/ 0 h 720445"/>
                    <a:gd name="csX4" fmla="*/ 152355 w 482836"/>
                    <a:gd name="csY4" fmla="*/ 5442 h 720445"/>
                    <a:gd name="csX5" fmla="*/ 167594 w 482836"/>
                    <a:gd name="csY5" fmla="*/ 17416 h 720445"/>
                    <a:gd name="csX6" fmla="*/ 170507 w 482836"/>
                    <a:gd name="csY6" fmla="*/ 31918 h 720445"/>
                    <a:gd name="csX7" fmla="*/ 165065 w 482836"/>
                    <a:gd name="csY7" fmla="*/ 43155 h 720445"/>
                    <a:gd name="csX8" fmla="*/ 154916 w 482836"/>
                    <a:gd name="csY8" fmla="*/ 46420 h 720445"/>
                    <a:gd name="csX9" fmla="*/ 134235 w 482836"/>
                    <a:gd name="csY9" fmla="*/ 75073 h 720445"/>
                    <a:gd name="csX10" fmla="*/ 120437 w 482836"/>
                    <a:gd name="csY10" fmla="*/ 79427 h 720445"/>
                    <a:gd name="csX11" fmla="*/ 115379 w 482836"/>
                    <a:gd name="csY11" fmla="*/ 85254 h 720445"/>
                    <a:gd name="csX12" fmla="*/ 134971 w 482836"/>
                    <a:gd name="csY12" fmla="*/ 106639 h 720445"/>
                    <a:gd name="csX13" fmla="*/ 122262 w 482836"/>
                    <a:gd name="csY13" fmla="*/ 141118 h 720445"/>
                    <a:gd name="csX14" fmla="*/ 125527 w 482836"/>
                    <a:gd name="csY14" fmla="*/ 156709 h 720445"/>
                    <a:gd name="csX15" fmla="*/ 148738 w 482836"/>
                    <a:gd name="csY15" fmla="*/ 177390 h 720445"/>
                    <a:gd name="csX16" fmla="*/ 131706 w 482836"/>
                    <a:gd name="csY16" fmla="*/ 179919 h 720445"/>
                    <a:gd name="csX17" fmla="*/ 97963 w 482836"/>
                    <a:gd name="csY17" fmla="*/ 176654 h 720445"/>
                    <a:gd name="csX18" fmla="*/ 104110 w 482836"/>
                    <a:gd name="csY18" fmla="*/ 180656 h 720445"/>
                    <a:gd name="csX19" fmla="*/ 94698 w 482836"/>
                    <a:gd name="csY19" fmla="*/ 193717 h 720445"/>
                    <a:gd name="csX20" fmla="*/ 94698 w 482836"/>
                    <a:gd name="csY20" fmla="*/ 223811 h 720445"/>
                    <a:gd name="csX21" fmla="*/ 112818 w 482836"/>
                    <a:gd name="csY21" fmla="*/ 272792 h 720445"/>
                    <a:gd name="csX22" fmla="*/ 115379 w 482836"/>
                    <a:gd name="csY22" fmla="*/ 283325 h 720445"/>
                    <a:gd name="csX23" fmla="*/ 116083 w 482836"/>
                    <a:gd name="csY23" fmla="*/ 284029 h 720445"/>
                    <a:gd name="csX24" fmla="*/ 120437 w 482836"/>
                    <a:gd name="csY24" fmla="*/ 302181 h 720445"/>
                    <a:gd name="csX25" fmla="*/ 121173 w 482836"/>
                    <a:gd name="csY25" fmla="*/ 311593 h 720445"/>
                    <a:gd name="csX26" fmla="*/ 105935 w 482836"/>
                    <a:gd name="csY26" fmla="*/ 329745 h 720445"/>
                    <a:gd name="csX27" fmla="*/ 86694 w 482836"/>
                    <a:gd name="csY27" fmla="*/ 339894 h 720445"/>
                    <a:gd name="csX28" fmla="*/ 72192 w 482836"/>
                    <a:gd name="csY28" fmla="*/ 344248 h 720445"/>
                    <a:gd name="csX29" fmla="*/ 52599 w 482836"/>
                    <a:gd name="csY29" fmla="*/ 343543 h 720445"/>
                    <a:gd name="csX30" fmla="*/ 37008 w 482836"/>
                    <a:gd name="csY30" fmla="*/ 337364 h 720445"/>
                    <a:gd name="csX31" fmla="*/ 19593 w 482836"/>
                    <a:gd name="csY31" fmla="*/ 339189 h 720445"/>
                    <a:gd name="csX32" fmla="*/ 0 w 482836"/>
                    <a:gd name="csY32" fmla="*/ 352955 h 720445"/>
                    <a:gd name="csX33" fmla="*/ 45716 w 482836"/>
                    <a:gd name="csY33" fmla="*/ 409556 h 720445"/>
                    <a:gd name="csX34" fmla="*/ 117172 w 482836"/>
                    <a:gd name="csY34" fmla="*/ 497339 h 720445"/>
                    <a:gd name="csX35" fmla="*/ 160711 w 482836"/>
                    <a:gd name="csY35" fmla="*/ 551763 h 720445"/>
                    <a:gd name="csX36" fmla="*/ 241963 w 482836"/>
                    <a:gd name="csY36" fmla="*/ 649694 h 720445"/>
                    <a:gd name="csX37" fmla="*/ 255377 w 482836"/>
                    <a:gd name="csY37" fmla="*/ 666021 h 720445"/>
                    <a:gd name="csX38" fmla="*/ 264084 w 482836"/>
                    <a:gd name="csY38" fmla="*/ 654784 h 720445"/>
                    <a:gd name="csX39" fmla="*/ 296002 w 482836"/>
                    <a:gd name="csY39" fmla="*/ 659138 h 720445"/>
                    <a:gd name="csX40" fmla="*/ 284765 w 482836"/>
                    <a:gd name="csY40" fmla="*/ 667846 h 720445"/>
                    <a:gd name="csX41" fmla="*/ 287327 w 482836"/>
                    <a:gd name="csY41" fmla="*/ 675465 h 720445"/>
                    <a:gd name="csX42" fmla="*/ 282973 w 482836"/>
                    <a:gd name="csY42" fmla="*/ 683437 h 720445"/>
                    <a:gd name="csX43" fmla="*/ 296002 w 482836"/>
                    <a:gd name="csY43" fmla="*/ 685966 h 720445"/>
                    <a:gd name="csX44" fmla="*/ 294209 w 482836"/>
                    <a:gd name="csY44" fmla="*/ 692881 h 720445"/>
                    <a:gd name="csX45" fmla="*/ 281500 w 482836"/>
                    <a:gd name="csY45" fmla="*/ 697939 h 720445"/>
                    <a:gd name="csX46" fmla="*/ 290944 w 482836"/>
                    <a:gd name="csY46" fmla="*/ 705559 h 720445"/>
                    <a:gd name="csX47" fmla="*/ 287327 w 482836"/>
                    <a:gd name="csY47" fmla="*/ 717532 h 720445"/>
                    <a:gd name="csX48" fmla="*/ 294209 w 482836"/>
                    <a:gd name="csY48" fmla="*/ 720445 h 720445"/>
                    <a:gd name="csX49" fmla="*/ 302181 w 482836"/>
                    <a:gd name="csY49" fmla="*/ 719357 h 720445"/>
                    <a:gd name="csX50" fmla="*/ 310537 w 482836"/>
                    <a:gd name="csY50" fmla="*/ 707383 h 720445"/>
                    <a:gd name="csX51" fmla="*/ 326864 w 482836"/>
                    <a:gd name="csY51" fmla="*/ 697939 h 720445"/>
                    <a:gd name="csX52" fmla="*/ 336276 w 482836"/>
                    <a:gd name="csY52" fmla="*/ 699764 h 720445"/>
                    <a:gd name="csX53" fmla="*/ 375109 w 482836"/>
                    <a:gd name="csY53" fmla="*/ 699764 h 720445"/>
                    <a:gd name="csX54" fmla="*/ 388875 w 482836"/>
                    <a:gd name="csY54" fmla="*/ 617776 h 720445"/>
                    <a:gd name="csX55" fmla="*/ 405202 w 482836"/>
                    <a:gd name="csY55" fmla="*/ 558646 h 720445"/>
                    <a:gd name="csX56" fmla="*/ 400144 w 482836"/>
                    <a:gd name="csY56" fmla="*/ 540494 h 720445"/>
                    <a:gd name="csX57" fmla="*/ 400144 w 482836"/>
                    <a:gd name="csY57" fmla="*/ 505310 h 720445"/>
                    <a:gd name="csX58" fmla="*/ 395054 w 482836"/>
                    <a:gd name="csY58" fmla="*/ 499868 h 720445"/>
                    <a:gd name="csX59" fmla="*/ 400144 w 482836"/>
                    <a:gd name="csY59" fmla="*/ 494810 h 720445"/>
                    <a:gd name="csX60" fmla="*/ 400144 w 482836"/>
                    <a:gd name="csY60" fmla="*/ 426972 h 720445"/>
                    <a:gd name="csX61" fmla="*/ 434591 w 482836"/>
                    <a:gd name="csY61" fmla="*/ 329745 h 720445"/>
                    <a:gd name="csX62" fmla="*/ 437857 w 482836"/>
                    <a:gd name="csY62" fmla="*/ 314154 h 720445"/>
                    <a:gd name="csX63" fmla="*/ 478483 w 482836"/>
                    <a:gd name="csY63" fmla="*/ 228164 h 720445"/>
                    <a:gd name="csX64" fmla="*/ 475954 w 482836"/>
                    <a:gd name="csY64" fmla="*/ 225635 h 720445"/>
                    <a:gd name="csX65" fmla="*/ 482837 w 482836"/>
                    <a:gd name="csY65" fmla="*/ 204954 h 720445"/>
                    <a:gd name="csX66" fmla="*/ 478483 w 482836"/>
                    <a:gd name="csY66" fmla="*/ 202425 h 720445"/>
                    <a:gd name="csX67" fmla="*/ 471600 w 482836"/>
                    <a:gd name="csY67" fmla="*/ 193717 h 720445"/>
                    <a:gd name="csX68" fmla="*/ 452743 w 482836"/>
                    <a:gd name="csY68" fmla="*/ 188627 h 720445"/>
                    <a:gd name="csX69" fmla="*/ 327952 w 482836"/>
                    <a:gd name="csY69" fmla="*/ 109552 h 7204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</a:cxnLst>
                  <a:rect l="l" t="t" r="r" b="b"/>
                  <a:pathLst>
                    <a:path w="482836" h="720445">
                      <a:moveTo>
                        <a:pt x="327952" y="109552"/>
                      </a:moveTo>
                      <a:lnTo>
                        <a:pt x="260819" y="66397"/>
                      </a:lnTo>
                      <a:lnTo>
                        <a:pt x="217664" y="39537"/>
                      </a:lnTo>
                      <a:lnTo>
                        <a:pt x="156709" y="0"/>
                      </a:lnTo>
                      <a:lnTo>
                        <a:pt x="152355" y="5442"/>
                      </a:lnTo>
                      <a:lnTo>
                        <a:pt x="167594" y="17416"/>
                      </a:lnTo>
                      <a:lnTo>
                        <a:pt x="170507" y="31918"/>
                      </a:lnTo>
                      <a:lnTo>
                        <a:pt x="165065" y="43155"/>
                      </a:lnTo>
                      <a:lnTo>
                        <a:pt x="154916" y="46420"/>
                      </a:lnTo>
                      <a:lnTo>
                        <a:pt x="134235" y="75073"/>
                      </a:lnTo>
                      <a:lnTo>
                        <a:pt x="120437" y="79427"/>
                      </a:lnTo>
                      <a:lnTo>
                        <a:pt x="115379" y="85254"/>
                      </a:lnTo>
                      <a:lnTo>
                        <a:pt x="134971" y="106639"/>
                      </a:lnTo>
                      <a:lnTo>
                        <a:pt x="122262" y="141118"/>
                      </a:lnTo>
                      <a:lnTo>
                        <a:pt x="125527" y="156709"/>
                      </a:lnTo>
                      <a:lnTo>
                        <a:pt x="148738" y="177390"/>
                      </a:lnTo>
                      <a:lnTo>
                        <a:pt x="131706" y="179919"/>
                      </a:lnTo>
                      <a:lnTo>
                        <a:pt x="97963" y="176654"/>
                      </a:lnTo>
                      <a:lnTo>
                        <a:pt x="104110" y="180656"/>
                      </a:lnTo>
                      <a:lnTo>
                        <a:pt x="94698" y="193717"/>
                      </a:lnTo>
                      <a:lnTo>
                        <a:pt x="94698" y="223811"/>
                      </a:lnTo>
                      <a:lnTo>
                        <a:pt x="112818" y="272792"/>
                      </a:lnTo>
                      <a:lnTo>
                        <a:pt x="115379" y="283325"/>
                      </a:lnTo>
                      <a:lnTo>
                        <a:pt x="116083" y="284029"/>
                      </a:lnTo>
                      <a:lnTo>
                        <a:pt x="120437" y="302181"/>
                      </a:lnTo>
                      <a:lnTo>
                        <a:pt x="121173" y="311593"/>
                      </a:lnTo>
                      <a:lnTo>
                        <a:pt x="105935" y="329745"/>
                      </a:lnTo>
                      <a:lnTo>
                        <a:pt x="86694" y="339894"/>
                      </a:lnTo>
                      <a:lnTo>
                        <a:pt x="72192" y="344248"/>
                      </a:lnTo>
                      <a:lnTo>
                        <a:pt x="52599" y="343543"/>
                      </a:lnTo>
                      <a:lnTo>
                        <a:pt x="37008" y="337364"/>
                      </a:lnTo>
                      <a:lnTo>
                        <a:pt x="19593" y="339189"/>
                      </a:lnTo>
                      <a:lnTo>
                        <a:pt x="0" y="352955"/>
                      </a:lnTo>
                      <a:lnTo>
                        <a:pt x="45716" y="409556"/>
                      </a:lnTo>
                      <a:lnTo>
                        <a:pt x="117172" y="497339"/>
                      </a:lnTo>
                      <a:lnTo>
                        <a:pt x="160711" y="551763"/>
                      </a:lnTo>
                      <a:lnTo>
                        <a:pt x="241963" y="649694"/>
                      </a:lnTo>
                      <a:lnTo>
                        <a:pt x="255377" y="666021"/>
                      </a:lnTo>
                      <a:lnTo>
                        <a:pt x="264084" y="654784"/>
                      </a:lnTo>
                      <a:lnTo>
                        <a:pt x="296002" y="659138"/>
                      </a:lnTo>
                      <a:lnTo>
                        <a:pt x="284765" y="667846"/>
                      </a:lnTo>
                      <a:lnTo>
                        <a:pt x="287327" y="675465"/>
                      </a:lnTo>
                      <a:lnTo>
                        <a:pt x="282973" y="683437"/>
                      </a:lnTo>
                      <a:lnTo>
                        <a:pt x="296002" y="685966"/>
                      </a:lnTo>
                      <a:lnTo>
                        <a:pt x="294209" y="692881"/>
                      </a:lnTo>
                      <a:lnTo>
                        <a:pt x="281500" y="697939"/>
                      </a:lnTo>
                      <a:lnTo>
                        <a:pt x="290944" y="705559"/>
                      </a:lnTo>
                      <a:lnTo>
                        <a:pt x="287327" y="717532"/>
                      </a:lnTo>
                      <a:lnTo>
                        <a:pt x="294209" y="720445"/>
                      </a:lnTo>
                      <a:lnTo>
                        <a:pt x="302181" y="719357"/>
                      </a:lnTo>
                      <a:lnTo>
                        <a:pt x="310537" y="707383"/>
                      </a:lnTo>
                      <a:lnTo>
                        <a:pt x="326864" y="697939"/>
                      </a:lnTo>
                      <a:lnTo>
                        <a:pt x="336276" y="699764"/>
                      </a:lnTo>
                      <a:lnTo>
                        <a:pt x="375109" y="699764"/>
                      </a:lnTo>
                      <a:lnTo>
                        <a:pt x="388875" y="617776"/>
                      </a:lnTo>
                      <a:lnTo>
                        <a:pt x="405202" y="558646"/>
                      </a:lnTo>
                      <a:lnTo>
                        <a:pt x="400144" y="540494"/>
                      </a:lnTo>
                      <a:lnTo>
                        <a:pt x="400144" y="505310"/>
                      </a:lnTo>
                      <a:lnTo>
                        <a:pt x="395054" y="499868"/>
                      </a:lnTo>
                      <a:lnTo>
                        <a:pt x="400144" y="494810"/>
                      </a:lnTo>
                      <a:lnTo>
                        <a:pt x="400144" y="426972"/>
                      </a:lnTo>
                      <a:lnTo>
                        <a:pt x="434591" y="329745"/>
                      </a:lnTo>
                      <a:lnTo>
                        <a:pt x="437857" y="314154"/>
                      </a:lnTo>
                      <a:lnTo>
                        <a:pt x="478483" y="228164"/>
                      </a:lnTo>
                      <a:lnTo>
                        <a:pt x="475954" y="225635"/>
                      </a:lnTo>
                      <a:lnTo>
                        <a:pt x="482837" y="204954"/>
                      </a:lnTo>
                      <a:lnTo>
                        <a:pt x="478483" y="202425"/>
                      </a:lnTo>
                      <a:lnTo>
                        <a:pt x="471600" y="193717"/>
                      </a:lnTo>
                      <a:lnTo>
                        <a:pt x="452743" y="188627"/>
                      </a:lnTo>
                      <a:lnTo>
                        <a:pt x="327952" y="10955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6D12ADF8-247F-C950-4C51-D6EAACC08DC5}"/>
                    </a:ext>
                  </a:extLst>
                </p:cNvPr>
                <p:cNvSpPr/>
                <p:nvPr/>
              </p:nvSpPr>
              <p:spPr>
                <a:xfrm>
                  <a:off x="2248586" y="5134904"/>
                  <a:ext cx="272087" cy="387050"/>
                </a:xfrm>
                <a:custGeom>
                  <a:avLst/>
                  <a:gdLst>
                    <a:gd name="csX0" fmla="*/ 93961 w 272087"/>
                    <a:gd name="csY0" fmla="*/ 11973 h 387050"/>
                    <a:gd name="csX1" fmla="*/ 97227 w 272087"/>
                    <a:gd name="csY1" fmla="*/ 5795 h 387050"/>
                    <a:gd name="csX2" fmla="*/ 81988 w 272087"/>
                    <a:gd name="csY2" fmla="*/ 0 h 387050"/>
                    <a:gd name="csX3" fmla="*/ 71487 w 272087"/>
                    <a:gd name="csY3" fmla="*/ 17032 h 387050"/>
                    <a:gd name="csX4" fmla="*/ 90344 w 272087"/>
                    <a:gd name="csY4" fmla="*/ 29005 h 387050"/>
                    <a:gd name="csX5" fmla="*/ 86342 w 272087"/>
                    <a:gd name="csY5" fmla="*/ 33359 h 387050"/>
                    <a:gd name="csX6" fmla="*/ 90344 w 272087"/>
                    <a:gd name="csY6" fmla="*/ 37712 h 387050"/>
                    <a:gd name="csX7" fmla="*/ 81988 w 272087"/>
                    <a:gd name="csY7" fmla="*/ 42803 h 387050"/>
                    <a:gd name="csX8" fmla="*/ 77634 w 272087"/>
                    <a:gd name="csY8" fmla="*/ 53303 h 387050"/>
                    <a:gd name="csX9" fmla="*/ 56953 w 272087"/>
                    <a:gd name="csY9" fmla="*/ 57657 h 387050"/>
                    <a:gd name="csX10" fmla="*/ 61307 w 272087"/>
                    <a:gd name="csY10" fmla="*/ 69631 h 387050"/>
                    <a:gd name="csX11" fmla="*/ 56953 w 272087"/>
                    <a:gd name="csY11" fmla="*/ 75809 h 387050"/>
                    <a:gd name="csX12" fmla="*/ 62043 w 272087"/>
                    <a:gd name="csY12" fmla="*/ 76546 h 387050"/>
                    <a:gd name="csX13" fmla="*/ 64572 w 272087"/>
                    <a:gd name="csY13" fmla="*/ 87783 h 387050"/>
                    <a:gd name="csX14" fmla="*/ 60219 w 272087"/>
                    <a:gd name="csY14" fmla="*/ 93577 h 387050"/>
                    <a:gd name="csX15" fmla="*/ 51895 w 272087"/>
                    <a:gd name="csY15" fmla="*/ 94666 h 387050"/>
                    <a:gd name="csX16" fmla="*/ 40658 w 272087"/>
                    <a:gd name="csY16" fmla="*/ 96106 h 387050"/>
                    <a:gd name="csX17" fmla="*/ 31214 w 272087"/>
                    <a:gd name="csY17" fmla="*/ 88487 h 387050"/>
                    <a:gd name="csX18" fmla="*/ 11973 w 272087"/>
                    <a:gd name="csY18" fmla="*/ 99756 h 387050"/>
                    <a:gd name="csX19" fmla="*/ 9444 w 272087"/>
                    <a:gd name="csY19" fmla="*/ 113522 h 387050"/>
                    <a:gd name="csX20" fmla="*/ 2561 w 272087"/>
                    <a:gd name="csY20" fmla="*/ 121141 h 387050"/>
                    <a:gd name="csX21" fmla="*/ 0 w 272087"/>
                    <a:gd name="csY21" fmla="*/ 128056 h 387050"/>
                    <a:gd name="csX22" fmla="*/ 4354 w 272087"/>
                    <a:gd name="csY22" fmla="*/ 127320 h 387050"/>
                    <a:gd name="csX23" fmla="*/ 8004 w 272087"/>
                    <a:gd name="csY23" fmla="*/ 136764 h 387050"/>
                    <a:gd name="csX24" fmla="*/ 6915 w 272087"/>
                    <a:gd name="csY24" fmla="*/ 158149 h 387050"/>
                    <a:gd name="csX25" fmla="*/ 11973 w 272087"/>
                    <a:gd name="csY25" fmla="*/ 159974 h 387050"/>
                    <a:gd name="csX26" fmla="*/ 13062 w 272087"/>
                    <a:gd name="csY26" fmla="*/ 174477 h 387050"/>
                    <a:gd name="csX27" fmla="*/ 17416 w 272087"/>
                    <a:gd name="csY27" fmla="*/ 177006 h 387050"/>
                    <a:gd name="csX28" fmla="*/ 16327 w 272087"/>
                    <a:gd name="csY28" fmla="*/ 190804 h 387050"/>
                    <a:gd name="csX29" fmla="*/ 23242 w 272087"/>
                    <a:gd name="csY29" fmla="*/ 193333 h 387050"/>
                    <a:gd name="csX30" fmla="*/ 25035 w 272087"/>
                    <a:gd name="csY30" fmla="*/ 214014 h 387050"/>
                    <a:gd name="csX31" fmla="*/ 34479 w 272087"/>
                    <a:gd name="csY31" fmla="*/ 205658 h 387050"/>
                    <a:gd name="csX32" fmla="*/ 56953 w 272087"/>
                    <a:gd name="csY32" fmla="*/ 226340 h 387050"/>
                    <a:gd name="csX33" fmla="*/ 61307 w 272087"/>
                    <a:gd name="csY33" fmla="*/ 237225 h 387050"/>
                    <a:gd name="csX34" fmla="*/ 56953 w 272087"/>
                    <a:gd name="csY34" fmla="*/ 240874 h 387050"/>
                    <a:gd name="csX35" fmla="*/ 57689 w 272087"/>
                    <a:gd name="csY35" fmla="*/ 250286 h 387050"/>
                    <a:gd name="csX36" fmla="*/ 68926 w 272087"/>
                    <a:gd name="csY36" fmla="*/ 259730 h 387050"/>
                    <a:gd name="csX37" fmla="*/ 62780 w 272087"/>
                    <a:gd name="csY37" fmla="*/ 264084 h 387050"/>
                    <a:gd name="csX38" fmla="*/ 64572 w 272087"/>
                    <a:gd name="csY38" fmla="*/ 278586 h 387050"/>
                    <a:gd name="csX39" fmla="*/ 58778 w 272087"/>
                    <a:gd name="csY39" fmla="*/ 294177 h 387050"/>
                    <a:gd name="csX40" fmla="*/ 62043 w 272087"/>
                    <a:gd name="csY40" fmla="*/ 302885 h 387050"/>
                    <a:gd name="csX41" fmla="*/ 56953 w 272087"/>
                    <a:gd name="csY41" fmla="*/ 324303 h 387050"/>
                    <a:gd name="csX42" fmla="*/ 52599 w 272087"/>
                    <a:gd name="csY42" fmla="*/ 329361 h 387050"/>
                    <a:gd name="csX43" fmla="*/ 60219 w 272087"/>
                    <a:gd name="csY43" fmla="*/ 345688 h 387050"/>
                    <a:gd name="csX44" fmla="*/ 45716 w 272087"/>
                    <a:gd name="csY44" fmla="*/ 354396 h 387050"/>
                    <a:gd name="csX45" fmla="*/ 56953 w 272087"/>
                    <a:gd name="csY45" fmla="*/ 354396 h 387050"/>
                    <a:gd name="csX46" fmla="*/ 68926 w 272087"/>
                    <a:gd name="csY46" fmla="*/ 377606 h 387050"/>
                    <a:gd name="csX47" fmla="*/ 82724 w 272087"/>
                    <a:gd name="csY47" fmla="*/ 387050 h 387050"/>
                    <a:gd name="csX48" fmla="*/ 100844 w 272087"/>
                    <a:gd name="csY48" fmla="*/ 374341 h 387050"/>
                    <a:gd name="csX49" fmla="*/ 101581 w 272087"/>
                    <a:gd name="csY49" fmla="*/ 366369 h 387050"/>
                    <a:gd name="csX50" fmla="*/ 110289 w 272087"/>
                    <a:gd name="csY50" fmla="*/ 368898 h 387050"/>
                    <a:gd name="csX51" fmla="*/ 106671 w 272087"/>
                    <a:gd name="csY51" fmla="*/ 343159 h 387050"/>
                    <a:gd name="csX52" fmla="*/ 115379 w 272087"/>
                    <a:gd name="csY52" fmla="*/ 340630 h 387050"/>
                    <a:gd name="csX53" fmla="*/ 122262 w 272087"/>
                    <a:gd name="csY53" fmla="*/ 348249 h 387050"/>
                    <a:gd name="csX54" fmla="*/ 133499 w 272087"/>
                    <a:gd name="csY54" fmla="*/ 340630 h 387050"/>
                    <a:gd name="csX55" fmla="*/ 137853 w 272087"/>
                    <a:gd name="csY55" fmla="*/ 345688 h 387050"/>
                    <a:gd name="csX56" fmla="*/ 145472 w 272087"/>
                    <a:gd name="csY56" fmla="*/ 343159 h 387050"/>
                    <a:gd name="csX57" fmla="*/ 150562 w 272087"/>
                    <a:gd name="csY57" fmla="*/ 346777 h 387050"/>
                    <a:gd name="csX58" fmla="*/ 152387 w 272087"/>
                    <a:gd name="csY58" fmla="*/ 356221 h 387050"/>
                    <a:gd name="csX59" fmla="*/ 160359 w 272087"/>
                    <a:gd name="csY59" fmla="*/ 358750 h 387050"/>
                    <a:gd name="csX60" fmla="*/ 167978 w 272087"/>
                    <a:gd name="csY60" fmla="*/ 342423 h 387050"/>
                    <a:gd name="csX61" fmla="*/ 181744 w 272087"/>
                    <a:gd name="csY61" fmla="*/ 345688 h 387050"/>
                    <a:gd name="csX62" fmla="*/ 189363 w 272087"/>
                    <a:gd name="csY62" fmla="*/ 340630 h 387050"/>
                    <a:gd name="csX63" fmla="*/ 204250 w 272087"/>
                    <a:gd name="csY63" fmla="*/ 341334 h 387050"/>
                    <a:gd name="csX64" fmla="*/ 206779 w 272087"/>
                    <a:gd name="csY64" fmla="*/ 333715 h 387050"/>
                    <a:gd name="csX65" fmla="*/ 183569 w 272087"/>
                    <a:gd name="csY65" fmla="*/ 307239 h 387050"/>
                    <a:gd name="csX66" fmla="*/ 186834 w 272087"/>
                    <a:gd name="csY66" fmla="*/ 294177 h 387050"/>
                    <a:gd name="csX67" fmla="*/ 193013 w 272087"/>
                    <a:gd name="csY67" fmla="*/ 282940 h 387050"/>
                    <a:gd name="csX68" fmla="*/ 198808 w 272087"/>
                    <a:gd name="csY68" fmla="*/ 282940 h 387050"/>
                    <a:gd name="csX69" fmla="*/ 205691 w 272087"/>
                    <a:gd name="csY69" fmla="*/ 288031 h 387050"/>
                    <a:gd name="csX70" fmla="*/ 208220 w 272087"/>
                    <a:gd name="csY70" fmla="*/ 300356 h 387050"/>
                    <a:gd name="csX71" fmla="*/ 213662 w 272087"/>
                    <a:gd name="csY71" fmla="*/ 300356 h 387050"/>
                    <a:gd name="csX72" fmla="*/ 226372 w 272087"/>
                    <a:gd name="csY72" fmla="*/ 284765 h 387050"/>
                    <a:gd name="csX73" fmla="*/ 219489 w 272087"/>
                    <a:gd name="csY73" fmla="*/ 279675 h 387050"/>
                    <a:gd name="csX74" fmla="*/ 223843 w 272087"/>
                    <a:gd name="csY74" fmla="*/ 264084 h 387050"/>
                    <a:gd name="csX75" fmla="*/ 216928 w 272087"/>
                    <a:gd name="csY75" fmla="*/ 255376 h 387050"/>
                    <a:gd name="csX76" fmla="*/ 218016 w 272087"/>
                    <a:gd name="csY76" fmla="*/ 247757 h 387050"/>
                    <a:gd name="csX77" fmla="*/ 226372 w 272087"/>
                    <a:gd name="csY77" fmla="*/ 247757 h 387050"/>
                    <a:gd name="csX78" fmla="*/ 241258 w 272087"/>
                    <a:gd name="csY78" fmla="*/ 236520 h 387050"/>
                    <a:gd name="csX79" fmla="*/ 246316 w 272087"/>
                    <a:gd name="csY79" fmla="*/ 227076 h 387050"/>
                    <a:gd name="csX80" fmla="*/ 245228 w 272087"/>
                    <a:gd name="csY80" fmla="*/ 215103 h 387050"/>
                    <a:gd name="csX81" fmla="*/ 226372 w 272087"/>
                    <a:gd name="csY81" fmla="*/ 213278 h 387050"/>
                    <a:gd name="csX82" fmla="*/ 214398 w 272087"/>
                    <a:gd name="csY82" fmla="*/ 204570 h 387050"/>
                    <a:gd name="csX83" fmla="*/ 212574 w 272087"/>
                    <a:gd name="csY83" fmla="*/ 178094 h 387050"/>
                    <a:gd name="csX84" fmla="*/ 191925 w 272087"/>
                    <a:gd name="csY84" fmla="*/ 167594 h 387050"/>
                    <a:gd name="csX85" fmla="*/ 193013 w 272087"/>
                    <a:gd name="csY85" fmla="*/ 158149 h 387050"/>
                    <a:gd name="csX86" fmla="*/ 202425 w 272087"/>
                    <a:gd name="csY86" fmla="*/ 148737 h 387050"/>
                    <a:gd name="csX87" fmla="*/ 202425 w 272087"/>
                    <a:gd name="csY87" fmla="*/ 140030 h 387050"/>
                    <a:gd name="csX88" fmla="*/ 196278 w 272087"/>
                    <a:gd name="csY88" fmla="*/ 133114 h 387050"/>
                    <a:gd name="csX89" fmla="*/ 196278 w 272087"/>
                    <a:gd name="csY89" fmla="*/ 128056 h 387050"/>
                    <a:gd name="csX90" fmla="*/ 206779 w 272087"/>
                    <a:gd name="csY90" fmla="*/ 114258 h 387050"/>
                    <a:gd name="csX91" fmla="*/ 215135 w 272087"/>
                    <a:gd name="csY91" fmla="*/ 113522 h 387050"/>
                    <a:gd name="csX92" fmla="*/ 229989 w 272087"/>
                    <a:gd name="csY92" fmla="*/ 102285 h 387050"/>
                    <a:gd name="csX93" fmla="*/ 242699 w 272087"/>
                    <a:gd name="csY93" fmla="*/ 109168 h 387050"/>
                    <a:gd name="csX94" fmla="*/ 246316 w 272087"/>
                    <a:gd name="csY94" fmla="*/ 107375 h 387050"/>
                    <a:gd name="csX95" fmla="*/ 253936 w 272087"/>
                    <a:gd name="csY95" fmla="*/ 106639 h 387050"/>
                    <a:gd name="csX96" fmla="*/ 253232 w 272087"/>
                    <a:gd name="csY96" fmla="*/ 99756 h 387050"/>
                    <a:gd name="csX97" fmla="*/ 263380 w 272087"/>
                    <a:gd name="csY97" fmla="*/ 92841 h 387050"/>
                    <a:gd name="csX98" fmla="*/ 272088 w 272087"/>
                    <a:gd name="csY98" fmla="*/ 69631 h 387050"/>
                    <a:gd name="csX99" fmla="*/ 257585 w 272087"/>
                    <a:gd name="csY99" fmla="*/ 48949 h 387050"/>
                    <a:gd name="csX100" fmla="*/ 235079 w 272087"/>
                    <a:gd name="csY100" fmla="*/ 39537 h 387050"/>
                    <a:gd name="csX101" fmla="*/ 225635 w 272087"/>
                    <a:gd name="csY101" fmla="*/ 47157 h 387050"/>
                    <a:gd name="csX102" fmla="*/ 225635 w 272087"/>
                    <a:gd name="csY102" fmla="*/ 53303 h 387050"/>
                    <a:gd name="csX103" fmla="*/ 210045 w 272087"/>
                    <a:gd name="csY103" fmla="*/ 50774 h 387050"/>
                    <a:gd name="csX104" fmla="*/ 199896 w 272087"/>
                    <a:gd name="csY104" fmla="*/ 60218 h 387050"/>
                    <a:gd name="csX105" fmla="*/ 194454 w 272087"/>
                    <a:gd name="csY105" fmla="*/ 59130 h 387050"/>
                    <a:gd name="csX106" fmla="*/ 186098 w 272087"/>
                    <a:gd name="csY106" fmla="*/ 71455 h 387050"/>
                    <a:gd name="csX107" fmla="*/ 167242 w 272087"/>
                    <a:gd name="csY107" fmla="*/ 62011 h 387050"/>
                    <a:gd name="csX108" fmla="*/ 164328 w 272087"/>
                    <a:gd name="csY108" fmla="*/ 63484 h 387050"/>
                    <a:gd name="csX109" fmla="*/ 150562 w 272087"/>
                    <a:gd name="csY109" fmla="*/ 65277 h 387050"/>
                    <a:gd name="csX110" fmla="*/ 147297 w 272087"/>
                    <a:gd name="csY110" fmla="*/ 57657 h 387050"/>
                    <a:gd name="csX111" fmla="*/ 141118 w 272087"/>
                    <a:gd name="csY111" fmla="*/ 58394 h 387050"/>
                    <a:gd name="csX112" fmla="*/ 130970 w 272087"/>
                    <a:gd name="csY112" fmla="*/ 51511 h 387050"/>
                    <a:gd name="csX113" fmla="*/ 128441 w 272087"/>
                    <a:gd name="csY113" fmla="*/ 46420 h 387050"/>
                    <a:gd name="csX114" fmla="*/ 141118 w 272087"/>
                    <a:gd name="csY114" fmla="*/ 45684 h 387050"/>
                    <a:gd name="csX115" fmla="*/ 140414 w 272087"/>
                    <a:gd name="csY115" fmla="*/ 33359 h 387050"/>
                    <a:gd name="csX116" fmla="*/ 126616 w 272087"/>
                    <a:gd name="csY116" fmla="*/ 26476 h 387050"/>
                    <a:gd name="csX117" fmla="*/ 126616 w 272087"/>
                    <a:gd name="csY117" fmla="*/ 15591 h 387050"/>
                    <a:gd name="csX118" fmla="*/ 119733 w 272087"/>
                    <a:gd name="csY118" fmla="*/ 5058 h 387050"/>
                    <a:gd name="csX119" fmla="*/ 110289 w 272087"/>
                    <a:gd name="csY119" fmla="*/ 5795 h 387050"/>
                    <a:gd name="csX120" fmla="*/ 108464 w 272087"/>
                    <a:gd name="csY120" fmla="*/ 15591 h 387050"/>
                    <a:gd name="csX121" fmla="*/ 101581 w 272087"/>
                    <a:gd name="csY121" fmla="*/ 17032 h 387050"/>
                    <a:gd name="csX122" fmla="*/ 93961 w 272087"/>
                    <a:gd name="csY122" fmla="*/ 11973 h 3870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</a:cxnLst>
                  <a:rect l="l" t="t" r="r" b="b"/>
                  <a:pathLst>
                    <a:path w="272087" h="387050">
                      <a:moveTo>
                        <a:pt x="93961" y="11973"/>
                      </a:moveTo>
                      <a:lnTo>
                        <a:pt x="97227" y="5795"/>
                      </a:lnTo>
                      <a:lnTo>
                        <a:pt x="81988" y="0"/>
                      </a:lnTo>
                      <a:lnTo>
                        <a:pt x="71487" y="17032"/>
                      </a:lnTo>
                      <a:lnTo>
                        <a:pt x="90344" y="29005"/>
                      </a:lnTo>
                      <a:lnTo>
                        <a:pt x="86342" y="33359"/>
                      </a:lnTo>
                      <a:lnTo>
                        <a:pt x="90344" y="37712"/>
                      </a:lnTo>
                      <a:lnTo>
                        <a:pt x="81988" y="42803"/>
                      </a:lnTo>
                      <a:lnTo>
                        <a:pt x="77634" y="53303"/>
                      </a:lnTo>
                      <a:lnTo>
                        <a:pt x="56953" y="57657"/>
                      </a:lnTo>
                      <a:lnTo>
                        <a:pt x="61307" y="69631"/>
                      </a:lnTo>
                      <a:lnTo>
                        <a:pt x="56953" y="75809"/>
                      </a:lnTo>
                      <a:lnTo>
                        <a:pt x="62043" y="76546"/>
                      </a:lnTo>
                      <a:lnTo>
                        <a:pt x="64572" y="87783"/>
                      </a:lnTo>
                      <a:lnTo>
                        <a:pt x="60219" y="93577"/>
                      </a:lnTo>
                      <a:lnTo>
                        <a:pt x="51895" y="94666"/>
                      </a:lnTo>
                      <a:lnTo>
                        <a:pt x="40658" y="96106"/>
                      </a:lnTo>
                      <a:lnTo>
                        <a:pt x="31214" y="88487"/>
                      </a:lnTo>
                      <a:lnTo>
                        <a:pt x="11973" y="99756"/>
                      </a:lnTo>
                      <a:lnTo>
                        <a:pt x="9444" y="113522"/>
                      </a:lnTo>
                      <a:lnTo>
                        <a:pt x="2561" y="121141"/>
                      </a:lnTo>
                      <a:lnTo>
                        <a:pt x="0" y="128056"/>
                      </a:lnTo>
                      <a:lnTo>
                        <a:pt x="4354" y="127320"/>
                      </a:lnTo>
                      <a:lnTo>
                        <a:pt x="8004" y="136764"/>
                      </a:lnTo>
                      <a:lnTo>
                        <a:pt x="6915" y="158149"/>
                      </a:lnTo>
                      <a:lnTo>
                        <a:pt x="11973" y="159974"/>
                      </a:lnTo>
                      <a:lnTo>
                        <a:pt x="13062" y="174477"/>
                      </a:lnTo>
                      <a:lnTo>
                        <a:pt x="17416" y="177006"/>
                      </a:lnTo>
                      <a:lnTo>
                        <a:pt x="16327" y="190804"/>
                      </a:lnTo>
                      <a:lnTo>
                        <a:pt x="23242" y="193333"/>
                      </a:lnTo>
                      <a:lnTo>
                        <a:pt x="25035" y="214014"/>
                      </a:lnTo>
                      <a:lnTo>
                        <a:pt x="34479" y="205658"/>
                      </a:lnTo>
                      <a:lnTo>
                        <a:pt x="56953" y="226340"/>
                      </a:lnTo>
                      <a:lnTo>
                        <a:pt x="61307" y="237225"/>
                      </a:lnTo>
                      <a:lnTo>
                        <a:pt x="56953" y="240874"/>
                      </a:lnTo>
                      <a:lnTo>
                        <a:pt x="57689" y="250286"/>
                      </a:lnTo>
                      <a:lnTo>
                        <a:pt x="68926" y="259730"/>
                      </a:lnTo>
                      <a:lnTo>
                        <a:pt x="62780" y="264084"/>
                      </a:lnTo>
                      <a:lnTo>
                        <a:pt x="64572" y="278586"/>
                      </a:lnTo>
                      <a:lnTo>
                        <a:pt x="58778" y="294177"/>
                      </a:lnTo>
                      <a:lnTo>
                        <a:pt x="62043" y="302885"/>
                      </a:lnTo>
                      <a:lnTo>
                        <a:pt x="56953" y="324303"/>
                      </a:lnTo>
                      <a:lnTo>
                        <a:pt x="52599" y="329361"/>
                      </a:lnTo>
                      <a:lnTo>
                        <a:pt x="60219" y="345688"/>
                      </a:lnTo>
                      <a:lnTo>
                        <a:pt x="45716" y="354396"/>
                      </a:lnTo>
                      <a:lnTo>
                        <a:pt x="56953" y="354396"/>
                      </a:lnTo>
                      <a:lnTo>
                        <a:pt x="68926" y="377606"/>
                      </a:lnTo>
                      <a:lnTo>
                        <a:pt x="82724" y="387050"/>
                      </a:lnTo>
                      <a:lnTo>
                        <a:pt x="100844" y="374341"/>
                      </a:lnTo>
                      <a:lnTo>
                        <a:pt x="101581" y="366369"/>
                      </a:lnTo>
                      <a:lnTo>
                        <a:pt x="110289" y="368898"/>
                      </a:lnTo>
                      <a:lnTo>
                        <a:pt x="106671" y="343159"/>
                      </a:lnTo>
                      <a:lnTo>
                        <a:pt x="115379" y="340630"/>
                      </a:lnTo>
                      <a:lnTo>
                        <a:pt x="122262" y="348249"/>
                      </a:lnTo>
                      <a:lnTo>
                        <a:pt x="133499" y="340630"/>
                      </a:lnTo>
                      <a:lnTo>
                        <a:pt x="137853" y="345688"/>
                      </a:lnTo>
                      <a:lnTo>
                        <a:pt x="145472" y="343159"/>
                      </a:lnTo>
                      <a:lnTo>
                        <a:pt x="150562" y="346777"/>
                      </a:lnTo>
                      <a:lnTo>
                        <a:pt x="152387" y="356221"/>
                      </a:lnTo>
                      <a:lnTo>
                        <a:pt x="160359" y="358750"/>
                      </a:lnTo>
                      <a:lnTo>
                        <a:pt x="167978" y="342423"/>
                      </a:lnTo>
                      <a:lnTo>
                        <a:pt x="181744" y="345688"/>
                      </a:lnTo>
                      <a:lnTo>
                        <a:pt x="189363" y="340630"/>
                      </a:lnTo>
                      <a:lnTo>
                        <a:pt x="204250" y="341334"/>
                      </a:lnTo>
                      <a:lnTo>
                        <a:pt x="206779" y="333715"/>
                      </a:lnTo>
                      <a:lnTo>
                        <a:pt x="183569" y="307239"/>
                      </a:lnTo>
                      <a:lnTo>
                        <a:pt x="186834" y="294177"/>
                      </a:lnTo>
                      <a:lnTo>
                        <a:pt x="193013" y="282940"/>
                      </a:lnTo>
                      <a:lnTo>
                        <a:pt x="198808" y="282940"/>
                      </a:lnTo>
                      <a:lnTo>
                        <a:pt x="205691" y="288031"/>
                      </a:lnTo>
                      <a:lnTo>
                        <a:pt x="208220" y="300356"/>
                      </a:lnTo>
                      <a:lnTo>
                        <a:pt x="213662" y="300356"/>
                      </a:lnTo>
                      <a:lnTo>
                        <a:pt x="226372" y="284765"/>
                      </a:lnTo>
                      <a:lnTo>
                        <a:pt x="219489" y="279675"/>
                      </a:lnTo>
                      <a:lnTo>
                        <a:pt x="223843" y="264084"/>
                      </a:lnTo>
                      <a:lnTo>
                        <a:pt x="216928" y="255376"/>
                      </a:lnTo>
                      <a:lnTo>
                        <a:pt x="218016" y="247757"/>
                      </a:lnTo>
                      <a:lnTo>
                        <a:pt x="226372" y="247757"/>
                      </a:lnTo>
                      <a:lnTo>
                        <a:pt x="241258" y="236520"/>
                      </a:lnTo>
                      <a:lnTo>
                        <a:pt x="246316" y="227076"/>
                      </a:lnTo>
                      <a:lnTo>
                        <a:pt x="245228" y="215103"/>
                      </a:lnTo>
                      <a:lnTo>
                        <a:pt x="226372" y="213278"/>
                      </a:lnTo>
                      <a:lnTo>
                        <a:pt x="214398" y="204570"/>
                      </a:lnTo>
                      <a:lnTo>
                        <a:pt x="212574" y="178094"/>
                      </a:lnTo>
                      <a:lnTo>
                        <a:pt x="191925" y="167594"/>
                      </a:lnTo>
                      <a:lnTo>
                        <a:pt x="193013" y="158149"/>
                      </a:lnTo>
                      <a:lnTo>
                        <a:pt x="202425" y="148737"/>
                      </a:lnTo>
                      <a:lnTo>
                        <a:pt x="202425" y="140030"/>
                      </a:lnTo>
                      <a:lnTo>
                        <a:pt x="196278" y="133114"/>
                      </a:lnTo>
                      <a:lnTo>
                        <a:pt x="196278" y="128056"/>
                      </a:lnTo>
                      <a:lnTo>
                        <a:pt x="206779" y="114258"/>
                      </a:lnTo>
                      <a:lnTo>
                        <a:pt x="215135" y="113522"/>
                      </a:lnTo>
                      <a:lnTo>
                        <a:pt x="229989" y="102285"/>
                      </a:lnTo>
                      <a:lnTo>
                        <a:pt x="242699" y="109168"/>
                      </a:lnTo>
                      <a:lnTo>
                        <a:pt x="246316" y="107375"/>
                      </a:lnTo>
                      <a:lnTo>
                        <a:pt x="253936" y="106639"/>
                      </a:lnTo>
                      <a:lnTo>
                        <a:pt x="253232" y="99756"/>
                      </a:lnTo>
                      <a:lnTo>
                        <a:pt x="263380" y="92841"/>
                      </a:lnTo>
                      <a:lnTo>
                        <a:pt x="272088" y="69631"/>
                      </a:lnTo>
                      <a:lnTo>
                        <a:pt x="257585" y="48949"/>
                      </a:lnTo>
                      <a:lnTo>
                        <a:pt x="235079" y="39537"/>
                      </a:lnTo>
                      <a:lnTo>
                        <a:pt x="225635" y="47157"/>
                      </a:lnTo>
                      <a:lnTo>
                        <a:pt x="225635" y="53303"/>
                      </a:lnTo>
                      <a:lnTo>
                        <a:pt x="210045" y="50774"/>
                      </a:lnTo>
                      <a:lnTo>
                        <a:pt x="199896" y="60218"/>
                      </a:lnTo>
                      <a:lnTo>
                        <a:pt x="194454" y="59130"/>
                      </a:lnTo>
                      <a:lnTo>
                        <a:pt x="186098" y="71455"/>
                      </a:lnTo>
                      <a:lnTo>
                        <a:pt x="167242" y="62011"/>
                      </a:lnTo>
                      <a:lnTo>
                        <a:pt x="164328" y="63484"/>
                      </a:lnTo>
                      <a:lnTo>
                        <a:pt x="150562" y="65277"/>
                      </a:lnTo>
                      <a:lnTo>
                        <a:pt x="147297" y="57657"/>
                      </a:lnTo>
                      <a:lnTo>
                        <a:pt x="141118" y="58394"/>
                      </a:lnTo>
                      <a:lnTo>
                        <a:pt x="130970" y="51511"/>
                      </a:lnTo>
                      <a:lnTo>
                        <a:pt x="128441" y="46420"/>
                      </a:lnTo>
                      <a:lnTo>
                        <a:pt x="141118" y="45684"/>
                      </a:lnTo>
                      <a:lnTo>
                        <a:pt x="140414" y="33359"/>
                      </a:lnTo>
                      <a:lnTo>
                        <a:pt x="126616" y="26476"/>
                      </a:lnTo>
                      <a:lnTo>
                        <a:pt x="126616" y="15591"/>
                      </a:lnTo>
                      <a:lnTo>
                        <a:pt x="119733" y="5058"/>
                      </a:lnTo>
                      <a:lnTo>
                        <a:pt x="110289" y="5795"/>
                      </a:lnTo>
                      <a:lnTo>
                        <a:pt x="108464" y="15591"/>
                      </a:lnTo>
                      <a:lnTo>
                        <a:pt x="101581" y="17032"/>
                      </a:lnTo>
                      <a:lnTo>
                        <a:pt x="93961" y="1197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7" name="Forma Livre: Forma 236">
                  <a:extLst>
                    <a:ext uri="{FF2B5EF4-FFF2-40B4-BE49-F238E27FC236}">
                      <a16:creationId xmlns:a16="http://schemas.microsoft.com/office/drawing/2014/main" id="{77A37EC9-BC9F-339B-4E63-D053431BF7A3}"/>
                    </a:ext>
                  </a:extLst>
                </p:cNvPr>
                <p:cNvSpPr/>
                <p:nvPr/>
              </p:nvSpPr>
              <p:spPr>
                <a:xfrm>
                  <a:off x="2248586" y="5134904"/>
                  <a:ext cx="272087" cy="387050"/>
                </a:xfrm>
                <a:custGeom>
                  <a:avLst/>
                  <a:gdLst>
                    <a:gd name="csX0" fmla="*/ 93961 w 272087"/>
                    <a:gd name="csY0" fmla="*/ 11973 h 387050"/>
                    <a:gd name="csX1" fmla="*/ 97227 w 272087"/>
                    <a:gd name="csY1" fmla="*/ 5795 h 387050"/>
                    <a:gd name="csX2" fmla="*/ 81988 w 272087"/>
                    <a:gd name="csY2" fmla="*/ 0 h 387050"/>
                    <a:gd name="csX3" fmla="*/ 71487 w 272087"/>
                    <a:gd name="csY3" fmla="*/ 17032 h 387050"/>
                    <a:gd name="csX4" fmla="*/ 90344 w 272087"/>
                    <a:gd name="csY4" fmla="*/ 29005 h 387050"/>
                    <a:gd name="csX5" fmla="*/ 86342 w 272087"/>
                    <a:gd name="csY5" fmla="*/ 33359 h 387050"/>
                    <a:gd name="csX6" fmla="*/ 90344 w 272087"/>
                    <a:gd name="csY6" fmla="*/ 37712 h 387050"/>
                    <a:gd name="csX7" fmla="*/ 81988 w 272087"/>
                    <a:gd name="csY7" fmla="*/ 42803 h 387050"/>
                    <a:gd name="csX8" fmla="*/ 77634 w 272087"/>
                    <a:gd name="csY8" fmla="*/ 53303 h 387050"/>
                    <a:gd name="csX9" fmla="*/ 56953 w 272087"/>
                    <a:gd name="csY9" fmla="*/ 57657 h 387050"/>
                    <a:gd name="csX10" fmla="*/ 61307 w 272087"/>
                    <a:gd name="csY10" fmla="*/ 69631 h 387050"/>
                    <a:gd name="csX11" fmla="*/ 56953 w 272087"/>
                    <a:gd name="csY11" fmla="*/ 75809 h 387050"/>
                    <a:gd name="csX12" fmla="*/ 62043 w 272087"/>
                    <a:gd name="csY12" fmla="*/ 76546 h 387050"/>
                    <a:gd name="csX13" fmla="*/ 64572 w 272087"/>
                    <a:gd name="csY13" fmla="*/ 87783 h 387050"/>
                    <a:gd name="csX14" fmla="*/ 60219 w 272087"/>
                    <a:gd name="csY14" fmla="*/ 93577 h 387050"/>
                    <a:gd name="csX15" fmla="*/ 51895 w 272087"/>
                    <a:gd name="csY15" fmla="*/ 94666 h 387050"/>
                    <a:gd name="csX16" fmla="*/ 40658 w 272087"/>
                    <a:gd name="csY16" fmla="*/ 96106 h 387050"/>
                    <a:gd name="csX17" fmla="*/ 31214 w 272087"/>
                    <a:gd name="csY17" fmla="*/ 88487 h 387050"/>
                    <a:gd name="csX18" fmla="*/ 11973 w 272087"/>
                    <a:gd name="csY18" fmla="*/ 99756 h 387050"/>
                    <a:gd name="csX19" fmla="*/ 9444 w 272087"/>
                    <a:gd name="csY19" fmla="*/ 113522 h 387050"/>
                    <a:gd name="csX20" fmla="*/ 2561 w 272087"/>
                    <a:gd name="csY20" fmla="*/ 121141 h 387050"/>
                    <a:gd name="csX21" fmla="*/ 0 w 272087"/>
                    <a:gd name="csY21" fmla="*/ 128056 h 387050"/>
                    <a:gd name="csX22" fmla="*/ 4354 w 272087"/>
                    <a:gd name="csY22" fmla="*/ 127320 h 387050"/>
                    <a:gd name="csX23" fmla="*/ 8004 w 272087"/>
                    <a:gd name="csY23" fmla="*/ 136764 h 387050"/>
                    <a:gd name="csX24" fmla="*/ 6915 w 272087"/>
                    <a:gd name="csY24" fmla="*/ 158149 h 387050"/>
                    <a:gd name="csX25" fmla="*/ 11973 w 272087"/>
                    <a:gd name="csY25" fmla="*/ 159974 h 387050"/>
                    <a:gd name="csX26" fmla="*/ 13062 w 272087"/>
                    <a:gd name="csY26" fmla="*/ 174477 h 387050"/>
                    <a:gd name="csX27" fmla="*/ 17416 w 272087"/>
                    <a:gd name="csY27" fmla="*/ 177006 h 387050"/>
                    <a:gd name="csX28" fmla="*/ 16327 w 272087"/>
                    <a:gd name="csY28" fmla="*/ 190804 h 387050"/>
                    <a:gd name="csX29" fmla="*/ 23242 w 272087"/>
                    <a:gd name="csY29" fmla="*/ 193333 h 387050"/>
                    <a:gd name="csX30" fmla="*/ 25035 w 272087"/>
                    <a:gd name="csY30" fmla="*/ 214014 h 387050"/>
                    <a:gd name="csX31" fmla="*/ 34479 w 272087"/>
                    <a:gd name="csY31" fmla="*/ 205658 h 387050"/>
                    <a:gd name="csX32" fmla="*/ 56953 w 272087"/>
                    <a:gd name="csY32" fmla="*/ 226340 h 387050"/>
                    <a:gd name="csX33" fmla="*/ 61307 w 272087"/>
                    <a:gd name="csY33" fmla="*/ 237225 h 387050"/>
                    <a:gd name="csX34" fmla="*/ 56953 w 272087"/>
                    <a:gd name="csY34" fmla="*/ 240874 h 387050"/>
                    <a:gd name="csX35" fmla="*/ 57689 w 272087"/>
                    <a:gd name="csY35" fmla="*/ 250286 h 387050"/>
                    <a:gd name="csX36" fmla="*/ 68926 w 272087"/>
                    <a:gd name="csY36" fmla="*/ 259730 h 387050"/>
                    <a:gd name="csX37" fmla="*/ 62780 w 272087"/>
                    <a:gd name="csY37" fmla="*/ 264084 h 387050"/>
                    <a:gd name="csX38" fmla="*/ 64572 w 272087"/>
                    <a:gd name="csY38" fmla="*/ 278586 h 387050"/>
                    <a:gd name="csX39" fmla="*/ 58778 w 272087"/>
                    <a:gd name="csY39" fmla="*/ 294177 h 387050"/>
                    <a:gd name="csX40" fmla="*/ 62043 w 272087"/>
                    <a:gd name="csY40" fmla="*/ 302885 h 387050"/>
                    <a:gd name="csX41" fmla="*/ 56953 w 272087"/>
                    <a:gd name="csY41" fmla="*/ 324303 h 387050"/>
                    <a:gd name="csX42" fmla="*/ 52599 w 272087"/>
                    <a:gd name="csY42" fmla="*/ 329361 h 387050"/>
                    <a:gd name="csX43" fmla="*/ 60219 w 272087"/>
                    <a:gd name="csY43" fmla="*/ 345688 h 387050"/>
                    <a:gd name="csX44" fmla="*/ 45716 w 272087"/>
                    <a:gd name="csY44" fmla="*/ 354396 h 387050"/>
                    <a:gd name="csX45" fmla="*/ 56953 w 272087"/>
                    <a:gd name="csY45" fmla="*/ 354396 h 387050"/>
                    <a:gd name="csX46" fmla="*/ 68926 w 272087"/>
                    <a:gd name="csY46" fmla="*/ 377606 h 387050"/>
                    <a:gd name="csX47" fmla="*/ 82724 w 272087"/>
                    <a:gd name="csY47" fmla="*/ 387050 h 387050"/>
                    <a:gd name="csX48" fmla="*/ 100844 w 272087"/>
                    <a:gd name="csY48" fmla="*/ 374341 h 387050"/>
                    <a:gd name="csX49" fmla="*/ 101581 w 272087"/>
                    <a:gd name="csY49" fmla="*/ 366369 h 387050"/>
                    <a:gd name="csX50" fmla="*/ 110289 w 272087"/>
                    <a:gd name="csY50" fmla="*/ 368898 h 387050"/>
                    <a:gd name="csX51" fmla="*/ 106671 w 272087"/>
                    <a:gd name="csY51" fmla="*/ 343159 h 387050"/>
                    <a:gd name="csX52" fmla="*/ 115379 w 272087"/>
                    <a:gd name="csY52" fmla="*/ 340630 h 387050"/>
                    <a:gd name="csX53" fmla="*/ 122262 w 272087"/>
                    <a:gd name="csY53" fmla="*/ 348249 h 387050"/>
                    <a:gd name="csX54" fmla="*/ 133499 w 272087"/>
                    <a:gd name="csY54" fmla="*/ 340630 h 387050"/>
                    <a:gd name="csX55" fmla="*/ 137853 w 272087"/>
                    <a:gd name="csY55" fmla="*/ 345688 h 387050"/>
                    <a:gd name="csX56" fmla="*/ 145472 w 272087"/>
                    <a:gd name="csY56" fmla="*/ 343159 h 387050"/>
                    <a:gd name="csX57" fmla="*/ 150562 w 272087"/>
                    <a:gd name="csY57" fmla="*/ 346777 h 387050"/>
                    <a:gd name="csX58" fmla="*/ 152387 w 272087"/>
                    <a:gd name="csY58" fmla="*/ 356221 h 387050"/>
                    <a:gd name="csX59" fmla="*/ 160359 w 272087"/>
                    <a:gd name="csY59" fmla="*/ 358750 h 387050"/>
                    <a:gd name="csX60" fmla="*/ 167978 w 272087"/>
                    <a:gd name="csY60" fmla="*/ 342423 h 387050"/>
                    <a:gd name="csX61" fmla="*/ 181744 w 272087"/>
                    <a:gd name="csY61" fmla="*/ 345688 h 387050"/>
                    <a:gd name="csX62" fmla="*/ 189363 w 272087"/>
                    <a:gd name="csY62" fmla="*/ 340630 h 387050"/>
                    <a:gd name="csX63" fmla="*/ 204250 w 272087"/>
                    <a:gd name="csY63" fmla="*/ 341334 h 387050"/>
                    <a:gd name="csX64" fmla="*/ 206779 w 272087"/>
                    <a:gd name="csY64" fmla="*/ 333715 h 387050"/>
                    <a:gd name="csX65" fmla="*/ 183569 w 272087"/>
                    <a:gd name="csY65" fmla="*/ 307239 h 387050"/>
                    <a:gd name="csX66" fmla="*/ 186834 w 272087"/>
                    <a:gd name="csY66" fmla="*/ 294177 h 387050"/>
                    <a:gd name="csX67" fmla="*/ 193013 w 272087"/>
                    <a:gd name="csY67" fmla="*/ 282940 h 387050"/>
                    <a:gd name="csX68" fmla="*/ 198808 w 272087"/>
                    <a:gd name="csY68" fmla="*/ 282940 h 387050"/>
                    <a:gd name="csX69" fmla="*/ 205691 w 272087"/>
                    <a:gd name="csY69" fmla="*/ 288031 h 387050"/>
                    <a:gd name="csX70" fmla="*/ 208220 w 272087"/>
                    <a:gd name="csY70" fmla="*/ 300356 h 387050"/>
                    <a:gd name="csX71" fmla="*/ 213662 w 272087"/>
                    <a:gd name="csY71" fmla="*/ 300356 h 387050"/>
                    <a:gd name="csX72" fmla="*/ 226372 w 272087"/>
                    <a:gd name="csY72" fmla="*/ 284765 h 387050"/>
                    <a:gd name="csX73" fmla="*/ 219489 w 272087"/>
                    <a:gd name="csY73" fmla="*/ 279675 h 387050"/>
                    <a:gd name="csX74" fmla="*/ 223843 w 272087"/>
                    <a:gd name="csY74" fmla="*/ 264084 h 387050"/>
                    <a:gd name="csX75" fmla="*/ 216928 w 272087"/>
                    <a:gd name="csY75" fmla="*/ 255376 h 387050"/>
                    <a:gd name="csX76" fmla="*/ 218016 w 272087"/>
                    <a:gd name="csY76" fmla="*/ 247757 h 387050"/>
                    <a:gd name="csX77" fmla="*/ 226372 w 272087"/>
                    <a:gd name="csY77" fmla="*/ 247757 h 387050"/>
                    <a:gd name="csX78" fmla="*/ 241258 w 272087"/>
                    <a:gd name="csY78" fmla="*/ 236520 h 387050"/>
                    <a:gd name="csX79" fmla="*/ 246316 w 272087"/>
                    <a:gd name="csY79" fmla="*/ 227076 h 387050"/>
                    <a:gd name="csX80" fmla="*/ 245228 w 272087"/>
                    <a:gd name="csY80" fmla="*/ 215103 h 387050"/>
                    <a:gd name="csX81" fmla="*/ 226372 w 272087"/>
                    <a:gd name="csY81" fmla="*/ 213278 h 387050"/>
                    <a:gd name="csX82" fmla="*/ 214398 w 272087"/>
                    <a:gd name="csY82" fmla="*/ 204570 h 387050"/>
                    <a:gd name="csX83" fmla="*/ 212574 w 272087"/>
                    <a:gd name="csY83" fmla="*/ 178094 h 387050"/>
                    <a:gd name="csX84" fmla="*/ 191925 w 272087"/>
                    <a:gd name="csY84" fmla="*/ 167594 h 387050"/>
                    <a:gd name="csX85" fmla="*/ 193013 w 272087"/>
                    <a:gd name="csY85" fmla="*/ 158149 h 387050"/>
                    <a:gd name="csX86" fmla="*/ 202425 w 272087"/>
                    <a:gd name="csY86" fmla="*/ 148737 h 387050"/>
                    <a:gd name="csX87" fmla="*/ 202425 w 272087"/>
                    <a:gd name="csY87" fmla="*/ 140030 h 387050"/>
                    <a:gd name="csX88" fmla="*/ 196278 w 272087"/>
                    <a:gd name="csY88" fmla="*/ 133114 h 387050"/>
                    <a:gd name="csX89" fmla="*/ 196278 w 272087"/>
                    <a:gd name="csY89" fmla="*/ 128056 h 387050"/>
                    <a:gd name="csX90" fmla="*/ 206779 w 272087"/>
                    <a:gd name="csY90" fmla="*/ 114258 h 387050"/>
                    <a:gd name="csX91" fmla="*/ 215135 w 272087"/>
                    <a:gd name="csY91" fmla="*/ 113522 h 387050"/>
                    <a:gd name="csX92" fmla="*/ 229989 w 272087"/>
                    <a:gd name="csY92" fmla="*/ 102285 h 387050"/>
                    <a:gd name="csX93" fmla="*/ 242699 w 272087"/>
                    <a:gd name="csY93" fmla="*/ 109168 h 387050"/>
                    <a:gd name="csX94" fmla="*/ 246316 w 272087"/>
                    <a:gd name="csY94" fmla="*/ 107375 h 387050"/>
                    <a:gd name="csX95" fmla="*/ 253936 w 272087"/>
                    <a:gd name="csY95" fmla="*/ 106639 h 387050"/>
                    <a:gd name="csX96" fmla="*/ 253232 w 272087"/>
                    <a:gd name="csY96" fmla="*/ 99756 h 387050"/>
                    <a:gd name="csX97" fmla="*/ 263380 w 272087"/>
                    <a:gd name="csY97" fmla="*/ 92841 h 387050"/>
                    <a:gd name="csX98" fmla="*/ 272088 w 272087"/>
                    <a:gd name="csY98" fmla="*/ 69631 h 387050"/>
                    <a:gd name="csX99" fmla="*/ 257585 w 272087"/>
                    <a:gd name="csY99" fmla="*/ 48949 h 387050"/>
                    <a:gd name="csX100" fmla="*/ 235079 w 272087"/>
                    <a:gd name="csY100" fmla="*/ 39537 h 387050"/>
                    <a:gd name="csX101" fmla="*/ 225635 w 272087"/>
                    <a:gd name="csY101" fmla="*/ 47157 h 387050"/>
                    <a:gd name="csX102" fmla="*/ 225635 w 272087"/>
                    <a:gd name="csY102" fmla="*/ 53303 h 387050"/>
                    <a:gd name="csX103" fmla="*/ 210045 w 272087"/>
                    <a:gd name="csY103" fmla="*/ 50774 h 387050"/>
                    <a:gd name="csX104" fmla="*/ 199896 w 272087"/>
                    <a:gd name="csY104" fmla="*/ 60218 h 387050"/>
                    <a:gd name="csX105" fmla="*/ 194454 w 272087"/>
                    <a:gd name="csY105" fmla="*/ 59130 h 387050"/>
                    <a:gd name="csX106" fmla="*/ 186098 w 272087"/>
                    <a:gd name="csY106" fmla="*/ 71455 h 387050"/>
                    <a:gd name="csX107" fmla="*/ 167242 w 272087"/>
                    <a:gd name="csY107" fmla="*/ 62011 h 387050"/>
                    <a:gd name="csX108" fmla="*/ 164328 w 272087"/>
                    <a:gd name="csY108" fmla="*/ 63484 h 387050"/>
                    <a:gd name="csX109" fmla="*/ 150562 w 272087"/>
                    <a:gd name="csY109" fmla="*/ 65277 h 387050"/>
                    <a:gd name="csX110" fmla="*/ 147297 w 272087"/>
                    <a:gd name="csY110" fmla="*/ 57657 h 387050"/>
                    <a:gd name="csX111" fmla="*/ 141118 w 272087"/>
                    <a:gd name="csY111" fmla="*/ 58394 h 387050"/>
                    <a:gd name="csX112" fmla="*/ 130970 w 272087"/>
                    <a:gd name="csY112" fmla="*/ 51511 h 387050"/>
                    <a:gd name="csX113" fmla="*/ 128441 w 272087"/>
                    <a:gd name="csY113" fmla="*/ 46420 h 387050"/>
                    <a:gd name="csX114" fmla="*/ 141118 w 272087"/>
                    <a:gd name="csY114" fmla="*/ 45684 h 387050"/>
                    <a:gd name="csX115" fmla="*/ 140414 w 272087"/>
                    <a:gd name="csY115" fmla="*/ 33359 h 387050"/>
                    <a:gd name="csX116" fmla="*/ 126616 w 272087"/>
                    <a:gd name="csY116" fmla="*/ 26476 h 387050"/>
                    <a:gd name="csX117" fmla="*/ 126616 w 272087"/>
                    <a:gd name="csY117" fmla="*/ 15591 h 387050"/>
                    <a:gd name="csX118" fmla="*/ 119733 w 272087"/>
                    <a:gd name="csY118" fmla="*/ 5058 h 387050"/>
                    <a:gd name="csX119" fmla="*/ 110289 w 272087"/>
                    <a:gd name="csY119" fmla="*/ 5795 h 387050"/>
                    <a:gd name="csX120" fmla="*/ 108464 w 272087"/>
                    <a:gd name="csY120" fmla="*/ 15591 h 387050"/>
                    <a:gd name="csX121" fmla="*/ 101581 w 272087"/>
                    <a:gd name="csY121" fmla="*/ 17032 h 387050"/>
                    <a:gd name="csX122" fmla="*/ 93961 w 272087"/>
                    <a:gd name="csY122" fmla="*/ 11973 h 3870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</a:cxnLst>
                  <a:rect l="l" t="t" r="r" b="b"/>
                  <a:pathLst>
                    <a:path w="272087" h="387050">
                      <a:moveTo>
                        <a:pt x="93961" y="11973"/>
                      </a:moveTo>
                      <a:lnTo>
                        <a:pt x="97227" y="5795"/>
                      </a:lnTo>
                      <a:lnTo>
                        <a:pt x="81988" y="0"/>
                      </a:lnTo>
                      <a:lnTo>
                        <a:pt x="71487" y="17032"/>
                      </a:lnTo>
                      <a:lnTo>
                        <a:pt x="90344" y="29005"/>
                      </a:lnTo>
                      <a:lnTo>
                        <a:pt x="86342" y="33359"/>
                      </a:lnTo>
                      <a:lnTo>
                        <a:pt x="90344" y="37712"/>
                      </a:lnTo>
                      <a:lnTo>
                        <a:pt x="81988" y="42803"/>
                      </a:lnTo>
                      <a:lnTo>
                        <a:pt x="77634" y="53303"/>
                      </a:lnTo>
                      <a:lnTo>
                        <a:pt x="56953" y="57657"/>
                      </a:lnTo>
                      <a:lnTo>
                        <a:pt x="61307" y="69631"/>
                      </a:lnTo>
                      <a:lnTo>
                        <a:pt x="56953" y="75809"/>
                      </a:lnTo>
                      <a:lnTo>
                        <a:pt x="62043" y="76546"/>
                      </a:lnTo>
                      <a:lnTo>
                        <a:pt x="64572" y="87783"/>
                      </a:lnTo>
                      <a:lnTo>
                        <a:pt x="60219" y="93577"/>
                      </a:lnTo>
                      <a:lnTo>
                        <a:pt x="51895" y="94666"/>
                      </a:lnTo>
                      <a:lnTo>
                        <a:pt x="40658" y="96106"/>
                      </a:lnTo>
                      <a:lnTo>
                        <a:pt x="31214" y="88487"/>
                      </a:lnTo>
                      <a:lnTo>
                        <a:pt x="11973" y="99756"/>
                      </a:lnTo>
                      <a:lnTo>
                        <a:pt x="9444" y="113522"/>
                      </a:lnTo>
                      <a:lnTo>
                        <a:pt x="2561" y="121141"/>
                      </a:lnTo>
                      <a:lnTo>
                        <a:pt x="0" y="128056"/>
                      </a:lnTo>
                      <a:lnTo>
                        <a:pt x="4354" y="127320"/>
                      </a:lnTo>
                      <a:lnTo>
                        <a:pt x="8004" y="136764"/>
                      </a:lnTo>
                      <a:lnTo>
                        <a:pt x="6915" y="158149"/>
                      </a:lnTo>
                      <a:lnTo>
                        <a:pt x="11973" y="159974"/>
                      </a:lnTo>
                      <a:lnTo>
                        <a:pt x="13062" y="174477"/>
                      </a:lnTo>
                      <a:lnTo>
                        <a:pt x="17416" y="177006"/>
                      </a:lnTo>
                      <a:lnTo>
                        <a:pt x="16327" y="190804"/>
                      </a:lnTo>
                      <a:lnTo>
                        <a:pt x="23242" y="193333"/>
                      </a:lnTo>
                      <a:lnTo>
                        <a:pt x="25035" y="214014"/>
                      </a:lnTo>
                      <a:lnTo>
                        <a:pt x="34479" y="205658"/>
                      </a:lnTo>
                      <a:lnTo>
                        <a:pt x="56953" y="226340"/>
                      </a:lnTo>
                      <a:lnTo>
                        <a:pt x="61307" y="237225"/>
                      </a:lnTo>
                      <a:lnTo>
                        <a:pt x="56953" y="240874"/>
                      </a:lnTo>
                      <a:lnTo>
                        <a:pt x="57689" y="250286"/>
                      </a:lnTo>
                      <a:lnTo>
                        <a:pt x="68926" y="259730"/>
                      </a:lnTo>
                      <a:lnTo>
                        <a:pt x="62780" y="264084"/>
                      </a:lnTo>
                      <a:lnTo>
                        <a:pt x="64572" y="278586"/>
                      </a:lnTo>
                      <a:lnTo>
                        <a:pt x="58778" y="294177"/>
                      </a:lnTo>
                      <a:lnTo>
                        <a:pt x="62043" y="302885"/>
                      </a:lnTo>
                      <a:lnTo>
                        <a:pt x="56953" y="324303"/>
                      </a:lnTo>
                      <a:lnTo>
                        <a:pt x="52599" y="329361"/>
                      </a:lnTo>
                      <a:lnTo>
                        <a:pt x="60219" y="345688"/>
                      </a:lnTo>
                      <a:lnTo>
                        <a:pt x="45716" y="354396"/>
                      </a:lnTo>
                      <a:lnTo>
                        <a:pt x="56953" y="354396"/>
                      </a:lnTo>
                      <a:lnTo>
                        <a:pt x="68926" y="377606"/>
                      </a:lnTo>
                      <a:lnTo>
                        <a:pt x="82724" y="387050"/>
                      </a:lnTo>
                      <a:lnTo>
                        <a:pt x="100844" y="374341"/>
                      </a:lnTo>
                      <a:lnTo>
                        <a:pt x="101581" y="366369"/>
                      </a:lnTo>
                      <a:lnTo>
                        <a:pt x="110289" y="368898"/>
                      </a:lnTo>
                      <a:lnTo>
                        <a:pt x="106671" y="343159"/>
                      </a:lnTo>
                      <a:lnTo>
                        <a:pt x="115379" y="340630"/>
                      </a:lnTo>
                      <a:lnTo>
                        <a:pt x="122262" y="348249"/>
                      </a:lnTo>
                      <a:lnTo>
                        <a:pt x="133499" y="340630"/>
                      </a:lnTo>
                      <a:lnTo>
                        <a:pt x="137853" y="345688"/>
                      </a:lnTo>
                      <a:lnTo>
                        <a:pt x="145472" y="343159"/>
                      </a:lnTo>
                      <a:lnTo>
                        <a:pt x="150562" y="346777"/>
                      </a:lnTo>
                      <a:lnTo>
                        <a:pt x="152387" y="356221"/>
                      </a:lnTo>
                      <a:lnTo>
                        <a:pt x="160359" y="358750"/>
                      </a:lnTo>
                      <a:lnTo>
                        <a:pt x="167978" y="342423"/>
                      </a:lnTo>
                      <a:lnTo>
                        <a:pt x="181744" y="345688"/>
                      </a:lnTo>
                      <a:lnTo>
                        <a:pt x="189363" y="340630"/>
                      </a:lnTo>
                      <a:lnTo>
                        <a:pt x="204250" y="341334"/>
                      </a:lnTo>
                      <a:lnTo>
                        <a:pt x="206779" y="333715"/>
                      </a:lnTo>
                      <a:lnTo>
                        <a:pt x="183569" y="307239"/>
                      </a:lnTo>
                      <a:lnTo>
                        <a:pt x="186834" y="294177"/>
                      </a:lnTo>
                      <a:lnTo>
                        <a:pt x="193013" y="282940"/>
                      </a:lnTo>
                      <a:lnTo>
                        <a:pt x="198808" y="282940"/>
                      </a:lnTo>
                      <a:lnTo>
                        <a:pt x="205691" y="288031"/>
                      </a:lnTo>
                      <a:lnTo>
                        <a:pt x="208220" y="300356"/>
                      </a:lnTo>
                      <a:lnTo>
                        <a:pt x="213662" y="300356"/>
                      </a:lnTo>
                      <a:lnTo>
                        <a:pt x="226372" y="284765"/>
                      </a:lnTo>
                      <a:lnTo>
                        <a:pt x="219489" y="279675"/>
                      </a:lnTo>
                      <a:lnTo>
                        <a:pt x="223843" y="264084"/>
                      </a:lnTo>
                      <a:lnTo>
                        <a:pt x="216928" y="255376"/>
                      </a:lnTo>
                      <a:lnTo>
                        <a:pt x="218016" y="247757"/>
                      </a:lnTo>
                      <a:lnTo>
                        <a:pt x="226372" y="247757"/>
                      </a:lnTo>
                      <a:lnTo>
                        <a:pt x="241258" y="236520"/>
                      </a:lnTo>
                      <a:lnTo>
                        <a:pt x="246316" y="227076"/>
                      </a:lnTo>
                      <a:lnTo>
                        <a:pt x="245228" y="215103"/>
                      </a:lnTo>
                      <a:lnTo>
                        <a:pt x="226372" y="213278"/>
                      </a:lnTo>
                      <a:lnTo>
                        <a:pt x="214398" y="204570"/>
                      </a:lnTo>
                      <a:lnTo>
                        <a:pt x="212574" y="178094"/>
                      </a:lnTo>
                      <a:lnTo>
                        <a:pt x="191925" y="167594"/>
                      </a:lnTo>
                      <a:lnTo>
                        <a:pt x="193013" y="158149"/>
                      </a:lnTo>
                      <a:lnTo>
                        <a:pt x="202425" y="148737"/>
                      </a:lnTo>
                      <a:lnTo>
                        <a:pt x="202425" y="140030"/>
                      </a:lnTo>
                      <a:lnTo>
                        <a:pt x="196278" y="133114"/>
                      </a:lnTo>
                      <a:lnTo>
                        <a:pt x="196278" y="128056"/>
                      </a:lnTo>
                      <a:lnTo>
                        <a:pt x="206779" y="114258"/>
                      </a:lnTo>
                      <a:lnTo>
                        <a:pt x="215135" y="113522"/>
                      </a:lnTo>
                      <a:lnTo>
                        <a:pt x="229989" y="102285"/>
                      </a:lnTo>
                      <a:lnTo>
                        <a:pt x="242699" y="109168"/>
                      </a:lnTo>
                      <a:lnTo>
                        <a:pt x="246316" y="107375"/>
                      </a:lnTo>
                      <a:lnTo>
                        <a:pt x="253936" y="106639"/>
                      </a:lnTo>
                      <a:lnTo>
                        <a:pt x="253232" y="99756"/>
                      </a:lnTo>
                      <a:lnTo>
                        <a:pt x="263380" y="92841"/>
                      </a:lnTo>
                      <a:lnTo>
                        <a:pt x="272088" y="69631"/>
                      </a:lnTo>
                      <a:lnTo>
                        <a:pt x="257585" y="48949"/>
                      </a:lnTo>
                      <a:lnTo>
                        <a:pt x="235079" y="39537"/>
                      </a:lnTo>
                      <a:lnTo>
                        <a:pt x="225635" y="47157"/>
                      </a:lnTo>
                      <a:lnTo>
                        <a:pt x="225635" y="53303"/>
                      </a:lnTo>
                      <a:lnTo>
                        <a:pt x="210045" y="50774"/>
                      </a:lnTo>
                      <a:lnTo>
                        <a:pt x="199896" y="60218"/>
                      </a:lnTo>
                      <a:lnTo>
                        <a:pt x="194454" y="59130"/>
                      </a:lnTo>
                      <a:lnTo>
                        <a:pt x="186098" y="71455"/>
                      </a:lnTo>
                      <a:lnTo>
                        <a:pt x="167242" y="62011"/>
                      </a:lnTo>
                      <a:lnTo>
                        <a:pt x="164328" y="63484"/>
                      </a:lnTo>
                      <a:lnTo>
                        <a:pt x="150562" y="65277"/>
                      </a:lnTo>
                      <a:lnTo>
                        <a:pt x="147297" y="57657"/>
                      </a:lnTo>
                      <a:lnTo>
                        <a:pt x="141118" y="58394"/>
                      </a:lnTo>
                      <a:lnTo>
                        <a:pt x="130970" y="51511"/>
                      </a:lnTo>
                      <a:lnTo>
                        <a:pt x="128441" y="46420"/>
                      </a:lnTo>
                      <a:lnTo>
                        <a:pt x="141118" y="45684"/>
                      </a:lnTo>
                      <a:lnTo>
                        <a:pt x="140414" y="33359"/>
                      </a:lnTo>
                      <a:lnTo>
                        <a:pt x="126616" y="26476"/>
                      </a:lnTo>
                      <a:lnTo>
                        <a:pt x="126616" y="15591"/>
                      </a:lnTo>
                      <a:lnTo>
                        <a:pt x="119733" y="5058"/>
                      </a:lnTo>
                      <a:lnTo>
                        <a:pt x="110289" y="5795"/>
                      </a:lnTo>
                      <a:lnTo>
                        <a:pt x="108464" y="15591"/>
                      </a:lnTo>
                      <a:lnTo>
                        <a:pt x="101581" y="17032"/>
                      </a:lnTo>
                      <a:lnTo>
                        <a:pt x="93961" y="1197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8" name="Forma Livre: Forma 237">
                  <a:extLst>
                    <a:ext uri="{FF2B5EF4-FFF2-40B4-BE49-F238E27FC236}">
                      <a16:creationId xmlns:a16="http://schemas.microsoft.com/office/drawing/2014/main" id="{AD12E688-34F0-8F8E-BCC6-F87370A2A277}"/>
                    </a:ext>
                  </a:extLst>
                </p:cNvPr>
                <p:cNvSpPr/>
                <p:nvPr/>
              </p:nvSpPr>
              <p:spPr>
                <a:xfrm>
                  <a:off x="2248586" y="5134904"/>
                  <a:ext cx="272087" cy="387050"/>
                </a:xfrm>
                <a:custGeom>
                  <a:avLst/>
                  <a:gdLst>
                    <a:gd name="csX0" fmla="*/ 93961 w 272087"/>
                    <a:gd name="csY0" fmla="*/ 11973 h 387050"/>
                    <a:gd name="csX1" fmla="*/ 97227 w 272087"/>
                    <a:gd name="csY1" fmla="*/ 5795 h 387050"/>
                    <a:gd name="csX2" fmla="*/ 81988 w 272087"/>
                    <a:gd name="csY2" fmla="*/ 0 h 387050"/>
                    <a:gd name="csX3" fmla="*/ 71487 w 272087"/>
                    <a:gd name="csY3" fmla="*/ 17032 h 387050"/>
                    <a:gd name="csX4" fmla="*/ 90344 w 272087"/>
                    <a:gd name="csY4" fmla="*/ 29005 h 387050"/>
                    <a:gd name="csX5" fmla="*/ 86342 w 272087"/>
                    <a:gd name="csY5" fmla="*/ 33359 h 387050"/>
                    <a:gd name="csX6" fmla="*/ 90344 w 272087"/>
                    <a:gd name="csY6" fmla="*/ 37712 h 387050"/>
                    <a:gd name="csX7" fmla="*/ 81988 w 272087"/>
                    <a:gd name="csY7" fmla="*/ 42803 h 387050"/>
                    <a:gd name="csX8" fmla="*/ 77634 w 272087"/>
                    <a:gd name="csY8" fmla="*/ 53303 h 387050"/>
                    <a:gd name="csX9" fmla="*/ 56953 w 272087"/>
                    <a:gd name="csY9" fmla="*/ 57657 h 387050"/>
                    <a:gd name="csX10" fmla="*/ 61307 w 272087"/>
                    <a:gd name="csY10" fmla="*/ 69631 h 387050"/>
                    <a:gd name="csX11" fmla="*/ 56953 w 272087"/>
                    <a:gd name="csY11" fmla="*/ 75809 h 387050"/>
                    <a:gd name="csX12" fmla="*/ 62043 w 272087"/>
                    <a:gd name="csY12" fmla="*/ 76546 h 387050"/>
                    <a:gd name="csX13" fmla="*/ 64572 w 272087"/>
                    <a:gd name="csY13" fmla="*/ 87783 h 387050"/>
                    <a:gd name="csX14" fmla="*/ 60219 w 272087"/>
                    <a:gd name="csY14" fmla="*/ 93577 h 387050"/>
                    <a:gd name="csX15" fmla="*/ 51895 w 272087"/>
                    <a:gd name="csY15" fmla="*/ 94666 h 387050"/>
                    <a:gd name="csX16" fmla="*/ 40658 w 272087"/>
                    <a:gd name="csY16" fmla="*/ 96106 h 387050"/>
                    <a:gd name="csX17" fmla="*/ 31214 w 272087"/>
                    <a:gd name="csY17" fmla="*/ 88487 h 387050"/>
                    <a:gd name="csX18" fmla="*/ 11973 w 272087"/>
                    <a:gd name="csY18" fmla="*/ 99756 h 387050"/>
                    <a:gd name="csX19" fmla="*/ 9444 w 272087"/>
                    <a:gd name="csY19" fmla="*/ 113522 h 387050"/>
                    <a:gd name="csX20" fmla="*/ 2561 w 272087"/>
                    <a:gd name="csY20" fmla="*/ 121141 h 387050"/>
                    <a:gd name="csX21" fmla="*/ 0 w 272087"/>
                    <a:gd name="csY21" fmla="*/ 128056 h 387050"/>
                    <a:gd name="csX22" fmla="*/ 4354 w 272087"/>
                    <a:gd name="csY22" fmla="*/ 127320 h 387050"/>
                    <a:gd name="csX23" fmla="*/ 8004 w 272087"/>
                    <a:gd name="csY23" fmla="*/ 136764 h 387050"/>
                    <a:gd name="csX24" fmla="*/ 6915 w 272087"/>
                    <a:gd name="csY24" fmla="*/ 158149 h 387050"/>
                    <a:gd name="csX25" fmla="*/ 11973 w 272087"/>
                    <a:gd name="csY25" fmla="*/ 159974 h 387050"/>
                    <a:gd name="csX26" fmla="*/ 13062 w 272087"/>
                    <a:gd name="csY26" fmla="*/ 174477 h 387050"/>
                    <a:gd name="csX27" fmla="*/ 17416 w 272087"/>
                    <a:gd name="csY27" fmla="*/ 177006 h 387050"/>
                    <a:gd name="csX28" fmla="*/ 16327 w 272087"/>
                    <a:gd name="csY28" fmla="*/ 190804 h 387050"/>
                    <a:gd name="csX29" fmla="*/ 23242 w 272087"/>
                    <a:gd name="csY29" fmla="*/ 193333 h 387050"/>
                    <a:gd name="csX30" fmla="*/ 25035 w 272087"/>
                    <a:gd name="csY30" fmla="*/ 214014 h 387050"/>
                    <a:gd name="csX31" fmla="*/ 34479 w 272087"/>
                    <a:gd name="csY31" fmla="*/ 205658 h 387050"/>
                    <a:gd name="csX32" fmla="*/ 56953 w 272087"/>
                    <a:gd name="csY32" fmla="*/ 226340 h 387050"/>
                    <a:gd name="csX33" fmla="*/ 61307 w 272087"/>
                    <a:gd name="csY33" fmla="*/ 237225 h 387050"/>
                    <a:gd name="csX34" fmla="*/ 56953 w 272087"/>
                    <a:gd name="csY34" fmla="*/ 240874 h 387050"/>
                    <a:gd name="csX35" fmla="*/ 57689 w 272087"/>
                    <a:gd name="csY35" fmla="*/ 250286 h 387050"/>
                    <a:gd name="csX36" fmla="*/ 68926 w 272087"/>
                    <a:gd name="csY36" fmla="*/ 259730 h 387050"/>
                    <a:gd name="csX37" fmla="*/ 62780 w 272087"/>
                    <a:gd name="csY37" fmla="*/ 264084 h 387050"/>
                    <a:gd name="csX38" fmla="*/ 64572 w 272087"/>
                    <a:gd name="csY38" fmla="*/ 278586 h 387050"/>
                    <a:gd name="csX39" fmla="*/ 58778 w 272087"/>
                    <a:gd name="csY39" fmla="*/ 294177 h 387050"/>
                    <a:gd name="csX40" fmla="*/ 62043 w 272087"/>
                    <a:gd name="csY40" fmla="*/ 302885 h 387050"/>
                    <a:gd name="csX41" fmla="*/ 56953 w 272087"/>
                    <a:gd name="csY41" fmla="*/ 324303 h 387050"/>
                    <a:gd name="csX42" fmla="*/ 52599 w 272087"/>
                    <a:gd name="csY42" fmla="*/ 329361 h 387050"/>
                    <a:gd name="csX43" fmla="*/ 60219 w 272087"/>
                    <a:gd name="csY43" fmla="*/ 345688 h 387050"/>
                    <a:gd name="csX44" fmla="*/ 45716 w 272087"/>
                    <a:gd name="csY44" fmla="*/ 354396 h 387050"/>
                    <a:gd name="csX45" fmla="*/ 56953 w 272087"/>
                    <a:gd name="csY45" fmla="*/ 354396 h 387050"/>
                    <a:gd name="csX46" fmla="*/ 68926 w 272087"/>
                    <a:gd name="csY46" fmla="*/ 377606 h 387050"/>
                    <a:gd name="csX47" fmla="*/ 82724 w 272087"/>
                    <a:gd name="csY47" fmla="*/ 387050 h 387050"/>
                    <a:gd name="csX48" fmla="*/ 100844 w 272087"/>
                    <a:gd name="csY48" fmla="*/ 374341 h 387050"/>
                    <a:gd name="csX49" fmla="*/ 101581 w 272087"/>
                    <a:gd name="csY49" fmla="*/ 366369 h 387050"/>
                    <a:gd name="csX50" fmla="*/ 110289 w 272087"/>
                    <a:gd name="csY50" fmla="*/ 368898 h 387050"/>
                    <a:gd name="csX51" fmla="*/ 106671 w 272087"/>
                    <a:gd name="csY51" fmla="*/ 343159 h 387050"/>
                    <a:gd name="csX52" fmla="*/ 115379 w 272087"/>
                    <a:gd name="csY52" fmla="*/ 340630 h 387050"/>
                    <a:gd name="csX53" fmla="*/ 122262 w 272087"/>
                    <a:gd name="csY53" fmla="*/ 348249 h 387050"/>
                    <a:gd name="csX54" fmla="*/ 133499 w 272087"/>
                    <a:gd name="csY54" fmla="*/ 340630 h 387050"/>
                    <a:gd name="csX55" fmla="*/ 137853 w 272087"/>
                    <a:gd name="csY55" fmla="*/ 345688 h 387050"/>
                    <a:gd name="csX56" fmla="*/ 145472 w 272087"/>
                    <a:gd name="csY56" fmla="*/ 343159 h 387050"/>
                    <a:gd name="csX57" fmla="*/ 150562 w 272087"/>
                    <a:gd name="csY57" fmla="*/ 346777 h 387050"/>
                    <a:gd name="csX58" fmla="*/ 152387 w 272087"/>
                    <a:gd name="csY58" fmla="*/ 356221 h 387050"/>
                    <a:gd name="csX59" fmla="*/ 160359 w 272087"/>
                    <a:gd name="csY59" fmla="*/ 358750 h 387050"/>
                    <a:gd name="csX60" fmla="*/ 167978 w 272087"/>
                    <a:gd name="csY60" fmla="*/ 342423 h 387050"/>
                    <a:gd name="csX61" fmla="*/ 181744 w 272087"/>
                    <a:gd name="csY61" fmla="*/ 345688 h 387050"/>
                    <a:gd name="csX62" fmla="*/ 189363 w 272087"/>
                    <a:gd name="csY62" fmla="*/ 340630 h 387050"/>
                    <a:gd name="csX63" fmla="*/ 204250 w 272087"/>
                    <a:gd name="csY63" fmla="*/ 341334 h 387050"/>
                    <a:gd name="csX64" fmla="*/ 206779 w 272087"/>
                    <a:gd name="csY64" fmla="*/ 333715 h 387050"/>
                    <a:gd name="csX65" fmla="*/ 183569 w 272087"/>
                    <a:gd name="csY65" fmla="*/ 307239 h 387050"/>
                    <a:gd name="csX66" fmla="*/ 186834 w 272087"/>
                    <a:gd name="csY66" fmla="*/ 294177 h 387050"/>
                    <a:gd name="csX67" fmla="*/ 193013 w 272087"/>
                    <a:gd name="csY67" fmla="*/ 282940 h 387050"/>
                    <a:gd name="csX68" fmla="*/ 198808 w 272087"/>
                    <a:gd name="csY68" fmla="*/ 282940 h 387050"/>
                    <a:gd name="csX69" fmla="*/ 205691 w 272087"/>
                    <a:gd name="csY69" fmla="*/ 288031 h 387050"/>
                    <a:gd name="csX70" fmla="*/ 208220 w 272087"/>
                    <a:gd name="csY70" fmla="*/ 300356 h 387050"/>
                    <a:gd name="csX71" fmla="*/ 213662 w 272087"/>
                    <a:gd name="csY71" fmla="*/ 300356 h 387050"/>
                    <a:gd name="csX72" fmla="*/ 226372 w 272087"/>
                    <a:gd name="csY72" fmla="*/ 284765 h 387050"/>
                    <a:gd name="csX73" fmla="*/ 219489 w 272087"/>
                    <a:gd name="csY73" fmla="*/ 279675 h 387050"/>
                    <a:gd name="csX74" fmla="*/ 223843 w 272087"/>
                    <a:gd name="csY74" fmla="*/ 264084 h 387050"/>
                    <a:gd name="csX75" fmla="*/ 216928 w 272087"/>
                    <a:gd name="csY75" fmla="*/ 255376 h 387050"/>
                    <a:gd name="csX76" fmla="*/ 218016 w 272087"/>
                    <a:gd name="csY76" fmla="*/ 247757 h 387050"/>
                    <a:gd name="csX77" fmla="*/ 226372 w 272087"/>
                    <a:gd name="csY77" fmla="*/ 247757 h 387050"/>
                    <a:gd name="csX78" fmla="*/ 241258 w 272087"/>
                    <a:gd name="csY78" fmla="*/ 236520 h 387050"/>
                    <a:gd name="csX79" fmla="*/ 246316 w 272087"/>
                    <a:gd name="csY79" fmla="*/ 227076 h 387050"/>
                    <a:gd name="csX80" fmla="*/ 245228 w 272087"/>
                    <a:gd name="csY80" fmla="*/ 215103 h 387050"/>
                    <a:gd name="csX81" fmla="*/ 226372 w 272087"/>
                    <a:gd name="csY81" fmla="*/ 213278 h 387050"/>
                    <a:gd name="csX82" fmla="*/ 214398 w 272087"/>
                    <a:gd name="csY82" fmla="*/ 204570 h 387050"/>
                    <a:gd name="csX83" fmla="*/ 212574 w 272087"/>
                    <a:gd name="csY83" fmla="*/ 178094 h 387050"/>
                    <a:gd name="csX84" fmla="*/ 191925 w 272087"/>
                    <a:gd name="csY84" fmla="*/ 167594 h 387050"/>
                    <a:gd name="csX85" fmla="*/ 193013 w 272087"/>
                    <a:gd name="csY85" fmla="*/ 158149 h 387050"/>
                    <a:gd name="csX86" fmla="*/ 202425 w 272087"/>
                    <a:gd name="csY86" fmla="*/ 148737 h 387050"/>
                    <a:gd name="csX87" fmla="*/ 202425 w 272087"/>
                    <a:gd name="csY87" fmla="*/ 140030 h 387050"/>
                    <a:gd name="csX88" fmla="*/ 196278 w 272087"/>
                    <a:gd name="csY88" fmla="*/ 133114 h 387050"/>
                    <a:gd name="csX89" fmla="*/ 196278 w 272087"/>
                    <a:gd name="csY89" fmla="*/ 128056 h 387050"/>
                    <a:gd name="csX90" fmla="*/ 206779 w 272087"/>
                    <a:gd name="csY90" fmla="*/ 114258 h 387050"/>
                    <a:gd name="csX91" fmla="*/ 215135 w 272087"/>
                    <a:gd name="csY91" fmla="*/ 113522 h 387050"/>
                    <a:gd name="csX92" fmla="*/ 229989 w 272087"/>
                    <a:gd name="csY92" fmla="*/ 102285 h 387050"/>
                    <a:gd name="csX93" fmla="*/ 242699 w 272087"/>
                    <a:gd name="csY93" fmla="*/ 109168 h 387050"/>
                    <a:gd name="csX94" fmla="*/ 246316 w 272087"/>
                    <a:gd name="csY94" fmla="*/ 107375 h 387050"/>
                    <a:gd name="csX95" fmla="*/ 253936 w 272087"/>
                    <a:gd name="csY95" fmla="*/ 106639 h 387050"/>
                    <a:gd name="csX96" fmla="*/ 253232 w 272087"/>
                    <a:gd name="csY96" fmla="*/ 99756 h 387050"/>
                    <a:gd name="csX97" fmla="*/ 263380 w 272087"/>
                    <a:gd name="csY97" fmla="*/ 92841 h 387050"/>
                    <a:gd name="csX98" fmla="*/ 272088 w 272087"/>
                    <a:gd name="csY98" fmla="*/ 69631 h 387050"/>
                    <a:gd name="csX99" fmla="*/ 257585 w 272087"/>
                    <a:gd name="csY99" fmla="*/ 48949 h 387050"/>
                    <a:gd name="csX100" fmla="*/ 235079 w 272087"/>
                    <a:gd name="csY100" fmla="*/ 39537 h 387050"/>
                    <a:gd name="csX101" fmla="*/ 225635 w 272087"/>
                    <a:gd name="csY101" fmla="*/ 47157 h 387050"/>
                    <a:gd name="csX102" fmla="*/ 225635 w 272087"/>
                    <a:gd name="csY102" fmla="*/ 53303 h 387050"/>
                    <a:gd name="csX103" fmla="*/ 210045 w 272087"/>
                    <a:gd name="csY103" fmla="*/ 50774 h 387050"/>
                    <a:gd name="csX104" fmla="*/ 199896 w 272087"/>
                    <a:gd name="csY104" fmla="*/ 60218 h 387050"/>
                    <a:gd name="csX105" fmla="*/ 194454 w 272087"/>
                    <a:gd name="csY105" fmla="*/ 59130 h 387050"/>
                    <a:gd name="csX106" fmla="*/ 186098 w 272087"/>
                    <a:gd name="csY106" fmla="*/ 71455 h 387050"/>
                    <a:gd name="csX107" fmla="*/ 167242 w 272087"/>
                    <a:gd name="csY107" fmla="*/ 62011 h 387050"/>
                    <a:gd name="csX108" fmla="*/ 164328 w 272087"/>
                    <a:gd name="csY108" fmla="*/ 63484 h 387050"/>
                    <a:gd name="csX109" fmla="*/ 150562 w 272087"/>
                    <a:gd name="csY109" fmla="*/ 65277 h 387050"/>
                    <a:gd name="csX110" fmla="*/ 147297 w 272087"/>
                    <a:gd name="csY110" fmla="*/ 57657 h 387050"/>
                    <a:gd name="csX111" fmla="*/ 141118 w 272087"/>
                    <a:gd name="csY111" fmla="*/ 58394 h 387050"/>
                    <a:gd name="csX112" fmla="*/ 130970 w 272087"/>
                    <a:gd name="csY112" fmla="*/ 51511 h 387050"/>
                    <a:gd name="csX113" fmla="*/ 128441 w 272087"/>
                    <a:gd name="csY113" fmla="*/ 46420 h 387050"/>
                    <a:gd name="csX114" fmla="*/ 141118 w 272087"/>
                    <a:gd name="csY114" fmla="*/ 45684 h 387050"/>
                    <a:gd name="csX115" fmla="*/ 140414 w 272087"/>
                    <a:gd name="csY115" fmla="*/ 33359 h 387050"/>
                    <a:gd name="csX116" fmla="*/ 126616 w 272087"/>
                    <a:gd name="csY116" fmla="*/ 26476 h 387050"/>
                    <a:gd name="csX117" fmla="*/ 126616 w 272087"/>
                    <a:gd name="csY117" fmla="*/ 15591 h 387050"/>
                    <a:gd name="csX118" fmla="*/ 119733 w 272087"/>
                    <a:gd name="csY118" fmla="*/ 5058 h 387050"/>
                    <a:gd name="csX119" fmla="*/ 110289 w 272087"/>
                    <a:gd name="csY119" fmla="*/ 5795 h 387050"/>
                    <a:gd name="csX120" fmla="*/ 108464 w 272087"/>
                    <a:gd name="csY120" fmla="*/ 15591 h 387050"/>
                    <a:gd name="csX121" fmla="*/ 101581 w 272087"/>
                    <a:gd name="csY121" fmla="*/ 17032 h 387050"/>
                    <a:gd name="csX122" fmla="*/ 93961 w 272087"/>
                    <a:gd name="csY122" fmla="*/ 11973 h 3870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</a:cxnLst>
                  <a:rect l="l" t="t" r="r" b="b"/>
                  <a:pathLst>
                    <a:path w="272087" h="387050">
                      <a:moveTo>
                        <a:pt x="93961" y="11973"/>
                      </a:moveTo>
                      <a:lnTo>
                        <a:pt x="97227" y="5795"/>
                      </a:lnTo>
                      <a:lnTo>
                        <a:pt x="81988" y="0"/>
                      </a:lnTo>
                      <a:lnTo>
                        <a:pt x="71487" y="17032"/>
                      </a:lnTo>
                      <a:lnTo>
                        <a:pt x="90344" y="29005"/>
                      </a:lnTo>
                      <a:lnTo>
                        <a:pt x="86342" y="33359"/>
                      </a:lnTo>
                      <a:lnTo>
                        <a:pt x="90344" y="37712"/>
                      </a:lnTo>
                      <a:lnTo>
                        <a:pt x="81988" y="42803"/>
                      </a:lnTo>
                      <a:lnTo>
                        <a:pt x="77634" y="53303"/>
                      </a:lnTo>
                      <a:lnTo>
                        <a:pt x="56953" y="57657"/>
                      </a:lnTo>
                      <a:lnTo>
                        <a:pt x="61307" y="69631"/>
                      </a:lnTo>
                      <a:lnTo>
                        <a:pt x="56953" y="75809"/>
                      </a:lnTo>
                      <a:lnTo>
                        <a:pt x="62043" y="76546"/>
                      </a:lnTo>
                      <a:lnTo>
                        <a:pt x="64572" y="87783"/>
                      </a:lnTo>
                      <a:lnTo>
                        <a:pt x="60219" y="93577"/>
                      </a:lnTo>
                      <a:lnTo>
                        <a:pt x="51895" y="94666"/>
                      </a:lnTo>
                      <a:lnTo>
                        <a:pt x="40658" y="96106"/>
                      </a:lnTo>
                      <a:lnTo>
                        <a:pt x="31214" y="88487"/>
                      </a:lnTo>
                      <a:lnTo>
                        <a:pt x="11973" y="99756"/>
                      </a:lnTo>
                      <a:lnTo>
                        <a:pt x="9444" y="113522"/>
                      </a:lnTo>
                      <a:lnTo>
                        <a:pt x="2561" y="121141"/>
                      </a:lnTo>
                      <a:lnTo>
                        <a:pt x="0" y="128056"/>
                      </a:lnTo>
                      <a:lnTo>
                        <a:pt x="4354" y="127320"/>
                      </a:lnTo>
                      <a:lnTo>
                        <a:pt x="8004" y="136764"/>
                      </a:lnTo>
                      <a:lnTo>
                        <a:pt x="6915" y="158149"/>
                      </a:lnTo>
                      <a:lnTo>
                        <a:pt x="11973" y="159974"/>
                      </a:lnTo>
                      <a:lnTo>
                        <a:pt x="13062" y="174477"/>
                      </a:lnTo>
                      <a:lnTo>
                        <a:pt x="17416" y="177006"/>
                      </a:lnTo>
                      <a:lnTo>
                        <a:pt x="16327" y="190804"/>
                      </a:lnTo>
                      <a:lnTo>
                        <a:pt x="23242" y="193333"/>
                      </a:lnTo>
                      <a:lnTo>
                        <a:pt x="25035" y="214014"/>
                      </a:lnTo>
                      <a:lnTo>
                        <a:pt x="34479" y="205658"/>
                      </a:lnTo>
                      <a:lnTo>
                        <a:pt x="56953" y="226340"/>
                      </a:lnTo>
                      <a:lnTo>
                        <a:pt x="61307" y="237225"/>
                      </a:lnTo>
                      <a:lnTo>
                        <a:pt x="56953" y="240874"/>
                      </a:lnTo>
                      <a:lnTo>
                        <a:pt x="57689" y="250286"/>
                      </a:lnTo>
                      <a:lnTo>
                        <a:pt x="68926" y="259730"/>
                      </a:lnTo>
                      <a:lnTo>
                        <a:pt x="62780" y="264084"/>
                      </a:lnTo>
                      <a:lnTo>
                        <a:pt x="64572" y="278586"/>
                      </a:lnTo>
                      <a:lnTo>
                        <a:pt x="58778" y="294177"/>
                      </a:lnTo>
                      <a:lnTo>
                        <a:pt x="62043" y="302885"/>
                      </a:lnTo>
                      <a:lnTo>
                        <a:pt x="56953" y="324303"/>
                      </a:lnTo>
                      <a:lnTo>
                        <a:pt x="52599" y="329361"/>
                      </a:lnTo>
                      <a:lnTo>
                        <a:pt x="60219" y="345688"/>
                      </a:lnTo>
                      <a:lnTo>
                        <a:pt x="45716" y="354396"/>
                      </a:lnTo>
                      <a:lnTo>
                        <a:pt x="56953" y="354396"/>
                      </a:lnTo>
                      <a:lnTo>
                        <a:pt x="68926" y="377606"/>
                      </a:lnTo>
                      <a:lnTo>
                        <a:pt x="82724" y="387050"/>
                      </a:lnTo>
                      <a:lnTo>
                        <a:pt x="100844" y="374341"/>
                      </a:lnTo>
                      <a:lnTo>
                        <a:pt x="101581" y="366369"/>
                      </a:lnTo>
                      <a:lnTo>
                        <a:pt x="110289" y="368898"/>
                      </a:lnTo>
                      <a:lnTo>
                        <a:pt x="106671" y="343159"/>
                      </a:lnTo>
                      <a:lnTo>
                        <a:pt x="115379" y="340630"/>
                      </a:lnTo>
                      <a:lnTo>
                        <a:pt x="122262" y="348249"/>
                      </a:lnTo>
                      <a:lnTo>
                        <a:pt x="133499" y="340630"/>
                      </a:lnTo>
                      <a:lnTo>
                        <a:pt x="137853" y="345688"/>
                      </a:lnTo>
                      <a:lnTo>
                        <a:pt x="145472" y="343159"/>
                      </a:lnTo>
                      <a:lnTo>
                        <a:pt x="150562" y="346777"/>
                      </a:lnTo>
                      <a:lnTo>
                        <a:pt x="152387" y="356221"/>
                      </a:lnTo>
                      <a:lnTo>
                        <a:pt x="160359" y="358750"/>
                      </a:lnTo>
                      <a:lnTo>
                        <a:pt x="167978" y="342423"/>
                      </a:lnTo>
                      <a:lnTo>
                        <a:pt x="181744" y="345688"/>
                      </a:lnTo>
                      <a:lnTo>
                        <a:pt x="189363" y="340630"/>
                      </a:lnTo>
                      <a:lnTo>
                        <a:pt x="204250" y="341334"/>
                      </a:lnTo>
                      <a:lnTo>
                        <a:pt x="206779" y="333715"/>
                      </a:lnTo>
                      <a:lnTo>
                        <a:pt x="183569" y="307239"/>
                      </a:lnTo>
                      <a:lnTo>
                        <a:pt x="186834" y="294177"/>
                      </a:lnTo>
                      <a:lnTo>
                        <a:pt x="193013" y="282940"/>
                      </a:lnTo>
                      <a:lnTo>
                        <a:pt x="198808" y="282940"/>
                      </a:lnTo>
                      <a:lnTo>
                        <a:pt x="205691" y="288031"/>
                      </a:lnTo>
                      <a:lnTo>
                        <a:pt x="208220" y="300356"/>
                      </a:lnTo>
                      <a:lnTo>
                        <a:pt x="213662" y="300356"/>
                      </a:lnTo>
                      <a:lnTo>
                        <a:pt x="226372" y="284765"/>
                      </a:lnTo>
                      <a:lnTo>
                        <a:pt x="219489" y="279675"/>
                      </a:lnTo>
                      <a:lnTo>
                        <a:pt x="223843" y="264084"/>
                      </a:lnTo>
                      <a:lnTo>
                        <a:pt x="216928" y="255376"/>
                      </a:lnTo>
                      <a:lnTo>
                        <a:pt x="218016" y="247757"/>
                      </a:lnTo>
                      <a:lnTo>
                        <a:pt x="226372" y="247757"/>
                      </a:lnTo>
                      <a:lnTo>
                        <a:pt x="241258" y="236520"/>
                      </a:lnTo>
                      <a:lnTo>
                        <a:pt x="246316" y="227076"/>
                      </a:lnTo>
                      <a:lnTo>
                        <a:pt x="245228" y="215103"/>
                      </a:lnTo>
                      <a:lnTo>
                        <a:pt x="226372" y="213278"/>
                      </a:lnTo>
                      <a:lnTo>
                        <a:pt x="214398" y="204570"/>
                      </a:lnTo>
                      <a:lnTo>
                        <a:pt x="212574" y="178094"/>
                      </a:lnTo>
                      <a:lnTo>
                        <a:pt x="191925" y="167594"/>
                      </a:lnTo>
                      <a:lnTo>
                        <a:pt x="193013" y="158149"/>
                      </a:lnTo>
                      <a:lnTo>
                        <a:pt x="202425" y="148737"/>
                      </a:lnTo>
                      <a:lnTo>
                        <a:pt x="202425" y="140030"/>
                      </a:lnTo>
                      <a:lnTo>
                        <a:pt x="196278" y="133114"/>
                      </a:lnTo>
                      <a:lnTo>
                        <a:pt x="196278" y="128056"/>
                      </a:lnTo>
                      <a:lnTo>
                        <a:pt x="206779" y="114258"/>
                      </a:lnTo>
                      <a:lnTo>
                        <a:pt x="215135" y="113522"/>
                      </a:lnTo>
                      <a:lnTo>
                        <a:pt x="229989" y="102285"/>
                      </a:lnTo>
                      <a:lnTo>
                        <a:pt x="242699" y="109168"/>
                      </a:lnTo>
                      <a:lnTo>
                        <a:pt x="246316" y="107375"/>
                      </a:lnTo>
                      <a:lnTo>
                        <a:pt x="253936" y="106639"/>
                      </a:lnTo>
                      <a:lnTo>
                        <a:pt x="253232" y="99756"/>
                      </a:lnTo>
                      <a:lnTo>
                        <a:pt x="263380" y="92841"/>
                      </a:lnTo>
                      <a:lnTo>
                        <a:pt x="272088" y="69631"/>
                      </a:lnTo>
                      <a:lnTo>
                        <a:pt x="257585" y="48949"/>
                      </a:lnTo>
                      <a:lnTo>
                        <a:pt x="235079" y="39537"/>
                      </a:lnTo>
                      <a:lnTo>
                        <a:pt x="225635" y="47157"/>
                      </a:lnTo>
                      <a:lnTo>
                        <a:pt x="225635" y="53303"/>
                      </a:lnTo>
                      <a:lnTo>
                        <a:pt x="210045" y="50774"/>
                      </a:lnTo>
                      <a:lnTo>
                        <a:pt x="199896" y="60218"/>
                      </a:lnTo>
                      <a:lnTo>
                        <a:pt x="194454" y="59130"/>
                      </a:lnTo>
                      <a:lnTo>
                        <a:pt x="186098" y="71455"/>
                      </a:lnTo>
                      <a:lnTo>
                        <a:pt x="167242" y="62011"/>
                      </a:lnTo>
                      <a:lnTo>
                        <a:pt x="164328" y="63484"/>
                      </a:lnTo>
                      <a:lnTo>
                        <a:pt x="150562" y="65277"/>
                      </a:lnTo>
                      <a:lnTo>
                        <a:pt x="147297" y="57657"/>
                      </a:lnTo>
                      <a:lnTo>
                        <a:pt x="141118" y="58394"/>
                      </a:lnTo>
                      <a:lnTo>
                        <a:pt x="130970" y="51511"/>
                      </a:lnTo>
                      <a:lnTo>
                        <a:pt x="128441" y="46420"/>
                      </a:lnTo>
                      <a:lnTo>
                        <a:pt x="141118" y="45684"/>
                      </a:lnTo>
                      <a:lnTo>
                        <a:pt x="140414" y="33359"/>
                      </a:lnTo>
                      <a:lnTo>
                        <a:pt x="126616" y="26476"/>
                      </a:lnTo>
                      <a:lnTo>
                        <a:pt x="126616" y="15591"/>
                      </a:lnTo>
                      <a:lnTo>
                        <a:pt x="119733" y="5058"/>
                      </a:lnTo>
                      <a:lnTo>
                        <a:pt x="110289" y="5795"/>
                      </a:lnTo>
                      <a:lnTo>
                        <a:pt x="108464" y="15591"/>
                      </a:lnTo>
                      <a:lnTo>
                        <a:pt x="101581" y="17032"/>
                      </a:lnTo>
                      <a:lnTo>
                        <a:pt x="93961" y="1197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39" name="Forma Livre: Forma 238">
                  <a:extLst>
                    <a:ext uri="{FF2B5EF4-FFF2-40B4-BE49-F238E27FC236}">
                      <a16:creationId xmlns:a16="http://schemas.microsoft.com/office/drawing/2014/main" id="{174739A3-9D7E-84F3-9F02-DBB725764605}"/>
                    </a:ext>
                  </a:extLst>
                </p:cNvPr>
                <p:cNvSpPr/>
                <p:nvPr/>
              </p:nvSpPr>
              <p:spPr>
                <a:xfrm>
                  <a:off x="2248586" y="5134904"/>
                  <a:ext cx="272087" cy="387050"/>
                </a:xfrm>
                <a:custGeom>
                  <a:avLst/>
                  <a:gdLst>
                    <a:gd name="csX0" fmla="*/ 93961 w 272087"/>
                    <a:gd name="csY0" fmla="*/ 11973 h 387050"/>
                    <a:gd name="csX1" fmla="*/ 97227 w 272087"/>
                    <a:gd name="csY1" fmla="*/ 5795 h 387050"/>
                    <a:gd name="csX2" fmla="*/ 81988 w 272087"/>
                    <a:gd name="csY2" fmla="*/ 0 h 387050"/>
                    <a:gd name="csX3" fmla="*/ 71487 w 272087"/>
                    <a:gd name="csY3" fmla="*/ 17032 h 387050"/>
                    <a:gd name="csX4" fmla="*/ 90344 w 272087"/>
                    <a:gd name="csY4" fmla="*/ 29005 h 387050"/>
                    <a:gd name="csX5" fmla="*/ 86342 w 272087"/>
                    <a:gd name="csY5" fmla="*/ 33359 h 387050"/>
                    <a:gd name="csX6" fmla="*/ 90344 w 272087"/>
                    <a:gd name="csY6" fmla="*/ 37712 h 387050"/>
                    <a:gd name="csX7" fmla="*/ 81988 w 272087"/>
                    <a:gd name="csY7" fmla="*/ 42803 h 387050"/>
                    <a:gd name="csX8" fmla="*/ 77634 w 272087"/>
                    <a:gd name="csY8" fmla="*/ 53303 h 387050"/>
                    <a:gd name="csX9" fmla="*/ 56953 w 272087"/>
                    <a:gd name="csY9" fmla="*/ 57657 h 387050"/>
                    <a:gd name="csX10" fmla="*/ 61307 w 272087"/>
                    <a:gd name="csY10" fmla="*/ 69631 h 387050"/>
                    <a:gd name="csX11" fmla="*/ 56953 w 272087"/>
                    <a:gd name="csY11" fmla="*/ 75809 h 387050"/>
                    <a:gd name="csX12" fmla="*/ 62043 w 272087"/>
                    <a:gd name="csY12" fmla="*/ 76546 h 387050"/>
                    <a:gd name="csX13" fmla="*/ 64572 w 272087"/>
                    <a:gd name="csY13" fmla="*/ 87783 h 387050"/>
                    <a:gd name="csX14" fmla="*/ 60219 w 272087"/>
                    <a:gd name="csY14" fmla="*/ 93577 h 387050"/>
                    <a:gd name="csX15" fmla="*/ 51895 w 272087"/>
                    <a:gd name="csY15" fmla="*/ 94666 h 387050"/>
                    <a:gd name="csX16" fmla="*/ 40658 w 272087"/>
                    <a:gd name="csY16" fmla="*/ 96106 h 387050"/>
                    <a:gd name="csX17" fmla="*/ 31214 w 272087"/>
                    <a:gd name="csY17" fmla="*/ 88487 h 387050"/>
                    <a:gd name="csX18" fmla="*/ 11973 w 272087"/>
                    <a:gd name="csY18" fmla="*/ 99756 h 387050"/>
                    <a:gd name="csX19" fmla="*/ 9444 w 272087"/>
                    <a:gd name="csY19" fmla="*/ 113522 h 387050"/>
                    <a:gd name="csX20" fmla="*/ 2561 w 272087"/>
                    <a:gd name="csY20" fmla="*/ 121141 h 387050"/>
                    <a:gd name="csX21" fmla="*/ 0 w 272087"/>
                    <a:gd name="csY21" fmla="*/ 128056 h 387050"/>
                    <a:gd name="csX22" fmla="*/ 4354 w 272087"/>
                    <a:gd name="csY22" fmla="*/ 127320 h 387050"/>
                    <a:gd name="csX23" fmla="*/ 8004 w 272087"/>
                    <a:gd name="csY23" fmla="*/ 136764 h 387050"/>
                    <a:gd name="csX24" fmla="*/ 6915 w 272087"/>
                    <a:gd name="csY24" fmla="*/ 158149 h 387050"/>
                    <a:gd name="csX25" fmla="*/ 11973 w 272087"/>
                    <a:gd name="csY25" fmla="*/ 159974 h 387050"/>
                    <a:gd name="csX26" fmla="*/ 13062 w 272087"/>
                    <a:gd name="csY26" fmla="*/ 174477 h 387050"/>
                    <a:gd name="csX27" fmla="*/ 17416 w 272087"/>
                    <a:gd name="csY27" fmla="*/ 177006 h 387050"/>
                    <a:gd name="csX28" fmla="*/ 16327 w 272087"/>
                    <a:gd name="csY28" fmla="*/ 190804 h 387050"/>
                    <a:gd name="csX29" fmla="*/ 23242 w 272087"/>
                    <a:gd name="csY29" fmla="*/ 193333 h 387050"/>
                    <a:gd name="csX30" fmla="*/ 25035 w 272087"/>
                    <a:gd name="csY30" fmla="*/ 214014 h 387050"/>
                    <a:gd name="csX31" fmla="*/ 34479 w 272087"/>
                    <a:gd name="csY31" fmla="*/ 205658 h 387050"/>
                    <a:gd name="csX32" fmla="*/ 56953 w 272087"/>
                    <a:gd name="csY32" fmla="*/ 226340 h 387050"/>
                    <a:gd name="csX33" fmla="*/ 61307 w 272087"/>
                    <a:gd name="csY33" fmla="*/ 237225 h 387050"/>
                    <a:gd name="csX34" fmla="*/ 56953 w 272087"/>
                    <a:gd name="csY34" fmla="*/ 240874 h 387050"/>
                    <a:gd name="csX35" fmla="*/ 57689 w 272087"/>
                    <a:gd name="csY35" fmla="*/ 250286 h 387050"/>
                    <a:gd name="csX36" fmla="*/ 68926 w 272087"/>
                    <a:gd name="csY36" fmla="*/ 259730 h 387050"/>
                    <a:gd name="csX37" fmla="*/ 62780 w 272087"/>
                    <a:gd name="csY37" fmla="*/ 264084 h 387050"/>
                    <a:gd name="csX38" fmla="*/ 64572 w 272087"/>
                    <a:gd name="csY38" fmla="*/ 278586 h 387050"/>
                    <a:gd name="csX39" fmla="*/ 58778 w 272087"/>
                    <a:gd name="csY39" fmla="*/ 294177 h 387050"/>
                    <a:gd name="csX40" fmla="*/ 62043 w 272087"/>
                    <a:gd name="csY40" fmla="*/ 302885 h 387050"/>
                    <a:gd name="csX41" fmla="*/ 56953 w 272087"/>
                    <a:gd name="csY41" fmla="*/ 324303 h 387050"/>
                    <a:gd name="csX42" fmla="*/ 52599 w 272087"/>
                    <a:gd name="csY42" fmla="*/ 329361 h 387050"/>
                    <a:gd name="csX43" fmla="*/ 60219 w 272087"/>
                    <a:gd name="csY43" fmla="*/ 345688 h 387050"/>
                    <a:gd name="csX44" fmla="*/ 45716 w 272087"/>
                    <a:gd name="csY44" fmla="*/ 354396 h 387050"/>
                    <a:gd name="csX45" fmla="*/ 56953 w 272087"/>
                    <a:gd name="csY45" fmla="*/ 354396 h 387050"/>
                    <a:gd name="csX46" fmla="*/ 68926 w 272087"/>
                    <a:gd name="csY46" fmla="*/ 377606 h 387050"/>
                    <a:gd name="csX47" fmla="*/ 82724 w 272087"/>
                    <a:gd name="csY47" fmla="*/ 387050 h 387050"/>
                    <a:gd name="csX48" fmla="*/ 100844 w 272087"/>
                    <a:gd name="csY48" fmla="*/ 374341 h 387050"/>
                    <a:gd name="csX49" fmla="*/ 101581 w 272087"/>
                    <a:gd name="csY49" fmla="*/ 366369 h 387050"/>
                    <a:gd name="csX50" fmla="*/ 110289 w 272087"/>
                    <a:gd name="csY50" fmla="*/ 368898 h 387050"/>
                    <a:gd name="csX51" fmla="*/ 106671 w 272087"/>
                    <a:gd name="csY51" fmla="*/ 343159 h 387050"/>
                    <a:gd name="csX52" fmla="*/ 115379 w 272087"/>
                    <a:gd name="csY52" fmla="*/ 340630 h 387050"/>
                    <a:gd name="csX53" fmla="*/ 122262 w 272087"/>
                    <a:gd name="csY53" fmla="*/ 348249 h 387050"/>
                    <a:gd name="csX54" fmla="*/ 133499 w 272087"/>
                    <a:gd name="csY54" fmla="*/ 340630 h 387050"/>
                    <a:gd name="csX55" fmla="*/ 137853 w 272087"/>
                    <a:gd name="csY55" fmla="*/ 345688 h 387050"/>
                    <a:gd name="csX56" fmla="*/ 145472 w 272087"/>
                    <a:gd name="csY56" fmla="*/ 343159 h 387050"/>
                    <a:gd name="csX57" fmla="*/ 150562 w 272087"/>
                    <a:gd name="csY57" fmla="*/ 346777 h 387050"/>
                    <a:gd name="csX58" fmla="*/ 152387 w 272087"/>
                    <a:gd name="csY58" fmla="*/ 356221 h 387050"/>
                    <a:gd name="csX59" fmla="*/ 160359 w 272087"/>
                    <a:gd name="csY59" fmla="*/ 358750 h 387050"/>
                    <a:gd name="csX60" fmla="*/ 167978 w 272087"/>
                    <a:gd name="csY60" fmla="*/ 342423 h 387050"/>
                    <a:gd name="csX61" fmla="*/ 181744 w 272087"/>
                    <a:gd name="csY61" fmla="*/ 345688 h 387050"/>
                    <a:gd name="csX62" fmla="*/ 189363 w 272087"/>
                    <a:gd name="csY62" fmla="*/ 340630 h 387050"/>
                    <a:gd name="csX63" fmla="*/ 204250 w 272087"/>
                    <a:gd name="csY63" fmla="*/ 341334 h 387050"/>
                    <a:gd name="csX64" fmla="*/ 206779 w 272087"/>
                    <a:gd name="csY64" fmla="*/ 333715 h 387050"/>
                    <a:gd name="csX65" fmla="*/ 183569 w 272087"/>
                    <a:gd name="csY65" fmla="*/ 307239 h 387050"/>
                    <a:gd name="csX66" fmla="*/ 186834 w 272087"/>
                    <a:gd name="csY66" fmla="*/ 294177 h 387050"/>
                    <a:gd name="csX67" fmla="*/ 193013 w 272087"/>
                    <a:gd name="csY67" fmla="*/ 282940 h 387050"/>
                    <a:gd name="csX68" fmla="*/ 198808 w 272087"/>
                    <a:gd name="csY68" fmla="*/ 282940 h 387050"/>
                    <a:gd name="csX69" fmla="*/ 205691 w 272087"/>
                    <a:gd name="csY69" fmla="*/ 288031 h 387050"/>
                    <a:gd name="csX70" fmla="*/ 208220 w 272087"/>
                    <a:gd name="csY70" fmla="*/ 300356 h 387050"/>
                    <a:gd name="csX71" fmla="*/ 213662 w 272087"/>
                    <a:gd name="csY71" fmla="*/ 300356 h 387050"/>
                    <a:gd name="csX72" fmla="*/ 226372 w 272087"/>
                    <a:gd name="csY72" fmla="*/ 284765 h 387050"/>
                    <a:gd name="csX73" fmla="*/ 219489 w 272087"/>
                    <a:gd name="csY73" fmla="*/ 279675 h 387050"/>
                    <a:gd name="csX74" fmla="*/ 223843 w 272087"/>
                    <a:gd name="csY74" fmla="*/ 264084 h 387050"/>
                    <a:gd name="csX75" fmla="*/ 216928 w 272087"/>
                    <a:gd name="csY75" fmla="*/ 255376 h 387050"/>
                    <a:gd name="csX76" fmla="*/ 218016 w 272087"/>
                    <a:gd name="csY76" fmla="*/ 247757 h 387050"/>
                    <a:gd name="csX77" fmla="*/ 226372 w 272087"/>
                    <a:gd name="csY77" fmla="*/ 247757 h 387050"/>
                    <a:gd name="csX78" fmla="*/ 241258 w 272087"/>
                    <a:gd name="csY78" fmla="*/ 236520 h 387050"/>
                    <a:gd name="csX79" fmla="*/ 246316 w 272087"/>
                    <a:gd name="csY79" fmla="*/ 227076 h 387050"/>
                    <a:gd name="csX80" fmla="*/ 245228 w 272087"/>
                    <a:gd name="csY80" fmla="*/ 215103 h 387050"/>
                    <a:gd name="csX81" fmla="*/ 226372 w 272087"/>
                    <a:gd name="csY81" fmla="*/ 213278 h 387050"/>
                    <a:gd name="csX82" fmla="*/ 214398 w 272087"/>
                    <a:gd name="csY82" fmla="*/ 204570 h 387050"/>
                    <a:gd name="csX83" fmla="*/ 212574 w 272087"/>
                    <a:gd name="csY83" fmla="*/ 178094 h 387050"/>
                    <a:gd name="csX84" fmla="*/ 191925 w 272087"/>
                    <a:gd name="csY84" fmla="*/ 167594 h 387050"/>
                    <a:gd name="csX85" fmla="*/ 193013 w 272087"/>
                    <a:gd name="csY85" fmla="*/ 158149 h 387050"/>
                    <a:gd name="csX86" fmla="*/ 202425 w 272087"/>
                    <a:gd name="csY86" fmla="*/ 148737 h 387050"/>
                    <a:gd name="csX87" fmla="*/ 202425 w 272087"/>
                    <a:gd name="csY87" fmla="*/ 140030 h 387050"/>
                    <a:gd name="csX88" fmla="*/ 196278 w 272087"/>
                    <a:gd name="csY88" fmla="*/ 133114 h 387050"/>
                    <a:gd name="csX89" fmla="*/ 196278 w 272087"/>
                    <a:gd name="csY89" fmla="*/ 128056 h 387050"/>
                    <a:gd name="csX90" fmla="*/ 206779 w 272087"/>
                    <a:gd name="csY90" fmla="*/ 114258 h 387050"/>
                    <a:gd name="csX91" fmla="*/ 215135 w 272087"/>
                    <a:gd name="csY91" fmla="*/ 113522 h 387050"/>
                    <a:gd name="csX92" fmla="*/ 229989 w 272087"/>
                    <a:gd name="csY92" fmla="*/ 102285 h 387050"/>
                    <a:gd name="csX93" fmla="*/ 242699 w 272087"/>
                    <a:gd name="csY93" fmla="*/ 109168 h 387050"/>
                    <a:gd name="csX94" fmla="*/ 246316 w 272087"/>
                    <a:gd name="csY94" fmla="*/ 107375 h 387050"/>
                    <a:gd name="csX95" fmla="*/ 253936 w 272087"/>
                    <a:gd name="csY95" fmla="*/ 106639 h 387050"/>
                    <a:gd name="csX96" fmla="*/ 253232 w 272087"/>
                    <a:gd name="csY96" fmla="*/ 99756 h 387050"/>
                    <a:gd name="csX97" fmla="*/ 263380 w 272087"/>
                    <a:gd name="csY97" fmla="*/ 92841 h 387050"/>
                    <a:gd name="csX98" fmla="*/ 272088 w 272087"/>
                    <a:gd name="csY98" fmla="*/ 69631 h 387050"/>
                    <a:gd name="csX99" fmla="*/ 257585 w 272087"/>
                    <a:gd name="csY99" fmla="*/ 48949 h 387050"/>
                    <a:gd name="csX100" fmla="*/ 235079 w 272087"/>
                    <a:gd name="csY100" fmla="*/ 39537 h 387050"/>
                    <a:gd name="csX101" fmla="*/ 225635 w 272087"/>
                    <a:gd name="csY101" fmla="*/ 47157 h 387050"/>
                    <a:gd name="csX102" fmla="*/ 225635 w 272087"/>
                    <a:gd name="csY102" fmla="*/ 53303 h 387050"/>
                    <a:gd name="csX103" fmla="*/ 210045 w 272087"/>
                    <a:gd name="csY103" fmla="*/ 50774 h 387050"/>
                    <a:gd name="csX104" fmla="*/ 199896 w 272087"/>
                    <a:gd name="csY104" fmla="*/ 60218 h 387050"/>
                    <a:gd name="csX105" fmla="*/ 194454 w 272087"/>
                    <a:gd name="csY105" fmla="*/ 59130 h 387050"/>
                    <a:gd name="csX106" fmla="*/ 186098 w 272087"/>
                    <a:gd name="csY106" fmla="*/ 71455 h 387050"/>
                    <a:gd name="csX107" fmla="*/ 167242 w 272087"/>
                    <a:gd name="csY107" fmla="*/ 62011 h 387050"/>
                    <a:gd name="csX108" fmla="*/ 164328 w 272087"/>
                    <a:gd name="csY108" fmla="*/ 63484 h 387050"/>
                    <a:gd name="csX109" fmla="*/ 150562 w 272087"/>
                    <a:gd name="csY109" fmla="*/ 65277 h 387050"/>
                    <a:gd name="csX110" fmla="*/ 147297 w 272087"/>
                    <a:gd name="csY110" fmla="*/ 57657 h 387050"/>
                    <a:gd name="csX111" fmla="*/ 141118 w 272087"/>
                    <a:gd name="csY111" fmla="*/ 58394 h 387050"/>
                    <a:gd name="csX112" fmla="*/ 130970 w 272087"/>
                    <a:gd name="csY112" fmla="*/ 51511 h 387050"/>
                    <a:gd name="csX113" fmla="*/ 128441 w 272087"/>
                    <a:gd name="csY113" fmla="*/ 46420 h 387050"/>
                    <a:gd name="csX114" fmla="*/ 141118 w 272087"/>
                    <a:gd name="csY114" fmla="*/ 45684 h 387050"/>
                    <a:gd name="csX115" fmla="*/ 140414 w 272087"/>
                    <a:gd name="csY115" fmla="*/ 33359 h 387050"/>
                    <a:gd name="csX116" fmla="*/ 126616 w 272087"/>
                    <a:gd name="csY116" fmla="*/ 26476 h 387050"/>
                    <a:gd name="csX117" fmla="*/ 126616 w 272087"/>
                    <a:gd name="csY117" fmla="*/ 15591 h 387050"/>
                    <a:gd name="csX118" fmla="*/ 119733 w 272087"/>
                    <a:gd name="csY118" fmla="*/ 5058 h 387050"/>
                    <a:gd name="csX119" fmla="*/ 110289 w 272087"/>
                    <a:gd name="csY119" fmla="*/ 5795 h 387050"/>
                    <a:gd name="csX120" fmla="*/ 108464 w 272087"/>
                    <a:gd name="csY120" fmla="*/ 15591 h 387050"/>
                    <a:gd name="csX121" fmla="*/ 101581 w 272087"/>
                    <a:gd name="csY121" fmla="*/ 17032 h 387050"/>
                    <a:gd name="csX122" fmla="*/ 93961 w 272087"/>
                    <a:gd name="csY122" fmla="*/ 11973 h 3870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</a:cxnLst>
                  <a:rect l="l" t="t" r="r" b="b"/>
                  <a:pathLst>
                    <a:path w="272087" h="387050">
                      <a:moveTo>
                        <a:pt x="93961" y="11973"/>
                      </a:moveTo>
                      <a:lnTo>
                        <a:pt x="97227" y="5795"/>
                      </a:lnTo>
                      <a:lnTo>
                        <a:pt x="81988" y="0"/>
                      </a:lnTo>
                      <a:lnTo>
                        <a:pt x="71487" y="17032"/>
                      </a:lnTo>
                      <a:lnTo>
                        <a:pt x="90344" y="29005"/>
                      </a:lnTo>
                      <a:lnTo>
                        <a:pt x="86342" y="33359"/>
                      </a:lnTo>
                      <a:lnTo>
                        <a:pt x="90344" y="37712"/>
                      </a:lnTo>
                      <a:lnTo>
                        <a:pt x="81988" y="42803"/>
                      </a:lnTo>
                      <a:lnTo>
                        <a:pt x="77634" y="53303"/>
                      </a:lnTo>
                      <a:lnTo>
                        <a:pt x="56953" y="57657"/>
                      </a:lnTo>
                      <a:lnTo>
                        <a:pt x="61307" y="69631"/>
                      </a:lnTo>
                      <a:lnTo>
                        <a:pt x="56953" y="75809"/>
                      </a:lnTo>
                      <a:lnTo>
                        <a:pt x="62043" y="76546"/>
                      </a:lnTo>
                      <a:lnTo>
                        <a:pt x="64572" y="87783"/>
                      </a:lnTo>
                      <a:lnTo>
                        <a:pt x="60219" y="93577"/>
                      </a:lnTo>
                      <a:lnTo>
                        <a:pt x="51895" y="94666"/>
                      </a:lnTo>
                      <a:lnTo>
                        <a:pt x="40658" y="96106"/>
                      </a:lnTo>
                      <a:lnTo>
                        <a:pt x="31214" y="88487"/>
                      </a:lnTo>
                      <a:lnTo>
                        <a:pt x="11973" y="99756"/>
                      </a:lnTo>
                      <a:lnTo>
                        <a:pt x="9444" y="113522"/>
                      </a:lnTo>
                      <a:lnTo>
                        <a:pt x="2561" y="121141"/>
                      </a:lnTo>
                      <a:lnTo>
                        <a:pt x="0" y="128056"/>
                      </a:lnTo>
                      <a:lnTo>
                        <a:pt x="4354" y="127320"/>
                      </a:lnTo>
                      <a:lnTo>
                        <a:pt x="8004" y="136764"/>
                      </a:lnTo>
                      <a:lnTo>
                        <a:pt x="6915" y="158149"/>
                      </a:lnTo>
                      <a:lnTo>
                        <a:pt x="11973" y="159974"/>
                      </a:lnTo>
                      <a:lnTo>
                        <a:pt x="13062" y="174477"/>
                      </a:lnTo>
                      <a:lnTo>
                        <a:pt x="17416" y="177006"/>
                      </a:lnTo>
                      <a:lnTo>
                        <a:pt x="16327" y="190804"/>
                      </a:lnTo>
                      <a:lnTo>
                        <a:pt x="23242" y="193333"/>
                      </a:lnTo>
                      <a:lnTo>
                        <a:pt x="25035" y="214014"/>
                      </a:lnTo>
                      <a:lnTo>
                        <a:pt x="34479" y="205658"/>
                      </a:lnTo>
                      <a:lnTo>
                        <a:pt x="56953" y="226340"/>
                      </a:lnTo>
                      <a:lnTo>
                        <a:pt x="61307" y="237225"/>
                      </a:lnTo>
                      <a:lnTo>
                        <a:pt x="56953" y="240874"/>
                      </a:lnTo>
                      <a:lnTo>
                        <a:pt x="57689" y="250286"/>
                      </a:lnTo>
                      <a:lnTo>
                        <a:pt x="68926" y="259730"/>
                      </a:lnTo>
                      <a:lnTo>
                        <a:pt x="62780" y="264084"/>
                      </a:lnTo>
                      <a:lnTo>
                        <a:pt x="64572" y="278586"/>
                      </a:lnTo>
                      <a:lnTo>
                        <a:pt x="58778" y="294177"/>
                      </a:lnTo>
                      <a:lnTo>
                        <a:pt x="62043" y="302885"/>
                      </a:lnTo>
                      <a:lnTo>
                        <a:pt x="56953" y="324303"/>
                      </a:lnTo>
                      <a:lnTo>
                        <a:pt x="52599" y="329361"/>
                      </a:lnTo>
                      <a:lnTo>
                        <a:pt x="60219" y="345688"/>
                      </a:lnTo>
                      <a:lnTo>
                        <a:pt x="45716" y="354396"/>
                      </a:lnTo>
                      <a:lnTo>
                        <a:pt x="56953" y="354396"/>
                      </a:lnTo>
                      <a:lnTo>
                        <a:pt x="68926" y="377606"/>
                      </a:lnTo>
                      <a:lnTo>
                        <a:pt x="82724" y="387050"/>
                      </a:lnTo>
                      <a:lnTo>
                        <a:pt x="100844" y="374341"/>
                      </a:lnTo>
                      <a:lnTo>
                        <a:pt x="101581" y="366369"/>
                      </a:lnTo>
                      <a:lnTo>
                        <a:pt x="110289" y="368898"/>
                      </a:lnTo>
                      <a:lnTo>
                        <a:pt x="106671" y="343159"/>
                      </a:lnTo>
                      <a:lnTo>
                        <a:pt x="115379" y="340630"/>
                      </a:lnTo>
                      <a:lnTo>
                        <a:pt x="122262" y="348249"/>
                      </a:lnTo>
                      <a:lnTo>
                        <a:pt x="133499" y="340630"/>
                      </a:lnTo>
                      <a:lnTo>
                        <a:pt x="137853" y="345688"/>
                      </a:lnTo>
                      <a:lnTo>
                        <a:pt x="145472" y="343159"/>
                      </a:lnTo>
                      <a:lnTo>
                        <a:pt x="150562" y="346777"/>
                      </a:lnTo>
                      <a:lnTo>
                        <a:pt x="152387" y="356221"/>
                      </a:lnTo>
                      <a:lnTo>
                        <a:pt x="160359" y="358750"/>
                      </a:lnTo>
                      <a:lnTo>
                        <a:pt x="167978" y="342423"/>
                      </a:lnTo>
                      <a:lnTo>
                        <a:pt x="181744" y="345688"/>
                      </a:lnTo>
                      <a:lnTo>
                        <a:pt x="189363" y="340630"/>
                      </a:lnTo>
                      <a:lnTo>
                        <a:pt x="204250" y="341334"/>
                      </a:lnTo>
                      <a:lnTo>
                        <a:pt x="206779" y="333715"/>
                      </a:lnTo>
                      <a:lnTo>
                        <a:pt x="183569" y="307239"/>
                      </a:lnTo>
                      <a:lnTo>
                        <a:pt x="186834" y="294177"/>
                      </a:lnTo>
                      <a:lnTo>
                        <a:pt x="193013" y="282940"/>
                      </a:lnTo>
                      <a:lnTo>
                        <a:pt x="198808" y="282940"/>
                      </a:lnTo>
                      <a:lnTo>
                        <a:pt x="205691" y="288031"/>
                      </a:lnTo>
                      <a:lnTo>
                        <a:pt x="208220" y="300356"/>
                      </a:lnTo>
                      <a:lnTo>
                        <a:pt x="213662" y="300356"/>
                      </a:lnTo>
                      <a:lnTo>
                        <a:pt x="226372" y="284765"/>
                      </a:lnTo>
                      <a:lnTo>
                        <a:pt x="219489" y="279675"/>
                      </a:lnTo>
                      <a:lnTo>
                        <a:pt x="223843" y="264084"/>
                      </a:lnTo>
                      <a:lnTo>
                        <a:pt x="216928" y="255376"/>
                      </a:lnTo>
                      <a:lnTo>
                        <a:pt x="218016" y="247757"/>
                      </a:lnTo>
                      <a:lnTo>
                        <a:pt x="226372" y="247757"/>
                      </a:lnTo>
                      <a:lnTo>
                        <a:pt x="241258" y="236520"/>
                      </a:lnTo>
                      <a:lnTo>
                        <a:pt x="246316" y="227076"/>
                      </a:lnTo>
                      <a:lnTo>
                        <a:pt x="245228" y="215103"/>
                      </a:lnTo>
                      <a:lnTo>
                        <a:pt x="226372" y="213278"/>
                      </a:lnTo>
                      <a:lnTo>
                        <a:pt x="214398" y="204570"/>
                      </a:lnTo>
                      <a:lnTo>
                        <a:pt x="212574" y="178094"/>
                      </a:lnTo>
                      <a:lnTo>
                        <a:pt x="191925" y="167594"/>
                      </a:lnTo>
                      <a:lnTo>
                        <a:pt x="193013" y="158149"/>
                      </a:lnTo>
                      <a:lnTo>
                        <a:pt x="202425" y="148737"/>
                      </a:lnTo>
                      <a:lnTo>
                        <a:pt x="202425" y="140030"/>
                      </a:lnTo>
                      <a:lnTo>
                        <a:pt x="196278" y="133114"/>
                      </a:lnTo>
                      <a:lnTo>
                        <a:pt x="196278" y="128056"/>
                      </a:lnTo>
                      <a:lnTo>
                        <a:pt x="206779" y="114258"/>
                      </a:lnTo>
                      <a:lnTo>
                        <a:pt x="215135" y="113522"/>
                      </a:lnTo>
                      <a:lnTo>
                        <a:pt x="229989" y="102285"/>
                      </a:lnTo>
                      <a:lnTo>
                        <a:pt x="242699" y="109168"/>
                      </a:lnTo>
                      <a:lnTo>
                        <a:pt x="246316" y="107375"/>
                      </a:lnTo>
                      <a:lnTo>
                        <a:pt x="253936" y="106639"/>
                      </a:lnTo>
                      <a:lnTo>
                        <a:pt x="253232" y="99756"/>
                      </a:lnTo>
                      <a:lnTo>
                        <a:pt x="263380" y="92841"/>
                      </a:lnTo>
                      <a:lnTo>
                        <a:pt x="272088" y="69631"/>
                      </a:lnTo>
                      <a:lnTo>
                        <a:pt x="257585" y="48949"/>
                      </a:lnTo>
                      <a:lnTo>
                        <a:pt x="235079" y="39537"/>
                      </a:lnTo>
                      <a:lnTo>
                        <a:pt x="225635" y="47157"/>
                      </a:lnTo>
                      <a:lnTo>
                        <a:pt x="225635" y="53303"/>
                      </a:lnTo>
                      <a:lnTo>
                        <a:pt x="210045" y="50774"/>
                      </a:lnTo>
                      <a:lnTo>
                        <a:pt x="199896" y="60218"/>
                      </a:lnTo>
                      <a:lnTo>
                        <a:pt x="194454" y="59130"/>
                      </a:lnTo>
                      <a:lnTo>
                        <a:pt x="186098" y="71455"/>
                      </a:lnTo>
                      <a:lnTo>
                        <a:pt x="167242" y="62011"/>
                      </a:lnTo>
                      <a:lnTo>
                        <a:pt x="164328" y="63484"/>
                      </a:lnTo>
                      <a:lnTo>
                        <a:pt x="150562" y="65277"/>
                      </a:lnTo>
                      <a:lnTo>
                        <a:pt x="147297" y="57657"/>
                      </a:lnTo>
                      <a:lnTo>
                        <a:pt x="141118" y="58394"/>
                      </a:lnTo>
                      <a:lnTo>
                        <a:pt x="130970" y="51511"/>
                      </a:lnTo>
                      <a:lnTo>
                        <a:pt x="128441" y="46420"/>
                      </a:lnTo>
                      <a:lnTo>
                        <a:pt x="141118" y="45684"/>
                      </a:lnTo>
                      <a:lnTo>
                        <a:pt x="140414" y="33359"/>
                      </a:lnTo>
                      <a:lnTo>
                        <a:pt x="126616" y="26476"/>
                      </a:lnTo>
                      <a:lnTo>
                        <a:pt x="126616" y="15591"/>
                      </a:lnTo>
                      <a:lnTo>
                        <a:pt x="119733" y="5058"/>
                      </a:lnTo>
                      <a:lnTo>
                        <a:pt x="110289" y="5795"/>
                      </a:lnTo>
                      <a:lnTo>
                        <a:pt x="108464" y="15591"/>
                      </a:lnTo>
                      <a:lnTo>
                        <a:pt x="101581" y="17032"/>
                      </a:lnTo>
                      <a:lnTo>
                        <a:pt x="93961" y="1197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A007B39B-B924-FE7F-8E6A-95EB5D62820E}"/>
                    </a:ext>
                  </a:extLst>
                </p:cNvPr>
                <p:cNvSpPr/>
                <p:nvPr/>
              </p:nvSpPr>
              <p:spPr>
                <a:xfrm>
                  <a:off x="1666025" y="5496919"/>
                  <a:ext cx="198039" cy="223842"/>
                </a:xfrm>
                <a:custGeom>
                  <a:avLst/>
                  <a:gdLst>
                    <a:gd name="csX0" fmla="*/ 80868 w 198039"/>
                    <a:gd name="csY0" fmla="*/ 16327 h 223842"/>
                    <a:gd name="csX1" fmla="*/ 79075 w 198039"/>
                    <a:gd name="csY1" fmla="*/ 11269 h 223842"/>
                    <a:gd name="csX2" fmla="*/ 74721 w 198039"/>
                    <a:gd name="csY2" fmla="*/ 2561 h 223842"/>
                    <a:gd name="csX3" fmla="*/ 68190 w 198039"/>
                    <a:gd name="csY3" fmla="*/ 0 h 223842"/>
                    <a:gd name="csX4" fmla="*/ 25739 w 198039"/>
                    <a:gd name="csY4" fmla="*/ 1825 h 223842"/>
                    <a:gd name="csX5" fmla="*/ 25739 w 198039"/>
                    <a:gd name="csY5" fmla="*/ 19241 h 223842"/>
                    <a:gd name="csX6" fmla="*/ 36272 w 198039"/>
                    <a:gd name="csY6" fmla="*/ 28652 h 223842"/>
                    <a:gd name="csX7" fmla="*/ 23210 w 198039"/>
                    <a:gd name="csY7" fmla="*/ 74017 h 223842"/>
                    <a:gd name="csX8" fmla="*/ 1793 w 198039"/>
                    <a:gd name="csY8" fmla="*/ 105935 h 223842"/>
                    <a:gd name="csX9" fmla="*/ 0 w 198039"/>
                    <a:gd name="csY9" fmla="*/ 112113 h 223842"/>
                    <a:gd name="csX10" fmla="*/ 10501 w 198039"/>
                    <a:gd name="csY10" fmla="*/ 124791 h 223842"/>
                    <a:gd name="csX11" fmla="*/ 15591 w 198039"/>
                    <a:gd name="csY11" fmla="*/ 121525 h 223842"/>
                    <a:gd name="csX12" fmla="*/ 31918 w 198039"/>
                    <a:gd name="csY12" fmla="*/ 136028 h 223842"/>
                    <a:gd name="csX13" fmla="*/ 39537 w 198039"/>
                    <a:gd name="csY13" fmla="*/ 134235 h 223842"/>
                    <a:gd name="csX14" fmla="*/ 48245 w 198039"/>
                    <a:gd name="csY14" fmla="*/ 140382 h 223842"/>
                    <a:gd name="csX15" fmla="*/ 46420 w 198039"/>
                    <a:gd name="csY15" fmla="*/ 149089 h 223842"/>
                    <a:gd name="csX16" fmla="*/ 42067 w 198039"/>
                    <a:gd name="csY16" fmla="*/ 148001 h 223842"/>
                    <a:gd name="csX17" fmla="*/ 39537 w 198039"/>
                    <a:gd name="csY17" fmla="*/ 153443 h 223842"/>
                    <a:gd name="csX18" fmla="*/ 43891 w 198039"/>
                    <a:gd name="csY18" fmla="*/ 164328 h 223842"/>
                    <a:gd name="csX19" fmla="*/ 55128 w 198039"/>
                    <a:gd name="csY19" fmla="*/ 161799 h 223842"/>
                    <a:gd name="csX20" fmla="*/ 64540 w 198039"/>
                    <a:gd name="csY20" fmla="*/ 167946 h 223842"/>
                    <a:gd name="csX21" fmla="*/ 65277 w 198039"/>
                    <a:gd name="csY21" fmla="*/ 179215 h 223842"/>
                    <a:gd name="csX22" fmla="*/ 84517 w 198039"/>
                    <a:gd name="csY22" fmla="*/ 180655 h 223842"/>
                    <a:gd name="csX23" fmla="*/ 96490 w 198039"/>
                    <a:gd name="csY23" fmla="*/ 193717 h 223842"/>
                    <a:gd name="csX24" fmla="*/ 97195 w 198039"/>
                    <a:gd name="csY24" fmla="*/ 205691 h 223842"/>
                    <a:gd name="csX25" fmla="*/ 117140 w 198039"/>
                    <a:gd name="csY25" fmla="*/ 206779 h 223842"/>
                    <a:gd name="csX26" fmla="*/ 125495 w 198039"/>
                    <a:gd name="csY26" fmla="*/ 223842 h 223842"/>
                    <a:gd name="csX27" fmla="*/ 137821 w 198039"/>
                    <a:gd name="csY27" fmla="*/ 214398 h 223842"/>
                    <a:gd name="csX28" fmla="*/ 146176 w 198039"/>
                    <a:gd name="csY28" fmla="*/ 219488 h 223842"/>
                    <a:gd name="csX29" fmla="*/ 157413 w 198039"/>
                    <a:gd name="csY29" fmla="*/ 221281 h 223842"/>
                    <a:gd name="csX30" fmla="*/ 157413 w 198039"/>
                    <a:gd name="csY30" fmla="*/ 214398 h 223842"/>
                    <a:gd name="csX31" fmla="*/ 173741 w 198039"/>
                    <a:gd name="csY31" fmla="*/ 219488 h 223842"/>
                    <a:gd name="csX32" fmla="*/ 191156 w 198039"/>
                    <a:gd name="csY32" fmla="*/ 211869 h 223842"/>
                    <a:gd name="csX33" fmla="*/ 198039 w 198039"/>
                    <a:gd name="csY33" fmla="*/ 196982 h 223842"/>
                    <a:gd name="csX34" fmla="*/ 194422 w 198039"/>
                    <a:gd name="csY34" fmla="*/ 195542 h 223842"/>
                    <a:gd name="csX35" fmla="*/ 186802 w 198039"/>
                    <a:gd name="csY35" fmla="*/ 200600 h 223842"/>
                    <a:gd name="csX36" fmla="*/ 179919 w 198039"/>
                    <a:gd name="csY36" fmla="*/ 193717 h 223842"/>
                    <a:gd name="csX37" fmla="*/ 190068 w 198039"/>
                    <a:gd name="csY37" fmla="*/ 178126 h 223842"/>
                    <a:gd name="csX38" fmla="*/ 186066 w 198039"/>
                    <a:gd name="csY38" fmla="*/ 169770 h 223842"/>
                    <a:gd name="csX39" fmla="*/ 189331 w 198039"/>
                    <a:gd name="csY39" fmla="*/ 142943 h 223842"/>
                    <a:gd name="csX40" fmla="*/ 176302 w 198039"/>
                    <a:gd name="csY40" fmla="*/ 140382 h 223842"/>
                    <a:gd name="csX41" fmla="*/ 179183 w 198039"/>
                    <a:gd name="csY41" fmla="*/ 117908 h 223842"/>
                    <a:gd name="csX42" fmla="*/ 184977 w 198039"/>
                    <a:gd name="csY42" fmla="*/ 112818 h 223842"/>
                    <a:gd name="csX43" fmla="*/ 176302 w 198039"/>
                    <a:gd name="csY43" fmla="*/ 99051 h 223842"/>
                    <a:gd name="csX44" fmla="*/ 177390 w 198039"/>
                    <a:gd name="csY44" fmla="*/ 87782 h 223842"/>
                    <a:gd name="csX45" fmla="*/ 167946 w 198039"/>
                    <a:gd name="csY45" fmla="*/ 68926 h 223842"/>
                    <a:gd name="csX46" fmla="*/ 161063 w 198039"/>
                    <a:gd name="csY46" fmla="*/ 66397 h 223842"/>
                    <a:gd name="csX47" fmla="*/ 148001 w 198039"/>
                    <a:gd name="csY47" fmla="*/ 53335 h 223842"/>
                    <a:gd name="csX48" fmla="*/ 143647 w 198039"/>
                    <a:gd name="csY48" fmla="*/ 35568 h 223842"/>
                    <a:gd name="csX49" fmla="*/ 117876 w 198039"/>
                    <a:gd name="csY49" fmla="*/ 32654 h 223842"/>
                    <a:gd name="csX50" fmla="*/ 115347 w 198039"/>
                    <a:gd name="csY50" fmla="*/ 25035 h 223842"/>
                    <a:gd name="csX51" fmla="*/ 117140 w 198039"/>
                    <a:gd name="csY51" fmla="*/ 20681 h 223842"/>
                    <a:gd name="csX52" fmla="*/ 104110 w 198039"/>
                    <a:gd name="csY52" fmla="*/ 14886 h 223842"/>
                    <a:gd name="csX53" fmla="*/ 85222 w 198039"/>
                    <a:gd name="csY53" fmla="*/ 19241 h 223842"/>
                    <a:gd name="csX54" fmla="*/ 80868 w 198039"/>
                    <a:gd name="csY54" fmla="*/ 16327 h 2238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198039" h="223842">
                      <a:moveTo>
                        <a:pt x="80868" y="16327"/>
                      </a:moveTo>
                      <a:lnTo>
                        <a:pt x="79075" y="11269"/>
                      </a:lnTo>
                      <a:lnTo>
                        <a:pt x="74721" y="2561"/>
                      </a:lnTo>
                      <a:lnTo>
                        <a:pt x="68190" y="0"/>
                      </a:lnTo>
                      <a:lnTo>
                        <a:pt x="25739" y="1825"/>
                      </a:lnTo>
                      <a:lnTo>
                        <a:pt x="25739" y="19241"/>
                      </a:lnTo>
                      <a:lnTo>
                        <a:pt x="36272" y="28652"/>
                      </a:lnTo>
                      <a:lnTo>
                        <a:pt x="23210" y="74017"/>
                      </a:lnTo>
                      <a:lnTo>
                        <a:pt x="1793" y="105935"/>
                      </a:lnTo>
                      <a:lnTo>
                        <a:pt x="0" y="112113"/>
                      </a:lnTo>
                      <a:lnTo>
                        <a:pt x="10501" y="124791"/>
                      </a:lnTo>
                      <a:lnTo>
                        <a:pt x="15591" y="121525"/>
                      </a:lnTo>
                      <a:lnTo>
                        <a:pt x="31918" y="136028"/>
                      </a:lnTo>
                      <a:lnTo>
                        <a:pt x="39537" y="134235"/>
                      </a:lnTo>
                      <a:lnTo>
                        <a:pt x="48245" y="140382"/>
                      </a:lnTo>
                      <a:lnTo>
                        <a:pt x="46420" y="149089"/>
                      </a:lnTo>
                      <a:lnTo>
                        <a:pt x="42067" y="148001"/>
                      </a:lnTo>
                      <a:lnTo>
                        <a:pt x="39537" y="153443"/>
                      </a:lnTo>
                      <a:lnTo>
                        <a:pt x="43891" y="164328"/>
                      </a:lnTo>
                      <a:lnTo>
                        <a:pt x="55128" y="161799"/>
                      </a:lnTo>
                      <a:lnTo>
                        <a:pt x="64540" y="167946"/>
                      </a:lnTo>
                      <a:lnTo>
                        <a:pt x="65277" y="179215"/>
                      </a:lnTo>
                      <a:lnTo>
                        <a:pt x="84517" y="180655"/>
                      </a:lnTo>
                      <a:lnTo>
                        <a:pt x="96490" y="193717"/>
                      </a:lnTo>
                      <a:lnTo>
                        <a:pt x="97195" y="205691"/>
                      </a:lnTo>
                      <a:lnTo>
                        <a:pt x="117140" y="206779"/>
                      </a:lnTo>
                      <a:lnTo>
                        <a:pt x="125495" y="223842"/>
                      </a:lnTo>
                      <a:lnTo>
                        <a:pt x="137821" y="214398"/>
                      </a:lnTo>
                      <a:lnTo>
                        <a:pt x="146176" y="219488"/>
                      </a:lnTo>
                      <a:lnTo>
                        <a:pt x="157413" y="221281"/>
                      </a:lnTo>
                      <a:lnTo>
                        <a:pt x="157413" y="214398"/>
                      </a:lnTo>
                      <a:lnTo>
                        <a:pt x="173741" y="219488"/>
                      </a:lnTo>
                      <a:lnTo>
                        <a:pt x="191156" y="211869"/>
                      </a:lnTo>
                      <a:lnTo>
                        <a:pt x="198039" y="196982"/>
                      </a:lnTo>
                      <a:lnTo>
                        <a:pt x="194422" y="195542"/>
                      </a:lnTo>
                      <a:lnTo>
                        <a:pt x="186802" y="200600"/>
                      </a:lnTo>
                      <a:lnTo>
                        <a:pt x="179919" y="193717"/>
                      </a:lnTo>
                      <a:lnTo>
                        <a:pt x="190068" y="178126"/>
                      </a:lnTo>
                      <a:lnTo>
                        <a:pt x="186066" y="169770"/>
                      </a:lnTo>
                      <a:lnTo>
                        <a:pt x="189331" y="142943"/>
                      </a:lnTo>
                      <a:lnTo>
                        <a:pt x="176302" y="140382"/>
                      </a:lnTo>
                      <a:lnTo>
                        <a:pt x="179183" y="117908"/>
                      </a:lnTo>
                      <a:lnTo>
                        <a:pt x="184977" y="112818"/>
                      </a:lnTo>
                      <a:lnTo>
                        <a:pt x="176302" y="99051"/>
                      </a:lnTo>
                      <a:lnTo>
                        <a:pt x="177390" y="87782"/>
                      </a:lnTo>
                      <a:lnTo>
                        <a:pt x="167946" y="68926"/>
                      </a:lnTo>
                      <a:lnTo>
                        <a:pt x="161063" y="66397"/>
                      </a:lnTo>
                      <a:lnTo>
                        <a:pt x="148001" y="53335"/>
                      </a:lnTo>
                      <a:lnTo>
                        <a:pt x="143647" y="35568"/>
                      </a:lnTo>
                      <a:lnTo>
                        <a:pt x="117876" y="32654"/>
                      </a:lnTo>
                      <a:lnTo>
                        <a:pt x="115347" y="25035"/>
                      </a:lnTo>
                      <a:lnTo>
                        <a:pt x="117140" y="20681"/>
                      </a:lnTo>
                      <a:lnTo>
                        <a:pt x="104110" y="14886"/>
                      </a:lnTo>
                      <a:lnTo>
                        <a:pt x="85222" y="19241"/>
                      </a:lnTo>
                      <a:lnTo>
                        <a:pt x="80868" y="1632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83C927CE-D31B-8750-273A-8FC1621D928A}"/>
                    </a:ext>
                  </a:extLst>
                </p:cNvPr>
                <p:cNvSpPr/>
                <p:nvPr/>
              </p:nvSpPr>
              <p:spPr>
                <a:xfrm>
                  <a:off x="1666025" y="5496919"/>
                  <a:ext cx="198039" cy="223842"/>
                </a:xfrm>
                <a:custGeom>
                  <a:avLst/>
                  <a:gdLst>
                    <a:gd name="csX0" fmla="*/ 80868 w 198039"/>
                    <a:gd name="csY0" fmla="*/ 16327 h 223842"/>
                    <a:gd name="csX1" fmla="*/ 79075 w 198039"/>
                    <a:gd name="csY1" fmla="*/ 11269 h 223842"/>
                    <a:gd name="csX2" fmla="*/ 74721 w 198039"/>
                    <a:gd name="csY2" fmla="*/ 2561 h 223842"/>
                    <a:gd name="csX3" fmla="*/ 68190 w 198039"/>
                    <a:gd name="csY3" fmla="*/ 0 h 223842"/>
                    <a:gd name="csX4" fmla="*/ 25739 w 198039"/>
                    <a:gd name="csY4" fmla="*/ 1825 h 223842"/>
                    <a:gd name="csX5" fmla="*/ 25739 w 198039"/>
                    <a:gd name="csY5" fmla="*/ 19241 h 223842"/>
                    <a:gd name="csX6" fmla="*/ 36272 w 198039"/>
                    <a:gd name="csY6" fmla="*/ 28652 h 223842"/>
                    <a:gd name="csX7" fmla="*/ 23210 w 198039"/>
                    <a:gd name="csY7" fmla="*/ 74017 h 223842"/>
                    <a:gd name="csX8" fmla="*/ 1793 w 198039"/>
                    <a:gd name="csY8" fmla="*/ 105935 h 223842"/>
                    <a:gd name="csX9" fmla="*/ 0 w 198039"/>
                    <a:gd name="csY9" fmla="*/ 112113 h 223842"/>
                    <a:gd name="csX10" fmla="*/ 10501 w 198039"/>
                    <a:gd name="csY10" fmla="*/ 124791 h 223842"/>
                    <a:gd name="csX11" fmla="*/ 15591 w 198039"/>
                    <a:gd name="csY11" fmla="*/ 121525 h 223842"/>
                    <a:gd name="csX12" fmla="*/ 31918 w 198039"/>
                    <a:gd name="csY12" fmla="*/ 136028 h 223842"/>
                    <a:gd name="csX13" fmla="*/ 39537 w 198039"/>
                    <a:gd name="csY13" fmla="*/ 134235 h 223842"/>
                    <a:gd name="csX14" fmla="*/ 48245 w 198039"/>
                    <a:gd name="csY14" fmla="*/ 140382 h 223842"/>
                    <a:gd name="csX15" fmla="*/ 46420 w 198039"/>
                    <a:gd name="csY15" fmla="*/ 149089 h 223842"/>
                    <a:gd name="csX16" fmla="*/ 42067 w 198039"/>
                    <a:gd name="csY16" fmla="*/ 148001 h 223842"/>
                    <a:gd name="csX17" fmla="*/ 39537 w 198039"/>
                    <a:gd name="csY17" fmla="*/ 153443 h 223842"/>
                    <a:gd name="csX18" fmla="*/ 43891 w 198039"/>
                    <a:gd name="csY18" fmla="*/ 164328 h 223842"/>
                    <a:gd name="csX19" fmla="*/ 55128 w 198039"/>
                    <a:gd name="csY19" fmla="*/ 161799 h 223842"/>
                    <a:gd name="csX20" fmla="*/ 64540 w 198039"/>
                    <a:gd name="csY20" fmla="*/ 167946 h 223842"/>
                    <a:gd name="csX21" fmla="*/ 65277 w 198039"/>
                    <a:gd name="csY21" fmla="*/ 179215 h 223842"/>
                    <a:gd name="csX22" fmla="*/ 84517 w 198039"/>
                    <a:gd name="csY22" fmla="*/ 180655 h 223842"/>
                    <a:gd name="csX23" fmla="*/ 96490 w 198039"/>
                    <a:gd name="csY23" fmla="*/ 193717 h 223842"/>
                    <a:gd name="csX24" fmla="*/ 97195 w 198039"/>
                    <a:gd name="csY24" fmla="*/ 205691 h 223842"/>
                    <a:gd name="csX25" fmla="*/ 117140 w 198039"/>
                    <a:gd name="csY25" fmla="*/ 206779 h 223842"/>
                    <a:gd name="csX26" fmla="*/ 125495 w 198039"/>
                    <a:gd name="csY26" fmla="*/ 223842 h 223842"/>
                    <a:gd name="csX27" fmla="*/ 137821 w 198039"/>
                    <a:gd name="csY27" fmla="*/ 214398 h 223842"/>
                    <a:gd name="csX28" fmla="*/ 146176 w 198039"/>
                    <a:gd name="csY28" fmla="*/ 219488 h 223842"/>
                    <a:gd name="csX29" fmla="*/ 157413 w 198039"/>
                    <a:gd name="csY29" fmla="*/ 221281 h 223842"/>
                    <a:gd name="csX30" fmla="*/ 157413 w 198039"/>
                    <a:gd name="csY30" fmla="*/ 214398 h 223842"/>
                    <a:gd name="csX31" fmla="*/ 173741 w 198039"/>
                    <a:gd name="csY31" fmla="*/ 219488 h 223842"/>
                    <a:gd name="csX32" fmla="*/ 191156 w 198039"/>
                    <a:gd name="csY32" fmla="*/ 211869 h 223842"/>
                    <a:gd name="csX33" fmla="*/ 198039 w 198039"/>
                    <a:gd name="csY33" fmla="*/ 196982 h 223842"/>
                    <a:gd name="csX34" fmla="*/ 194422 w 198039"/>
                    <a:gd name="csY34" fmla="*/ 195542 h 223842"/>
                    <a:gd name="csX35" fmla="*/ 186802 w 198039"/>
                    <a:gd name="csY35" fmla="*/ 200600 h 223842"/>
                    <a:gd name="csX36" fmla="*/ 179919 w 198039"/>
                    <a:gd name="csY36" fmla="*/ 193717 h 223842"/>
                    <a:gd name="csX37" fmla="*/ 190068 w 198039"/>
                    <a:gd name="csY37" fmla="*/ 178126 h 223842"/>
                    <a:gd name="csX38" fmla="*/ 186066 w 198039"/>
                    <a:gd name="csY38" fmla="*/ 169770 h 223842"/>
                    <a:gd name="csX39" fmla="*/ 189331 w 198039"/>
                    <a:gd name="csY39" fmla="*/ 142943 h 223842"/>
                    <a:gd name="csX40" fmla="*/ 176302 w 198039"/>
                    <a:gd name="csY40" fmla="*/ 140382 h 223842"/>
                    <a:gd name="csX41" fmla="*/ 179183 w 198039"/>
                    <a:gd name="csY41" fmla="*/ 117908 h 223842"/>
                    <a:gd name="csX42" fmla="*/ 184977 w 198039"/>
                    <a:gd name="csY42" fmla="*/ 112818 h 223842"/>
                    <a:gd name="csX43" fmla="*/ 176302 w 198039"/>
                    <a:gd name="csY43" fmla="*/ 99051 h 223842"/>
                    <a:gd name="csX44" fmla="*/ 177390 w 198039"/>
                    <a:gd name="csY44" fmla="*/ 87782 h 223842"/>
                    <a:gd name="csX45" fmla="*/ 167946 w 198039"/>
                    <a:gd name="csY45" fmla="*/ 68926 h 223842"/>
                    <a:gd name="csX46" fmla="*/ 161063 w 198039"/>
                    <a:gd name="csY46" fmla="*/ 66397 h 223842"/>
                    <a:gd name="csX47" fmla="*/ 148001 w 198039"/>
                    <a:gd name="csY47" fmla="*/ 53335 h 223842"/>
                    <a:gd name="csX48" fmla="*/ 143647 w 198039"/>
                    <a:gd name="csY48" fmla="*/ 35568 h 223842"/>
                    <a:gd name="csX49" fmla="*/ 117876 w 198039"/>
                    <a:gd name="csY49" fmla="*/ 32654 h 223842"/>
                    <a:gd name="csX50" fmla="*/ 115347 w 198039"/>
                    <a:gd name="csY50" fmla="*/ 25035 h 223842"/>
                    <a:gd name="csX51" fmla="*/ 117140 w 198039"/>
                    <a:gd name="csY51" fmla="*/ 20681 h 223842"/>
                    <a:gd name="csX52" fmla="*/ 104110 w 198039"/>
                    <a:gd name="csY52" fmla="*/ 14886 h 223842"/>
                    <a:gd name="csX53" fmla="*/ 85222 w 198039"/>
                    <a:gd name="csY53" fmla="*/ 19241 h 223842"/>
                    <a:gd name="csX54" fmla="*/ 80868 w 198039"/>
                    <a:gd name="csY54" fmla="*/ 16327 h 2238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198039" h="223842">
                      <a:moveTo>
                        <a:pt x="80868" y="16327"/>
                      </a:moveTo>
                      <a:lnTo>
                        <a:pt x="79075" y="11269"/>
                      </a:lnTo>
                      <a:lnTo>
                        <a:pt x="74721" y="2561"/>
                      </a:lnTo>
                      <a:lnTo>
                        <a:pt x="68190" y="0"/>
                      </a:lnTo>
                      <a:lnTo>
                        <a:pt x="25739" y="1825"/>
                      </a:lnTo>
                      <a:lnTo>
                        <a:pt x="25739" y="19241"/>
                      </a:lnTo>
                      <a:lnTo>
                        <a:pt x="36272" y="28652"/>
                      </a:lnTo>
                      <a:lnTo>
                        <a:pt x="23210" y="74017"/>
                      </a:lnTo>
                      <a:lnTo>
                        <a:pt x="1793" y="105935"/>
                      </a:lnTo>
                      <a:lnTo>
                        <a:pt x="0" y="112113"/>
                      </a:lnTo>
                      <a:lnTo>
                        <a:pt x="10501" y="124791"/>
                      </a:lnTo>
                      <a:lnTo>
                        <a:pt x="15591" y="121525"/>
                      </a:lnTo>
                      <a:lnTo>
                        <a:pt x="31918" y="136028"/>
                      </a:lnTo>
                      <a:lnTo>
                        <a:pt x="39537" y="134235"/>
                      </a:lnTo>
                      <a:lnTo>
                        <a:pt x="48245" y="140382"/>
                      </a:lnTo>
                      <a:lnTo>
                        <a:pt x="46420" y="149089"/>
                      </a:lnTo>
                      <a:lnTo>
                        <a:pt x="42067" y="148001"/>
                      </a:lnTo>
                      <a:lnTo>
                        <a:pt x="39537" y="153443"/>
                      </a:lnTo>
                      <a:lnTo>
                        <a:pt x="43891" y="164328"/>
                      </a:lnTo>
                      <a:lnTo>
                        <a:pt x="55128" y="161799"/>
                      </a:lnTo>
                      <a:lnTo>
                        <a:pt x="64540" y="167946"/>
                      </a:lnTo>
                      <a:lnTo>
                        <a:pt x="65277" y="179215"/>
                      </a:lnTo>
                      <a:lnTo>
                        <a:pt x="84517" y="180655"/>
                      </a:lnTo>
                      <a:lnTo>
                        <a:pt x="96490" y="193717"/>
                      </a:lnTo>
                      <a:lnTo>
                        <a:pt x="97195" y="205691"/>
                      </a:lnTo>
                      <a:lnTo>
                        <a:pt x="117140" y="206779"/>
                      </a:lnTo>
                      <a:lnTo>
                        <a:pt x="125495" y="223842"/>
                      </a:lnTo>
                      <a:lnTo>
                        <a:pt x="137821" y="214398"/>
                      </a:lnTo>
                      <a:lnTo>
                        <a:pt x="146176" y="219488"/>
                      </a:lnTo>
                      <a:lnTo>
                        <a:pt x="157413" y="221281"/>
                      </a:lnTo>
                      <a:lnTo>
                        <a:pt x="157413" y="214398"/>
                      </a:lnTo>
                      <a:lnTo>
                        <a:pt x="173741" y="219488"/>
                      </a:lnTo>
                      <a:lnTo>
                        <a:pt x="191156" y="211869"/>
                      </a:lnTo>
                      <a:lnTo>
                        <a:pt x="198039" y="196982"/>
                      </a:lnTo>
                      <a:lnTo>
                        <a:pt x="194422" y="195542"/>
                      </a:lnTo>
                      <a:lnTo>
                        <a:pt x="186802" y="200600"/>
                      </a:lnTo>
                      <a:lnTo>
                        <a:pt x="179919" y="193717"/>
                      </a:lnTo>
                      <a:lnTo>
                        <a:pt x="190068" y="178126"/>
                      </a:lnTo>
                      <a:lnTo>
                        <a:pt x="186066" y="169770"/>
                      </a:lnTo>
                      <a:lnTo>
                        <a:pt x="189331" y="142943"/>
                      </a:lnTo>
                      <a:lnTo>
                        <a:pt x="176302" y="140382"/>
                      </a:lnTo>
                      <a:lnTo>
                        <a:pt x="179183" y="117908"/>
                      </a:lnTo>
                      <a:lnTo>
                        <a:pt x="184977" y="112818"/>
                      </a:lnTo>
                      <a:lnTo>
                        <a:pt x="176302" y="99051"/>
                      </a:lnTo>
                      <a:lnTo>
                        <a:pt x="177390" y="87782"/>
                      </a:lnTo>
                      <a:lnTo>
                        <a:pt x="167946" y="68926"/>
                      </a:lnTo>
                      <a:lnTo>
                        <a:pt x="161063" y="66397"/>
                      </a:lnTo>
                      <a:lnTo>
                        <a:pt x="148001" y="53335"/>
                      </a:lnTo>
                      <a:lnTo>
                        <a:pt x="143647" y="35568"/>
                      </a:lnTo>
                      <a:lnTo>
                        <a:pt x="117876" y="32654"/>
                      </a:lnTo>
                      <a:lnTo>
                        <a:pt x="115347" y="25035"/>
                      </a:lnTo>
                      <a:lnTo>
                        <a:pt x="117140" y="20681"/>
                      </a:lnTo>
                      <a:lnTo>
                        <a:pt x="104110" y="14886"/>
                      </a:lnTo>
                      <a:lnTo>
                        <a:pt x="85222" y="19241"/>
                      </a:lnTo>
                      <a:lnTo>
                        <a:pt x="80868" y="1632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ACC11EAF-ED69-74FD-14CD-29DC3242FF2F}"/>
                    </a:ext>
                  </a:extLst>
                </p:cNvPr>
                <p:cNvSpPr/>
                <p:nvPr/>
              </p:nvSpPr>
              <p:spPr>
                <a:xfrm>
                  <a:off x="1666025" y="5496919"/>
                  <a:ext cx="198039" cy="223842"/>
                </a:xfrm>
                <a:custGeom>
                  <a:avLst/>
                  <a:gdLst>
                    <a:gd name="csX0" fmla="*/ 80868 w 198039"/>
                    <a:gd name="csY0" fmla="*/ 16327 h 223842"/>
                    <a:gd name="csX1" fmla="*/ 79075 w 198039"/>
                    <a:gd name="csY1" fmla="*/ 11269 h 223842"/>
                    <a:gd name="csX2" fmla="*/ 74721 w 198039"/>
                    <a:gd name="csY2" fmla="*/ 2561 h 223842"/>
                    <a:gd name="csX3" fmla="*/ 68190 w 198039"/>
                    <a:gd name="csY3" fmla="*/ 0 h 223842"/>
                    <a:gd name="csX4" fmla="*/ 25739 w 198039"/>
                    <a:gd name="csY4" fmla="*/ 1825 h 223842"/>
                    <a:gd name="csX5" fmla="*/ 25739 w 198039"/>
                    <a:gd name="csY5" fmla="*/ 19241 h 223842"/>
                    <a:gd name="csX6" fmla="*/ 36272 w 198039"/>
                    <a:gd name="csY6" fmla="*/ 28652 h 223842"/>
                    <a:gd name="csX7" fmla="*/ 23210 w 198039"/>
                    <a:gd name="csY7" fmla="*/ 74017 h 223842"/>
                    <a:gd name="csX8" fmla="*/ 1793 w 198039"/>
                    <a:gd name="csY8" fmla="*/ 105935 h 223842"/>
                    <a:gd name="csX9" fmla="*/ 0 w 198039"/>
                    <a:gd name="csY9" fmla="*/ 112113 h 223842"/>
                    <a:gd name="csX10" fmla="*/ 10501 w 198039"/>
                    <a:gd name="csY10" fmla="*/ 124791 h 223842"/>
                    <a:gd name="csX11" fmla="*/ 15591 w 198039"/>
                    <a:gd name="csY11" fmla="*/ 121525 h 223842"/>
                    <a:gd name="csX12" fmla="*/ 31918 w 198039"/>
                    <a:gd name="csY12" fmla="*/ 136028 h 223842"/>
                    <a:gd name="csX13" fmla="*/ 39537 w 198039"/>
                    <a:gd name="csY13" fmla="*/ 134235 h 223842"/>
                    <a:gd name="csX14" fmla="*/ 48245 w 198039"/>
                    <a:gd name="csY14" fmla="*/ 140382 h 223842"/>
                    <a:gd name="csX15" fmla="*/ 46420 w 198039"/>
                    <a:gd name="csY15" fmla="*/ 149089 h 223842"/>
                    <a:gd name="csX16" fmla="*/ 42067 w 198039"/>
                    <a:gd name="csY16" fmla="*/ 148001 h 223842"/>
                    <a:gd name="csX17" fmla="*/ 39537 w 198039"/>
                    <a:gd name="csY17" fmla="*/ 153443 h 223842"/>
                    <a:gd name="csX18" fmla="*/ 43891 w 198039"/>
                    <a:gd name="csY18" fmla="*/ 164328 h 223842"/>
                    <a:gd name="csX19" fmla="*/ 55128 w 198039"/>
                    <a:gd name="csY19" fmla="*/ 161799 h 223842"/>
                    <a:gd name="csX20" fmla="*/ 64540 w 198039"/>
                    <a:gd name="csY20" fmla="*/ 167946 h 223842"/>
                    <a:gd name="csX21" fmla="*/ 65277 w 198039"/>
                    <a:gd name="csY21" fmla="*/ 179215 h 223842"/>
                    <a:gd name="csX22" fmla="*/ 84517 w 198039"/>
                    <a:gd name="csY22" fmla="*/ 180655 h 223842"/>
                    <a:gd name="csX23" fmla="*/ 96490 w 198039"/>
                    <a:gd name="csY23" fmla="*/ 193717 h 223842"/>
                    <a:gd name="csX24" fmla="*/ 97195 w 198039"/>
                    <a:gd name="csY24" fmla="*/ 205691 h 223842"/>
                    <a:gd name="csX25" fmla="*/ 117140 w 198039"/>
                    <a:gd name="csY25" fmla="*/ 206779 h 223842"/>
                    <a:gd name="csX26" fmla="*/ 125495 w 198039"/>
                    <a:gd name="csY26" fmla="*/ 223842 h 223842"/>
                    <a:gd name="csX27" fmla="*/ 137821 w 198039"/>
                    <a:gd name="csY27" fmla="*/ 214398 h 223842"/>
                    <a:gd name="csX28" fmla="*/ 146176 w 198039"/>
                    <a:gd name="csY28" fmla="*/ 219488 h 223842"/>
                    <a:gd name="csX29" fmla="*/ 157413 w 198039"/>
                    <a:gd name="csY29" fmla="*/ 221281 h 223842"/>
                    <a:gd name="csX30" fmla="*/ 157413 w 198039"/>
                    <a:gd name="csY30" fmla="*/ 214398 h 223842"/>
                    <a:gd name="csX31" fmla="*/ 173741 w 198039"/>
                    <a:gd name="csY31" fmla="*/ 219488 h 223842"/>
                    <a:gd name="csX32" fmla="*/ 191156 w 198039"/>
                    <a:gd name="csY32" fmla="*/ 211869 h 223842"/>
                    <a:gd name="csX33" fmla="*/ 198039 w 198039"/>
                    <a:gd name="csY33" fmla="*/ 196982 h 223842"/>
                    <a:gd name="csX34" fmla="*/ 194422 w 198039"/>
                    <a:gd name="csY34" fmla="*/ 195542 h 223842"/>
                    <a:gd name="csX35" fmla="*/ 186802 w 198039"/>
                    <a:gd name="csY35" fmla="*/ 200600 h 223842"/>
                    <a:gd name="csX36" fmla="*/ 179919 w 198039"/>
                    <a:gd name="csY36" fmla="*/ 193717 h 223842"/>
                    <a:gd name="csX37" fmla="*/ 190068 w 198039"/>
                    <a:gd name="csY37" fmla="*/ 178126 h 223842"/>
                    <a:gd name="csX38" fmla="*/ 186066 w 198039"/>
                    <a:gd name="csY38" fmla="*/ 169770 h 223842"/>
                    <a:gd name="csX39" fmla="*/ 189331 w 198039"/>
                    <a:gd name="csY39" fmla="*/ 142943 h 223842"/>
                    <a:gd name="csX40" fmla="*/ 176302 w 198039"/>
                    <a:gd name="csY40" fmla="*/ 140382 h 223842"/>
                    <a:gd name="csX41" fmla="*/ 179183 w 198039"/>
                    <a:gd name="csY41" fmla="*/ 117908 h 223842"/>
                    <a:gd name="csX42" fmla="*/ 184977 w 198039"/>
                    <a:gd name="csY42" fmla="*/ 112818 h 223842"/>
                    <a:gd name="csX43" fmla="*/ 176302 w 198039"/>
                    <a:gd name="csY43" fmla="*/ 99051 h 223842"/>
                    <a:gd name="csX44" fmla="*/ 177390 w 198039"/>
                    <a:gd name="csY44" fmla="*/ 87782 h 223842"/>
                    <a:gd name="csX45" fmla="*/ 167946 w 198039"/>
                    <a:gd name="csY45" fmla="*/ 68926 h 223842"/>
                    <a:gd name="csX46" fmla="*/ 161063 w 198039"/>
                    <a:gd name="csY46" fmla="*/ 66397 h 223842"/>
                    <a:gd name="csX47" fmla="*/ 148001 w 198039"/>
                    <a:gd name="csY47" fmla="*/ 53335 h 223842"/>
                    <a:gd name="csX48" fmla="*/ 143647 w 198039"/>
                    <a:gd name="csY48" fmla="*/ 35568 h 223842"/>
                    <a:gd name="csX49" fmla="*/ 117876 w 198039"/>
                    <a:gd name="csY49" fmla="*/ 32654 h 223842"/>
                    <a:gd name="csX50" fmla="*/ 115347 w 198039"/>
                    <a:gd name="csY50" fmla="*/ 25035 h 223842"/>
                    <a:gd name="csX51" fmla="*/ 117140 w 198039"/>
                    <a:gd name="csY51" fmla="*/ 20681 h 223842"/>
                    <a:gd name="csX52" fmla="*/ 104110 w 198039"/>
                    <a:gd name="csY52" fmla="*/ 14886 h 223842"/>
                    <a:gd name="csX53" fmla="*/ 85222 w 198039"/>
                    <a:gd name="csY53" fmla="*/ 19241 h 223842"/>
                    <a:gd name="csX54" fmla="*/ 80868 w 198039"/>
                    <a:gd name="csY54" fmla="*/ 16327 h 2238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198039" h="223842">
                      <a:moveTo>
                        <a:pt x="80868" y="16327"/>
                      </a:moveTo>
                      <a:lnTo>
                        <a:pt x="79075" y="11269"/>
                      </a:lnTo>
                      <a:lnTo>
                        <a:pt x="74721" y="2561"/>
                      </a:lnTo>
                      <a:lnTo>
                        <a:pt x="68190" y="0"/>
                      </a:lnTo>
                      <a:lnTo>
                        <a:pt x="25739" y="1825"/>
                      </a:lnTo>
                      <a:lnTo>
                        <a:pt x="25739" y="19241"/>
                      </a:lnTo>
                      <a:lnTo>
                        <a:pt x="36272" y="28652"/>
                      </a:lnTo>
                      <a:lnTo>
                        <a:pt x="23210" y="74017"/>
                      </a:lnTo>
                      <a:lnTo>
                        <a:pt x="1793" y="105935"/>
                      </a:lnTo>
                      <a:lnTo>
                        <a:pt x="0" y="112113"/>
                      </a:lnTo>
                      <a:lnTo>
                        <a:pt x="10501" y="124791"/>
                      </a:lnTo>
                      <a:lnTo>
                        <a:pt x="15591" y="121525"/>
                      </a:lnTo>
                      <a:lnTo>
                        <a:pt x="31918" y="136028"/>
                      </a:lnTo>
                      <a:lnTo>
                        <a:pt x="39537" y="134235"/>
                      </a:lnTo>
                      <a:lnTo>
                        <a:pt x="48245" y="140382"/>
                      </a:lnTo>
                      <a:lnTo>
                        <a:pt x="46420" y="149089"/>
                      </a:lnTo>
                      <a:lnTo>
                        <a:pt x="42067" y="148001"/>
                      </a:lnTo>
                      <a:lnTo>
                        <a:pt x="39537" y="153443"/>
                      </a:lnTo>
                      <a:lnTo>
                        <a:pt x="43891" y="164328"/>
                      </a:lnTo>
                      <a:lnTo>
                        <a:pt x="55128" y="161799"/>
                      </a:lnTo>
                      <a:lnTo>
                        <a:pt x="64540" y="167946"/>
                      </a:lnTo>
                      <a:lnTo>
                        <a:pt x="65277" y="179215"/>
                      </a:lnTo>
                      <a:lnTo>
                        <a:pt x="84517" y="180655"/>
                      </a:lnTo>
                      <a:lnTo>
                        <a:pt x="96490" y="193717"/>
                      </a:lnTo>
                      <a:lnTo>
                        <a:pt x="97195" y="205691"/>
                      </a:lnTo>
                      <a:lnTo>
                        <a:pt x="117140" y="206779"/>
                      </a:lnTo>
                      <a:lnTo>
                        <a:pt x="125495" y="223842"/>
                      </a:lnTo>
                      <a:lnTo>
                        <a:pt x="137821" y="214398"/>
                      </a:lnTo>
                      <a:lnTo>
                        <a:pt x="146176" y="219488"/>
                      </a:lnTo>
                      <a:lnTo>
                        <a:pt x="157413" y="221281"/>
                      </a:lnTo>
                      <a:lnTo>
                        <a:pt x="157413" y="214398"/>
                      </a:lnTo>
                      <a:lnTo>
                        <a:pt x="173741" y="219488"/>
                      </a:lnTo>
                      <a:lnTo>
                        <a:pt x="191156" y="211869"/>
                      </a:lnTo>
                      <a:lnTo>
                        <a:pt x="198039" y="196982"/>
                      </a:lnTo>
                      <a:lnTo>
                        <a:pt x="194422" y="195542"/>
                      </a:lnTo>
                      <a:lnTo>
                        <a:pt x="186802" y="200600"/>
                      </a:lnTo>
                      <a:lnTo>
                        <a:pt x="179919" y="193717"/>
                      </a:lnTo>
                      <a:lnTo>
                        <a:pt x="190068" y="178126"/>
                      </a:lnTo>
                      <a:lnTo>
                        <a:pt x="186066" y="169770"/>
                      </a:lnTo>
                      <a:lnTo>
                        <a:pt x="189331" y="142943"/>
                      </a:lnTo>
                      <a:lnTo>
                        <a:pt x="176302" y="140382"/>
                      </a:lnTo>
                      <a:lnTo>
                        <a:pt x="179183" y="117908"/>
                      </a:lnTo>
                      <a:lnTo>
                        <a:pt x="184977" y="112818"/>
                      </a:lnTo>
                      <a:lnTo>
                        <a:pt x="176302" y="99051"/>
                      </a:lnTo>
                      <a:lnTo>
                        <a:pt x="177390" y="87782"/>
                      </a:lnTo>
                      <a:lnTo>
                        <a:pt x="167946" y="68926"/>
                      </a:lnTo>
                      <a:lnTo>
                        <a:pt x="161063" y="66397"/>
                      </a:lnTo>
                      <a:lnTo>
                        <a:pt x="148001" y="53335"/>
                      </a:lnTo>
                      <a:lnTo>
                        <a:pt x="143647" y="35568"/>
                      </a:lnTo>
                      <a:lnTo>
                        <a:pt x="117876" y="32654"/>
                      </a:lnTo>
                      <a:lnTo>
                        <a:pt x="115347" y="25035"/>
                      </a:lnTo>
                      <a:lnTo>
                        <a:pt x="117140" y="20681"/>
                      </a:lnTo>
                      <a:lnTo>
                        <a:pt x="104110" y="14886"/>
                      </a:lnTo>
                      <a:lnTo>
                        <a:pt x="85222" y="19241"/>
                      </a:lnTo>
                      <a:lnTo>
                        <a:pt x="80868" y="1632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42C58193-FC82-20DC-4651-BE46E52A26A2}"/>
                    </a:ext>
                  </a:extLst>
                </p:cNvPr>
                <p:cNvSpPr/>
                <p:nvPr/>
              </p:nvSpPr>
              <p:spPr>
                <a:xfrm>
                  <a:off x="1666025" y="5496919"/>
                  <a:ext cx="198039" cy="223842"/>
                </a:xfrm>
                <a:custGeom>
                  <a:avLst/>
                  <a:gdLst>
                    <a:gd name="csX0" fmla="*/ 80868 w 198039"/>
                    <a:gd name="csY0" fmla="*/ 16327 h 223842"/>
                    <a:gd name="csX1" fmla="*/ 79075 w 198039"/>
                    <a:gd name="csY1" fmla="*/ 11269 h 223842"/>
                    <a:gd name="csX2" fmla="*/ 74721 w 198039"/>
                    <a:gd name="csY2" fmla="*/ 2561 h 223842"/>
                    <a:gd name="csX3" fmla="*/ 68190 w 198039"/>
                    <a:gd name="csY3" fmla="*/ 0 h 223842"/>
                    <a:gd name="csX4" fmla="*/ 25739 w 198039"/>
                    <a:gd name="csY4" fmla="*/ 1825 h 223842"/>
                    <a:gd name="csX5" fmla="*/ 25739 w 198039"/>
                    <a:gd name="csY5" fmla="*/ 19241 h 223842"/>
                    <a:gd name="csX6" fmla="*/ 36272 w 198039"/>
                    <a:gd name="csY6" fmla="*/ 28652 h 223842"/>
                    <a:gd name="csX7" fmla="*/ 23210 w 198039"/>
                    <a:gd name="csY7" fmla="*/ 74017 h 223842"/>
                    <a:gd name="csX8" fmla="*/ 1793 w 198039"/>
                    <a:gd name="csY8" fmla="*/ 105935 h 223842"/>
                    <a:gd name="csX9" fmla="*/ 0 w 198039"/>
                    <a:gd name="csY9" fmla="*/ 112113 h 223842"/>
                    <a:gd name="csX10" fmla="*/ 10501 w 198039"/>
                    <a:gd name="csY10" fmla="*/ 124791 h 223842"/>
                    <a:gd name="csX11" fmla="*/ 15591 w 198039"/>
                    <a:gd name="csY11" fmla="*/ 121525 h 223842"/>
                    <a:gd name="csX12" fmla="*/ 31918 w 198039"/>
                    <a:gd name="csY12" fmla="*/ 136028 h 223842"/>
                    <a:gd name="csX13" fmla="*/ 39537 w 198039"/>
                    <a:gd name="csY13" fmla="*/ 134235 h 223842"/>
                    <a:gd name="csX14" fmla="*/ 48245 w 198039"/>
                    <a:gd name="csY14" fmla="*/ 140382 h 223842"/>
                    <a:gd name="csX15" fmla="*/ 46420 w 198039"/>
                    <a:gd name="csY15" fmla="*/ 149089 h 223842"/>
                    <a:gd name="csX16" fmla="*/ 42067 w 198039"/>
                    <a:gd name="csY16" fmla="*/ 148001 h 223842"/>
                    <a:gd name="csX17" fmla="*/ 39537 w 198039"/>
                    <a:gd name="csY17" fmla="*/ 153443 h 223842"/>
                    <a:gd name="csX18" fmla="*/ 43891 w 198039"/>
                    <a:gd name="csY18" fmla="*/ 164328 h 223842"/>
                    <a:gd name="csX19" fmla="*/ 55128 w 198039"/>
                    <a:gd name="csY19" fmla="*/ 161799 h 223842"/>
                    <a:gd name="csX20" fmla="*/ 64540 w 198039"/>
                    <a:gd name="csY20" fmla="*/ 167946 h 223842"/>
                    <a:gd name="csX21" fmla="*/ 65277 w 198039"/>
                    <a:gd name="csY21" fmla="*/ 179215 h 223842"/>
                    <a:gd name="csX22" fmla="*/ 84517 w 198039"/>
                    <a:gd name="csY22" fmla="*/ 180655 h 223842"/>
                    <a:gd name="csX23" fmla="*/ 96490 w 198039"/>
                    <a:gd name="csY23" fmla="*/ 193717 h 223842"/>
                    <a:gd name="csX24" fmla="*/ 97195 w 198039"/>
                    <a:gd name="csY24" fmla="*/ 205691 h 223842"/>
                    <a:gd name="csX25" fmla="*/ 117140 w 198039"/>
                    <a:gd name="csY25" fmla="*/ 206779 h 223842"/>
                    <a:gd name="csX26" fmla="*/ 125495 w 198039"/>
                    <a:gd name="csY26" fmla="*/ 223842 h 223842"/>
                    <a:gd name="csX27" fmla="*/ 137821 w 198039"/>
                    <a:gd name="csY27" fmla="*/ 214398 h 223842"/>
                    <a:gd name="csX28" fmla="*/ 146176 w 198039"/>
                    <a:gd name="csY28" fmla="*/ 219488 h 223842"/>
                    <a:gd name="csX29" fmla="*/ 157413 w 198039"/>
                    <a:gd name="csY29" fmla="*/ 221281 h 223842"/>
                    <a:gd name="csX30" fmla="*/ 157413 w 198039"/>
                    <a:gd name="csY30" fmla="*/ 214398 h 223842"/>
                    <a:gd name="csX31" fmla="*/ 173741 w 198039"/>
                    <a:gd name="csY31" fmla="*/ 219488 h 223842"/>
                    <a:gd name="csX32" fmla="*/ 191156 w 198039"/>
                    <a:gd name="csY32" fmla="*/ 211869 h 223842"/>
                    <a:gd name="csX33" fmla="*/ 198039 w 198039"/>
                    <a:gd name="csY33" fmla="*/ 196982 h 223842"/>
                    <a:gd name="csX34" fmla="*/ 194422 w 198039"/>
                    <a:gd name="csY34" fmla="*/ 195542 h 223842"/>
                    <a:gd name="csX35" fmla="*/ 186802 w 198039"/>
                    <a:gd name="csY35" fmla="*/ 200600 h 223842"/>
                    <a:gd name="csX36" fmla="*/ 179919 w 198039"/>
                    <a:gd name="csY36" fmla="*/ 193717 h 223842"/>
                    <a:gd name="csX37" fmla="*/ 190068 w 198039"/>
                    <a:gd name="csY37" fmla="*/ 178126 h 223842"/>
                    <a:gd name="csX38" fmla="*/ 186066 w 198039"/>
                    <a:gd name="csY38" fmla="*/ 169770 h 223842"/>
                    <a:gd name="csX39" fmla="*/ 189331 w 198039"/>
                    <a:gd name="csY39" fmla="*/ 142943 h 223842"/>
                    <a:gd name="csX40" fmla="*/ 176302 w 198039"/>
                    <a:gd name="csY40" fmla="*/ 140382 h 223842"/>
                    <a:gd name="csX41" fmla="*/ 179183 w 198039"/>
                    <a:gd name="csY41" fmla="*/ 117908 h 223842"/>
                    <a:gd name="csX42" fmla="*/ 184977 w 198039"/>
                    <a:gd name="csY42" fmla="*/ 112818 h 223842"/>
                    <a:gd name="csX43" fmla="*/ 176302 w 198039"/>
                    <a:gd name="csY43" fmla="*/ 99051 h 223842"/>
                    <a:gd name="csX44" fmla="*/ 177390 w 198039"/>
                    <a:gd name="csY44" fmla="*/ 87782 h 223842"/>
                    <a:gd name="csX45" fmla="*/ 167946 w 198039"/>
                    <a:gd name="csY45" fmla="*/ 68926 h 223842"/>
                    <a:gd name="csX46" fmla="*/ 161063 w 198039"/>
                    <a:gd name="csY46" fmla="*/ 66397 h 223842"/>
                    <a:gd name="csX47" fmla="*/ 148001 w 198039"/>
                    <a:gd name="csY47" fmla="*/ 53335 h 223842"/>
                    <a:gd name="csX48" fmla="*/ 143647 w 198039"/>
                    <a:gd name="csY48" fmla="*/ 35568 h 223842"/>
                    <a:gd name="csX49" fmla="*/ 117876 w 198039"/>
                    <a:gd name="csY49" fmla="*/ 32654 h 223842"/>
                    <a:gd name="csX50" fmla="*/ 115347 w 198039"/>
                    <a:gd name="csY50" fmla="*/ 25035 h 223842"/>
                    <a:gd name="csX51" fmla="*/ 117140 w 198039"/>
                    <a:gd name="csY51" fmla="*/ 20681 h 223842"/>
                    <a:gd name="csX52" fmla="*/ 104110 w 198039"/>
                    <a:gd name="csY52" fmla="*/ 14886 h 223842"/>
                    <a:gd name="csX53" fmla="*/ 85222 w 198039"/>
                    <a:gd name="csY53" fmla="*/ 19241 h 223842"/>
                    <a:gd name="csX54" fmla="*/ 80868 w 198039"/>
                    <a:gd name="csY54" fmla="*/ 16327 h 2238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198039" h="223842">
                      <a:moveTo>
                        <a:pt x="80868" y="16327"/>
                      </a:moveTo>
                      <a:lnTo>
                        <a:pt x="79075" y="11269"/>
                      </a:lnTo>
                      <a:lnTo>
                        <a:pt x="74721" y="2561"/>
                      </a:lnTo>
                      <a:lnTo>
                        <a:pt x="68190" y="0"/>
                      </a:lnTo>
                      <a:lnTo>
                        <a:pt x="25739" y="1825"/>
                      </a:lnTo>
                      <a:lnTo>
                        <a:pt x="25739" y="19241"/>
                      </a:lnTo>
                      <a:lnTo>
                        <a:pt x="36272" y="28652"/>
                      </a:lnTo>
                      <a:lnTo>
                        <a:pt x="23210" y="74017"/>
                      </a:lnTo>
                      <a:lnTo>
                        <a:pt x="1793" y="105935"/>
                      </a:lnTo>
                      <a:lnTo>
                        <a:pt x="0" y="112113"/>
                      </a:lnTo>
                      <a:lnTo>
                        <a:pt x="10501" y="124791"/>
                      </a:lnTo>
                      <a:lnTo>
                        <a:pt x="15591" y="121525"/>
                      </a:lnTo>
                      <a:lnTo>
                        <a:pt x="31918" y="136028"/>
                      </a:lnTo>
                      <a:lnTo>
                        <a:pt x="39537" y="134235"/>
                      </a:lnTo>
                      <a:lnTo>
                        <a:pt x="48245" y="140382"/>
                      </a:lnTo>
                      <a:lnTo>
                        <a:pt x="46420" y="149089"/>
                      </a:lnTo>
                      <a:lnTo>
                        <a:pt x="42067" y="148001"/>
                      </a:lnTo>
                      <a:lnTo>
                        <a:pt x="39537" y="153443"/>
                      </a:lnTo>
                      <a:lnTo>
                        <a:pt x="43891" y="164328"/>
                      </a:lnTo>
                      <a:lnTo>
                        <a:pt x="55128" y="161799"/>
                      </a:lnTo>
                      <a:lnTo>
                        <a:pt x="64540" y="167946"/>
                      </a:lnTo>
                      <a:lnTo>
                        <a:pt x="65277" y="179215"/>
                      </a:lnTo>
                      <a:lnTo>
                        <a:pt x="84517" y="180655"/>
                      </a:lnTo>
                      <a:lnTo>
                        <a:pt x="96490" y="193717"/>
                      </a:lnTo>
                      <a:lnTo>
                        <a:pt x="97195" y="205691"/>
                      </a:lnTo>
                      <a:lnTo>
                        <a:pt x="117140" y="206779"/>
                      </a:lnTo>
                      <a:lnTo>
                        <a:pt x="125495" y="223842"/>
                      </a:lnTo>
                      <a:lnTo>
                        <a:pt x="137821" y="214398"/>
                      </a:lnTo>
                      <a:lnTo>
                        <a:pt x="146176" y="219488"/>
                      </a:lnTo>
                      <a:lnTo>
                        <a:pt x="157413" y="221281"/>
                      </a:lnTo>
                      <a:lnTo>
                        <a:pt x="157413" y="214398"/>
                      </a:lnTo>
                      <a:lnTo>
                        <a:pt x="173741" y="219488"/>
                      </a:lnTo>
                      <a:lnTo>
                        <a:pt x="191156" y="211869"/>
                      </a:lnTo>
                      <a:lnTo>
                        <a:pt x="198039" y="196982"/>
                      </a:lnTo>
                      <a:lnTo>
                        <a:pt x="194422" y="195542"/>
                      </a:lnTo>
                      <a:lnTo>
                        <a:pt x="186802" y="200600"/>
                      </a:lnTo>
                      <a:lnTo>
                        <a:pt x="179919" y="193717"/>
                      </a:lnTo>
                      <a:lnTo>
                        <a:pt x="190068" y="178126"/>
                      </a:lnTo>
                      <a:lnTo>
                        <a:pt x="186066" y="169770"/>
                      </a:lnTo>
                      <a:lnTo>
                        <a:pt x="189331" y="142943"/>
                      </a:lnTo>
                      <a:lnTo>
                        <a:pt x="176302" y="140382"/>
                      </a:lnTo>
                      <a:lnTo>
                        <a:pt x="179183" y="117908"/>
                      </a:lnTo>
                      <a:lnTo>
                        <a:pt x="184977" y="112818"/>
                      </a:lnTo>
                      <a:lnTo>
                        <a:pt x="176302" y="99051"/>
                      </a:lnTo>
                      <a:lnTo>
                        <a:pt x="177390" y="87782"/>
                      </a:lnTo>
                      <a:lnTo>
                        <a:pt x="167946" y="68926"/>
                      </a:lnTo>
                      <a:lnTo>
                        <a:pt x="161063" y="66397"/>
                      </a:lnTo>
                      <a:lnTo>
                        <a:pt x="148001" y="53335"/>
                      </a:lnTo>
                      <a:lnTo>
                        <a:pt x="143647" y="35568"/>
                      </a:lnTo>
                      <a:lnTo>
                        <a:pt x="117876" y="32654"/>
                      </a:lnTo>
                      <a:lnTo>
                        <a:pt x="115347" y="25035"/>
                      </a:lnTo>
                      <a:lnTo>
                        <a:pt x="117140" y="20681"/>
                      </a:lnTo>
                      <a:lnTo>
                        <a:pt x="104110" y="14886"/>
                      </a:lnTo>
                      <a:lnTo>
                        <a:pt x="85222" y="19241"/>
                      </a:lnTo>
                      <a:lnTo>
                        <a:pt x="80868" y="1632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22431956-0070-B93E-3513-ED1231E25E1A}"/>
                    </a:ext>
                  </a:extLst>
                </p:cNvPr>
                <p:cNvSpPr/>
                <p:nvPr/>
              </p:nvSpPr>
              <p:spPr>
                <a:xfrm>
                  <a:off x="2548238" y="5032587"/>
                  <a:ext cx="800256" cy="439681"/>
                </a:xfrm>
                <a:custGeom>
                  <a:avLst/>
                  <a:gdLst>
                    <a:gd name="csX0" fmla="*/ 496603 w 800256"/>
                    <a:gd name="csY0" fmla="*/ 5090 h 439681"/>
                    <a:gd name="csX1" fmla="*/ 492249 w 800256"/>
                    <a:gd name="csY1" fmla="*/ 0 h 439681"/>
                    <a:gd name="csX2" fmla="*/ 486102 w 800256"/>
                    <a:gd name="csY2" fmla="*/ 10180 h 439681"/>
                    <a:gd name="csX3" fmla="*/ 469775 w 800256"/>
                    <a:gd name="csY3" fmla="*/ 12710 h 439681"/>
                    <a:gd name="csX4" fmla="*/ 464685 w 800256"/>
                    <a:gd name="csY4" fmla="*/ 9444 h 439681"/>
                    <a:gd name="csX5" fmla="*/ 462155 w 800256"/>
                    <a:gd name="csY5" fmla="*/ 15239 h 439681"/>
                    <a:gd name="csX6" fmla="*/ 445828 w 800256"/>
                    <a:gd name="csY6" fmla="*/ 15239 h 439681"/>
                    <a:gd name="csX7" fmla="*/ 440738 w 800256"/>
                    <a:gd name="csY7" fmla="*/ 26508 h 439681"/>
                    <a:gd name="csX8" fmla="*/ 431326 w 800256"/>
                    <a:gd name="csY8" fmla="*/ 28301 h 439681"/>
                    <a:gd name="csX9" fmla="*/ 420089 w 800256"/>
                    <a:gd name="csY9" fmla="*/ 14534 h 439681"/>
                    <a:gd name="csX10" fmla="*/ 400112 w 800256"/>
                    <a:gd name="csY10" fmla="*/ 23946 h 439681"/>
                    <a:gd name="csX11" fmla="*/ 402673 w 800256"/>
                    <a:gd name="csY11" fmla="*/ 31566 h 439681"/>
                    <a:gd name="csX12" fmla="*/ 376902 w 800256"/>
                    <a:gd name="csY12" fmla="*/ 42099 h 439681"/>
                    <a:gd name="csX13" fmla="*/ 364929 w 800256"/>
                    <a:gd name="csY13" fmla="*/ 52247 h 439681"/>
                    <a:gd name="csX14" fmla="*/ 351867 w 800256"/>
                    <a:gd name="csY14" fmla="*/ 47157 h 439681"/>
                    <a:gd name="csX15" fmla="*/ 349338 w 800256"/>
                    <a:gd name="csY15" fmla="*/ 54072 h 439681"/>
                    <a:gd name="csX16" fmla="*/ 334835 w 800256"/>
                    <a:gd name="csY16" fmla="*/ 52247 h 439681"/>
                    <a:gd name="csX17" fmla="*/ 333011 w 800256"/>
                    <a:gd name="csY17" fmla="*/ 56601 h 439681"/>
                    <a:gd name="csX18" fmla="*/ 323567 w 800256"/>
                    <a:gd name="csY18" fmla="*/ 58426 h 439681"/>
                    <a:gd name="csX19" fmla="*/ 319213 w 800256"/>
                    <a:gd name="csY19" fmla="*/ 67133 h 439681"/>
                    <a:gd name="csX20" fmla="*/ 309800 w 800256"/>
                    <a:gd name="csY20" fmla="*/ 60218 h 439681"/>
                    <a:gd name="csX21" fmla="*/ 286590 w 800256"/>
                    <a:gd name="csY21" fmla="*/ 67838 h 439681"/>
                    <a:gd name="csX22" fmla="*/ 278971 w 800256"/>
                    <a:gd name="csY22" fmla="*/ 58426 h 439681"/>
                    <a:gd name="csX23" fmla="*/ 262644 w 800256"/>
                    <a:gd name="csY23" fmla="*/ 62780 h 439681"/>
                    <a:gd name="csX24" fmla="*/ 236520 w 800256"/>
                    <a:gd name="csY24" fmla="*/ 47893 h 439681"/>
                    <a:gd name="csX25" fmla="*/ 222018 w 800256"/>
                    <a:gd name="csY25" fmla="*/ 52247 h 439681"/>
                    <a:gd name="csX26" fmla="*/ 216928 w 800256"/>
                    <a:gd name="csY26" fmla="*/ 63484 h 439681"/>
                    <a:gd name="csX27" fmla="*/ 222018 w 800256"/>
                    <a:gd name="csY27" fmla="*/ 67838 h 439681"/>
                    <a:gd name="csX28" fmla="*/ 223811 w 800256"/>
                    <a:gd name="csY28" fmla="*/ 78018 h 439681"/>
                    <a:gd name="csX29" fmla="*/ 215839 w 800256"/>
                    <a:gd name="csY29" fmla="*/ 90344 h 439681"/>
                    <a:gd name="csX30" fmla="*/ 206395 w 800256"/>
                    <a:gd name="csY30" fmla="*/ 98667 h 439681"/>
                    <a:gd name="csX31" fmla="*/ 198071 w 800256"/>
                    <a:gd name="csY31" fmla="*/ 84165 h 439681"/>
                    <a:gd name="csX32" fmla="*/ 192629 w 800256"/>
                    <a:gd name="csY32" fmla="*/ 91080 h 439681"/>
                    <a:gd name="csX33" fmla="*/ 179919 w 800256"/>
                    <a:gd name="csY33" fmla="*/ 81636 h 439681"/>
                    <a:gd name="csX34" fmla="*/ 148001 w 800256"/>
                    <a:gd name="csY34" fmla="*/ 79811 h 439681"/>
                    <a:gd name="csX35" fmla="*/ 148001 w 800256"/>
                    <a:gd name="csY35" fmla="*/ 103021 h 439681"/>
                    <a:gd name="csX36" fmla="*/ 143647 w 800256"/>
                    <a:gd name="csY36" fmla="*/ 103021 h 439681"/>
                    <a:gd name="csX37" fmla="*/ 132410 w 800256"/>
                    <a:gd name="csY37" fmla="*/ 99756 h 439681"/>
                    <a:gd name="csX38" fmla="*/ 115347 w 800256"/>
                    <a:gd name="csY38" fmla="*/ 111025 h 439681"/>
                    <a:gd name="csX39" fmla="*/ 106639 w 800256"/>
                    <a:gd name="csY39" fmla="*/ 105582 h 439681"/>
                    <a:gd name="csX40" fmla="*/ 104110 w 800256"/>
                    <a:gd name="csY40" fmla="*/ 91080 h 439681"/>
                    <a:gd name="csX41" fmla="*/ 92137 w 800256"/>
                    <a:gd name="csY41" fmla="*/ 90344 h 439681"/>
                    <a:gd name="csX42" fmla="*/ 94666 w 800256"/>
                    <a:gd name="csY42" fmla="*/ 99756 h 439681"/>
                    <a:gd name="csX43" fmla="*/ 87783 w 800256"/>
                    <a:gd name="csY43" fmla="*/ 102317 h 439681"/>
                    <a:gd name="csX44" fmla="*/ 93961 w 800256"/>
                    <a:gd name="csY44" fmla="*/ 109200 h 439681"/>
                    <a:gd name="csX45" fmla="*/ 88519 w 800256"/>
                    <a:gd name="csY45" fmla="*/ 122998 h 439681"/>
                    <a:gd name="csX46" fmla="*/ 87046 w 800256"/>
                    <a:gd name="csY46" fmla="*/ 130617 h 439681"/>
                    <a:gd name="csX47" fmla="*/ 77250 w 800256"/>
                    <a:gd name="csY47" fmla="*/ 134971 h 439681"/>
                    <a:gd name="csX48" fmla="*/ 77250 w 800256"/>
                    <a:gd name="csY48" fmla="*/ 141854 h 439681"/>
                    <a:gd name="csX49" fmla="*/ 60219 w 800256"/>
                    <a:gd name="csY49" fmla="*/ 154916 h 439681"/>
                    <a:gd name="csX50" fmla="*/ 48245 w 800256"/>
                    <a:gd name="csY50" fmla="*/ 150562 h 439681"/>
                    <a:gd name="csX51" fmla="*/ 47157 w 800256"/>
                    <a:gd name="csY51" fmla="*/ 162536 h 439681"/>
                    <a:gd name="csX52" fmla="*/ 30093 w 800256"/>
                    <a:gd name="csY52" fmla="*/ 151267 h 439681"/>
                    <a:gd name="csX53" fmla="*/ 20681 w 800256"/>
                    <a:gd name="csY53" fmla="*/ 153828 h 439681"/>
                    <a:gd name="csX54" fmla="*/ 16327 w 800256"/>
                    <a:gd name="csY54" fmla="*/ 149474 h 439681"/>
                    <a:gd name="csX55" fmla="*/ 11237 w 800256"/>
                    <a:gd name="csY55" fmla="*/ 154916 h 439681"/>
                    <a:gd name="csX56" fmla="*/ 6883 w 800256"/>
                    <a:gd name="csY56" fmla="*/ 173773 h 439681"/>
                    <a:gd name="csX57" fmla="*/ 0 w 800256"/>
                    <a:gd name="csY57" fmla="*/ 179567 h 439681"/>
                    <a:gd name="csX58" fmla="*/ 11237 w 800256"/>
                    <a:gd name="csY58" fmla="*/ 189011 h 439681"/>
                    <a:gd name="csX59" fmla="*/ 32654 w 800256"/>
                    <a:gd name="csY59" fmla="*/ 191540 h 439681"/>
                    <a:gd name="csX60" fmla="*/ 39537 w 800256"/>
                    <a:gd name="csY60" fmla="*/ 198455 h 439681"/>
                    <a:gd name="csX61" fmla="*/ 43891 w 800256"/>
                    <a:gd name="csY61" fmla="*/ 206427 h 439681"/>
                    <a:gd name="csX62" fmla="*/ 43155 w 800256"/>
                    <a:gd name="csY62" fmla="*/ 225283 h 439681"/>
                    <a:gd name="csX63" fmla="*/ 51511 w 800256"/>
                    <a:gd name="csY63" fmla="*/ 228549 h 439681"/>
                    <a:gd name="csX64" fmla="*/ 60219 w 800256"/>
                    <a:gd name="csY64" fmla="*/ 241610 h 439681"/>
                    <a:gd name="csX65" fmla="*/ 50070 w 800256"/>
                    <a:gd name="csY65" fmla="*/ 252847 h 439681"/>
                    <a:gd name="csX66" fmla="*/ 66397 w 800256"/>
                    <a:gd name="csY66" fmla="*/ 265557 h 439681"/>
                    <a:gd name="csX67" fmla="*/ 64572 w 800256"/>
                    <a:gd name="csY67" fmla="*/ 268438 h 439681"/>
                    <a:gd name="csX68" fmla="*/ 60955 w 800256"/>
                    <a:gd name="csY68" fmla="*/ 285502 h 439681"/>
                    <a:gd name="csX69" fmla="*/ 62043 w 800256"/>
                    <a:gd name="csY69" fmla="*/ 287326 h 439681"/>
                    <a:gd name="csX70" fmla="*/ 85254 w 800256"/>
                    <a:gd name="csY70" fmla="*/ 294946 h 439681"/>
                    <a:gd name="csX71" fmla="*/ 88519 w 800256"/>
                    <a:gd name="csY71" fmla="*/ 306183 h 439681"/>
                    <a:gd name="csX72" fmla="*/ 92137 w 800256"/>
                    <a:gd name="csY72" fmla="*/ 315595 h 439681"/>
                    <a:gd name="csX73" fmla="*/ 87046 w 800256"/>
                    <a:gd name="csY73" fmla="*/ 319244 h 439681"/>
                    <a:gd name="csX74" fmla="*/ 83429 w 800256"/>
                    <a:gd name="csY74" fmla="*/ 333747 h 439681"/>
                    <a:gd name="csX75" fmla="*/ 97227 w 800256"/>
                    <a:gd name="csY75" fmla="*/ 341366 h 439681"/>
                    <a:gd name="csX76" fmla="*/ 91048 w 800256"/>
                    <a:gd name="csY76" fmla="*/ 357693 h 439681"/>
                    <a:gd name="csX77" fmla="*/ 95402 w 800256"/>
                    <a:gd name="csY77" fmla="*/ 356957 h 439681"/>
                    <a:gd name="csX78" fmla="*/ 102285 w 800256"/>
                    <a:gd name="csY78" fmla="*/ 357693 h 439681"/>
                    <a:gd name="csX79" fmla="*/ 111729 w 800256"/>
                    <a:gd name="csY79" fmla="*/ 379463 h 439681"/>
                    <a:gd name="csX80" fmla="*/ 113554 w 800256"/>
                    <a:gd name="csY80" fmla="*/ 399056 h 439681"/>
                    <a:gd name="csX81" fmla="*/ 121173 w 800256"/>
                    <a:gd name="csY81" fmla="*/ 405202 h 439681"/>
                    <a:gd name="csX82" fmla="*/ 111729 w 800256"/>
                    <a:gd name="csY82" fmla="*/ 407763 h 439681"/>
                    <a:gd name="csX83" fmla="*/ 108464 w 800256"/>
                    <a:gd name="csY83" fmla="*/ 417912 h 439681"/>
                    <a:gd name="csX84" fmla="*/ 114258 w 800256"/>
                    <a:gd name="csY84" fmla="*/ 435328 h 439681"/>
                    <a:gd name="csX85" fmla="*/ 121173 w 800256"/>
                    <a:gd name="csY85" fmla="*/ 429149 h 439681"/>
                    <a:gd name="csX86" fmla="*/ 129881 w 800256"/>
                    <a:gd name="csY86" fmla="*/ 439681 h 439681"/>
                    <a:gd name="csX87" fmla="*/ 157445 w 800256"/>
                    <a:gd name="csY87" fmla="*/ 438593 h 439681"/>
                    <a:gd name="csX88" fmla="*/ 155620 w 800256"/>
                    <a:gd name="csY88" fmla="*/ 431678 h 439681"/>
                    <a:gd name="csX89" fmla="*/ 173773 w 800256"/>
                    <a:gd name="csY89" fmla="*/ 421530 h 439681"/>
                    <a:gd name="csX90" fmla="*/ 173773 w 800256"/>
                    <a:gd name="csY90" fmla="*/ 414647 h 439681"/>
                    <a:gd name="csX91" fmla="*/ 167946 w 800256"/>
                    <a:gd name="csY91" fmla="*/ 404114 h 439681"/>
                    <a:gd name="csX92" fmla="*/ 171948 w 800256"/>
                    <a:gd name="csY92" fmla="*/ 393966 h 439681"/>
                    <a:gd name="csX93" fmla="*/ 170507 w 800256"/>
                    <a:gd name="csY93" fmla="*/ 379463 h 439681"/>
                    <a:gd name="csX94" fmla="*/ 169419 w 800256"/>
                    <a:gd name="csY94" fmla="*/ 372580 h 439681"/>
                    <a:gd name="csX95" fmla="*/ 181744 w 800256"/>
                    <a:gd name="csY95" fmla="*/ 362047 h 439681"/>
                    <a:gd name="csX96" fmla="*/ 186802 w 800256"/>
                    <a:gd name="csY96" fmla="*/ 364576 h 439681"/>
                    <a:gd name="csX97" fmla="*/ 190068 w 800256"/>
                    <a:gd name="csY97" fmla="*/ 366401 h 439681"/>
                    <a:gd name="csX98" fmla="*/ 198071 w 800256"/>
                    <a:gd name="csY98" fmla="*/ 376550 h 439681"/>
                    <a:gd name="csX99" fmla="*/ 207483 w 800256"/>
                    <a:gd name="csY99" fmla="*/ 373284 h 439681"/>
                    <a:gd name="csX100" fmla="*/ 233255 w 800256"/>
                    <a:gd name="csY100" fmla="*/ 375813 h 439681"/>
                    <a:gd name="csX101" fmla="*/ 233255 w 800256"/>
                    <a:gd name="csY101" fmla="*/ 368226 h 439681"/>
                    <a:gd name="csX102" fmla="*/ 254640 w 800256"/>
                    <a:gd name="csY102" fmla="*/ 381992 h 439681"/>
                    <a:gd name="csX103" fmla="*/ 263348 w 800256"/>
                    <a:gd name="csY103" fmla="*/ 376550 h 439681"/>
                    <a:gd name="csX104" fmla="*/ 275321 w 800256"/>
                    <a:gd name="csY104" fmla="*/ 377638 h 439681"/>
                    <a:gd name="csX105" fmla="*/ 280411 w 800256"/>
                    <a:gd name="csY105" fmla="*/ 383433 h 439681"/>
                    <a:gd name="csX106" fmla="*/ 289119 w 800256"/>
                    <a:gd name="csY106" fmla="*/ 384521 h 439681"/>
                    <a:gd name="csX107" fmla="*/ 289119 w 800256"/>
                    <a:gd name="csY107" fmla="*/ 390348 h 439681"/>
                    <a:gd name="csX108" fmla="*/ 298531 w 800256"/>
                    <a:gd name="csY108" fmla="*/ 393966 h 439681"/>
                    <a:gd name="csX109" fmla="*/ 302885 w 800256"/>
                    <a:gd name="csY109" fmla="*/ 388875 h 439681"/>
                    <a:gd name="csX110" fmla="*/ 314154 w 800256"/>
                    <a:gd name="csY110" fmla="*/ 391436 h 439681"/>
                    <a:gd name="csX111" fmla="*/ 309800 w 800256"/>
                    <a:gd name="csY111" fmla="*/ 378374 h 439681"/>
                    <a:gd name="csX112" fmla="*/ 316683 w 800256"/>
                    <a:gd name="csY112" fmla="*/ 373284 h 439681"/>
                    <a:gd name="csX113" fmla="*/ 315947 w 800256"/>
                    <a:gd name="csY113" fmla="*/ 359518 h 439681"/>
                    <a:gd name="csX114" fmla="*/ 331186 w 800256"/>
                    <a:gd name="csY114" fmla="*/ 354428 h 439681"/>
                    <a:gd name="csX115" fmla="*/ 331186 w 800256"/>
                    <a:gd name="csY115" fmla="*/ 337012 h 439681"/>
                    <a:gd name="csX116" fmla="*/ 321037 w 800256"/>
                    <a:gd name="csY116" fmla="*/ 325039 h 439681"/>
                    <a:gd name="csX117" fmla="*/ 332274 w 800256"/>
                    <a:gd name="csY117" fmla="*/ 323214 h 439681"/>
                    <a:gd name="csX118" fmla="*/ 355517 w 800256"/>
                    <a:gd name="csY118" fmla="*/ 304358 h 439681"/>
                    <a:gd name="csX119" fmla="*/ 368194 w 800256"/>
                    <a:gd name="csY119" fmla="*/ 302565 h 439681"/>
                    <a:gd name="csX120" fmla="*/ 372548 w 800256"/>
                    <a:gd name="csY120" fmla="*/ 308007 h 439681"/>
                    <a:gd name="csX121" fmla="*/ 403762 w 800256"/>
                    <a:gd name="csY121" fmla="*/ 293121 h 439681"/>
                    <a:gd name="csX122" fmla="*/ 402673 w 800256"/>
                    <a:gd name="csY122" fmla="*/ 298563 h 439681"/>
                    <a:gd name="csX123" fmla="*/ 420089 w 800256"/>
                    <a:gd name="csY123" fmla="*/ 318156 h 439681"/>
                    <a:gd name="csX124" fmla="*/ 443299 w 800256"/>
                    <a:gd name="csY124" fmla="*/ 323214 h 439681"/>
                    <a:gd name="csX125" fmla="*/ 461419 w 800256"/>
                    <a:gd name="csY125" fmla="*/ 336276 h 439681"/>
                    <a:gd name="csX126" fmla="*/ 466509 w 800256"/>
                    <a:gd name="csY126" fmla="*/ 323214 h 439681"/>
                    <a:gd name="csX127" fmla="*/ 463980 w 800256"/>
                    <a:gd name="csY127" fmla="*/ 306183 h 439681"/>
                    <a:gd name="csX128" fmla="*/ 473392 w 800256"/>
                    <a:gd name="csY128" fmla="*/ 300004 h 439681"/>
                    <a:gd name="csX129" fmla="*/ 470863 w 800256"/>
                    <a:gd name="csY129" fmla="*/ 292385 h 439681"/>
                    <a:gd name="csX130" fmla="*/ 476658 w 800256"/>
                    <a:gd name="csY130" fmla="*/ 281148 h 439681"/>
                    <a:gd name="csX131" fmla="*/ 490456 w 800256"/>
                    <a:gd name="csY131" fmla="*/ 275353 h 439681"/>
                    <a:gd name="csX132" fmla="*/ 499868 w 800256"/>
                    <a:gd name="csY132" fmla="*/ 257938 h 439681"/>
                    <a:gd name="csX133" fmla="*/ 517284 w 800256"/>
                    <a:gd name="csY133" fmla="*/ 253584 h 439681"/>
                    <a:gd name="csX134" fmla="*/ 534347 w 800256"/>
                    <a:gd name="csY134" fmla="*/ 256113 h 439681"/>
                    <a:gd name="csX135" fmla="*/ 538701 w 800256"/>
                    <a:gd name="csY135" fmla="*/ 257201 h 439681"/>
                    <a:gd name="csX136" fmla="*/ 533611 w 800256"/>
                    <a:gd name="csY136" fmla="*/ 272440 h 439681"/>
                    <a:gd name="csX137" fmla="*/ 528553 w 800256"/>
                    <a:gd name="csY137" fmla="*/ 281148 h 439681"/>
                    <a:gd name="csX138" fmla="*/ 533611 w 800256"/>
                    <a:gd name="csY138" fmla="*/ 287326 h 439681"/>
                    <a:gd name="csX139" fmla="*/ 525992 w 800256"/>
                    <a:gd name="csY139" fmla="*/ 298563 h 439681"/>
                    <a:gd name="csX140" fmla="*/ 525992 w 800256"/>
                    <a:gd name="csY140" fmla="*/ 308712 h 439681"/>
                    <a:gd name="csX141" fmla="*/ 533611 w 800256"/>
                    <a:gd name="csY141" fmla="*/ 308007 h 439681"/>
                    <a:gd name="csX142" fmla="*/ 537965 w 800256"/>
                    <a:gd name="csY142" fmla="*/ 313802 h 439681"/>
                    <a:gd name="csX143" fmla="*/ 548113 w 800256"/>
                    <a:gd name="csY143" fmla="*/ 309448 h 439681"/>
                    <a:gd name="csX144" fmla="*/ 551763 w 800256"/>
                    <a:gd name="csY144" fmla="*/ 313066 h 439681"/>
                    <a:gd name="csX145" fmla="*/ 561175 w 800256"/>
                    <a:gd name="csY145" fmla="*/ 298563 h 439681"/>
                    <a:gd name="csX146" fmla="*/ 568090 w 800256"/>
                    <a:gd name="csY146" fmla="*/ 299300 h 439681"/>
                    <a:gd name="csX147" fmla="*/ 571356 w 800256"/>
                    <a:gd name="csY147" fmla="*/ 309448 h 439681"/>
                    <a:gd name="csX148" fmla="*/ 586210 w 800256"/>
                    <a:gd name="csY148" fmla="*/ 316331 h 439681"/>
                    <a:gd name="csX149" fmla="*/ 593093 w 800256"/>
                    <a:gd name="csY149" fmla="*/ 317420 h 439681"/>
                    <a:gd name="csX150" fmla="*/ 596359 w 800256"/>
                    <a:gd name="csY150" fmla="*/ 311241 h 439681"/>
                    <a:gd name="csX151" fmla="*/ 621394 w 800256"/>
                    <a:gd name="csY151" fmla="*/ 311241 h 439681"/>
                    <a:gd name="csX152" fmla="*/ 622130 w 800256"/>
                    <a:gd name="csY152" fmla="*/ 311241 h 439681"/>
                    <a:gd name="csX153" fmla="*/ 626484 w 800256"/>
                    <a:gd name="csY153" fmla="*/ 306183 h 439681"/>
                    <a:gd name="csX154" fmla="*/ 651519 w 800256"/>
                    <a:gd name="csY154" fmla="*/ 309448 h 439681"/>
                    <a:gd name="csX155" fmla="*/ 654784 w 800256"/>
                    <a:gd name="csY155" fmla="*/ 316331 h 439681"/>
                    <a:gd name="csX156" fmla="*/ 650783 w 800256"/>
                    <a:gd name="csY156" fmla="*/ 327568 h 439681"/>
                    <a:gd name="csX157" fmla="*/ 657666 w 800256"/>
                    <a:gd name="csY157" fmla="*/ 335572 h 439681"/>
                    <a:gd name="csX158" fmla="*/ 667110 w 800256"/>
                    <a:gd name="csY158" fmla="*/ 352603 h 439681"/>
                    <a:gd name="csX159" fmla="*/ 679083 w 800256"/>
                    <a:gd name="csY159" fmla="*/ 360223 h 439681"/>
                    <a:gd name="csX160" fmla="*/ 691056 w 800256"/>
                    <a:gd name="csY160" fmla="*/ 356957 h 439681"/>
                    <a:gd name="csX161" fmla="*/ 692881 w 800256"/>
                    <a:gd name="csY161" fmla="*/ 345720 h 439681"/>
                    <a:gd name="csX162" fmla="*/ 728769 w 800256"/>
                    <a:gd name="csY162" fmla="*/ 348249 h 439681"/>
                    <a:gd name="csX163" fmla="*/ 768691 w 800256"/>
                    <a:gd name="csY163" fmla="*/ 339542 h 439681"/>
                    <a:gd name="csX164" fmla="*/ 778839 w 800256"/>
                    <a:gd name="csY164" fmla="*/ 333747 h 439681"/>
                    <a:gd name="csX165" fmla="*/ 787547 w 800256"/>
                    <a:gd name="csY165" fmla="*/ 331218 h 439681"/>
                    <a:gd name="csX166" fmla="*/ 781368 w 800256"/>
                    <a:gd name="csY166" fmla="*/ 326864 h 439681"/>
                    <a:gd name="csX167" fmla="*/ 800256 w 800256"/>
                    <a:gd name="csY167" fmla="*/ 313802 h 439681"/>
                    <a:gd name="csX168" fmla="*/ 786458 w 800256"/>
                    <a:gd name="csY168" fmla="*/ 308007 h 439681"/>
                    <a:gd name="csX169" fmla="*/ 775573 w 800256"/>
                    <a:gd name="csY169" fmla="*/ 313066 h 439681"/>
                    <a:gd name="csX170" fmla="*/ 764336 w 800256"/>
                    <a:gd name="csY170" fmla="*/ 313066 h 439681"/>
                    <a:gd name="csX171" fmla="*/ 761775 w 800256"/>
                    <a:gd name="csY171" fmla="*/ 309448 h 439681"/>
                    <a:gd name="csX172" fmla="*/ 765777 w 800256"/>
                    <a:gd name="csY172" fmla="*/ 291680 h 439681"/>
                    <a:gd name="csX173" fmla="*/ 752363 w 800256"/>
                    <a:gd name="csY173" fmla="*/ 298563 h 439681"/>
                    <a:gd name="csX174" fmla="*/ 749450 w 800256"/>
                    <a:gd name="csY174" fmla="*/ 291680 h 439681"/>
                    <a:gd name="csX175" fmla="*/ 739302 w 800256"/>
                    <a:gd name="csY175" fmla="*/ 286238 h 439681"/>
                    <a:gd name="csX176" fmla="*/ 739302 w 800256"/>
                    <a:gd name="csY176" fmla="*/ 277882 h 439681"/>
                    <a:gd name="csX177" fmla="*/ 731682 w 800256"/>
                    <a:gd name="csY177" fmla="*/ 284765 h 439681"/>
                    <a:gd name="csX178" fmla="*/ 721886 w 800256"/>
                    <a:gd name="csY178" fmla="*/ 283677 h 439681"/>
                    <a:gd name="csX179" fmla="*/ 719357 w 800256"/>
                    <a:gd name="csY179" fmla="*/ 277882 h 439681"/>
                    <a:gd name="csX180" fmla="*/ 728065 w 800256"/>
                    <a:gd name="csY180" fmla="*/ 260467 h 439681"/>
                    <a:gd name="csX181" fmla="*/ 735684 w 800256"/>
                    <a:gd name="csY181" fmla="*/ 252847 h 439681"/>
                    <a:gd name="csX182" fmla="*/ 732419 w 800256"/>
                    <a:gd name="csY182" fmla="*/ 250318 h 439681"/>
                    <a:gd name="csX183" fmla="*/ 732419 w 800256"/>
                    <a:gd name="csY183" fmla="*/ 240874 h 439681"/>
                    <a:gd name="csX184" fmla="*/ 740038 w 800256"/>
                    <a:gd name="csY184" fmla="*/ 224547 h 439681"/>
                    <a:gd name="csX185" fmla="*/ 735684 w 800256"/>
                    <a:gd name="csY185" fmla="*/ 202073 h 439681"/>
                    <a:gd name="csX186" fmla="*/ 735684 w 800256"/>
                    <a:gd name="csY186" fmla="*/ 185009 h 439681"/>
                    <a:gd name="csX187" fmla="*/ 732419 w 800256"/>
                    <a:gd name="csY187" fmla="*/ 186482 h 439681"/>
                    <a:gd name="csX188" fmla="*/ 712442 w 800256"/>
                    <a:gd name="csY188" fmla="*/ 166889 h 439681"/>
                    <a:gd name="csX189" fmla="*/ 707383 w 800256"/>
                    <a:gd name="csY189" fmla="*/ 152003 h 439681"/>
                    <a:gd name="csX190" fmla="*/ 704854 w 800256"/>
                    <a:gd name="csY190" fmla="*/ 131322 h 439681"/>
                    <a:gd name="csX191" fmla="*/ 719357 w 800256"/>
                    <a:gd name="csY191" fmla="*/ 122998 h 439681"/>
                    <a:gd name="csX192" fmla="*/ 717884 w 800256"/>
                    <a:gd name="csY192" fmla="*/ 120437 h 439681"/>
                    <a:gd name="csX193" fmla="*/ 698676 w 800256"/>
                    <a:gd name="csY193" fmla="*/ 133147 h 439681"/>
                    <a:gd name="csX194" fmla="*/ 691761 w 800256"/>
                    <a:gd name="csY194" fmla="*/ 124439 h 439681"/>
                    <a:gd name="csX195" fmla="*/ 691761 w 800256"/>
                    <a:gd name="csY195" fmla="*/ 118644 h 439681"/>
                    <a:gd name="csX196" fmla="*/ 677258 w 800256"/>
                    <a:gd name="csY196" fmla="*/ 111025 h 439681"/>
                    <a:gd name="csX197" fmla="*/ 679819 w 800256"/>
                    <a:gd name="csY197" fmla="*/ 101229 h 439681"/>
                    <a:gd name="csX198" fmla="*/ 667110 w 800256"/>
                    <a:gd name="csY198" fmla="*/ 93609 h 439681"/>
                    <a:gd name="csX199" fmla="*/ 667846 w 800256"/>
                    <a:gd name="csY199" fmla="*/ 85990 h 439681"/>
                    <a:gd name="csX200" fmla="*/ 663492 w 800256"/>
                    <a:gd name="csY200" fmla="*/ 88519 h 439681"/>
                    <a:gd name="csX201" fmla="*/ 643900 w 800256"/>
                    <a:gd name="csY201" fmla="*/ 82372 h 439681"/>
                    <a:gd name="csX202" fmla="*/ 638457 w 800256"/>
                    <a:gd name="csY202" fmla="*/ 89255 h 439681"/>
                    <a:gd name="csX203" fmla="*/ 635928 w 800256"/>
                    <a:gd name="csY203" fmla="*/ 84901 h 439681"/>
                    <a:gd name="csX204" fmla="*/ 629013 w 800256"/>
                    <a:gd name="csY204" fmla="*/ 87815 h 439681"/>
                    <a:gd name="csX205" fmla="*/ 628309 w 800256"/>
                    <a:gd name="csY205" fmla="*/ 77282 h 439681"/>
                    <a:gd name="csX206" fmla="*/ 632663 w 800256"/>
                    <a:gd name="csY206" fmla="*/ 71103 h 439681"/>
                    <a:gd name="csX207" fmla="*/ 618865 w 800256"/>
                    <a:gd name="csY207" fmla="*/ 66045 h 439681"/>
                    <a:gd name="csX208" fmla="*/ 605066 w 800256"/>
                    <a:gd name="csY208" fmla="*/ 47893 h 439681"/>
                    <a:gd name="csX209" fmla="*/ 590212 w 800256"/>
                    <a:gd name="csY209" fmla="*/ 47893 h 439681"/>
                    <a:gd name="csX210" fmla="*/ 549938 w 800256"/>
                    <a:gd name="csY210" fmla="*/ 40274 h 439681"/>
                    <a:gd name="csX211" fmla="*/ 524199 w 800256"/>
                    <a:gd name="csY211" fmla="*/ 48982 h 439681"/>
                    <a:gd name="csX212" fmla="*/ 512226 w 800256"/>
                    <a:gd name="csY212" fmla="*/ 35920 h 439681"/>
                    <a:gd name="csX213" fmla="*/ 508576 w 800256"/>
                    <a:gd name="csY213" fmla="*/ 30830 h 439681"/>
                    <a:gd name="csX214" fmla="*/ 499868 w 800256"/>
                    <a:gd name="csY214" fmla="*/ 20681 h 439681"/>
                    <a:gd name="csX215" fmla="*/ 491544 w 800256"/>
                    <a:gd name="csY215" fmla="*/ 19593 h 439681"/>
                    <a:gd name="csX216" fmla="*/ 496603 w 800256"/>
                    <a:gd name="csY216" fmla="*/ 5090 h 4396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</a:cxnLst>
                  <a:rect l="l" t="t" r="r" b="b"/>
                  <a:pathLst>
                    <a:path w="800256" h="439681">
                      <a:moveTo>
                        <a:pt x="496603" y="5090"/>
                      </a:moveTo>
                      <a:lnTo>
                        <a:pt x="492249" y="0"/>
                      </a:lnTo>
                      <a:lnTo>
                        <a:pt x="486102" y="10180"/>
                      </a:lnTo>
                      <a:lnTo>
                        <a:pt x="469775" y="12710"/>
                      </a:lnTo>
                      <a:lnTo>
                        <a:pt x="464685" y="9444"/>
                      </a:lnTo>
                      <a:lnTo>
                        <a:pt x="462155" y="15239"/>
                      </a:lnTo>
                      <a:lnTo>
                        <a:pt x="445828" y="15239"/>
                      </a:lnTo>
                      <a:lnTo>
                        <a:pt x="440738" y="26508"/>
                      </a:lnTo>
                      <a:lnTo>
                        <a:pt x="431326" y="28301"/>
                      </a:lnTo>
                      <a:lnTo>
                        <a:pt x="420089" y="14534"/>
                      </a:lnTo>
                      <a:lnTo>
                        <a:pt x="400112" y="23946"/>
                      </a:lnTo>
                      <a:lnTo>
                        <a:pt x="402673" y="31566"/>
                      </a:lnTo>
                      <a:lnTo>
                        <a:pt x="376902" y="42099"/>
                      </a:lnTo>
                      <a:lnTo>
                        <a:pt x="364929" y="52247"/>
                      </a:lnTo>
                      <a:lnTo>
                        <a:pt x="351867" y="47157"/>
                      </a:lnTo>
                      <a:lnTo>
                        <a:pt x="349338" y="54072"/>
                      </a:lnTo>
                      <a:lnTo>
                        <a:pt x="334835" y="52247"/>
                      </a:lnTo>
                      <a:lnTo>
                        <a:pt x="333011" y="56601"/>
                      </a:lnTo>
                      <a:lnTo>
                        <a:pt x="323567" y="58426"/>
                      </a:lnTo>
                      <a:lnTo>
                        <a:pt x="319213" y="67133"/>
                      </a:lnTo>
                      <a:lnTo>
                        <a:pt x="309800" y="60218"/>
                      </a:lnTo>
                      <a:lnTo>
                        <a:pt x="286590" y="67838"/>
                      </a:lnTo>
                      <a:lnTo>
                        <a:pt x="278971" y="58426"/>
                      </a:lnTo>
                      <a:lnTo>
                        <a:pt x="262644" y="62780"/>
                      </a:lnTo>
                      <a:lnTo>
                        <a:pt x="236520" y="47893"/>
                      </a:lnTo>
                      <a:lnTo>
                        <a:pt x="222018" y="52247"/>
                      </a:lnTo>
                      <a:lnTo>
                        <a:pt x="216928" y="63484"/>
                      </a:lnTo>
                      <a:lnTo>
                        <a:pt x="222018" y="67838"/>
                      </a:lnTo>
                      <a:lnTo>
                        <a:pt x="223811" y="78018"/>
                      </a:lnTo>
                      <a:lnTo>
                        <a:pt x="215839" y="90344"/>
                      </a:lnTo>
                      <a:lnTo>
                        <a:pt x="206395" y="98667"/>
                      </a:lnTo>
                      <a:lnTo>
                        <a:pt x="198071" y="84165"/>
                      </a:lnTo>
                      <a:lnTo>
                        <a:pt x="192629" y="91080"/>
                      </a:lnTo>
                      <a:lnTo>
                        <a:pt x="179919" y="81636"/>
                      </a:lnTo>
                      <a:lnTo>
                        <a:pt x="148001" y="79811"/>
                      </a:lnTo>
                      <a:lnTo>
                        <a:pt x="148001" y="103021"/>
                      </a:lnTo>
                      <a:lnTo>
                        <a:pt x="143647" y="103021"/>
                      </a:lnTo>
                      <a:lnTo>
                        <a:pt x="132410" y="99756"/>
                      </a:lnTo>
                      <a:lnTo>
                        <a:pt x="115347" y="111025"/>
                      </a:lnTo>
                      <a:lnTo>
                        <a:pt x="106639" y="105582"/>
                      </a:lnTo>
                      <a:lnTo>
                        <a:pt x="104110" y="91080"/>
                      </a:lnTo>
                      <a:lnTo>
                        <a:pt x="92137" y="90344"/>
                      </a:lnTo>
                      <a:lnTo>
                        <a:pt x="94666" y="99756"/>
                      </a:lnTo>
                      <a:lnTo>
                        <a:pt x="87783" y="102317"/>
                      </a:lnTo>
                      <a:lnTo>
                        <a:pt x="93961" y="109200"/>
                      </a:lnTo>
                      <a:lnTo>
                        <a:pt x="88519" y="122998"/>
                      </a:lnTo>
                      <a:lnTo>
                        <a:pt x="87046" y="130617"/>
                      </a:lnTo>
                      <a:lnTo>
                        <a:pt x="77250" y="134971"/>
                      </a:lnTo>
                      <a:lnTo>
                        <a:pt x="77250" y="141854"/>
                      </a:lnTo>
                      <a:lnTo>
                        <a:pt x="60219" y="154916"/>
                      </a:lnTo>
                      <a:lnTo>
                        <a:pt x="48245" y="150562"/>
                      </a:lnTo>
                      <a:lnTo>
                        <a:pt x="47157" y="162536"/>
                      </a:lnTo>
                      <a:lnTo>
                        <a:pt x="30093" y="151267"/>
                      </a:lnTo>
                      <a:lnTo>
                        <a:pt x="20681" y="153828"/>
                      </a:lnTo>
                      <a:lnTo>
                        <a:pt x="16327" y="149474"/>
                      </a:lnTo>
                      <a:lnTo>
                        <a:pt x="11237" y="154916"/>
                      </a:lnTo>
                      <a:lnTo>
                        <a:pt x="6883" y="173773"/>
                      </a:lnTo>
                      <a:lnTo>
                        <a:pt x="0" y="179567"/>
                      </a:lnTo>
                      <a:lnTo>
                        <a:pt x="11237" y="189011"/>
                      </a:lnTo>
                      <a:lnTo>
                        <a:pt x="32654" y="191540"/>
                      </a:lnTo>
                      <a:lnTo>
                        <a:pt x="39537" y="198455"/>
                      </a:lnTo>
                      <a:lnTo>
                        <a:pt x="43891" y="206427"/>
                      </a:lnTo>
                      <a:lnTo>
                        <a:pt x="43155" y="225283"/>
                      </a:lnTo>
                      <a:lnTo>
                        <a:pt x="51511" y="228549"/>
                      </a:lnTo>
                      <a:lnTo>
                        <a:pt x="60219" y="241610"/>
                      </a:lnTo>
                      <a:lnTo>
                        <a:pt x="50070" y="252847"/>
                      </a:lnTo>
                      <a:lnTo>
                        <a:pt x="66397" y="265557"/>
                      </a:lnTo>
                      <a:lnTo>
                        <a:pt x="64572" y="268438"/>
                      </a:lnTo>
                      <a:lnTo>
                        <a:pt x="60955" y="285502"/>
                      </a:lnTo>
                      <a:lnTo>
                        <a:pt x="62043" y="287326"/>
                      </a:lnTo>
                      <a:lnTo>
                        <a:pt x="85254" y="294946"/>
                      </a:lnTo>
                      <a:lnTo>
                        <a:pt x="88519" y="306183"/>
                      </a:lnTo>
                      <a:lnTo>
                        <a:pt x="92137" y="315595"/>
                      </a:lnTo>
                      <a:lnTo>
                        <a:pt x="87046" y="319244"/>
                      </a:lnTo>
                      <a:lnTo>
                        <a:pt x="83429" y="333747"/>
                      </a:lnTo>
                      <a:lnTo>
                        <a:pt x="97227" y="341366"/>
                      </a:lnTo>
                      <a:lnTo>
                        <a:pt x="91048" y="357693"/>
                      </a:lnTo>
                      <a:lnTo>
                        <a:pt x="95402" y="356957"/>
                      </a:lnTo>
                      <a:lnTo>
                        <a:pt x="102285" y="357693"/>
                      </a:lnTo>
                      <a:lnTo>
                        <a:pt x="111729" y="379463"/>
                      </a:lnTo>
                      <a:lnTo>
                        <a:pt x="113554" y="399056"/>
                      </a:lnTo>
                      <a:lnTo>
                        <a:pt x="121173" y="405202"/>
                      </a:lnTo>
                      <a:lnTo>
                        <a:pt x="111729" y="407763"/>
                      </a:lnTo>
                      <a:lnTo>
                        <a:pt x="108464" y="417912"/>
                      </a:lnTo>
                      <a:lnTo>
                        <a:pt x="114258" y="435328"/>
                      </a:lnTo>
                      <a:lnTo>
                        <a:pt x="121173" y="429149"/>
                      </a:lnTo>
                      <a:lnTo>
                        <a:pt x="129881" y="439681"/>
                      </a:lnTo>
                      <a:lnTo>
                        <a:pt x="157445" y="438593"/>
                      </a:lnTo>
                      <a:lnTo>
                        <a:pt x="155620" y="431678"/>
                      </a:lnTo>
                      <a:lnTo>
                        <a:pt x="173773" y="421530"/>
                      </a:lnTo>
                      <a:lnTo>
                        <a:pt x="173773" y="414647"/>
                      </a:lnTo>
                      <a:lnTo>
                        <a:pt x="167946" y="404114"/>
                      </a:lnTo>
                      <a:lnTo>
                        <a:pt x="171948" y="393966"/>
                      </a:lnTo>
                      <a:lnTo>
                        <a:pt x="170507" y="379463"/>
                      </a:lnTo>
                      <a:lnTo>
                        <a:pt x="169419" y="372580"/>
                      </a:lnTo>
                      <a:lnTo>
                        <a:pt x="181744" y="362047"/>
                      </a:lnTo>
                      <a:lnTo>
                        <a:pt x="186802" y="364576"/>
                      </a:lnTo>
                      <a:lnTo>
                        <a:pt x="190068" y="366401"/>
                      </a:lnTo>
                      <a:lnTo>
                        <a:pt x="198071" y="376550"/>
                      </a:lnTo>
                      <a:lnTo>
                        <a:pt x="207483" y="373284"/>
                      </a:lnTo>
                      <a:lnTo>
                        <a:pt x="233255" y="375813"/>
                      </a:lnTo>
                      <a:lnTo>
                        <a:pt x="233255" y="368226"/>
                      </a:lnTo>
                      <a:lnTo>
                        <a:pt x="254640" y="381992"/>
                      </a:lnTo>
                      <a:lnTo>
                        <a:pt x="263348" y="376550"/>
                      </a:lnTo>
                      <a:lnTo>
                        <a:pt x="275321" y="377638"/>
                      </a:lnTo>
                      <a:lnTo>
                        <a:pt x="280411" y="383433"/>
                      </a:lnTo>
                      <a:lnTo>
                        <a:pt x="289119" y="384521"/>
                      </a:lnTo>
                      <a:lnTo>
                        <a:pt x="289119" y="390348"/>
                      </a:lnTo>
                      <a:lnTo>
                        <a:pt x="298531" y="393966"/>
                      </a:lnTo>
                      <a:lnTo>
                        <a:pt x="302885" y="388875"/>
                      </a:lnTo>
                      <a:lnTo>
                        <a:pt x="314154" y="391436"/>
                      </a:lnTo>
                      <a:lnTo>
                        <a:pt x="309800" y="378374"/>
                      </a:lnTo>
                      <a:lnTo>
                        <a:pt x="316683" y="373284"/>
                      </a:lnTo>
                      <a:lnTo>
                        <a:pt x="315947" y="359518"/>
                      </a:lnTo>
                      <a:lnTo>
                        <a:pt x="331186" y="354428"/>
                      </a:lnTo>
                      <a:lnTo>
                        <a:pt x="331186" y="337012"/>
                      </a:lnTo>
                      <a:lnTo>
                        <a:pt x="321037" y="325039"/>
                      </a:lnTo>
                      <a:lnTo>
                        <a:pt x="332274" y="323214"/>
                      </a:lnTo>
                      <a:lnTo>
                        <a:pt x="355517" y="304358"/>
                      </a:lnTo>
                      <a:lnTo>
                        <a:pt x="368194" y="302565"/>
                      </a:lnTo>
                      <a:lnTo>
                        <a:pt x="372548" y="308007"/>
                      </a:lnTo>
                      <a:lnTo>
                        <a:pt x="403762" y="293121"/>
                      </a:lnTo>
                      <a:lnTo>
                        <a:pt x="402673" y="298563"/>
                      </a:lnTo>
                      <a:lnTo>
                        <a:pt x="420089" y="318156"/>
                      </a:lnTo>
                      <a:lnTo>
                        <a:pt x="443299" y="323214"/>
                      </a:lnTo>
                      <a:lnTo>
                        <a:pt x="461419" y="336276"/>
                      </a:lnTo>
                      <a:lnTo>
                        <a:pt x="466509" y="323214"/>
                      </a:lnTo>
                      <a:lnTo>
                        <a:pt x="463980" y="306183"/>
                      </a:lnTo>
                      <a:lnTo>
                        <a:pt x="473392" y="300004"/>
                      </a:lnTo>
                      <a:lnTo>
                        <a:pt x="470863" y="292385"/>
                      </a:lnTo>
                      <a:lnTo>
                        <a:pt x="476658" y="281148"/>
                      </a:lnTo>
                      <a:lnTo>
                        <a:pt x="490456" y="275353"/>
                      </a:lnTo>
                      <a:lnTo>
                        <a:pt x="499868" y="257938"/>
                      </a:lnTo>
                      <a:lnTo>
                        <a:pt x="517284" y="253584"/>
                      </a:lnTo>
                      <a:lnTo>
                        <a:pt x="534347" y="256113"/>
                      </a:lnTo>
                      <a:lnTo>
                        <a:pt x="538701" y="257201"/>
                      </a:lnTo>
                      <a:lnTo>
                        <a:pt x="533611" y="272440"/>
                      </a:lnTo>
                      <a:lnTo>
                        <a:pt x="528553" y="281148"/>
                      </a:lnTo>
                      <a:lnTo>
                        <a:pt x="533611" y="287326"/>
                      </a:lnTo>
                      <a:lnTo>
                        <a:pt x="525992" y="298563"/>
                      </a:lnTo>
                      <a:lnTo>
                        <a:pt x="525992" y="308712"/>
                      </a:lnTo>
                      <a:lnTo>
                        <a:pt x="533611" y="308007"/>
                      </a:lnTo>
                      <a:lnTo>
                        <a:pt x="537965" y="313802"/>
                      </a:lnTo>
                      <a:lnTo>
                        <a:pt x="548113" y="309448"/>
                      </a:lnTo>
                      <a:lnTo>
                        <a:pt x="551763" y="313066"/>
                      </a:lnTo>
                      <a:lnTo>
                        <a:pt x="561175" y="298563"/>
                      </a:lnTo>
                      <a:lnTo>
                        <a:pt x="568090" y="299300"/>
                      </a:lnTo>
                      <a:lnTo>
                        <a:pt x="571356" y="309448"/>
                      </a:lnTo>
                      <a:lnTo>
                        <a:pt x="586210" y="316331"/>
                      </a:lnTo>
                      <a:lnTo>
                        <a:pt x="593093" y="317420"/>
                      </a:lnTo>
                      <a:lnTo>
                        <a:pt x="596359" y="311241"/>
                      </a:lnTo>
                      <a:lnTo>
                        <a:pt x="621394" y="311241"/>
                      </a:lnTo>
                      <a:lnTo>
                        <a:pt x="622130" y="311241"/>
                      </a:lnTo>
                      <a:lnTo>
                        <a:pt x="626484" y="306183"/>
                      </a:lnTo>
                      <a:lnTo>
                        <a:pt x="651519" y="309448"/>
                      </a:lnTo>
                      <a:lnTo>
                        <a:pt x="654784" y="316331"/>
                      </a:lnTo>
                      <a:lnTo>
                        <a:pt x="650783" y="327568"/>
                      </a:lnTo>
                      <a:lnTo>
                        <a:pt x="657666" y="335572"/>
                      </a:lnTo>
                      <a:lnTo>
                        <a:pt x="667110" y="352603"/>
                      </a:lnTo>
                      <a:lnTo>
                        <a:pt x="679083" y="360223"/>
                      </a:lnTo>
                      <a:lnTo>
                        <a:pt x="691056" y="356957"/>
                      </a:lnTo>
                      <a:lnTo>
                        <a:pt x="692881" y="345720"/>
                      </a:lnTo>
                      <a:lnTo>
                        <a:pt x="728769" y="348249"/>
                      </a:lnTo>
                      <a:lnTo>
                        <a:pt x="768691" y="339542"/>
                      </a:lnTo>
                      <a:lnTo>
                        <a:pt x="778839" y="333747"/>
                      </a:lnTo>
                      <a:lnTo>
                        <a:pt x="787547" y="331218"/>
                      </a:lnTo>
                      <a:lnTo>
                        <a:pt x="781368" y="326864"/>
                      </a:lnTo>
                      <a:lnTo>
                        <a:pt x="800256" y="313802"/>
                      </a:lnTo>
                      <a:lnTo>
                        <a:pt x="786458" y="308007"/>
                      </a:lnTo>
                      <a:lnTo>
                        <a:pt x="775573" y="313066"/>
                      </a:lnTo>
                      <a:lnTo>
                        <a:pt x="764336" y="313066"/>
                      </a:lnTo>
                      <a:lnTo>
                        <a:pt x="761775" y="309448"/>
                      </a:lnTo>
                      <a:lnTo>
                        <a:pt x="765777" y="291680"/>
                      </a:lnTo>
                      <a:lnTo>
                        <a:pt x="752363" y="298563"/>
                      </a:lnTo>
                      <a:lnTo>
                        <a:pt x="749450" y="291680"/>
                      </a:lnTo>
                      <a:lnTo>
                        <a:pt x="739302" y="286238"/>
                      </a:lnTo>
                      <a:lnTo>
                        <a:pt x="739302" y="277882"/>
                      </a:lnTo>
                      <a:lnTo>
                        <a:pt x="731682" y="284765"/>
                      </a:lnTo>
                      <a:lnTo>
                        <a:pt x="721886" y="283677"/>
                      </a:lnTo>
                      <a:lnTo>
                        <a:pt x="719357" y="277882"/>
                      </a:lnTo>
                      <a:lnTo>
                        <a:pt x="728065" y="260467"/>
                      </a:lnTo>
                      <a:lnTo>
                        <a:pt x="735684" y="252847"/>
                      </a:lnTo>
                      <a:lnTo>
                        <a:pt x="732419" y="250318"/>
                      </a:lnTo>
                      <a:lnTo>
                        <a:pt x="732419" y="240874"/>
                      </a:lnTo>
                      <a:lnTo>
                        <a:pt x="740038" y="224547"/>
                      </a:lnTo>
                      <a:lnTo>
                        <a:pt x="735684" y="202073"/>
                      </a:lnTo>
                      <a:lnTo>
                        <a:pt x="735684" y="185009"/>
                      </a:lnTo>
                      <a:lnTo>
                        <a:pt x="732419" y="186482"/>
                      </a:lnTo>
                      <a:lnTo>
                        <a:pt x="712442" y="166889"/>
                      </a:lnTo>
                      <a:lnTo>
                        <a:pt x="707383" y="152003"/>
                      </a:lnTo>
                      <a:lnTo>
                        <a:pt x="704854" y="131322"/>
                      </a:lnTo>
                      <a:lnTo>
                        <a:pt x="719357" y="122998"/>
                      </a:lnTo>
                      <a:lnTo>
                        <a:pt x="717884" y="120437"/>
                      </a:lnTo>
                      <a:lnTo>
                        <a:pt x="698676" y="133147"/>
                      </a:lnTo>
                      <a:lnTo>
                        <a:pt x="691761" y="124439"/>
                      </a:lnTo>
                      <a:lnTo>
                        <a:pt x="691761" y="118644"/>
                      </a:lnTo>
                      <a:lnTo>
                        <a:pt x="677258" y="111025"/>
                      </a:lnTo>
                      <a:lnTo>
                        <a:pt x="679819" y="101229"/>
                      </a:lnTo>
                      <a:lnTo>
                        <a:pt x="667110" y="93609"/>
                      </a:lnTo>
                      <a:lnTo>
                        <a:pt x="667846" y="85990"/>
                      </a:lnTo>
                      <a:lnTo>
                        <a:pt x="663492" y="88519"/>
                      </a:lnTo>
                      <a:lnTo>
                        <a:pt x="643900" y="82372"/>
                      </a:lnTo>
                      <a:lnTo>
                        <a:pt x="638457" y="89255"/>
                      </a:lnTo>
                      <a:lnTo>
                        <a:pt x="635928" y="84901"/>
                      </a:lnTo>
                      <a:lnTo>
                        <a:pt x="629013" y="87815"/>
                      </a:lnTo>
                      <a:lnTo>
                        <a:pt x="628309" y="77282"/>
                      </a:lnTo>
                      <a:lnTo>
                        <a:pt x="632663" y="71103"/>
                      </a:lnTo>
                      <a:lnTo>
                        <a:pt x="618865" y="66045"/>
                      </a:lnTo>
                      <a:lnTo>
                        <a:pt x="605066" y="47893"/>
                      </a:lnTo>
                      <a:lnTo>
                        <a:pt x="590212" y="47893"/>
                      </a:lnTo>
                      <a:lnTo>
                        <a:pt x="549938" y="40274"/>
                      </a:lnTo>
                      <a:lnTo>
                        <a:pt x="524199" y="48982"/>
                      </a:lnTo>
                      <a:lnTo>
                        <a:pt x="512226" y="35920"/>
                      </a:lnTo>
                      <a:lnTo>
                        <a:pt x="508576" y="30830"/>
                      </a:lnTo>
                      <a:lnTo>
                        <a:pt x="499868" y="20681"/>
                      </a:lnTo>
                      <a:lnTo>
                        <a:pt x="491544" y="19593"/>
                      </a:lnTo>
                      <a:lnTo>
                        <a:pt x="496603" y="509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F2C3B533-F867-8336-3171-AA042BDF0FAA}"/>
                    </a:ext>
                  </a:extLst>
                </p:cNvPr>
                <p:cNvSpPr/>
                <p:nvPr/>
              </p:nvSpPr>
              <p:spPr>
                <a:xfrm>
                  <a:off x="1563708" y="5463560"/>
                  <a:ext cx="167593" cy="401552"/>
                </a:xfrm>
                <a:custGeom>
                  <a:avLst/>
                  <a:gdLst>
                    <a:gd name="csX0" fmla="*/ 102317 w 167593"/>
                    <a:gd name="csY0" fmla="*/ 145472 h 401552"/>
                    <a:gd name="csX1" fmla="*/ 104110 w 167593"/>
                    <a:gd name="csY1" fmla="*/ 139293 h 401552"/>
                    <a:gd name="csX2" fmla="*/ 125527 w 167593"/>
                    <a:gd name="csY2" fmla="*/ 107375 h 401552"/>
                    <a:gd name="csX3" fmla="*/ 138589 w 167593"/>
                    <a:gd name="csY3" fmla="*/ 62011 h 401552"/>
                    <a:gd name="csX4" fmla="*/ 128056 w 167593"/>
                    <a:gd name="csY4" fmla="*/ 52599 h 401552"/>
                    <a:gd name="csX5" fmla="*/ 128056 w 167593"/>
                    <a:gd name="csY5" fmla="*/ 35183 h 401552"/>
                    <a:gd name="csX6" fmla="*/ 118612 w 167593"/>
                    <a:gd name="csY6" fmla="*/ 27564 h 401552"/>
                    <a:gd name="csX7" fmla="*/ 112818 w 167593"/>
                    <a:gd name="csY7" fmla="*/ 2529 h 401552"/>
                    <a:gd name="csX8" fmla="*/ 105935 w 167593"/>
                    <a:gd name="csY8" fmla="*/ 0 h 401552"/>
                    <a:gd name="csX9" fmla="*/ 95402 w 167593"/>
                    <a:gd name="csY9" fmla="*/ 22474 h 401552"/>
                    <a:gd name="csX10" fmla="*/ 92873 w 167593"/>
                    <a:gd name="csY10" fmla="*/ 44628 h 401552"/>
                    <a:gd name="csX11" fmla="*/ 92873 w 167593"/>
                    <a:gd name="csY11" fmla="*/ 46420 h 401552"/>
                    <a:gd name="csX12" fmla="*/ 89255 w 167593"/>
                    <a:gd name="csY12" fmla="*/ 55128 h 401552"/>
                    <a:gd name="csX13" fmla="*/ 99756 w 167593"/>
                    <a:gd name="csY13" fmla="*/ 79811 h 401552"/>
                    <a:gd name="csX14" fmla="*/ 99052 w 167593"/>
                    <a:gd name="csY14" fmla="*/ 88519 h 401552"/>
                    <a:gd name="csX15" fmla="*/ 94698 w 167593"/>
                    <a:gd name="csY15" fmla="*/ 96106 h 401552"/>
                    <a:gd name="csX16" fmla="*/ 83429 w 167593"/>
                    <a:gd name="csY16" fmla="*/ 99020 h 401552"/>
                    <a:gd name="csX17" fmla="*/ 79811 w 167593"/>
                    <a:gd name="csY17" fmla="*/ 101549 h 401552"/>
                    <a:gd name="csX18" fmla="*/ 67838 w 167593"/>
                    <a:gd name="csY18" fmla="*/ 104846 h 401552"/>
                    <a:gd name="csX19" fmla="*/ 58394 w 167593"/>
                    <a:gd name="csY19" fmla="*/ 122966 h 401552"/>
                    <a:gd name="csX20" fmla="*/ 51511 w 167593"/>
                    <a:gd name="csY20" fmla="*/ 143647 h 401552"/>
                    <a:gd name="csX21" fmla="*/ 50774 w 167593"/>
                    <a:gd name="csY21" fmla="*/ 162504 h 401552"/>
                    <a:gd name="csX22" fmla="*/ 44628 w 167593"/>
                    <a:gd name="csY22" fmla="*/ 171211 h 401552"/>
                    <a:gd name="csX23" fmla="*/ 35183 w 167593"/>
                    <a:gd name="csY23" fmla="*/ 171948 h 401552"/>
                    <a:gd name="csX24" fmla="*/ 30830 w 167593"/>
                    <a:gd name="csY24" fmla="*/ 185010 h 401552"/>
                    <a:gd name="csX25" fmla="*/ 35183 w 167593"/>
                    <a:gd name="csY25" fmla="*/ 186802 h 401552"/>
                    <a:gd name="csX26" fmla="*/ 53335 w 167593"/>
                    <a:gd name="csY26" fmla="*/ 195158 h 401552"/>
                    <a:gd name="csX27" fmla="*/ 67102 w 167593"/>
                    <a:gd name="csY27" fmla="*/ 194422 h 401552"/>
                    <a:gd name="csX28" fmla="*/ 82724 w 167593"/>
                    <a:gd name="csY28" fmla="*/ 194422 h 401552"/>
                    <a:gd name="csX29" fmla="*/ 77282 w 167593"/>
                    <a:gd name="csY29" fmla="*/ 210749 h 401552"/>
                    <a:gd name="csX30" fmla="*/ 85990 w 167593"/>
                    <a:gd name="csY30" fmla="*/ 215839 h 401552"/>
                    <a:gd name="csX31" fmla="*/ 90344 w 167593"/>
                    <a:gd name="csY31" fmla="*/ 211485 h 401552"/>
                    <a:gd name="csX32" fmla="*/ 93577 w 167593"/>
                    <a:gd name="csY32" fmla="*/ 220193 h 401552"/>
                    <a:gd name="csX33" fmla="*/ 84165 w 167593"/>
                    <a:gd name="csY33" fmla="*/ 224547 h 401552"/>
                    <a:gd name="csX34" fmla="*/ 87783 w 167593"/>
                    <a:gd name="csY34" fmla="*/ 232166 h 401552"/>
                    <a:gd name="csX35" fmla="*/ 79811 w 167593"/>
                    <a:gd name="csY35" fmla="*/ 238313 h 401552"/>
                    <a:gd name="csX36" fmla="*/ 68926 w 167593"/>
                    <a:gd name="csY36" fmla="*/ 236520 h 401552"/>
                    <a:gd name="csX37" fmla="*/ 74017 w 167593"/>
                    <a:gd name="csY37" fmla="*/ 245228 h 401552"/>
                    <a:gd name="csX38" fmla="*/ 62043 w 167593"/>
                    <a:gd name="csY38" fmla="*/ 255376 h 401552"/>
                    <a:gd name="csX39" fmla="*/ 53335 w 167593"/>
                    <a:gd name="csY39" fmla="*/ 272792 h 401552"/>
                    <a:gd name="csX40" fmla="*/ 43891 w 167593"/>
                    <a:gd name="csY40" fmla="*/ 276057 h 401552"/>
                    <a:gd name="csX41" fmla="*/ 37745 w 167593"/>
                    <a:gd name="csY41" fmla="*/ 288031 h 401552"/>
                    <a:gd name="csX42" fmla="*/ 37008 w 167593"/>
                    <a:gd name="csY42" fmla="*/ 290560 h 401552"/>
                    <a:gd name="csX43" fmla="*/ 33391 w 167593"/>
                    <a:gd name="csY43" fmla="*/ 301797 h 401552"/>
                    <a:gd name="csX44" fmla="*/ 25035 w 167593"/>
                    <a:gd name="csY44" fmla="*/ 303622 h 401552"/>
                    <a:gd name="csX45" fmla="*/ 22122 w 167593"/>
                    <a:gd name="csY45" fmla="*/ 310505 h 401552"/>
                    <a:gd name="csX46" fmla="*/ 30830 w 167593"/>
                    <a:gd name="csY46" fmla="*/ 313066 h 401552"/>
                    <a:gd name="csX47" fmla="*/ 23947 w 167593"/>
                    <a:gd name="csY47" fmla="*/ 324303 h 401552"/>
                    <a:gd name="csX48" fmla="*/ 18856 w 167593"/>
                    <a:gd name="csY48" fmla="*/ 323566 h 401552"/>
                    <a:gd name="csX49" fmla="*/ 25771 w 167593"/>
                    <a:gd name="csY49" fmla="*/ 333715 h 401552"/>
                    <a:gd name="csX50" fmla="*/ 30830 w 167593"/>
                    <a:gd name="csY50" fmla="*/ 357661 h 401552"/>
                    <a:gd name="csX51" fmla="*/ 26476 w 167593"/>
                    <a:gd name="csY51" fmla="*/ 359486 h 401552"/>
                    <a:gd name="csX52" fmla="*/ 21417 w 167593"/>
                    <a:gd name="csY52" fmla="*/ 350042 h 401552"/>
                    <a:gd name="csX53" fmla="*/ 7619 w 167593"/>
                    <a:gd name="csY53" fmla="*/ 352603 h 401552"/>
                    <a:gd name="csX54" fmla="*/ 0 w 167593"/>
                    <a:gd name="csY54" fmla="*/ 373252 h 401552"/>
                    <a:gd name="csX55" fmla="*/ 5795 w 167593"/>
                    <a:gd name="csY55" fmla="*/ 382697 h 401552"/>
                    <a:gd name="csX56" fmla="*/ 23947 w 167593"/>
                    <a:gd name="csY56" fmla="*/ 379431 h 401552"/>
                    <a:gd name="csX57" fmla="*/ 34479 w 167593"/>
                    <a:gd name="csY57" fmla="*/ 379431 h 401552"/>
                    <a:gd name="csX58" fmla="*/ 42099 w 167593"/>
                    <a:gd name="csY58" fmla="*/ 393934 h 401552"/>
                    <a:gd name="csX59" fmla="*/ 55865 w 167593"/>
                    <a:gd name="csY59" fmla="*/ 401553 h 401552"/>
                    <a:gd name="csX60" fmla="*/ 40274 w 167593"/>
                    <a:gd name="csY60" fmla="*/ 370019 h 401552"/>
                    <a:gd name="csX61" fmla="*/ 40274 w 167593"/>
                    <a:gd name="csY61" fmla="*/ 344248 h 401552"/>
                    <a:gd name="csX62" fmla="*/ 54040 w 167593"/>
                    <a:gd name="csY62" fmla="*/ 347513 h 401552"/>
                    <a:gd name="csX63" fmla="*/ 60955 w 167593"/>
                    <a:gd name="csY63" fmla="*/ 356957 h 401552"/>
                    <a:gd name="csX64" fmla="*/ 71455 w 167593"/>
                    <a:gd name="csY64" fmla="*/ 351867 h 401552"/>
                    <a:gd name="csX65" fmla="*/ 72928 w 167593"/>
                    <a:gd name="csY65" fmla="*/ 344248 h 401552"/>
                    <a:gd name="csX66" fmla="*/ 85990 w 167593"/>
                    <a:gd name="csY66" fmla="*/ 338805 h 401552"/>
                    <a:gd name="csX67" fmla="*/ 91048 w 167593"/>
                    <a:gd name="csY67" fmla="*/ 347513 h 401552"/>
                    <a:gd name="csX68" fmla="*/ 101581 w 167593"/>
                    <a:gd name="csY68" fmla="*/ 351131 h 401552"/>
                    <a:gd name="csX69" fmla="*/ 109936 w 167593"/>
                    <a:gd name="csY69" fmla="*/ 338069 h 401552"/>
                    <a:gd name="csX70" fmla="*/ 111025 w 167593"/>
                    <a:gd name="csY70" fmla="*/ 324303 h 401552"/>
                    <a:gd name="csX71" fmla="*/ 133147 w 167593"/>
                    <a:gd name="csY71" fmla="*/ 317420 h 401552"/>
                    <a:gd name="csX72" fmla="*/ 131674 w 167593"/>
                    <a:gd name="csY72" fmla="*/ 304358 h 401552"/>
                    <a:gd name="csX73" fmla="*/ 123702 w 167593"/>
                    <a:gd name="csY73" fmla="*/ 301093 h 401552"/>
                    <a:gd name="csX74" fmla="*/ 124791 w 167593"/>
                    <a:gd name="csY74" fmla="*/ 294914 h 401552"/>
                    <a:gd name="csX75" fmla="*/ 118612 w 167593"/>
                    <a:gd name="csY75" fmla="*/ 278587 h 401552"/>
                    <a:gd name="csX76" fmla="*/ 114258 w 167593"/>
                    <a:gd name="csY76" fmla="*/ 267350 h 401552"/>
                    <a:gd name="csX77" fmla="*/ 125527 w 167593"/>
                    <a:gd name="csY77" fmla="*/ 260467 h 401552"/>
                    <a:gd name="csX78" fmla="*/ 130585 w 167593"/>
                    <a:gd name="csY78" fmla="*/ 248493 h 401552"/>
                    <a:gd name="csX79" fmla="*/ 143647 w 167593"/>
                    <a:gd name="csY79" fmla="*/ 238313 h 401552"/>
                    <a:gd name="csX80" fmla="*/ 132410 w 167593"/>
                    <a:gd name="csY80" fmla="*/ 231430 h 401552"/>
                    <a:gd name="csX81" fmla="*/ 134939 w 167593"/>
                    <a:gd name="csY81" fmla="*/ 225251 h 401552"/>
                    <a:gd name="csX82" fmla="*/ 150562 w 167593"/>
                    <a:gd name="csY82" fmla="*/ 226339 h 401552"/>
                    <a:gd name="csX83" fmla="*/ 157445 w 167593"/>
                    <a:gd name="csY83" fmla="*/ 217664 h 401552"/>
                    <a:gd name="csX84" fmla="*/ 167594 w 167593"/>
                    <a:gd name="csY84" fmla="*/ 212574 h 401552"/>
                    <a:gd name="csX85" fmla="*/ 166857 w 167593"/>
                    <a:gd name="csY85" fmla="*/ 201337 h 401552"/>
                    <a:gd name="csX86" fmla="*/ 157445 w 167593"/>
                    <a:gd name="csY86" fmla="*/ 195158 h 401552"/>
                    <a:gd name="csX87" fmla="*/ 146208 w 167593"/>
                    <a:gd name="csY87" fmla="*/ 197687 h 401552"/>
                    <a:gd name="csX88" fmla="*/ 141854 w 167593"/>
                    <a:gd name="csY88" fmla="*/ 186802 h 401552"/>
                    <a:gd name="csX89" fmla="*/ 144384 w 167593"/>
                    <a:gd name="csY89" fmla="*/ 181360 h 401552"/>
                    <a:gd name="csX90" fmla="*/ 148737 w 167593"/>
                    <a:gd name="csY90" fmla="*/ 182448 h 401552"/>
                    <a:gd name="csX91" fmla="*/ 150562 w 167593"/>
                    <a:gd name="csY91" fmla="*/ 173741 h 401552"/>
                    <a:gd name="csX92" fmla="*/ 141854 w 167593"/>
                    <a:gd name="csY92" fmla="*/ 167594 h 401552"/>
                    <a:gd name="csX93" fmla="*/ 134235 w 167593"/>
                    <a:gd name="csY93" fmla="*/ 169387 h 401552"/>
                    <a:gd name="csX94" fmla="*/ 117908 w 167593"/>
                    <a:gd name="csY94" fmla="*/ 154884 h 401552"/>
                    <a:gd name="csX95" fmla="*/ 112818 w 167593"/>
                    <a:gd name="csY95" fmla="*/ 158150 h 401552"/>
                    <a:gd name="csX96" fmla="*/ 102317 w 167593"/>
                    <a:gd name="csY96" fmla="*/ 145472 h 40155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</a:cxnLst>
                  <a:rect l="l" t="t" r="r" b="b"/>
                  <a:pathLst>
                    <a:path w="167593" h="401552">
                      <a:moveTo>
                        <a:pt x="102317" y="145472"/>
                      </a:moveTo>
                      <a:lnTo>
                        <a:pt x="104110" y="139293"/>
                      </a:lnTo>
                      <a:lnTo>
                        <a:pt x="125527" y="107375"/>
                      </a:lnTo>
                      <a:lnTo>
                        <a:pt x="138589" y="62011"/>
                      </a:lnTo>
                      <a:lnTo>
                        <a:pt x="128056" y="52599"/>
                      </a:lnTo>
                      <a:lnTo>
                        <a:pt x="128056" y="35183"/>
                      </a:lnTo>
                      <a:lnTo>
                        <a:pt x="118612" y="27564"/>
                      </a:lnTo>
                      <a:lnTo>
                        <a:pt x="112818" y="2529"/>
                      </a:lnTo>
                      <a:lnTo>
                        <a:pt x="105935" y="0"/>
                      </a:lnTo>
                      <a:lnTo>
                        <a:pt x="95402" y="22474"/>
                      </a:lnTo>
                      <a:lnTo>
                        <a:pt x="92873" y="44628"/>
                      </a:lnTo>
                      <a:lnTo>
                        <a:pt x="92873" y="46420"/>
                      </a:lnTo>
                      <a:lnTo>
                        <a:pt x="89255" y="55128"/>
                      </a:lnTo>
                      <a:lnTo>
                        <a:pt x="99756" y="79811"/>
                      </a:lnTo>
                      <a:lnTo>
                        <a:pt x="99052" y="88519"/>
                      </a:lnTo>
                      <a:lnTo>
                        <a:pt x="94698" y="96106"/>
                      </a:lnTo>
                      <a:lnTo>
                        <a:pt x="83429" y="99020"/>
                      </a:lnTo>
                      <a:lnTo>
                        <a:pt x="79811" y="101549"/>
                      </a:lnTo>
                      <a:lnTo>
                        <a:pt x="67838" y="104846"/>
                      </a:lnTo>
                      <a:lnTo>
                        <a:pt x="58394" y="122966"/>
                      </a:lnTo>
                      <a:lnTo>
                        <a:pt x="51511" y="143647"/>
                      </a:lnTo>
                      <a:lnTo>
                        <a:pt x="50774" y="162504"/>
                      </a:lnTo>
                      <a:lnTo>
                        <a:pt x="44628" y="171211"/>
                      </a:lnTo>
                      <a:lnTo>
                        <a:pt x="35183" y="171948"/>
                      </a:lnTo>
                      <a:lnTo>
                        <a:pt x="30830" y="185010"/>
                      </a:lnTo>
                      <a:lnTo>
                        <a:pt x="35183" y="186802"/>
                      </a:lnTo>
                      <a:lnTo>
                        <a:pt x="53335" y="195158"/>
                      </a:lnTo>
                      <a:lnTo>
                        <a:pt x="67102" y="194422"/>
                      </a:lnTo>
                      <a:lnTo>
                        <a:pt x="82724" y="194422"/>
                      </a:lnTo>
                      <a:lnTo>
                        <a:pt x="77282" y="210749"/>
                      </a:lnTo>
                      <a:lnTo>
                        <a:pt x="85990" y="215839"/>
                      </a:lnTo>
                      <a:lnTo>
                        <a:pt x="90344" y="211485"/>
                      </a:lnTo>
                      <a:lnTo>
                        <a:pt x="93577" y="220193"/>
                      </a:lnTo>
                      <a:lnTo>
                        <a:pt x="84165" y="224547"/>
                      </a:lnTo>
                      <a:lnTo>
                        <a:pt x="87783" y="232166"/>
                      </a:lnTo>
                      <a:lnTo>
                        <a:pt x="79811" y="238313"/>
                      </a:lnTo>
                      <a:lnTo>
                        <a:pt x="68926" y="236520"/>
                      </a:lnTo>
                      <a:lnTo>
                        <a:pt x="74017" y="245228"/>
                      </a:lnTo>
                      <a:lnTo>
                        <a:pt x="62043" y="255376"/>
                      </a:lnTo>
                      <a:lnTo>
                        <a:pt x="53335" y="272792"/>
                      </a:lnTo>
                      <a:lnTo>
                        <a:pt x="43891" y="276057"/>
                      </a:lnTo>
                      <a:lnTo>
                        <a:pt x="37745" y="288031"/>
                      </a:lnTo>
                      <a:lnTo>
                        <a:pt x="37008" y="290560"/>
                      </a:lnTo>
                      <a:lnTo>
                        <a:pt x="33391" y="301797"/>
                      </a:lnTo>
                      <a:lnTo>
                        <a:pt x="25035" y="303622"/>
                      </a:lnTo>
                      <a:lnTo>
                        <a:pt x="22122" y="310505"/>
                      </a:lnTo>
                      <a:lnTo>
                        <a:pt x="30830" y="313066"/>
                      </a:lnTo>
                      <a:lnTo>
                        <a:pt x="23947" y="324303"/>
                      </a:lnTo>
                      <a:lnTo>
                        <a:pt x="18856" y="323566"/>
                      </a:lnTo>
                      <a:lnTo>
                        <a:pt x="25771" y="333715"/>
                      </a:lnTo>
                      <a:lnTo>
                        <a:pt x="30830" y="357661"/>
                      </a:lnTo>
                      <a:lnTo>
                        <a:pt x="26476" y="359486"/>
                      </a:lnTo>
                      <a:lnTo>
                        <a:pt x="21417" y="350042"/>
                      </a:lnTo>
                      <a:lnTo>
                        <a:pt x="7619" y="352603"/>
                      </a:lnTo>
                      <a:lnTo>
                        <a:pt x="0" y="373252"/>
                      </a:lnTo>
                      <a:lnTo>
                        <a:pt x="5795" y="382697"/>
                      </a:lnTo>
                      <a:lnTo>
                        <a:pt x="23947" y="379431"/>
                      </a:lnTo>
                      <a:lnTo>
                        <a:pt x="34479" y="379431"/>
                      </a:lnTo>
                      <a:lnTo>
                        <a:pt x="42099" y="393934"/>
                      </a:lnTo>
                      <a:lnTo>
                        <a:pt x="55865" y="401553"/>
                      </a:lnTo>
                      <a:lnTo>
                        <a:pt x="40274" y="370019"/>
                      </a:lnTo>
                      <a:lnTo>
                        <a:pt x="40274" y="344248"/>
                      </a:lnTo>
                      <a:lnTo>
                        <a:pt x="54040" y="347513"/>
                      </a:lnTo>
                      <a:lnTo>
                        <a:pt x="60955" y="356957"/>
                      </a:lnTo>
                      <a:lnTo>
                        <a:pt x="71455" y="351867"/>
                      </a:lnTo>
                      <a:lnTo>
                        <a:pt x="72928" y="344248"/>
                      </a:lnTo>
                      <a:lnTo>
                        <a:pt x="85990" y="338805"/>
                      </a:lnTo>
                      <a:lnTo>
                        <a:pt x="91048" y="347513"/>
                      </a:lnTo>
                      <a:lnTo>
                        <a:pt x="101581" y="351131"/>
                      </a:lnTo>
                      <a:lnTo>
                        <a:pt x="109936" y="338069"/>
                      </a:lnTo>
                      <a:lnTo>
                        <a:pt x="111025" y="324303"/>
                      </a:lnTo>
                      <a:lnTo>
                        <a:pt x="133147" y="317420"/>
                      </a:lnTo>
                      <a:lnTo>
                        <a:pt x="131674" y="304358"/>
                      </a:lnTo>
                      <a:lnTo>
                        <a:pt x="123702" y="301093"/>
                      </a:lnTo>
                      <a:lnTo>
                        <a:pt x="124791" y="294914"/>
                      </a:lnTo>
                      <a:lnTo>
                        <a:pt x="118612" y="278587"/>
                      </a:lnTo>
                      <a:lnTo>
                        <a:pt x="114258" y="267350"/>
                      </a:lnTo>
                      <a:lnTo>
                        <a:pt x="125527" y="260467"/>
                      </a:lnTo>
                      <a:lnTo>
                        <a:pt x="130585" y="248493"/>
                      </a:lnTo>
                      <a:lnTo>
                        <a:pt x="143647" y="238313"/>
                      </a:lnTo>
                      <a:lnTo>
                        <a:pt x="132410" y="231430"/>
                      </a:lnTo>
                      <a:lnTo>
                        <a:pt x="134939" y="225251"/>
                      </a:lnTo>
                      <a:lnTo>
                        <a:pt x="150562" y="226339"/>
                      </a:lnTo>
                      <a:lnTo>
                        <a:pt x="157445" y="217664"/>
                      </a:lnTo>
                      <a:lnTo>
                        <a:pt x="167594" y="212574"/>
                      </a:lnTo>
                      <a:lnTo>
                        <a:pt x="166857" y="201337"/>
                      </a:lnTo>
                      <a:lnTo>
                        <a:pt x="157445" y="195158"/>
                      </a:lnTo>
                      <a:lnTo>
                        <a:pt x="146208" y="197687"/>
                      </a:lnTo>
                      <a:lnTo>
                        <a:pt x="141854" y="186802"/>
                      </a:lnTo>
                      <a:lnTo>
                        <a:pt x="144384" y="181360"/>
                      </a:lnTo>
                      <a:lnTo>
                        <a:pt x="148737" y="182448"/>
                      </a:lnTo>
                      <a:lnTo>
                        <a:pt x="150562" y="173741"/>
                      </a:lnTo>
                      <a:lnTo>
                        <a:pt x="141854" y="167594"/>
                      </a:lnTo>
                      <a:lnTo>
                        <a:pt x="134235" y="169387"/>
                      </a:lnTo>
                      <a:lnTo>
                        <a:pt x="117908" y="154884"/>
                      </a:lnTo>
                      <a:lnTo>
                        <a:pt x="112818" y="158150"/>
                      </a:lnTo>
                      <a:lnTo>
                        <a:pt x="102317" y="14547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6" name="Forma Livre: Forma 245">
                  <a:extLst>
                    <a:ext uri="{FF2B5EF4-FFF2-40B4-BE49-F238E27FC236}">
                      <a16:creationId xmlns:a16="http://schemas.microsoft.com/office/drawing/2014/main" id="{0161DFB4-449E-4A84-CAB7-A124A1299722}"/>
                    </a:ext>
                  </a:extLst>
                </p:cNvPr>
                <p:cNvSpPr/>
                <p:nvPr/>
              </p:nvSpPr>
              <p:spPr>
                <a:xfrm>
                  <a:off x="1563708" y="5463560"/>
                  <a:ext cx="167593" cy="401552"/>
                </a:xfrm>
                <a:custGeom>
                  <a:avLst/>
                  <a:gdLst>
                    <a:gd name="csX0" fmla="*/ 102317 w 167593"/>
                    <a:gd name="csY0" fmla="*/ 145472 h 401552"/>
                    <a:gd name="csX1" fmla="*/ 104110 w 167593"/>
                    <a:gd name="csY1" fmla="*/ 139293 h 401552"/>
                    <a:gd name="csX2" fmla="*/ 125527 w 167593"/>
                    <a:gd name="csY2" fmla="*/ 107375 h 401552"/>
                    <a:gd name="csX3" fmla="*/ 138589 w 167593"/>
                    <a:gd name="csY3" fmla="*/ 62011 h 401552"/>
                    <a:gd name="csX4" fmla="*/ 128056 w 167593"/>
                    <a:gd name="csY4" fmla="*/ 52599 h 401552"/>
                    <a:gd name="csX5" fmla="*/ 128056 w 167593"/>
                    <a:gd name="csY5" fmla="*/ 35183 h 401552"/>
                    <a:gd name="csX6" fmla="*/ 118612 w 167593"/>
                    <a:gd name="csY6" fmla="*/ 27564 h 401552"/>
                    <a:gd name="csX7" fmla="*/ 112818 w 167593"/>
                    <a:gd name="csY7" fmla="*/ 2529 h 401552"/>
                    <a:gd name="csX8" fmla="*/ 105935 w 167593"/>
                    <a:gd name="csY8" fmla="*/ 0 h 401552"/>
                    <a:gd name="csX9" fmla="*/ 95402 w 167593"/>
                    <a:gd name="csY9" fmla="*/ 22474 h 401552"/>
                    <a:gd name="csX10" fmla="*/ 92873 w 167593"/>
                    <a:gd name="csY10" fmla="*/ 44628 h 401552"/>
                    <a:gd name="csX11" fmla="*/ 92873 w 167593"/>
                    <a:gd name="csY11" fmla="*/ 46420 h 401552"/>
                    <a:gd name="csX12" fmla="*/ 89255 w 167593"/>
                    <a:gd name="csY12" fmla="*/ 55128 h 401552"/>
                    <a:gd name="csX13" fmla="*/ 99756 w 167593"/>
                    <a:gd name="csY13" fmla="*/ 79811 h 401552"/>
                    <a:gd name="csX14" fmla="*/ 99052 w 167593"/>
                    <a:gd name="csY14" fmla="*/ 88519 h 401552"/>
                    <a:gd name="csX15" fmla="*/ 94698 w 167593"/>
                    <a:gd name="csY15" fmla="*/ 96106 h 401552"/>
                    <a:gd name="csX16" fmla="*/ 83429 w 167593"/>
                    <a:gd name="csY16" fmla="*/ 99020 h 401552"/>
                    <a:gd name="csX17" fmla="*/ 79811 w 167593"/>
                    <a:gd name="csY17" fmla="*/ 101549 h 401552"/>
                    <a:gd name="csX18" fmla="*/ 67838 w 167593"/>
                    <a:gd name="csY18" fmla="*/ 104846 h 401552"/>
                    <a:gd name="csX19" fmla="*/ 58394 w 167593"/>
                    <a:gd name="csY19" fmla="*/ 122966 h 401552"/>
                    <a:gd name="csX20" fmla="*/ 51511 w 167593"/>
                    <a:gd name="csY20" fmla="*/ 143647 h 401552"/>
                    <a:gd name="csX21" fmla="*/ 50774 w 167593"/>
                    <a:gd name="csY21" fmla="*/ 162504 h 401552"/>
                    <a:gd name="csX22" fmla="*/ 44628 w 167593"/>
                    <a:gd name="csY22" fmla="*/ 171211 h 401552"/>
                    <a:gd name="csX23" fmla="*/ 35183 w 167593"/>
                    <a:gd name="csY23" fmla="*/ 171948 h 401552"/>
                    <a:gd name="csX24" fmla="*/ 30830 w 167593"/>
                    <a:gd name="csY24" fmla="*/ 185010 h 401552"/>
                    <a:gd name="csX25" fmla="*/ 35183 w 167593"/>
                    <a:gd name="csY25" fmla="*/ 186802 h 401552"/>
                    <a:gd name="csX26" fmla="*/ 53335 w 167593"/>
                    <a:gd name="csY26" fmla="*/ 195158 h 401552"/>
                    <a:gd name="csX27" fmla="*/ 67102 w 167593"/>
                    <a:gd name="csY27" fmla="*/ 194422 h 401552"/>
                    <a:gd name="csX28" fmla="*/ 82724 w 167593"/>
                    <a:gd name="csY28" fmla="*/ 194422 h 401552"/>
                    <a:gd name="csX29" fmla="*/ 77282 w 167593"/>
                    <a:gd name="csY29" fmla="*/ 210749 h 401552"/>
                    <a:gd name="csX30" fmla="*/ 85990 w 167593"/>
                    <a:gd name="csY30" fmla="*/ 215839 h 401552"/>
                    <a:gd name="csX31" fmla="*/ 90344 w 167593"/>
                    <a:gd name="csY31" fmla="*/ 211485 h 401552"/>
                    <a:gd name="csX32" fmla="*/ 93577 w 167593"/>
                    <a:gd name="csY32" fmla="*/ 220193 h 401552"/>
                    <a:gd name="csX33" fmla="*/ 84165 w 167593"/>
                    <a:gd name="csY33" fmla="*/ 224547 h 401552"/>
                    <a:gd name="csX34" fmla="*/ 87783 w 167593"/>
                    <a:gd name="csY34" fmla="*/ 232166 h 401552"/>
                    <a:gd name="csX35" fmla="*/ 79811 w 167593"/>
                    <a:gd name="csY35" fmla="*/ 238313 h 401552"/>
                    <a:gd name="csX36" fmla="*/ 68926 w 167593"/>
                    <a:gd name="csY36" fmla="*/ 236520 h 401552"/>
                    <a:gd name="csX37" fmla="*/ 74017 w 167593"/>
                    <a:gd name="csY37" fmla="*/ 245228 h 401552"/>
                    <a:gd name="csX38" fmla="*/ 62043 w 167593"/>
                    <a:gd name="csY38" fmla="*/ 255376 h 401552"/>
                    <a:gd name="csX39" fmla="*/ 53335 w 167593"/>
                    <a:gd name="csY39" fmla="*/ 272792 h 401552"/>
                    <a:gd name="csX40" fmla="*/ 43891 w 167593"/>
                    <a:gd name="csY40" fmla="*/ 276057 h 401552"/>
                    <a:gd name="csX41" fmla="*/ 37745 w 167593"/>
                    <a:gd name="csY41" fmla="*/ 288031 h 401552"/>
                    <a:gd name="csX42" fmla="*/ 37008 w 167593"/>
                    <a:gd name="csY42" fmla="*/ 290560 h 401552"/>
                    <a:gd name="csX43" fmla="*/ 33391 w 167593"/>
                    <a:gd name="csY43" fmla="*/ 301797 h 401552"/>
                    <a:gd name="csX44" fmla="*/ 25035 w 167593"/>
                    <a:gd name="csY44" fmla="*/ 303622 h 401552"/>
                    <a:gd name="csX45" fmla="*/ 22122 w 167593"/>
                    <a:gd name="csY45" fmla="*/ 310505 h 401552"/>
                    <a:gd name="csX46" fmla="*/ 30830 w 167593"/>
                    <a:gd name="csY46" fmla="*/ 313066 h 401552"/>
                    <a:gd name="csX47" fmla="*/ 23947 w 167593"/>
                    <a:gd name="csY47" fmla="*/ 324303 h 401552"/>
                    <a:gd name="csX48" fmla="*/ 18856 w 167593"/>
                    <a:gd name="csY48" fmla="*/ 323566 h 401552"/>
                    <a:gd name="csX49" fmla="*/ 25771 w 167593"/>
                    <a:gd name="csY49" fmla="*/ 333715 h 401552"/>
                    <a:gd name="csX50" fmla="*/ 30830 w 167593"/>
                    <a:gd name="csY50" fmla="*/ 357661 h 401552"/>
                    <a:gd name="csX51" fmla="*/ 26476 w 167593"/>
                    <a:gd name="csY51" fmla="*/ 359486 h 401552"/>
                    <a:gd name="csX52" fmla="*/ 21417 w 167593"/>
                    <a:gd name="csY52" fmla="*/ 350042 h 401552"/>
                    <a:gd name="csX53" fmla="*/ 7619 w 167593"/>
                    <a:gd name="csY53" fmla="*/ 352603 h 401552"/>
                    <a:gd name="csX54" fmla="*/ 0 w 167593"/>
                    <a:gd name="csY54" fmla="*/ 373252 h 401552"/>
                    <a:gd name="csX55" fmla="*/ 5795 w 167593"/>
                    <a:gd name="csY55" fmla="*/ 382697 h 401552"/>
                    <a:gd name="csX56" fmla="*/ 23947 w 167593"/>
                    <a:gd name="csY56" fmla="*/ 379431 h 401552"/>
                    <a:gd name="csX57" fmla="*/ 34479 w 167593"/>
                    <a:gd name="csY57" fmla="*/ 379431 h 401552"/>
                    <a:gd name="csX58" fmla="*/ 42099 w 167593"/>
                    <a:gd name="csY58" fmla="*/ 393934 h 401552"/>
                    <a:gd name="csX59" fmla="*/ 55865 w 167593"/>
                    <a:gd name="csY59" fmla="*/ 401553 h 401552"/>
                    <a:gd name="csX60" fmla="*/ 40274 w 167593"/>
                    <a:gd name="csY60" fmla="*/ 370019 h 401552"/>
                    <a:gd name="csX61" fmla="*/ 40274 w 167593"/>
                    <a:gd name="csY61" fmla="*/ 344248 h 401552"/>
                    <a:gd name="csX62" fmla="*/ 54040 w 167593"/>
                    <a:gd name="csY62" fmla="*/ 347513 h 401552"/>
                    <a:gd name="csX63" fmla="*/ 60955 w 167593"/>
                    <a:gd name="csY63" fmla="*/ 356957 h 401552"/>
                    <a:gd name="csX64" fmla="*/ 71455 w 167593"/>
                    <a:gd name="csY64" fmla="*/ 351867 h 401552"/>
                    <a:gd name="csX65" fmla="*/ 72928 w 167593"/>
                    <a:gd name="csY65" fmla="*/ 344248 h 401552"/>
                    <a:gd name="csX66" fmla="*/ 85990 w 167593"/>
                    <a:gd name="csY66" fmla="*/ 338805 h 401552"/>
                    <a:gd name="csX67" fmla="*/ 91048 w 167593"/>
                    <a:gd name="csY67" fmla="*/ 347513 h 401552"/>
                    <a:gd name="csX68" fmla="*/ 101581 w 167593"/>
                    <a:gd name="csY68" fmla="*/ 351131 h 401552"/>
                    <a:gd name="csX69" fmla="*/ 109936 w 167593"/>
                    <a:gd name="csY69" fmla="*/ 338069 h 401552"/>
                    <a:gd name="csX70" fmla="*/ 111025 w 167593"/>
                    <a:gd name="csY70" fmla="*/ 324303 h 401552"/>
                    <a:gd name="csX71" fmla="*/ 133147 w 167593"/>
                    <a:gd name="csY71" fmla="*/ 317420 h 401552"/>
                    <a:gd name="csX72" fmla="*/ 131674 w 167593"/>
                    <a:gd name="csY72" fmla="*/ 304358 h 401552"/>
                    <a:gd name="csX73" fmla="*/ 123702 w 167593"/>
                    <a:gd name="csY73" fmla="*/ 301093 h 401552"/>
                    <a:gd name="csX74" fmla="*/ 124791 w 167593"/>
                    <a:gd name="csY74" fmla="*/ 294914 h 401552"/>
                    <a:gd name="csX75" fmla="*/ 118612 w 167593"/>
                    <a:gd name="csY75" fmla="*/ 278587 h 401552"/>
                    <a:gd name="csX76" fmla="*/ 114258 w 167593"/>
                    <a:gd name="csY76" fmla="*/ 267350 h 401552"/>
                    <a:gd name="csX77" fmla="*/ 125527 w 167593"/>
                    <a:gd name="csY77" fmla="*/ 260467 h 401552"/>
                    <a:gd name="csX78" fmla="*/ 130585 w 167593"/>
                    <a:gd name="csY78" fmla="*/ 248493 h 401552"/>
                    <a:gd name="csX79" fmla="*/ 143647 w 167593"/>
                    <a:gd name="csY79" fmla="*/ 238313 h 401552"/>
                    <a:gd name="csX80" fmla="*/ 132410 w 167593"/>
                    <a:gd name="csY80" fmla="*/ 231430 h 401552"/>
                    <a:gd name="csX81" fmla="*/ 134939 w 167593"/>
                    <a:gd name="csY81" fmla="*/ 225251 h 401552"/>
                    <a:gd name="csX82" fmla="*/ 150562 w 167593"/>
                    <a:gd name="csY82" fmla="*/ 226339 h 401552"/>
                    <a:gd name="csX83" fmla="*/ 157445 w 167593"/>
                    <a:gd name="csY83" fmla="*/ 217664 h 401552"/>
                    <a:gd name="csX84" fmla="*/ 167594 w 167593"/>
                    <a:gd name="csY84" fmla="*/ 212574 h 401552"/>
                    <a:gd name="csX85" fmla="*/ 166857 w 167593"/>
                    <a:gd name="csY85" fmla="*/ 201337 h 401552"/>
                    <a:gd name="csX86" fmla="*/ 157445 w 167593"/>
                    <a:gd name="csY86" fmla="*/ 195158 h 401552"/>
                    <a:gd name="csX87" fmla="*/ 146208 w 167593"/>
                    <a:gd name="csY87" fmla="*/ 197687 h 401552"/>
                    <a:gd name="csX88" fmla="*/ 141854 w 167593"/>
                    <a:gd name="csY88" fmla="*/ 186802 h 401552"/>
                    <a:gd name="csX89" fmla="*/ 144384 w 167593"/>
                    <a:gd name="csY89" fmla="*/ 181360 h 401552"/>
                    <a:gd name="csX90" fmla="*/ 148737 w 167593"/>
                    <a:gd name="csY90" fmla="*/ 182448 h 401552"/>
                    <a:gd name="csX91" fmla="*/ 150562 w 167593"/>
                    <a:gd name="csY91" fmla="*/ 173741 h 401552"/>
                    <a:gd name="csX92" fmla="*/ 141854 w 167593"/>
                    <a:gd name="csY92" fmla="*/ 167594 h 401552"/>
                    <a:gd name="csX93" fmla="*/ 134235 w 167593"/>
                    <a:gd name="csY93" fmla="*/ 169387 h 401552"/>
                    <a:gd name="csX94" fmla="*/ 117908 w 167593"/>
                    <a:gd name="csY94" fmla="*/ 154884 h 401552"/>
                    <a:gd name="csX95" fmla="*/ 112818 w 167593"/>
                    <a:gd name="csY95" fmla="*/ 158150 h 401552"/>
                    <a:gd name="csX96" fmla="*/ 102317 w 167593"/>
                    <a:gd name="csY96" fmla="*/ 145472 h 40155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</a:cxnLst>
                  <a:rect l="l" t="t" r="r" b="b"/>
                  <a:pathLst>
                    <a:path w="167593" h="401552">
                      <a:moveTo>
                        <a:pt x="102317" y="145472"/>
                      </a:moveTo>
                      <a:lnTo>
                        <a:pt x="104110" y="139293"/>
                      </a:lnTo>
                      <a:lnTo>
                        <a:pt x="125527" y="107375"/>
                      </a:lnTo>
                      <a:lnTo>
                        <a:pt x="138589" y="62011"/>
                      </a:lnTo>
                      <a:lnTo>
                        <a:pt x="128056" y="52599"/>
                      </a:lnTo>
                      <a:lnTo>
                        <a:pt x="128056" y="35183"/>
                      </a:lnTo>
                      <a:lnTo>
                        <a:pt x="118612" y="27564"/>
                      </a:lnTo>
                      <a:lnTo>
                        <a:pt x="112818" y="2529"/>
                      </a:lnTo>
                      <a:lnTo>
                        <a:pt x="105935" y="0"/>
                      </a:lnTo>
                      <a:lnTo>
                        <a:pt x="95402" y="22474"/>
                      </a:lnTo>
                      <a:lnTo>
                        <a:pt x="92873" y="44628"/>
                      </a:lnTo>
                      <a:lnTo>
                        <a:pt x="92873" y="46420"/>
                      </a:lnTo>
                      <a:lnTo>
                        <a:pt x="89255" y="55128"/>
                      </a:lnTo>
                      <a:lnTo>
                        <a:pt x="99756" y="79811"/>
                      </a:lnTo>
                      <a:lnTo>
                        <a:pt x="99052" y="88519"/>
                      </a:lnTo>
                      <a:lnTo>
                        <a:pt x="94698" y="96106"/>
                      </a:lnTo>
                      <a:lnTo>
                        <a:pt x="83429" y="99020"/>
                      </a:lnTo>
                      <a:lnTo>
                        <a:pt x="79811" y="101549"/>
                      </a:lnTo>
                      <a:lnTo>
                        <a:pt x="67838" y="104846"/>
                      </a:lnTo>
                      <a:lnTo>
                        <a:pt x="58394" y="122966"/>
                      </a:lnTo>
                      <a:lnTo>
                        <a:pt x="51511" y="143647"/>
                      </a:lnTo>
                      <a:lnTo>
                        <a:pt x="50774" y="162504"/>
                      </a:lnTo>
                      <a:lnTo>
                        <a:pt x="44628" y="171211"/>
                      </a:lnTo>
                      <a:lnTo>
                        <a:pt x="35183" y="171948"/>
                      </a:lnTo>
                      <a:lnTo>
                        <a:pt x="30830" y="185010"/>
                      </a:lnTo>
                      <a:lnTo>
                        <a:pt x="35183" y="186802"/>
                      </a:lnTo>
                      <a:lnTo>
                        <a:pt x="53335" y="195158"/>
                      </a:lnTo>
                      <a:lnTo>
                        <a:pt x="67102" y="194422"/>
                      </a:lnTo>
                      <a:lnTo>
                        <a:pt x="82724" y="194422"/>
                      </a:lnTo>
                      <a:lnTo>
                        <a:pt x="77282" y="210749"/>
                      </a:lnTo>
                      <a:lnTo>
                        <a:pt x="85990" y="215839"/>
                      </a:lnTo>
                      <a:lnTo>
                        <a:pt x="90344" y="211485"/>
                      </a:lnTo>
                      <a:lnTo>
                        <a:pt x="93577" y="220193"/>
                      </a:lnTo>
                      <a:lnTo>
                        <a:pt x="84165" y="224547"/>
                      </a:lnTo>
                      <a:lnTo>
                        <a:pt x="87783" y="232166"/>
                      </a:lnTo>
                      <a:lnTo>
                        <a:pt x="79811" y="238313"/>
                      </a:lnTo>
                      <a:lnTo>
                        <a:pt x="68926" y="236520"/>
                      </a:lnTo>
                      <a:lnTo>
                        <a:pt x="74017" y="245228"/>
                      </a:lnTo>
                      <a:lnTo>
                        <a:pt x="62043" y="255376"/>
                      </a:lnTo>
                      <a:lnTo>
                        <a:pt x="53335" y="272792"/>
                      </a:lnTo>
                      <a:lnTo>
                        <a:pt x="43891" y="276057"/>
                      </a:lnTo>
                      <a:lnTo>
                        <a:pt x="37745" y="288031"/>
                      </a:lnTo>
                      <a:lnTo>
                        <a:pt x="37008" y="290560"/>
                      </a:lnTo>
                      <a:lnTo>
                        <a:pt x="33391" y="301797"/>
                      </a:lnTo>
                      <a:lnTo>
                        <a:pt x="25035" y="303622"/>
                      </a:lnTo>
                      <a:lnTo>
                        <a:pt x="22122" y="310505"/>
                      </a:lnTo>
                      <a:lnTo>
                        <a:pt x="30830" y="313066"/>
                      </a:lnTo>
                      <a:lnTo>
                        <a:pt x="23947" y="324303"/>
                      </a:lnTo>
                      <a:lnTo>
                        <a:pt x="18856" y="323566"/>
                      </a:lnTo>
                      <a:lnTo>
                        <a:pt x="25771" y="333715"/>
                      </a:lnTo>
                      <a:lnTo>
                        <a:pt x="30830" y="357661"/>
                      </a:lnTo>
                      <a:lnTo>
                        <a:pt x="26476" y="359486"/>
                      </a:lnTo>
                      <a:lnTo>
                        <a:pt x="21417" y="350042"/>
                      </a:lnTo>
                      <a:lnTo>
                        <a:pt x="7619" y="352603"/>
                      </a:lnTo>
                      <a:lnTo>
                        <a:pt x="0" y="373252"/>
                      </a:lnTo>
                      <a:lnTo>
                        <a:pt x="5795" y="382697"/>
                      </a:lnTo>
                      <a:lnTo>
                        <a:pt x="23947" y="379431"/>
                      </a:lnTo>
                      <a:lnTo>
                        <a:pt x="34479" y="379431"/>
                      </a:lnTo>
                      <a:lnTo>
                        <a:pt x="42099" y="393934"/>
                      </a:lnTo>
                      <a:lnTo>
                        <a:pt x="55865" y="401553"/>
                      </a:lnTo>
                      <a:lnTo>
                        <a:pt x="40274" y="370019"/>
                      </a:lnTo>
                      <a:lnTo>
                        <a:pt x="40274" y="344248"/>
                      </a:lnTo>
                      <a:lnTo>
                        <a:pt x="54040" y="347513"/>
                      </a:lnTo>
                      <a:lnTo>
                        <a:pt x="60955" y="356957"/>
                      </a:lnTo>
                      <a:lnTo>
                        <a:pt x="71455" y="351867"/>
                      </a:lnTo>
                      <a:lnTo>
                        <a:pt x="72928" y="344248"/>
                      </a:lnTo>
                      <a:lnTo>
                        <a:pt x="85990" y="338805"/>
                      </a:lnTo>
                      <a:lnTo>
                        <a:pt x="91048" y="347513"/>
                      </a:lnTo>
                      <a:lnTo>
                        <a:pt x="101581" y="351131"/>
                      </a:lnTo>
                      <a:lnTo>
                        <a:pt x="109936" y="338069"/>
                      </a:lnTo>
                      <a:lnTo>
                        <a:pt x="111025" y="324303"/>
                      </a:lnTo>
                      <a:lnTo>
                        <a:pt x="133147" y="317420"/>
                      </a:lnTo>
                      <a:lnTo>
                        <a:pt x="131674" y="304358"/>
                      </a:lnTo>
                      <a:lnTo>
                        <a:pt x="123702" y="301093"/>
                      </a:lnTo>
                      <a:lnTo>
                        <a:pt x="124791" y="294914"/>
                      </a:lnTo>
                      <a:lnTo>
                        <a:pt x="118612" y="278587"/>
                      </a:lnTo>
                      <a:lnTo>
                        <a:pt x="114258" y="267350"/>
                      </a:lnTo>
                      <a:lnTo>
                        <a:pt x="125527" y="260467"/>
                      </a:lnTo>
                      <a:lnTo>
                        <a:pt x="130585" y="248493"/>
                      </a:lnTo>
                      <a:lnTo>
                        <a:pt x="143647" y="238313"/>
                      </a:lnTo>
                      <a:lnTo>
                        <a:pt x="132410" y="231430"/>
                      </a:lnTo>
                      <a:lnTo>
                        <a:pt x="134939" y="225251"/>
                      </a:lnTo>
                      <a:lnTo>
                        <a:pt x="150562" y="226339"/>
                      </a:lnTo>
                      <a:lnTo>
                        <a:pt x="157445" y="217664"/>
                      </a:lnTo>
                      <a:lnTo>
                        <a:pt x="167594" y="212574"/>
                      </a:lnTo>
                      <a:lnTo>
                        <a:pt x="166857" y="201337"/>
                      </a:lnTo>
                      <a:lnTo>
                        <a:pt x="157445" y="195158"/>
                      </a:lnTo>
                      <a:lnTo>
                        <a:pt x="146208" y="197687"/>
                      </a:lnTo>
                      <a:lnTo>
                        <a:pt x="141854" y="186802"/>
                      </a:lnTo>
                      <a:lnTo>
                        <a:pt x="144384" y="181360"/>
                      </a:lnTo>
                      <a:lnTo>
                        <a:pt x="148737" y="182448"/>
                      </a:lnTo>
                      <a:lnTo>
                        <a:pt x="150562" y="173741"/>
                      </a:lnTo>
                      <a:lnTo>
                        <a:pt x="141854" y="167594"/>
                      </a:lnTo>
                      <a:lnTo>
                        <a:pt x="134235" y="169387"/>
                      </a:lnTo>
                      <a:lnTo>
                        <a:pt x="117908" y="154884"/>
                      </a:lnTo>
                      <a:lnTo>
                        <a:pt x="112818" y="158150"/>
                      </a:lnTo>
                      <a:lnTo>
                        <a:pt x="102317" y="14547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7" name="Forma Livre: Forma 246">
                  <a:extLst>
                    <a:ext uri="{FF2B5EF4-FFF2-40B4-BE49-F238E27FC236}">
                      <a16:creationId xmlns:a16="http://schemas.microsoft.com/office/drawing/2014/main" id="{C9CE7D48-7BB4-D551-5786-389E757AB82C}"/>
                    </a:ext>
                  </a:extLst>
                </p:cNvPr>
                <p:cNvSpPr/>
                <p:nvPr/>
              </p:nvSpPr>
              <p:spPr>
                <a:xfrm>
                  <a:off x="1563708" y="5463560"/>
                  <a:ext cx="167593" cy="401552"/>
                </a:xfrm>
                <a:custGeom>
                  <a:avLst/>
                  <a:gdLst>
                    <a:gd name="csX0" fmla="*/ 102317 w 167593"/>
                    <a:gd name="csY0" fmla="*/ 145472 h 401552"/>
                    <a:gd name="csX1" fmla="*/ 104110 w 167593"/>
                    <a:gd name="csY1" fmla="*/ 139293 h 401552"/>
                    <a:gd name="csX2" fmla="*/ 125527 w 167593"/>
                    <a:gd name="csY2" fmla="*/ 107375 h 401552"/>
                    <a:gd name="csX3" fmla="*/ 138589 w 167593"/>
                    <a:gd name="csY3" fmla="*/ 62011 h 401552"/>
                    <a:gd name="csX4" fmla="*/ 128056 w 167593"/>
                    <a:gd name="csY4" fmla="*/ 52599 h 401552"/>
                    <a:gd name="csX5" fmla="*/ 128056 w 167593"/>
                    <a:gd name="csY5" fmla="*/ 35183 h 401552"/>
                    <a:gd name="csX6" fmla="*/ 118612 w 167593"/>
                    <a:gd name="csY6" fmla="*/ 27564 h 401552"/>
                    <a:gd name="csX7" fmla="*/ 112818 w 167593"/>
                    <a:gd name="csY7" fmla="*/ 2529 h 401552"/>
                    <a:gd name="csX8" fmla="*/ 105935 w 167593"/>
                    <a:gd name="csY8" fmla="*/ 0 h 401552"/>
                    <a:gd name="csX9" fmla="*/ 95402 w 167593"/>
                    <a:gd name="csY9" fmla="*/ 22474 h 401552"/>
                    <a:gd name="csX10" fmla="*/ 92873 w 167593"/>
                    <a:gd name="csY10" fmla="*/ 44628 h 401552"/>
                    <a:gd name="csX11" fmla="*/ 92873 w 167593"/>
                    <a:gd name="csY11" fmla="*/ 46420 h 401552"/>
                    <a:gd name="csX12" fmla="*/ 89255 w 167593"/>
                    <a:gd name="csY12" fmla="*/ 55128 h 401552"/>
                    <a:gd name="csX13" fmla="*/ 99756 w 167593"/>
                    <a:gd name="csY13" fmla="*/ 79811 h 401552"/>
                    <a:gd name="csX14" fmla="*/ 99052 w 167593"/>
                    <a:gd name="csY14" fmla="*/ 88519 h 401552"/>
                    <a:gd name="csX15" fmla="*/ 94698 w 167593"/>
                    <a:gd name="csY15" fmla="*/ 96106 h 401552"/>
                    <a:gd name="csX16" fmla="*/ 83429 w 167593"/>
                    <a:gd name="csY16" fmla="*/ 99020 h 401552"/>
                    <a:gd name="csX17" fmla="*/ 79811 w 167593"/>
                    <a:gd name="csY17" fmla="*/ 101549 h 401552"/>
                    <a:gd name="csX18" fmla="*/ 67838 w 167593"/>
                    <a:gd name="csY18" fmla="*/ 104846 h 401552"/>
                    <a:gd name="csX19" fmla="*/ 58394 w 167593"/>
                    <a:gd name="csY19" fmla="*/ 122966 h 401552"/>
                    <a:gd name="csX20" fmla="*/ 51511 w 167593"/>
                    <a:gd name="csY20" fmla="*/ 143647 h 401552"/>
                    <a:gd name="csX21" fmla="*/ 50774 w 167593"/>
                    <a:gd name="csY21" fmla="*/ 162504 h 401552"/>
                    <a:gd name="csX22" fmla="*/ 44628 w 167593"/>
                    <a:gd name="csY22" fmla="*/ 171211 h 401552"/>
                    <a:gd name="csX23" fmla="*/ 35183 w 167593"/>
                    <a:gd name="csY23" fmla="*/ 171948 h 401552"/>
                    <a:gd name="csX24" fmla="*/ 30830 w 167593"/>
                    <a:gd name="csY24" fmla="*/ 185010 h 401552"/>
                    <a:gd name="csX25" fmla="*/ 35183 w 167593"/>
                    <a:gd name="csY25" fmla="*/ 186802 h 401552"/>
                    <a:gd name="csX26" fmla="*/ 53335 w 167593"/>
                    <a:gd name="csY26" fmla="*/ 195158 h 401552"/>
                    <a:gd name="csX27" fmla="*/ 67102 w 167593"/>
                    <a:gd name="csY27" fmla="*/ 194422 h 401552"/>
                    <a:gd name="csX28" fmla="*/ 82724 w 167593"/>
                    <a:gd name="csY28" fmla="*/ 194422 h 401552"/>
                    <a:gd name="csX29" fmla="*/ 77282 w 167593"/>
                    <a:gd name="csY29" fmla="*/ 210749 h 401552"/>
                    <a:gd name="csX30" fmla="*/ 85990 w 167593"/>
                    <a:gd name="csY30" fmla="*/ 215839 h 401552"/>
                    <a:gd name="csX31" fmla="*/ 90344 w 167593"/>
                    <a:gd name="csY31" fmla="*/ 211485 h 401552"/>
                    <a:gd name="csX32" fmla="*/ 93577 w 167593"/>
                    <a:gd name="csY32" fmla="*/ 220193 h 401552"/>
                    <a:gd name="csX33" fmla="*/ 84165 w 167593"/>
                    <a:gd name="csY33" fmla="*/ 224547 h 401552"/>
                    <a:gd name="csX34" fmla="*/ 87783 w 167593"/>
                    <a:gd name="csY34" fmla="*/ 232166 h 401552"/>
                    <a:gd name="csX35" fmla="*/ 79811 w 167593"/>
                    <a:gd name="csY35" fmla="*/ 238313 h 401552"/>
                    <a:gd name="csX36" fmla="*/ 68926 w 167593"/>
                    <a:gd name="csY36" fmla="*/ 236520 h 401552"/>
                    <a:gd name="csX37" fmla="*/ 74017 w 167593"/>
                    <a:gd name="csY37" fmla="*/ 245228 h 401552"/>
                    <a:gd name="csX38" fmla="*/ 62043 w 167593"/>
                    <a:gd name="csY38" fmla="*/ 255376 h 401552"/>
                    <a:gd name="csX39" fmla="*/ 53335 w 167593"/>
                    <a:gd name="csY39" fmla="*/ 272792 h 401552"/>
                    <a:gd name="csX40" fmla="*/ 43891 w 167593"/>
                    <a:gd name="csY40" fmla="*/ 276057 h 401552"/>
                    <a:gd name="csX41" fmla="*/ 37745 w 167593"/>
                    <a:gd name="csY41" fmla="*/ 288031 h 401552"/>
                    <a:gd name="csX42" fmla="*/ 37008 w 167593"/>
                    <a:gd name="csY42" fmla="*/ 290560 h 401552"/>
                    <a:gd name="csX43" fmla="*/ 33391 w 167593"/>
                    <a:gd name="csY43" fmla="*/ 301797 h 401552"/>
                    <a:gd name="csX44" fmla="*/ 25035 w 167593"/>
                    <a:gd name="csY44" fmla="*/ 303622 h 401552"/>
                    <a:gd name="csX45" fmla="*/ 22122 w 167593"/>
                    <a:gd name="csY45" fmla="*/ 310505 h 401552"/>
                    <a:gd name="csX46" fmla="*/ 30830 w 167593"/>
                    <a:gd name="csY46" fmla="*/ 313066 h 401552"/>
                    <a:gd name="csX47" fmla="*/ 23947 w 167593"/>
                    <a:gd name="csY47" fmla="*/ 324303 h 401552"/>
                    <a:gd name="csX48" fmla="*/ 18856 w 167593"/>
                    <a:gd name="csY48" fmla="*/ 323566 h 401552"/>
                    <a:gd name="csX49" fmla="*/ 25771 w 167593"/>
                    <a:gd name="csY49" fmla="*/ 333715 h 401552"/>
                    <a:gd name="csX50" fmla="*/ 30830 w 167593"/>
                    <a:gd name="csY50" fmla="*/ 357661 h 401552"/>
                    <a:gd name="csX51" fmla="*/ 26476 w 167593"/>
                    <a:gd name="csY51" fmla="*/ 359486 h 401552"/>
                    <a:gd name="csX52" fmla="*/ 21417 w 167593"/>
                    <a:gd name="csY52" fmla="*/ 350042 h 401552"/>
                    <a:gd name="csX53" fmla="*/ 7619 w 167593"/>
                    <a:gd name="csY53" fmla="*/ 352603 h 401552"/>
                    <a:gd name="csX54" fmla="*/ 0 w 167593"/>
                    <a:gd name="csY54" fmla="*/ 373252 h 401552"/>
                    <a:gd name="csX55" fmla="*/ 5795 w 167593"/>
                    <a:gd name="csY55" fmla="*/ 382697 h 401552"/>
                    <a:gd name="csX56" fmla="*/ 23947 w 167593"/>
                    <a:gd name="csY56" fmla="*/ 379431 h 401552"/>
                    <a:gd name="csX57" fmla="*/ 34479 w 167593"/>
                    <a:gd name="csY57" fmla="*/ 379431 h 401552"/>
                    <a:gd name="csX58" fmla="*/ 42099 w 167593"/>
                    <a:gd name="csY58" fmla="*/ 393934 h 401552"/>
                    <a:gd name="csX59" fmla="*/ 55865 w 167593"/>
                    <a:gd name="csY59" fmla="*/ 401553 h 401552"/>
                    <a:gd name="csX60" fmla="*/ 40274 w 167593"/>
                    <a:gd name="csY60" fmla="*/ 370019 h 401552"/>
                    <a:gd name="csX61" fmla="*/ 40274 w 167593"/>
                    <a:gd name="csY61" fmla="*/ 344248 h 401552"/>
                    <a:gd name="csX62" fmla="*/ 54040 w 167593"/>
                    <a:gd name="csY62" fmla="*/ 347513 h 401552"/>
                    <a:gd name="csX63" fmla="*/ 60955 w 167593"/>
                    <a:gd name="csY63" fmla="*/ 356957 h 401552"/>
                    <a:gd name="csX64" fmla="*/ 71455 w 167593"/>
                    <a:gd name="csY64" fmla="*/ 351867 h 401552"/>
                    <a:gd name="csX65" fmla="*/ 72928 w 167593"/>
                    <a:gd name="csY65" fmla="*/ 344248 h 401552"/>
                    <a:gd name="csX66" fmla="*/ 85990 w 167593"/>
                    <a:gd name="csY66" fmla="*/ 338805 h 401552"/>
                    <a:gd name="csX67" fmla="*/ 91048 w 167593"/>
                    <a:gd name="csY67" fmla="*/ 347513 h 401552"/>
                    <a:gd name="csX68" fmla="*/ 101581 w 167593"/>
                    <a:gd name="csY68" fmla="*/ 351131 h 401552"/>
                    <a:gd name="csX69" fmla="*/ 109936 w 167593"/>
                    <a:gd name="csY69" fmla="*/ 338069 h 401552"/>
                    <a:gd name="csX70" fmla="*/ 111025 w 167593"/>
                    <a:gd name="csY70" fmla="*/ 324303 h 401552"/>
                    <a:gd name="csX71" fmla="*/ 133147 w 167593"/>
                    <a:gd name="csY71" fmla="*/ 317420 h 401552"/>
                    <a:gd name="csX72" fmla="*/ 131674 w 167593"/>
                    <a:gd name="csY72" fmla="*/ 304358 h 401552"/>
                    <a:gd name="csX73" fmla="*/ 123702 w 167593"/>
                    <a:gd name="csY73" fmla="*/ 301093 h 401552"/>
                    <a:gd name="csX74" fmla="*/ 124791 w 167593"/>
                    <a:gd name="csY74" fmla="*/ 294914 h 401552"/>
                    <a:gd name="csX75" fmla="*/ 118612 w 167593"/>
                    <a:gd name="csY75" fmla="*/ 278587 h 401552"/>
                    <a:gd name="csX76" fmla="*/ 114258 w 167593"/>
                    <a:gd name="csY76" fmla="*/ 267350 h 401552"/>
                    <a:gd name="csX77" fmla="*/ 125527 w 167593"/>
                    <a:gd name="csY77" fmla="*/ 260467 h 401552"/>
                    <a:gd name="csX78" fmla="*/ 130585 w 167593"/>
                    <a:gd name="csY78" fmla="*/ 248493 h 401552"/>
                    <a:gd name="csX79" fmla="*/ 143647 w 167593"/>
                    <a:gd name="csY79" fmla="*/ 238313 h 401552"/>
                    <a:gd name="csX80" fmla="*/ 132410 w 167593"/>
                    <a:gd name="csY80" fmla="*/ 231430 h 401552"/>
                    <a:gd name="csX81" fmla="*/ 134939 w 167593"/>
                    <a:gd name="csY81" fmla="*/ 225251 h 401552"/>
                    <a:gd name="csX82" fmla="*/ 150562 w 167593"/>
                    <a:gd name="csY82" fmla="*/ 226339 h 401552"/>
                    <a:gd name="csX83" fmla="*/ 157445 w 167593"/>
                    <a:gd name="csY83" fmla="*/ 217664 h 401552"/>
                    <a:gd name="csX84" fmla="*/ 167594 w 167593"/>
                    <a:gd name="csY84" fmla="*/ 212574 h 401552"/>
                    <a:gd name="csX85" fmla="*/ 166857 w 167593"/>
                    <a:gd name="csY85" fmla="*/ 201337 h 401552"/>
                    <a:gd name="csX86" fmla="*/ 157445 w 167593"/>
                    <a:gd name="csY86" fmla="*/ 195158 h 401552"/>
                    <a:gd name="csX87" fmla="*/ 146208 w 167593"/>
                    <a:gd name="csY87" fmla="*/ 197687 h 401552"/>
                    <a:gd name="csX88" fmla="*/ 141854 w 167593"/>
                    <a:gd name="csY88" fmla="*/ 186802 h 401552"/>
                    <a:gd name="csX89" fmla="*/ 144384 w 167593"/>
                    <a:gd name="csY89" fmla="*/ 181360 h 401552"/>
                    <a:gd name="csX90" fmla="*/ 148737 w 167593"/>
                    <a:gd name="csY90" fmla="*/ 182448 h 401552"/>
                    <a:gd name="csX91" fmla="*/ 150562 w 167593"/>
                    <a:gd name="csY91" fmla="*/ 173741 h 401552"/>
                    <a:gd name="csX92" fmla="*/ 141854 w 167593"/>
                    <a:gd name="csY92" fmla="*/ 167594 h 401552"/>
                    <a:gd name="csX93" fmla="*/ 134235 w 167593"/>
                    <a:gd name="csY93" fmla="*/ 169387 h 401552"/>
                    <a:gd name="csX94" fmla="*/ 117908 w 167593"/>
                    <a:gd name="csY94" fmla="*/ 154884 h 401552"/>
                    <a:gd name="csX95" fmla="*/ 112818 w 167593"/>
                    <a:gd name="csY95" fmla="*/ 158150 h 401552"/>
                    <a:gd name="csX96" fmla="*/ 102317 w 167593"/>
                    <a:gd name="csY96" fmla="*/ 145472 h 40155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</a:cxnLst>
                  <a:rect l="l" t="t" r="r" b="b"/>
                  <a:pathLst>
                    <a:path w="167593" h="401552">
                      <a:moveTo>
                        <a:pt x="102317" y="145472"/>
                      </a:moveTo>
                      <a:lnTo>
                        <a:pt x="104110" y="139293"/>
                      </a:lnTo>
                      <a:lnTo>
                        <a:pt x="125527" y="107375"/>
                      </a:lnTo>
                      <a:lnTo>
                        <a:pt x="138589" y="62011"/>
                      </a:lnTo>
                      <a:lnTo>
                        <a:pt x="128056" y="52599"/>
                      </a:lnTo>
                      <a:lnTo>
                        <a:pt x="128056" y="35183"/>
                      </a:lnTo>
                      <a:lnTo>
                        <a:pt x="118612" y="27564"/>
                      </a:lnTo>
                      <a:lnTo>
                        <a:pt x="112818" y="2529"/>
                      </a:lnTo>
                      <a:lnTo>
                        <a:pt x="105935" y="0"/>
                      </a:lnTo>
                      <a:lnTo>
                        <a:pt x="95402" y="22474"/>
                      </a:lnTo>
                      <a:lnTo>
                        <a:pt x="92873" y="44628"/>
                      </a:lnTo>
                      <a:lnTo>
                        <a:pt x="92873" y="46420"/>
                      </a:lnTo>
                      <a:lnTo>
                        <a:pt x="89255" y="55128"/>
                      </a:lnTo>
                      <a:lnTo>
                        <a:pt x="99756" y="79811"/>
                      </a:lnTo>
                      <a:lnTo>
                        <a:pt x="99052" y="88519"/>
                      </a:lnTo>
                      <a:lnTo>
                        <a:pt x="94698" y="96106"/>
                      </a:lnTo>
                      <a:lnTo>
                        <a:pt x="83429" y="99020"/>
                      </a:lnTo>
                      <a:lnTo>
                        <a:pt x="79811" y="101549"/>
                      </a:lnTo>
                      <a:lnTo>
                        <a:pt x="67838" y="104846"/>
                      </a:lnTo>
                      <a:lnTo>
                        <a:pt x="58394" y="122966"/>
                      </a:lnTo>
                      <a:lnTo>
                        <a:pt x="51511" y="143647"/>
                      </a:lnTo>
                      <a:lnTo>
                        <a:pt x="50774" y="162504"/>
                      </a:lnTo>
                      <a:lnTo>
                        <a:pt x="44628" y="171211"/>
                      </a:lnTo>
                      <a:lnTo>
                        <a:pt x="35183" y="171948"/>
                      </a:lnTo>
                      <a:lnTo>
                        <a:pt x="30830" y="185010"/>
                      </a:lnTo>
                      <a:lnTo>
                        <a:pt x="35183" y="186802"/>
                      </a:lnTo>
                      <a:lnTo>
                        <a:pt x="53335" y="195158"/>
                      </a:lnTo>
                      <a:lnTo>
                        <a:pt x="67102" y="194422"/>
                      </a:lnTo>
                      <a:lnTo>
                        <a:pt x="82724" y="194422"/>
                      </a:lnTo>
                      <a:lnTo>
                        <a:pt x="77282" y="210749"/>
                      </a:lnTo>
                      <a:lnTo>
                        <a:pt x="85990" y="215839"/>
                      </a:lnTo>
                      <a:lnTo>
                        <a:pt x="90344" y="211485"/>
                      </a:lnTo>
                      <a:lnTo>
                        <a:pt x="93577" y="220193"/>
                      </a:lnTo>
                      <a:lnTo>
                        <a:pt x="84165" y="224547"/>
                      </a:lnTo>
                      <a:lnTo>
                        <a:pt x="87783" y="232166"/>
                      </a:lnTo>
                      <a:lnTo>
                        <a:pt x="79811" y="238313"/>
                      </a:lnTo>
                      <a:lnTo>
                        <a:pt x="68926" y="236520"/>
                      </a:lnTo>
                      <a:lnTo>
                        <a:pt x="74017" y="245228"/>
                      </a:lnTo>
                      <a:lnTo>
                        <a:pt x="62043" y="255376"/>
                      </a:lnTo>
                      <a:lnTo>
                        <a:pt x="53335" y="272792"/>
                      </a:lnTo>
                      <a:lnTo>
                        <a:pt x="43891" y="276057"/>
                      </a:lnTo>
                      <a:lnTo>
                        <a:pt x="37745" y="288031"/>
                      </a:lnTo>
                      <a:lnTo>
                        <a:pt x="37008" y="290560"/>
                      </a:lnTo>
                      <a:lnTo>
                        <a:pt x="33391" y="301797"/>
                      </a:lnTo>
                      <a:lnTo>
                        <a:pt x="25035" y="303622"/>
                      </a:lnTo>
                      <a:lnTo>
                        <a:pt x="22122" y="310505"/>
                      </a:lnTo>
                      <a:lnTo>
                        <a:pt x="30830" y="313066"/>
                      </a:lnTo>
                      <a:lnTo>
                        <a:pt x="23947" y="324303"/>
                      </a:lnTo>
                      <a:lnTo>
                        <a:pt x="18856" y="323566"/>
                      </a:lnTo>
                      <a:lnTo>
                        <a:pt x="25771" y="333715"/>
                      </a:lnTo>
                      <a:lnTo>
                        <a:pt x="30830" y="357661"/>
                      </a:lnTo>
                      <a:lnTo>
                        <a:pt x="26476" y="359486"/>
                      </a:lnTo>
                      <a:lnTo>
                        <a:pt x="21417" y="350042"/>
                      </a:lnTo>
                      <a:lnTo>
                        <a:pt x="7619" y="352603"/>
                      </a:lnTo>
                      <a:lnTo>
                        <a:pt x="0" y="373252"/>
                      </a:lnTo>
                      <a:lnTo>
                        <a:pt x="5795" y="382697"/>
                      </a:lnTo>
                      <a:lnTo>
                        <a:pt x="23947" y="379431"/>
                      </a:lnTo>
                      <a:lnTo>
                        <a:pt x="34479" y="379431"/>
                      </a:lnTo>
                      <a:lnTo>
                        <a:pt x="42099" y="393934"/>
                      </a:lnTo>
                      <a:lnTo>
                        <a:pt x="55865" y="401553"/>
                      </a:lnTo>
                      <a:lnTo>
                        <a:pt x="40274" y="370019"/>
                      </a:lnTo>
                      <a:lnTo>
                        <a:pt x="40274" y="344248"/>
                      </a:lnTo>
                      <a:lnTo>
                        <a:pt x="54040" y="347513"/>
                      </a:lnTo>
                      <a:lnTo>
                        <a:pt x="60955" y="356957"/>
                      </a:lnTo>
                      <a:lnTo>
                        <a:pt x="71455" y="351867"/>
                      </a:lnTo>
                      <a:lnTo>
                        <a:pt x="72928" y="344248"/>
                      </a:lnTo>
                      <a:lnTo>
                        <a:pt x="85990" y="338805"/>
                      </a:lnTo>
                      <a:lnTo>
                        <a:pt x="91048" y="347513"/>
                      </a:lnTo>
                      <a:lnTo>
                        <a:pt x="101581" y="351131"/>
                      </a:lnTo>
                      <a:lnTo>
                        <a:pt x="109936" y="338069"/>
                      </a:lnTo>
                      <a:lnTo>
                        <a:pt x="111025" y="324303"/>
                      </a:lnTo>
                      <a:lnTo>
                        <a:pt x="133147" y="317420"/>
                      </a:lnTo>
                      <a:lnTo>
                        <a:pt x="131674" y="304358"/>
                      </a:lnTo>
                      <a:lnTo>
                        <a:pt x="123702" y="301093"/>
                      </a:lnTo>
                      <a:lnTo>
                        <a:pt x="124791" y="294914"/>
                      </a:lnTo>
                      <a:lnTo>
                        <a:pt x="118612" y="278587"/>
                      </a:lnTo>
                      <a:lnTo>
                        <a:pt x="114258" y="267350"/>
                      </a:lnTo>
                      <a:lnTo>
                        <a:pt x="125527" y="260467"/>
                      </a:lnTo>
                      <a:lnTo>
                        <a:pt x="130585" y="248493"/>
                      </a:lnTo>
                      <a:lnTo>
                        <a:pt x="143647" y="238313"/>
                      </a:lnTo>
                      <a:lnTo>
                        <a:pt x="132410" y="231430"/>
                      </a:lnTo>
                      <a:lnTo>
                        <a:pt x="134939" y="225251"/>
                      </a:lnTo>
                      <a:lnTo>
                        <a:pt x="150562" y="226339"/>
                      </a:lnTo>
                      <a:lnTo>
                        <a:pt x="157445" y="217664"/>
                      </a:lnTo>
                      <a:lnTo>
                        <a:pt x="167594" y="212574"/>
                      </a:lnTo>
                      <a:lnTo>
                        <a:pt x="166857" y="201337"/>
                      </a:lnTo>
                      <a:lnTo>
                        <a:pt x="157445" y="195158"/>
                      </a:lnTo>
                      <a:lnTo>
                        <a:pt x="146208" y="197687"/>
                      </a:lnTo>
                      <a:lnTo>
                        <a:pt x="141854" y="186802"/>
                      </a:lnTo>
                      <a:lnTo>
                        <a:pt x="144384" y="181360"/>
                      </a:lnTo>
                      <a:lnTo>
                        <a:pt x="148737" y="182448"/>
                      </a:lnTo>
                      <a:lnTo>
                        <a:pt x="150562" y="173741"/>
                      </a:lnTo>
                      <a:lnTo>
                        <a:pt x="141854" y="167594"/>
                      </a:lnTo>
                      <a:lnTo>
                        <a:pt x="134235" y="169387"/>
                      </a:lnTo>
                      <a:lnTo>
                        <a:pt x="117908" y="154884"/>
                      </a:lnTo>
                      <a:lnTo>
                        <a:pt x="112818" y="158150"/>
                      </a:lnTo>
                      <a:lnTo>
                        <a:pt x="102317" y="14547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64F721BB-EE6A-7E0C-8514-2439F68F6246}"/>
                    </a:ext>
                  </a:extLst>
                </p:cNvPr>
                <p:cNvSpPr/>
                <p:nvPr/>
              </p:nvSpPr>
              <p:spPr>
                <a:xfrm>
                  <a:off x="1563708" y="5463560"/>
                  <a:ext cx="167593" cy="401552"/>
                </a:xfrm>
                <a:custGeom>
                  <a:avLst/>
                  <a:gdLst>
                    <a:gd name="csX0" fmla="*/ 102317 w 167593"/>
                    <a:gd name="csY0" fmla="*/ 145472 h 401552"/>
                    <a:gd name="csX1" fmla="*/ 104110 w 167593"/>
                    <a:gd name="csY1" fmla="*/ 139293 h 401552"/>
                    <a:gd name="csX2" fmla="*/ 125527 w 167593"/>
                    <a:gd name="csY2" fmla="*/ 107375 h 401552"/>
                    <a:gd name="csX3" fmla="*/ 138589 w 167593"/>
                    <a:gd name="csY3" fmla="*/ 62011 h 401552"/>
                    <a:gd name="csX4" fmla="*/ 128056 w 167593"/>
                    <a:gd name="csY4" fmla="*/ 52599 h 401552"/>
                    <a:gd name="csX5" fmla="*/ 128056 w 167593"/>
                    <a:gd name="csY5" fmla="*/ 35183 h 401552"/>
                    <a:gd name="csX6" fmla="*/ 118612 w 167593"/>
                    <a:gd name="csY6" fmla="*/ 27564 h 401552"/>
                    <a:gd name="csX7" fmla="*/ 112818 w 167593"/>
                    <a:gd name="csY7" fmla="*/ 2529 h 401552"/>
                    <a:gd name="csX8" fmla="*/ 105935 w 167593"/>
                    <a:gd name="csY8" fmla="*/ 0 h 401552"/>
                    <a:gd name="csX9" fmla="*/ 95402 w 167593"/>
                    <a:gd name="csY9" fmla="*/ 22474 h 401552"/>
                    <a:gd name="csX10" fmla="*/ 92873 w 167593"/>
                    <a:gd name="csY10" fmla="*/ 44628 h 401552"/>
                    <a:gd name="csX11" fmla="*/ 92873 w 167593"/>
                    <a:gd name="csY11" fmla="*/ 46420 h 401552"/>
                    <a:gd name="csX12" fmla="*/ 89255 w 167593"/>
                    <a:gd name="csY12" fmla="*/ 55128 h 401552"/>
                    <a:gd name="csX13" fmla="*/ 99756 w 167593"/>
                    <a:gd name="csY13" fmla="*/ 79811 h 401552"/>
                    <a:gd name="csX14" fmla="*/ 99052 w 167593"/>
                    <a:gd name="csY14" fmla="*/ 88519 h 401552"/>
                    <a:gd name="csX15" fmla="*/ 94698 w 167593"/>
                    <a:gd name="csY15" fmla="*/ 96106 h 401552"/>
                    <a:gd name="csX16" fmla="*/ 83429 w 167593"/>
                    <a:gd name="csY16" fmla="*/ 99020 h 401552"/>
                    <a:gd name="csX17" fmla="*/ 79811 w 167593"/>
                    <a:gd name="csY17" fmla="*/ 101549 h 401552"/>
                    <a:gd name="csX18" fmla="*/ 67838 w 167593"/>
                    <a:gd name="csY18" fmla="*/ 104846 h 401552"/>
                    <a:gd name="csX19" fmla="*/ 58394 w 167593"/>
                    <a:gd name="csY19" fmla="*/ 122966 h 401552"/>
                    <a:gd name="csX20" fmla="*/ 51511 w 167593"/>
                    <a:gd name="csY20" fmla="*/ 143647 h 401552"/>
                    <a:gd name="csX21" fmla="*/ 50774 w 167593"/>
                    <a:gd name="csY21" fmla="*/ 162504 h 401552"/>
                    <a:gd name="csX22" fmla="*/ 44628 w 167593"/>
                    <a:gd name="csY22" fmla="*/ 171211 h 401552"/>
                    <a:gd name="csX23" fmla="*/ 35183 w 167593"/>
                    <a:gd name="csY23" fmla="*/ 171948 h 401552"/>
                    <a:gd name="csX24" fmla="*/ 30830 w 167593"/>
                    <a:gd name="csY24" fmla="*/ 185010 h 401552"/>
                    <a:gd name="csX25" fmla="*/ 35183 w 167593"/>
                    <a:gd name="csY25" fmla="*/ 186802 h 401552"/>
                    <a:gd name="csX26" fmla="*/ 53335 w 167593"/>
                    <a:gd name="csY26" fmla="*/ 195158 h 401552"/>
                    <a:gd name="csX27" fmla="*/ 67102 w 167593"/>
                    <a:gd name="csY27" fmla="*/ 194422 h 401552"/>
                    <a:gd name="csX28" fmla="*/ 82724 w 167593"/>
                    <a:gd name="csY28" fmla="*/ 194422 h 401552"/>
                    <a:gd name="csX29" fmla="*/ 77282 w 167593"/>
                    <a:gd name="csY29" fmla="*/ 210749 h 401552"/>
                    <a:gd name="csX30" fmla="*/ 85990 w 167593"/>
                    <a:gd name="csY30" fmla="*/ 215839 h 401552"/>
                    <a:gd name="csX31" fmla="*/ 90344 w 167593"/>
                    <a:gd name="csY31" fmla="*/ 211485 h 401552"/>
                    <a:gd name="csX32" fmla="*/ 93577 w 167593"/>
                    <a:gd name="csY32" fmla="*/ 220193 h 401552"/>
                    <a:gd name="csX33" fmla="*/ 84165 w 167593"/>
                    <a:gd name="csY33" fmla="*/ 224547 h 401552"/>
                    <a:gd name="csX34" fmla="*/ 87783 w 167593"/>
                    <a:gd name="csY34" fmla="*/ 232166 h 401552"/>
                    <a:gd name="csX35" fmla="*/ 79811 w 167593"/>
                    <a:gd name="csY35" fmla="*/ 238313 h 401552"/>
                    <a:gd name="csX36" fmla="*/ 68926 w 167593"/>
                    <a:gd name="csY36" fmla="*/ 236520 h 401552"/>
                    <a:gd name="csX37" fmla="*/ 74017 w 167593"/>
                    <a:gd name="csY37" fmla="*/ 245228 h 401552"/>
                    <a:gd name="csX38" fmla="*/ 62043 w 167593"/>
                    <a:gd name="csY38" fmla="*/ 255376 h 401552"/>
                    <a:gd name="csX39" fmla="*/ 53335 w 167593"/>
                    <a:gd name="csY39" fmla="*/ 272792 h 401552"/>
                    <a:gd name="csX40" fmla="*/ 43891 w 167593"/>
                    <a:gd name="csY40" fmla="*/ 276057 h 401552"/>
                    <a:gd name="csX41" fmla="*/ 37745 w 167593"/>
                    <a:gd name="csY41" fmla="*/ 288031 h 401552"/>
                    <a:gd name="csX42" fmla="*/ 37008 w 167593"/>
                    <a:gd name="csY42" fmla="*/ 290560 h 401552"/>
                    <a:gd name="csX43" fmla="*/ 33391 w 167593"/>
                    <a:gd name="csY43" fmla="*/ 301797 h 401552"/>
                    <a:gd name="csX44" fmla="*/ 25035 w 167593"/>
                    <a:gd name="csY44" fmla="*/ 303622 h 401552"/>
                    <a:gd name="csX45" fmla="*/ 22122 w 167593"/>
                    <a:gd name="csY45" fmla="*/ 310505 h 401552"/>
                    <a:gd name="csX46" fmla="*/ 30830 w 167593"/>
                    <a:gd name="csY46" fmla="*/ 313066 h 401552"/>
                    <a:gd name="csX47" fmla="*/ 23947 w 167593"/>
                    <a:gd name="csY47" fmla="*/ 324303 h 401552"/>
                    <a:gd name="csX48" fmla="*/ 18856 w 167593"/>
                    <a:gd name="csY48" fmla="*/ 323566 h 401552"/>
                    <a:gd name="csX49" fmla="*/ 25771 w 167593"/>
                    <a:gd name="csY49" fmla="*/ 333715 h 401552"/>
                    <a:gd name="csX50" fmla="*/ 30830 w 167593"/>
                    <a:gd name="csY50" fmla="*/ 357661 h 401552"/>
                    <a:gd name="csX51" fmla="*/ 26476 w 167593"/>
                    <a:gd name="csY51" fmla="*/ 359486 h 401552"/>
                    <a:gd name="csX52" fmla="*/ 21417 w 167593"/>
                    <a:gd name="csY52" fmla="*/ 350042 h 401552"/>
                    <a:gd name="csX53" fmla="*/ 7619 w 167593"/>
                    <a:gd name="csY53" fmla="*/ 352603 h 401552"/>
                    <a:gd name="csX54" fmla="*/ 0 w 167593"/>
                    <a:gd name="csY54" fmla="*/ 373252 h 401552"/>
                    <a:gd name="csX55" fmla="*/ 5795 w 167593"/>
                    <a:gd name="csY55" fmla="*/ 382697 h 401552"/>
                    <a:gd name="csX56" fmla="*/ 23947 w 167593"/>
                    <a:gd name="csY56" fmla="*/ 379431 h 401552"/>
                    <a:gd name="csX57" fmla="*/ 34479 w 167593"/>
                    <a:gd name="csY57" fmla="*/ 379431 h 401552"/>
                    <a:gd name="csX58" fmla="*/ 42099 w 167593"/>
                    <a:gd name="csY58" fmla="*/ 393934 h 401552"/>
                    <a:gd name="csX59" fmla="*/ 55865 w 167593"/>
                    <a:gd name="csY59" fmla="*/ 401553 h 401552"/>
                    <a:gd name="csX60" fmla="*/ 40274 w 167593"/>
                    <a:gd name="csY60" fmla="*/ 370019 h 401552"/>
                    <a:gd name="csX61" fmla="*/ 40274 w 167593"/>
                    <a:gd name="csY61" fmla="*/ 344248 h 401552"/>
                    <a:gd name="csX62" fmla="*/ 54040 w 167593"/>
                    <a:gd name="csY62" fmla="*/ 347513 h 401552"/>
                    <a:gd name="csX63" fmla="*/ 60955 w 167593"/>
                    <a:gd name="csY63" fmla="*/ 356957 h 401552"/>
                    <a:gd name="csX64" fmla="*/ 71455 w 167593"/>
                    <a:gd name="csY64" fmla="*/ 351867 h 401552"/>
                    <a:gd name="csX65" fmla="*/ 72928 w 167593"/>
                    <a:gd name="csY65" fmla="*/ 344248 h 401552"/>
                    <a:gd name="csX66" fmla="*/ 85990 w 167593"/>
                    <a:gd name="csY66" fmla="*/ 338805 h 401552"/>
                    <a:gd name="csX67" fmla="*/ 91048 w 167593"/>
                    <a:gd name="csY67" fmla="*/ 347513 h 401552"/>
                    <a:gd name="csX68" fmla="*/ 101581 w 167593"/>
                    <a:gd name="csY68" fmla="*/ 351131 h 401552"/>
                    <a:gd name="csX69" fmla="*/ 109936 w 167593"/>
                    <a:gd name="csY69" fmla="*/ 338069 h 401552"/>
                    <a:gd name="csX70" fmla="*/ 111025 w 167593"/>
                    <a:gd name="csY70" fmla="*/ 324303 h 401552"/>
                    <a:gd name="csX71" fmla="*/ 133147 w 167593"/>
                    <a:gd name="csY71" fmla="*/ 317420 h 401552"/>
                    <a:gd name="csX72" fmla="*/ 131674 w 167593"/>
                    <a:gd name="csY72" fmla="*/ 304358 h 401552"/>
                    <a:gd name="csX73" fmla="*/ 123702 w 167593"/>
                    <a:gd name="csY73" fmla="*/ 301093 h 401552"/>
                    <a:gd name="csX74" fmla="*/ 124791 w 167593"/>
                    <a:gd name="csY74" fmla="*/ 294914 h 401552"/>
                    <a:gd name="csX75" fmla="*/ 118612 w 167593"/>
                    <a:gd name="csY75" fmla="*/ 278587 h 401552"/>
                    <a:gd name="csX76" fmla="*/ 114258 w 167593"/>
                    <a:gd name="csY76" fmla="*/ 267350 h 401552"/>
                    <a:gd name="csX77" fmla="*/ 125527 w 167593"/>
                    <a:gd name="csY77" fmla="*/ 260467 h 401552"/>
                    <a:gd name="csX78" fmla="*/ 130585 w 167593"/>
                    <a:gd name="csY78" fmla="*/ 248493 h 401552"/>
                    <a:gd name="csX79" fmla="*/ 143647 w 167593"/>
                    <a:gd name="csY79" fmla="*/ 238313 h 401552"/>
                    <a:gd name="csX80" fmla="*/ 132410 w 167593"/>
                    <a:gd name="csY80" fmla="*/ 231430 h 401552"/>
                    <a:gd name="csX81" fmla="*/ 134939 w 167593"/>
                    <a:gd name="csY81" fmla="*/ 225251 h 401552"/>
                    <a:gd name="csX82" fmla="*/ 150562 w 167593"/>
                    <a:gd name="csY82" fmla="*/ 226339 h 401552"/>
                    <a:gd name="csX83" fmla="*/ 157445 w 167593"/>
                    <a:gd name="csY83" fmla="*/ 217664 h 401552"/>
                    <a:gd name="csX84" fmla="*/ 167594 w 167593"/>
                    <a:gd name="csY84" fmla="*/ 212574 h 401552"/>
                    <a:gd name="csX85" fmla="*/ 166857 w 167593"/>
                    <a:gd name="csY85" fmla="*/ 201337 h 401552"/>
                    <a:gd name="csX86" fmla="*/ 157445 w 167593"/>
                    <a:gd name="csY86" fmla="*/ 195158 h 401552"/>
                    <a:gd name="csX87" fmla="*/ 146208 w 167593"/>
                    <a:gd name="csY87" fmla="*/ 197687 h 401552"/>
                    <a:gd name="csX88" fmla="*/ 141854 w 167593"/>
                    <a:gd name="csY88" fmla="*/ 186802 h 401552"/>
                    <a:gd name="csX89" fmla="*/ 144384 w 167593"/>
                    <a:gd name="csY89" fmla="*/ 181360 h 401552"/>
                    <a:gd name="csX90" fmla="*/ 148737 w 167593"/>
                    <a:gd name="csY90" fmla="*/ 182448 h 401552"/>
                    <a:gd name="csX91" fmla="*/ 150562 w 167593"/>
                    <a:gd name="csY91" fmla="*/ 173741 h 401552"/>
                    <a:gd name="csX92" fmla="*/ 141854 w 167593"/>
                    <a:gd name="csY92" fmla="*/ 167594 h 401552"/>
                    <a:gd name="csX93" fmla="*/ 134235 w 167593"/>
                    <a:gd name="csY93" fmla="*/ 169387 h 401552"/>
                    <a:gd name="csX94" fmla="*/ 117908 w 167593"/>
                    <a:gd name="csY94" fmla="*/ 154884 h 401552"/>
                    <a:gd name="csX95" fmla="*/ 112818 w 167593"/>
                    <a:gd name="csY95" fmla="*/ 158150 h 401552"/>
                    <a:gd name="csX96" fmla="*/ 102317 w 167593"/>
                    <a:gd name="csY96" fmla="*/ 145472 h 40155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</a:cxnLst>
                  <a:rect l="l" t="t" r="r" b="b"/>
                  <a:pathLst>
                    <a:path w="167593" h="401552">
                      <a:moveTo>
                        <a:pt x="102317" y="145472"/>
                      </a:moveTo>
                      <a:lnTo>
                        <a:pt x="104110" y="139293"/>
                      </a:lnTo>
                      <a:lnTo>
                        <a:pt x="125527" y="107375"/>
                      </a:lnTo>
                      <a:lnTo>
                        <a:pt x="138589" y="62011"/>
                      </a:lnTo>
                      <a:lnTo>
                        <a:pt x="128056" y="52599"/>
                      </a:lnTo>
                      <a:lnTo>
                        <a:pt x="128056" y="35183"/>
                      </a:lnTo>
                      <a:lnTo>
                        <a:pt x="118612" y="27564"/>
                      </a:lnTo>
                      <a:lnTo>
                        <a:pt x="112818" y="2529"/>
                      </a:lnTo>
                      <a:lnTo>
                        <a:pt x="105935" y="0"/>
                      </a:lnTo>
                      <a:lnTo>
                        <a:pt x="95402" y="22474"/>
                      </a:lnTo>
                      <a:lnTo>
                        <a:pt x="92873" y="44628"/>
                      </a:lnTo>
                      <a:lnTo>
                        <a:pt x="92873" y="46420"/>
                      </a:lnTo>
                      <a:lnTo>
                        <a:pt x="89255" y="55128"/>
                      </a:lnTo>
                      <a:lnTo>
                        <a:pt x="99756" y="79811"/>
                      </a:lnTo>
                      <a:lnTo>
                        <a:pt x="99052" y="88519"/>
                      </a:lnTo>
                      <a:lnTo>
                        <a:pt x="94698" y="96106"/>
                      </a:lnTo>
                      <a:lnTo>
                        <a:pt x="83429" y="99020"/>
                      </a:lnTo>
                      <a:lnTo>
                        <a:pt x="79811" y="101549"/>
                      </a:lnTo>
                      <a:lnTo>
                        <a:pt x="67838" y="104846"/>
                      </a:lnTo>
                      <a:lnTo>
                        <a:pt x="58394" y="122966"/>
                      </a:lnTo>
                      <a:lnTo>
                        <a:pt x="51511" y="143647"/>
                      </a:lnTo>
                      <a:lnTo>
                        <a:pt x="50774" y="162504"/>
                      </a:lnTo>
                      <a:lnTo>
                        <a:pt x="44628" y="171211"/>
                      </a:lnTo>
                      <a:lnTo>
                        <a:pt x="35183" y="171948"/>
                      </a:lnTo>
                      <a:lnTo>
                        <a:pt x="30830" y="185010"/>
                      </a:lnTo>
                      <a:lnTo>
                        <a:pt x="35183" y="186802"/>
                      </a:lnTo>
                      <a:lnTo>
                        <a:pt x="53335" y="195158"/>
                      </a:lnTo>
                      <a:lnTo>
                        <a:pt x="67102" y="194422"/>
                      </a:lnTo>
                      <a:lnTo>
                        <a:pt x="82724" y="194422"/>
                      </a:lnTo>
                      <a:lnTo>
                        <a:pt x="77282" y="210749"/>
                      </a:lnTo>
                      <a:lnTo>
                        <a:pt x="85990" y="215839"/>
                      </a:lnTo>
                      <a:lnTo>
                        <a:pt x="90344" y="211485"/>
                      </a:lnTo>
                      <a:lnTo>
                        <a:pt x="93577" y="220193"/>
                      </a:lnTo>
                      <a:lnTo>
                        <a:pt x="84165" y="224547"/>
                      </a:lnTo>
                      <a:lnTo>
                        <a:pt x="87783" y="232166"/>
                      </a:lnTo>
                      <a:lnTo>
                        <a:pt x="79811" y="238313"/>
                      </a:lnTo>
                      <a:lnTo>
                        <a:pt x="68926" y="236520"/>
                      </a:lnTo>
                      <a:lnTo>
                        <a:pt x="74017" y="245228"/>
                      </a:lnTo>
                      <a:lnTo>
                        <a:pt x="62043" y="255376"/>
                      </a:lnTo>
                      <a:lnTo>
                        <a:pt x="53335" y="272792"/>
                      </a:lnTo>
                      <a:lnTo>
                        <a:pt x="43891" y="276057"/>
                      </a:lnTo>
                      <a:lnTo>
                        <a:pt x="37745" y="288031"/>
                      </a:lnTo>
                      <a:lnTo>
                        <a:pt x="37008" y="290560"/>
                      </a:lnTo>
                      <a:lnTo>
                        <a:pt x="33391" y="301797"/>
                      </a:lnTo>
                      <a:lnTo>
                        <a:pt x="25035" y="303622"/>
                      </a:lnTo>
                      <a:lnTo>
                        <a:pt x="22122" y="310505"/>
                      </a:lnTo>
                      <a:lnTo>
                        <a:pt x="30830" y="313066"/>
                      </a:lnTo>
                      <a:lnTo>
                        <a:pt x="23947" y="324303"/>
                      </a:lnTo>
                      <a:lnTo>
                        <a:pt x="18856" y="323566"/>
                      </a:lnTo>
                      <a:lnTo>
                        <a:pt x="25771" y="333715"/>
                      </a:lnTo>
                      <a:lnTo>
                        <a:pt x="30830" y="357661"/>
                      </a:lnTo>
                      <a:lnTo>
                        <a:pt x="26476" y="359486"/>
                      </a:lnTo>
                      <a:lnTo>
                        <a:pt x="21417" y="350042"/>
                      </a:lnTo>
                      <a:lnTo>
                        <a:pt x="7619" y="352603"/>
                      </a:lnTo>
                      <a:lnTo>
                        <a:pt x="0" y="373252"/>
                      </a:lnTo>
                      <a:lnTo>
                        <a:pt x="5795" y="382697"/>
                      </a:lnTo>
                      <a:lnTo>
                        <a:pt x="23947" y="379431"/>
                      </a:lnTo>
                      <a:lnTo>
                        <a:pt x="34479" y="379431"/>
                      </a:lnTo>
                      <a:lnTo>
                        <a:pt x="42099" y="393934"/>
                      </a:lnTo>
                      <a:lnTo>
                        <a:pt x="55865" y="401553"/>
                      </a:lnTo>
                      <a:lnTo>
                        <a:pt x="40274" y="370019"/>
                      </a:lnTo>
                      <a:lnTo>
                        <a:pt x="40274" y="344248"/>
                      </a:lnTo>
                      <a:lnTo>
                        <a:pt x="54040" y="347513"/>
                      </a:lnTo>
                      <a:lnTo>
                        <a:pt x="60955" y="356957"/>
                      </a:lnTo>
                      <a:lnTo>
                        <a:pt x="71455" y="351867"/>
                      </a:lnTo>
                      <a:lnTo>
                        <a:pt x="72928" y="344248"/>
                      </a:lnTo>
                      <a:lnTo>
                        <a:pt x="85990" y="338805"/>
                      </a:lnTo>
                      <a:lnTo>
                        <a:pt x="91048" y="347513"/>
                      </a:lnTo>
                      <a:lnTo>
                        <a:pt x="101581" y="351131"/>
                      </a:lnTo>
                      <a:lnTo>
                        <a:pt x="109936" y="338069"/>
                      </a:lnTo>
                      <a:lnTo>
                        <a:pt x="111025" y="324303"/>
                      </a:lnTo>
                      <a:lnTo>
                        <a:pt x="133147" y="317420"/>
                      </a:lnTo>
                      <a:lnTo>
                        <a:pt x="131674" y="304358"/>
                      </a:lnTo>
                      <a:lnTo>
                        <a:pt x="123702" y="301093"/>
                      </a:lnTo>
                      <a:lnTo>
                        <a:pt x="124791" y="294914"/>
                      </a:lnTo>
                      <a:lnTo>
                        <a:pt x="118612" y="278587"/>
                      </a:lnTo>
                      <a:lnTo>
                        <a:pt x="114258" y="267350"/>
                      </a:lnTo>
                      <a:lnTo>
                        <a:pt x="125527" y="260467"/>
                      </a:lnTo>
                      <a:lnTo>
                        <a:pt x="130585" y="248493"/>
                      </a:lnTo>
                      <a:lnTo>
                        <a:pt x="143647" y="238313"/>
                      </a:lnTo>
                      <a:lnTo>
                        <a:pt x="132410" y="231430"/>
                      </a:lnTo>
                      <a:lnTo>
                        <a:pt x="134939" y="225251"/>
                      </a:lnTo>
                      <a:lnTo>
                        <a:pt x="150562" y="226339"/>
                      </a:lnTo>
                      <a:lnTo>
                        <a:pt x="157445" y="217664"/>
                      </a:lnTo>
                      <a:lnTo>
                        <a:pt x="167594" y="212574"/>
                      </a:lnTo>
                      <a:lnTo>
                        <a:pt x="166857" y="201337"/>
                      </a:lnTo>
                      <a:lnTo>
                        <a:pt x="157445" y="195158"/>
                      </a:lnTo>
                      <a:lnTo>
                        <a:pt x="146208" y="197687"/>
                      </a:lnTo>
                      <a:lnTo>
                        <a:pt x="141854" y="186802"/>
                      </a:lnTo>
                      <a:lnTo>
                        <a:pt x="144384" y="181360"/>
                      </a:lnTo>
                      <a:lnTo>
                        <a:pt x="148737" y="182448"/>
                      </a:lnTo>
                      <a:lnTo>
                        <a:pt x="150562" y="173741"/>
                      </a:lnTo>
                      <a:lnTo>
                        <a:pt x="141854" y="167594"/>
                      </a:lnTo>
                      <a:lnTo>
                        <a:pt x="134235" y="169387"/>
                      </a:lnTo>
                      <a:lnTo>
                        <a:pt x="117908" y="154884"/>
                      </a:lnTo>
                      <a:lnTo>
                        <a:pt x="112818" y="158150"/>
                      </a:lnTo>
                      <a:lnTo>
                        <a:pt x="102317" y="14547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49" name="Forma Livre: Forma 248">
                  <a:extLst>
                    <a:ext uri="{FF2B5EF4-FFF2-40B4-BE49-F238E27FC236}">
                      <a16:creationId xmlns:a16="http://schemas.microsoft.com/office/drawing/2014/main" id="{84FE4489-3F5A-9461-FCEE-663793327DF1}"/>
                    </a:ext>
                  </a:extLst>
                </p:cNvPr>
                <p:cNvSpPr/>
                <p:nvPr/>
              </p:nvSpPr>
              <p:spPr>
                <a:xfrm>
                  <a:off x="2514495" y="2114214"/>
                  <a:ext cx="859002" cy="748361"/>
                </a:xfrm>
                <a:custGeom>
                  <a:avLst/>
                  <a:gdLst>
                    <a:gd name="csX0" fmla="*/ 469039 w 859002"/>
                    <a:gd name="csY0" fmla="*/ 0 h 748361"/>
                    <a:gd name="csX1" fmla="*/ 462156 w 859002"/>
                    <a:gd name="csY1" fmla="*/ 8356 h 748361"/>
                    <a:gd name="csX2" fmla="*/ 448357 w 859002"/>
                    <a:gd name="csY2" fmla="*/ 15239 h 748361"/>
                    <a:gd name="csX3" fmla="*/ 442563 w 859002"/>
                    <a:gd name="csY3" fmla="*/ 6883 h 748361"/>
                    <a:gd name="csX4" fmla="*/ 440738 w 859002"/>
                    <a:gd name="csY4" fmla="*/ 2529 h 748361"/>
                    <a:gd name="csX5" fmla="*/ 432062 w 859002"/>
                    <a:gd name="csY5" fmla="*/ 6883 h 748361"/>
                    <a:gd name="csX6" fmla="*/ 411381 w 859002"/>
                    <a:gd name="csY6" fmla="*/ 33391 h 748361"/>
                    <a:gd name="csX7" fmla="*/ 403026 w 859002"/>
                    <a:gd name="csY7" fmla="*/ 35920 h 748361"/>
                    <a:gd name="csX8" fmla="*/ 397935 w 859002"/>
                    <a:gd name="csY8" fmla="*/ 47893 h 748361"/>
                    <a:gd name="csX9" fmla="*/ 388171 w 859002"/>
                    <a:gd name="csY9" fmla="*/ 44628 h 748361"/>
                    <a:gd name="csX10" fmla="*/ 384906 w 859002"/>
                    <a:gd name="csY10" fmla="*/ 37745 h 748361"/>
                    <a:gd name="csX11" fmla="*/ 377990 w 859002"/>
                    <a:gd name="csY11" fmla="*/ 38449 h 748361"/>
                    <a:gd name="csX12" fmla="*/ 371844 w 859002"/>
                    <a:gd name="csY12" fmla="*/ 23947 h 748361"/>
                    <a:gd name="csX13" fmla="*/ 360575 w 859002"/>
                    <a:gd name="csY13" fmla="*/ 40274 h 748361"/>
                    <a:gd name="csX14" fmla="*/ 352955 w 859002"/>
                    <a:gd name="csY14" fmla="*/ 38449 h 748361"/>
                    <a:gd name="csX15" fmla="*/ 345336 w 859002"/>
                    <a:gd name="csY15" fmla="*/ 46420 h 748361"/>
                    <a:gd name="csX16" fmla="*/ 516580 w 859002"/>
                    <a:gd name="csY16" fmla="*/ 205338 h 748361"/>
                    <a:gd name="csX17" fmla="*/ 519109 w 859002"/>
                    <a:gd name="csY17" fmla="*/ 269879 h 748361"/>
                    <a:gd name="csX18" fmla="*/ 499164 w 859002"/>
                    <a:gd name="csY18" fmla="*/ 273528 h 748361"/>
                    <a:gd name="csX19" fmla="*/ 489720 w 859002"/>
                    <a:gd name="csY19" fmla="*/ 275321 h 748361"/>
                    <a:gd name="csX20" fmla="*/ 474481 w 859002"/>
                    <a:gd name="csY20" fmla="*/ 265909 h 748361"/>
                    <a:gd name="csX21" fmla="*/ 449446 w 859002"/>
                    <a:gd name="csY21" fmla="*/ 261555 h 748361"/>
                    <a:gd name="csX22" fmla="*/ 438209 w 859002"/>
                    <a:gd name="csY22" fmla="*/ 264084 h 748361"/>
                    <a:gd name="csX23" fmla="*/ 423707 w 859002"/>
                    <a:gd name="csY23" fmla="*/ 257201 h 748361"/>
                    <a:gd name="csX24" fmla="*/ 421882 w 859002"/>
                    <a:gd name="csY24" fmla="*/ 261555 h 748361"/>
                    <a:gd name="csX25" fmla="*/ 415735 w 859002"/>
                    <a:gd name="csY25" fmla="*/ 257938 h 748361"/>
                    <a:gd name="csX26" fmla="*/ 412470 w 859002"/>
                    <a:gd name="csY26" fmla="*/ 257201 h 748361"/>
                    <a:gd name="csX27" fmla="*/ 407379 w 859002"/>
                    <a:gd name="csY27" fmla="*/ 248493 h 748361"/>
                    <a:gd name="csX28" fmla="*/ 397935 w 859002"/>
                    <a:gd name="csY28" fmla="*/ 247757 h 748361"/>
                    <a:gd name="csX29" fmla="*/ 393613 w 859002"/>
                    <a:gd name="csY29" fmla="*/ 235432 h 748361"/>
                    <a:gd name="csX30" fmla="*/ 378727 w 859002"/>
                    <a:gd name="csY30" fmla="*/ 222018 h 748361"/>
                    <a:gd name="csX31" fmla="*/ 374373 w 859002"/>
                    <a:gd name="csY31" fmla="*/ 227812 h 748361"/>
                    <a:gd name="csX32" fmla="*/ 363488 w 859002"/>
                    <a:gd name="csY32" fmla="*/ 227812 h 748361"/>
                    <a:gd name="csX33" fmla="*/ 356605 w 859002"/>
                    <a:gd name="csY33" fmla="*/ 220929 h 748361"/>
                    <a:gd name="csX34" fmla="*/ 358046 w 859002"/>
                    <a:gd name="csY34" fmla="*/ 206427 h 748361"/>
                    <a:gd name="csX35" fmla="*/ 350426 w 859002"/>
                    <a:gd name="csY35" fmla="*/ 212221 h 748361"/>
                    <a:gd name="csX36" fmla="*/ 343543 w 859002"/>
                    <a:gd name="csY36" fmla="*/ 208956 h 748361"/>
                    <a:gd name="csX37" fmla="*/ 342807 w 859002"/>
                    <a:gd name="csY37" fmla="*/ 216575 h 748361"/>
                    <a:gd name="csX38" fmla="*/ 336628 w 859002"/>
                    <a:gd name="csY38" fmla="*/ 215839 h 748361"/>
                    <a:gd name="csX39" fmla="*/ 325391 w 859002"/>
                    <a:gd name="csY39" fmla="*/ 223458 h 748361"/>
                    <a:gd name="csX40" fmla="*/ 305799 w 859002"/>
                    <a:gd name="csY40" fmla="*/ 244139 h 748361"/>
                    <a:gd name="csX41" fmla="*/ 295298 w 859002"/>
                    <a:gd name="csY41" fmla="*/ 244139 h 748361"/>
                    <a:gd name="csX42" fmla="*/ 290208 w 859002"/>
                    <a:gd name="csY42" fmla="*/ 236520 h 748361"/>
                    <a:gd name="csX43" fmla="*/ 282589 w 859002"/>
                    <a:gd name="csY43" fmla="*/ 234695 h 748361"/>
                    <a:gd name="csX44" fmla="*/ 280796 w 859002"/>
                    <a:gd name="csY44" fmla="*/ 252111 h 748361"/>
                    <a:gd name="csX45" fmla="*/ 284061 w 859002"/>
                    <a:gd name="csY45" fmla="*/ 256113 h 748361"/>
                    <a:gd name="csX46" fmla="*/ 276442 w 859002"/>
                    <a:gd name="csY46" fmla="*/ 268438 h 748361"/>
                    <a:gd name="csX47" fmla="*/ 266261 w 859002"/>
                    <a:gd name="csY47" fmla="*/ 267350 h 748361"/>
                    <a:gd name="csX48" fmla="*/ 259378 w 859002"/>
                    <a:gd name="csY48" fmla="*/ 255376 h 748361"/>
                    <a:gd name="csX49" fmla="*/ 247053 w 859002"/>
                    <a:gd name="csY49" fmla="*/ 250318 h 748361"/>
                    <a:gd name="csX50" fmla="*/ 241963 w 859002"/>
                    <a:gd name="csY50" fmla="*/ 250318 h 748361"/>
                    <a:gd name="csX51" fmla="*/ 241226 w 859002"/>
                    <a:gd name="csY51" fmla="*/ 255376 h 748361"/>
                    <a:gd name="csX52" fmla="*/ 233255 w 859002"/>
                    <a:gd name="csY52" fmla="*/ 257938 h 748361"/>
                    <a:gd name="csX53" fmla="*/ 230726 w 859002"/>
                    <a:gd name="csY53" fmla="*/ 265909 h 748361"/>
                    <a:gd name="csX54" fmla="*/ 231814 w 859002"/>
                    <a:gd name="csY54" fmla="*/ 288031 h 748361"/>
                    <a:gd name="csX55" fmla="*/ 224899 w 859002"/>
                    <a:gd name="csY55" fmla="*/ 283677 h 748361"/>
                    <a:gd name="csX56" fmla="*/ 208604 w 859002"/>
                    <a:gd name="csY56" fmla="*/ 285502 h 748361"/>
                    <a:gd name="csX57" fmla="*/ 202425 w 859002"/>
                    <a:gd name="csY57" fmla="*/ 285502 h 748361"/>
                    <a:gd name="csX58" fmla="*/ 196246 w 859002"/>
                    <a:gd name="csY58" fmla="*/ 271704 h 748361"/>
                    <a:gd name="csX59" fmla="*/ 179215 w 859002"/>
                    <a:gd name="csY59" fmla="*/ 272440 h 748361"/>
                    <a:gd name="csX60" fmla="*/ 171596 w 859002"/>
                    <a:gd name="csY60" fmla="*/ 291648 h 748361"/>
                    <a:gd name="csX61" fmla="*/ 165417 w 859002"/>
                    <a:gd name="csY61" fmla="*/ 289856 h 748361"/>
                    <a:gd name="csX62" fmla="*/ 168682 w 859002"/>
                    <a:gd name="csY62" fmla="*/ 278587 h 748361"/>
                    <a:gd name="csX63" fmla="*/ 146561 w 859002"/>
                    <a:gd name="csY63" fmla="*/ 282236 h 748361"/>
                    <a:gd name="csX64" fmla="*/ 141118 w 859002"/>
                    <a:gd name="csY64" fmla="*/ 283677 h 748361"/>
                    <a:gd name="csX65" fmla="*/ 145472 w 859002"/>
                    <a:gd name="csY65" fmla="*/ 292385 h 748361"/>
                    <a:gd name="csX66" fmla="*/ 141118 w 859002"/>
                    <a:gd name="csY66" fmla="*/ 300004 h 748361"/>
                    <a:gd name="csX67" fmla="*/ 127704 w 859002"/>
                    <a:gd name="csY67" fmla="*/ 303622 h 748361"/>
                    <a:gd name="csX68" fmla="*/ 93225 w 859002"/>
                    <a:gd name="csY68" fmla="*/ 322478 h 748361"/>
                    <a:gd name="csX69" fmla="*/ 91432 w 859002"/>
                    <a:gd name="csY69" fmla="*/ 339541 h 748361"/>
                    <a:gd name="csX70" fmla="*/ 77634 w 859002"/>
                    <a:gd name="csY70" fmla="*/ 345720 h 748361"/>
                    <a:gd name="csX71" fmla="*/ 80163 w 859002"/>
                    <a:gd name="csY71" fmla="*/ 353340 h 748361"/>
                    <a:gd name="csX72" fmla="*/ 94698 w 859002"/>
                    <a:gd name="csY72" fmla="*/ 365665 h 748361"/>
                    <a:gd name="csX73" fmla="*/ 93961 w 859002"/>
                    <a:gd name="csY73" fmla="*/ 369635 h 748361"/>
                    <a:gd name="csX74" fmla="*/ 84517 w 859002"/>
                    <a:gd name="csY74" fmla="*/ 371460 h 748361"/>
                    <a:gd name="csX75" fmla="*/ 80163 w 859002"/>
                    <a:gd name="csY75" fmla="*/ 377638 h 748361"/>
                    <a:gd name="csX76" fmla="*/ 84517 w 859002"/>
                    <a:gd name="csY76" fmla="*/ 380167 h 748361"/>
                    <a:gd name="csX77" fmla="*/ 82724 w 859002"/>
                    <a:gd name="csY77" fmla="*/ 386346 h 748361"/>
                    <a:gd name="csX78" fmla="*/ 87783 w 859002"/>
                    <a:gd name="csY78" fmla="*/ 402673 h 748361"/>
                    <a:gd name="csX79" fmla="*/ 46805 w 859002"/>
                    <a:gd name="csY79" fmla="*/ 430237 h 748361"/>
                    <a:gd name="csX80" fmla="*/ 28653 w 859002"/>
                    <a:gd name="csY80" fmla="*/ 452359 h 748361"/>
                    <a:gd name="csX81" fmla="*/ 26860 w 859002"/>
                    <a:gd name="csY81" fmla="*/ 458538 h 748361"/>
                    <a:gd name="csX82" fmla="*/ 21770 w 859002"/>
                    <a:gd name="csY82" fmla="*/ 460331 h 748361"/>
                    <a:gd name="csX83" fmla="*/ 5442 w 859002"/>
                    <a:gd name="csY83" fmla="*/ 472304 h 748361"/>
                    <a:gd name="csX84" fmla="*/ 11237 w 859002"/>
                    <a:gd name="csY84" fmla="*/ 506783 h 748361"/>
                    <a:gd name="csX85" fmla="*/ 17416 w 859002"/>
                    <a:gd name="csY85" fmla="*/ 509312 h 748361"/>
                    <a:gd name="csX86" fmla="*/ 18152 w 859002"/>
                    <a:gd name="csY86" fmla="*/ 541967 h 748361"/>
                    <a:gd name="csX87" fmla="*/ 22506 w 859002"/>
                    <a:gd name="csY87" fmla="*/ 558998 h 748361"/>
                    <a:gd name="csX88" fmla="*/ 19945 w 859002"/>
                    <a:gd name="csY88" fmla="*/ 565913 h 748361"/>
                    <a:gd name="csX89" fmla="*/ 4354 w 859002"/>
                    <a:gd name="csY89" fmla="*/ 569531 h 748361"/>
                    <a:gd name="csX90" fmla="*/ 0 w 859002"/>
                    <a:gd name="csY90" fmla="*/ 581504 h 748361"/>
                    <a:gd name="csX91" fmla="*/ 3618 w 859002"/>
                    <a:gd name="csY91" fmla="*/ 597095 h 748361"/>
                    <a:gd name="csX92" fmla="*/ 25035 w 859002"/>
                    <a:gd name="csY92" fmla="*/ 600360 h 748361"/>
                    <a:gd name="csX93" fmla="*/ 28653 w 859002"/>
                    <a:gd name="csY93" fmla="*/ 596006 h 748361"/>
                    <a:gd name="csX94" fmla="*/ 53335 w 859002"/>
                    <a:gd name="csY94" fmla="*/ 605451 h 748361"/>
                    <a:gd name="csX95" fmla="*/ 62043 w 859002"/>
                    <a:gd name="csY95" fmla="*/ 604714 h 748361"/>
                    <a:gd name="csX96" fmla="*/ 64572 w 859002"/>
                    <a:gd name="csY96" fmla="*/ 597095 h 748361"/>
                    <a:gd name="csX97" fmla="*/ 84517 w 859002"/>
                    <a:gd name="csY97" fmla="*/ 594566 h 748361"/>
                    <a:gd name="csX98" fmla="*/ 88871 w 859002"/>
                    <a:gd name="csY98" fmla="*/ 580768 h 748361"/>
                    <a:gd name="csX99" fmla="*/ 97227 w 859002"/>
                    <a:gd name="csY99" fmla="*/ 577886 h 748361"/>
                    <a:gd name="csX100" fmla="*/ 100844 w 859002"/>
                    <a:gd name="csY100" fmla="*/ 569531 h 748361"/>
                    <a:gd name="csX101" fmla="*/ 100844 w 859002"/>
                    <a:gd name="csY101" fmla="*/ 560087 h 748361"/>
                    <a:gd name="csX102" fmla="*/ 112818 w 859002"/>
                    <a:gd name="csY102" fmla="*/ 558998 h 748361"/>
                    <a:gd name="csX103" fmla="*/ 125879 w 859002"/>
                    <a:gd name="csY103" fmla="*/ 547025 h 748361"/>
                    <a:gd name="csX104" fmla="*/ 125879 w 859002"/>
                    <a:gd name="csY104" fmla="*/ 535788 h 748361"/>
                    <a:gd name="csX105" fmla="*/ 133499 w 859002"/>
                    <a:gd name="csY105" fmla="*/ 530730 h 748361"/>
                    <a:gd name="csX106" fmla="*/ 141118 w 859002"/>
                    <a:gd name="csY106" fmla="*/ 532522 h 748361"/>
                    <a:gd name="csX107" fmla="*/ 144736 w 859002"/>
                    <a:gd name="csY107" fmla="*/ 518756 h 748361"/>
                    <a:gd name="csX108" fmla="*/ 161063 w 859002"/>
                    <a:gd name="csY108" fmla="*/ 541967 h 748361"/>
                    <a:gd name="csX109" fmla="*/ 172332 w 859002"/>
                    <a:gd name="csY109" fmla="*/ 548850 h 748361"/>
                    <a:gd name="csX110" fmla="*/ 163592 w 859002"/>
                    <a:gd name="csY110" fmla="*/ 558294 h 748361"/>
                    <a:gd name="csX111" fmla="*/ 167946 w 859002"/>
                    <a:gd name="csY111" fmla="*/ 567706 h 748361"/>
                    <a:gd name="csX112" fmla="*/ 161799 w 859002"/>
                    <a:gd name="csY112" fmla="*/ 570267 h 748361"/>
                    <a:gd name="csX113" fmla="*/ 170507 w 859002"/>
                    <a:gd name="csY113" fmla="*/ 579679 h 748361"/>
                    <a:gd name="csX114" fmla="*/ 179919 w 859002"/>
                    <a:gd name="csY114" fmla="*/ 576414 h 748361"/>
                    <a:gd name="csX115" fmla="*/ 181744 w 859002"/>
                    <a:gd name="csY115" fmla="*/ 581504 h 748361"/>
                    <a:gd name="csX116" fmla="*/ 187923 w 859002"/>
                    <a:gd name="csY116" fmla="*/ 581504 h 748361"/>
                    <a:gd name="csX117" fmla="*/ 202425 w 859002"/>
                    <a:gd name="csY117" fmla="*/ 567002 h 748361"/>
                    <a:gd name="csX118" fmla="*/ 210045 w 859002"/>
                    <a:gd name="csY118" fmla="*/ 589123 h 748361"/>
                    <a:gd name="csX119" fmla="*/ 218016 w 859002"/>
                    <a:gd name="csY119" fmla="*/ 583329 h 748361"/>
                    <a:gd name="csX120" fmla="*/ 235784 w 859002"/>
                    <a:gd name="csY120" fmla="*/ 609068 h 748361"/>
                    <a:gd name="csX121" fmla="*/ 247053 w 859002"/>
                    <a:gd name="csY121" fmla="*/ 590948 h 748361"/>
                    <a:gd name="csX122" fmla="*/ 238697 w 859002"/>
                    <a:gd name="csY122" fmla="*/ 583329 h 748361"/>
                    <a:gd name="csX123" fmla="*/ 260115 w 859002"/>
                    <a:gd name="csY123" fmla="*/ 582240 h 748361"/>
                    <a:gd name="csX124" fmla="*/ 272088 w 859002"/>
                    <a:gd name="csY124" fmla="*/ 570971 h 748361"/>
                    <a:gd name="csX125" fmla="*/ 278971 w 859002"/>
                    <a:gd name="csY125" fmla="*/ 576414 h 748361"/>
                    <a:gd name="csX126" fmla="*/ 290944 w 859002"/>
                    <a:gd name="csY126" fmla="*/ 581504 h 748361"/>
                    <a:gd name="csX127" fmla="*/ 279707 w 859002"/>
                    <a:gd name="csY127" fmla="*/ 588387 h 748361"/>
                    <a:gd name="csX128" fmla="*/ 281500 w 859002"/>
                    <a:gd name="csY128" fmla="*/ 595302 h 748361"/>
                    <a:gd name="csX129" fmla="*/ 292033 w 859002"/>
                    <a:gd name="csY129" fmla="*/ 600360 h 748361"/>
                    <a:gd name="csX130" fmla="*/ 304006 w 859002"/>
                    <a:gd name="csY130" fmla="*/ 589123 h 748361"/>
                    <a:gd name="csX131" fmla="*/ 310889 w 859002"/>
                    <a:gd name="csY131" fmla="*/ 604010 h 748361"/>
                    <a:gd name="csX132" fmla="*/ 315979 w 859002"/>
                    <a:gd name="csY132" fmla="*/ 614863 h 748361"/>
                    <a:gd name="csX133" fmla="*/ 302181 w 859002"/>
                    <a:gd name="csY133" fmla="*/ 619217 h 748361"/>
                    <a:gd name="csX134" fmla="*/ 301445 w 859002"/>
                    <a:gd name="csY134" fmla="*/ 624659 h 748361"/>
                    <a:gd name="csX135" fmla="*/ 312714 w 859002"/>
                    <a:gd name="csY135" fmla="*/ 632278 h 748361"/>
                    <a:gd name="csX136" fmla="*/ 309064 w 859002"/>
                    <a:gd name="csY136" fmla="*/ 636632 h 748361"/>
                    <a:gd name="csX137" fmla="*/ 315979 w 859002"/>
                    <a:gd name="csY137" fmla="*/ 644988 h 748361"/>
                    <a:gd name="csX138" fmla="*/ 342807 w 859002"/>
                    <a:gd name="csY138" fmla="*/ 627220 h 748361"/>
                    <a:gd name="csX139" fmla="*/ 348602 w 859002"/>
                    <a:gd name="csY139" fmla="*/ 637369 h 748361"/>
                    <a:gd name="csX140" fmla="*/ 368578 w 859002"/>
                    <a:gd name="csY140" fmla="*/ 636632 h 748361"/>
                    <a:gd name="csX141" fmla="*/ 378727 w 859002"/>
                    <a:gd name="csY141" fmla="*/ 636632 h 748361"/>
                    <a:gd name="csX142" fmla="*/ 384906 w 859002"/>
                    <a:gd name="csY142" fmla="*/ 631574 h 748361"/>
                    <a:gd name="csX143" fmla="*/ 398672 w 859002"/>
                    <a:gd name="csY143" fmla="*/ 636632 h 748361"/>
                    <a:gd name="csX144" fmla="*/ 407379 w 859002"/>
                    <a:gd name="csY144" fmla="*/ 639193 h 748361"/>
                    <a:gd name="csX145" fmla="*/ 415735 w 859002"/>
                    <a:gd name="csY145" fmla="*/ 639193 h 748361"/>
                    <a:gd name="csX146" fmla="*/ 410645 w 859002"/>
                    <a:gd name="csY146" fmla="*/ 656225 h 748361"/>
                    <a:gd name="csX147" fmla="*/ 416824 w 859002"/>
                    <a:gd name="csY147" fmla="*/ 659842 h 748361"/>
                    <a:gd name="csX148" fmla="*/ 416824 w 859002"/>
                    <a:gd name="csY148" fmla="*/ 667462 h 748361"/>
                    <a:gd name="csX149" fmla="*/ 408820 w 859002"/>
                    <a:gd name="csY149" fmla="*/ 672552 h 748361"/>
                    <a:gd name="csX150" fmla="*/ 419353 w 859002"/>
                    <a:gd name="csY150" fmla="*/ 703766 h 748361"/>
                    <a:gd name="csX151" fmla="*/ 418264 w 859002"/>
                    <a:gd name="csY151" fmla="*/ 718268 h 748361"/>
                    <a:gd name="csX152" fmla="*/ 424443 w 859002"/>
                    <a:gd name="csY152" fmla="*/ 717532 h 748361"/>
                    <a:gd name="csX153" fmla="*/ 425147 w 859002"/>
                    <a:gd name="csY153" fmla="*/ 723326 h 748361"/>
                    <a:gd name="csX154" fmla="*/ 440738 w 859002"/>
                    <a:gd name="csY154" fmla="*/ 726976 h 748361"/>
                    <a:gd name="csX155" fmla="*/ 463980 w 859002"/>
                    <a:gd name="csY155" fmla="*/ 722622 h 748361"/>
                    <a:gd name="csX156" fmla="*/ 475217 w 859002"/>
                    <a:gd name="csY156" fmla="*/ 718268 h 748361"/>
                    <a:gd name="csX157" fmla="*/ 497723 w 859002"/>
                    <a:gd name="csY157" fmla="*/ 715707 h 748361"/>
                    <a:gd name="csX158" fmla="*/ 492281 w 859002"/>
                    <a:gd name="csY158" fmla="*/ 702677 h 748361"/>
                    <a:gd name="csX159" fmla="*/ 495162 w 859002"/>
                    <a:gd name="csY159" fmla="*/ 700116 h 748361"/>
                    <a:gd name="csX160" fmla="*/ 521638 w 859002"/>
                    <a:gd name="csY160" fmla="*/ 707031 h 748361"/>
                    <a:gd name="csX161" fmla="*/ 525992 w 859002"/>
                    <a:gd name="csY161" fmla="*/ 709560 h 748361"/>
                    <a:gd name="csX162" fmla="*/ 537965 w 859002"/>
                    <a:gd name="csY162" fmla="*/ 717532 h 748361"/>
                    <a:gd name="csX163" fmla="*/ 545968 w 859002"/>
                    <a:gd name="csY163" fmla="*/ 684877 h 748361"/>
                    <a:gd name="csX164" fmla="*/ 573533 w 859002"/>
                    <a:gd name="csY164" fmla="*/ 679435 h 748361"/>
                    <a:gd name="csX165" fmla="*/ 582945 w 859002"/>
                    <a:gd name="csY165" fmla="*/ 683789 h 748361"/>
                    <a:gd name="csX166" fmla="*/ 586210 w 859002"/>
                    <a:gd name="csY166" fmla="*/ 696851 h 748361"/>
                    <a:gd name="csX167" fmla="*/ 594918 w 859002"/>
                    <a:gd name="csY167" fmla="*/ 701941 h 748361"/>
                    <a:gd name="csX168" fmla="*/ 600008 w 859002"/>
                    <a:gd name="csY168" fmla="*/ 715707 h 748361"/>
                    <a:gd name="csX169" fmla="*/ 615599 w 859002"/>
                    <a:gd name="csY169" fmla="*/ 735300 h 748361"/>
                    <a:gd name="csX170" fmla="*/ 623955 w 859002"/>
                    <a:gd name="csY170" fmla="*/ 731330 h 748361"/>
                    <a:gd name="csX171" fmla="*/ 642075 w 859002"/>
                    <a:gd name="csY171" fmla="*/ 742215 h 748361"/>
                    <a:gd name="csX172" fmla="*/ 650078 w 859002"/>
                    <a:gd name="csY172" fmla="*/ 738213 h 748361"/>
                    <a:gd name="csX173" fmla="*/ 656961 w 859002"/>
                    <a:gd name="csY173" fmla="*/ 742215 h 748361"/>
                    <a:gd name="csX174" fmla="*/ 677642 w 859002"/>
                    <a:gd name="csY174" fmla="*/ 741478 h 748361"/>
                    <a:gd name="csX175" fmla="*/ 677642 w 859002"/>
                    <a:gd name="csY175" fmla="*/ 743303 h 748361"/>
                    <a:gd name="csX176" fmla="*/ 679083 w 859002"/>
                    <a:gd name="csY176" fmla="*/ 748361 h 748361"/>
                    <a:gd name="csX177" fmla="*/ 696499 w 859002"/>
                    <a:gd name="csY177" fmla="*/ 747657 h 748361"/>
                    <a:gd name="csX178" fmla="*/ 702293 w 859002"/>
                    <a:gd name="csY178" fmla="*/ 738213 h 748361"/>
                    <a:gd name="csX179" fmla="*/ 718621 w 859002"/>
                    <a:gd name="csY179" fmla="*/ 732771 h 748361"/>
                    <a:gd name="csX180" fmla="*/ 721534 w 859002"/>
                    <a:gd name="csY180" fmla="*/ 724415 h 748361"/>
                    <a:gd name="csX181" fmla="*/ 755629 w 859002"/>
                    <a:gd name="csY181" fmla="*/ 713914 h 748361"/>
                    <a:gd name="csX182" fmla="*/ 795518 w 859002"/>
                    <a:gd name="csY182" fmla="*/ 708824 h 748361"/>
                    <a:gd name="csX183" fmla="*/ 812582 w 859002"/>
                    <a:gd name="csY183" fmla="*/ 717532 h 748361"/>
                    <a:gd name="csX184" fmla="*/ 833263 w 859002"/>
                    <a:gd name="csY184" fmla="*/ 713914 h 748361"/>
                    <a:gd name="csX185" fmla="*/ 840882 w 859002"/>
                    <a:gd name="csY185" fmla="*/ 707031 h 748361"/>
                    <a:gd name="csX186" fmla="*/ 849590 w 859002"/>
                    <a:gd name="csY186" fmla="*/ 708824 h 748361"/>
                    <a:gd name="csX187" fmla="*/ 858298 w 859002"/>
                    <a:gd name="csY187" fmla="*/ 707031 h 748361"/>
                    <a:gd name="csX188" fmla="*/ 859002 w 859002"/>
                    <a:gd name="csY188" fmla="*/ 700116 h 748361"/>
                    <a:gd name="csX189" fmla="*/ 848854 w 859002"/>
                    <a:gd name="csY189" fmla="*/ 700116 h 748361"/>
                    <a:gd name="csX190" fmla="*/ 848854 w 859002"/>
                    <a:gd name="csY190" fmla="*/ 690704 h 748361"/>
                    <a:gd name="csX191" fmla="*/ 822026 w 859002"/>
                    <a:gd name="csY191" fmla="*/ 672552 h 748361"/>
                    <a:gd name="csX192" fmla="*/ 821290 w 859002"/>
                    <a:gd name="csY192" fmla="*/ 665669 h 748361"/>
                    <a:gd name="csX193" fmla="*/ 815111 w 859002"/>
                    <a:gd name="csY193" fmla="*/ 667462 h 748361"/>
                    <a:gd name="csX194" fmla="*/ 803874 w 859002"/>
                    <a:gd name="csY194" fmla="*/ 662404 h 748361"/>
                    <a:gd name="csX195" fmla="*/ 783193 w 859002"/>
                    <a:gd name="csY195" fmla="*/ 640986 h 748361"/>
                    <a:gd name="csX196" fmla="*/ 773045 w 859002"/>
                    <a:gd name="csY196" fmla="*/ 646813 h 748361"/>
                    <a:gd name="csX197" fmla="*/ 754892 w 859002"/>
                    <a:gd name="csY197" fmla="*/ 639898 h 748361"/>
                    <a:gd name="csX198" fmla="*/ 749834 w 859002"/>
                    <a:gd name="csY198" fmla="*/ 626132 h 748361"/>
                    <a:gd name="csX199" fmla="*/ 736772 w 859002"/>
                    <a:gd name="csY199" fmla="*/ 615951 h 748361"/>
                    <a:gd name="csX200" fmla="*/ 769427 w 859002"/>
                    <a:gd name="csY200" fmla="*/ 550674 h 748361"/>
                    <a:gd name="csX201" fmla="*/ 769427 w 859002"/>
                    <a:gd name="csY201" fmla="*/ 530730 h 748361"/>
                    <a:gd name="csX202" fmla="*/ 779927 w 859002"/>
                    <a:gd name="csY202" fmla="*/ 525639 h 748361"/>
                    <a:gd name="csX203" fmla="*/ 779927 w 859002"/>
                    <a:gd name="csY203" fmla="*/ 519461 h 748361"/>
                    <a:gd name="csX204" fmla="*/ 767954 w 859002"/>
                    <a:gd name="csY204" fmla="*/ 513666 h 748361"/>
                    <a:gd name="csX205" fmla="*/ 751627 w 859002"/>
                    <a:gd name="csY205" fmla="*/ 513666 h 748361"/>
                    <a:gd name="csX206" fmla="*/ 744744 w 859002"/>
                    <a:gd name="csY206" fmla="*/ 518756 h 748361"/>
                    <a:gd name="csX207" fmla="*/ 730946 w 859002"/>
                    <a:gd name="csY207" fmla="*/ 485014 h 748361"/>
                    <a:gd name="csX208" fmla="*/ 734211 w 859002"/>
                    <a:gd name="csY208" fmla="*/ 464332 h 748361"/>
                    <a:gd name="csX209" fmla="*/ 721534 w 859002"/>
                    <a:gd name="csY209" fmla="*/ 444740 h 748361"/>
                    <a:gd name="csX210" fmla="*/ 761071 w 859002"/>
                    <a:gd name="csY210" fmla="*/ 407731 h 748361"/>
                    <a:gd name="csX211" fmla="*/ 801345 w 859002"/>
                    <a:gd name="csY211" fmla="*/ 369635 h 748361"/>
                    <a:gd name="csX212" fmla="*/ 810757 w 859002"/>
                    <a:gd name="csY212" fmla="*/ 367106 h 748361"/>
                    <a:gd name="csX213" fmla="*/ 808228 w 859002"/>
                    <a:gd name="csY213" fmla="*/ 356957 h 748361"/>
                    <a:gd name="csX214" fmla="*/ 818761 w 859002"/>
                    <a:gd name="csY214" fmla="*/ 333747 h 748361"/>
                    <a:gd name="csX215" fmla="*/ 810757 w 859002"/>
                    <a:gd name="csY215" fmla="*/ 313066 h 748361"/>
                    <a:gd name="csX216" fmla="*/ 805699 w 859002"/>
                    <a:gd name="csY216" fmla="*/ 300004 h 748361"/>
                    <a:gd name="csX217" fmla="*/ 809316 w 859002"/>
                    <a:gd name="csY217" fmla="*/ 282941 h 748361"/>
                    <a:gd name="csX218" fmla="*/ 803874 w 859002"/>
                    <a:gd name="csY218" fmla="*/ 281148 h 748361"/>
                    <a:gd name="csX219" fmla="*/ 803874 w 859002"/>
                    <a:gd name="csY219" fmla="*/ 273528 h 748361"/>
                    <a:gd name="csX220" fmla="*/ 795518 w 859002"/>
                    <a:gd name="csY220" fmla="*/ 269174 h 748361"/>
                    <a:gd name="csX221" fmla="*/ 800609 w 859002"/>
                    <a:gd name="csY221" fmla="*/ 247757 h 748361"/>
                    <a:gd name="csX222" fmla="*/ 796991 w 859002"/>
                    <a:gd name="csY222" fmla="*/ 237256 h 748361"/>
                    <a:gd name="csX223" fmla="*/ 802433 w 859002"/>
                    <a:gd name="csY223" fmla="*/ 215103 h 748361"/>
                    <a:gd name="csX224" fmla="*/ 785018 w 859002"/>
                    <a:gd name="csY224" fmla="*/ 196983 h 748361"/>
                    <a:gd name="csX225" fmla="*/ 773781 w 859002"/>
                    <a:gd name="csY225" fmla="*/ 192629 h 748361"/>
                    <a:gd name="csX226" fmla="*/ 757453 w 859002"/>
                    <a:gd name="csY226" fmla="*/ 207131 h 748361"/>
                    <a:gd name="csX227" fmla="*/ 751627 w 859002"/>
                    <a:gd name="csY227" fmla="*/ 197719 h 748361"/>
                    <a:gd name="csX228" fmla="*/ 744744 w 859002"/>
                    <a:gd name="csY228" fmla="*/ 195158 h 748361"/>
                    <a:gd name="csX229" fmla="*/ 739302 w 859002"/>
                    <a:gd name="csY229" fmla="*/ 195894 h 748361"/>
                    <a:gd name="csX230" fmla="*/ 729857 w 859002"/>
                    <a:gd name="csY230" fmla="*/ 205338 h 748361"/>
                    <a:gd name="csX231" fmla="*/ 729153 w 859002"/>
                    <a:gd name="csY231" fmla="*/ 185746 h 748361"/>
                    <a:gd name="csX232" fmla="*/ 709208 w 859002"/>
                    <a:gd name="csY232" fmla="*/ 159974 h 748361"/>
                    <a:gd name="csX233" fmla="*/ 705943 w 859002"/>
                    <a:gd name="csY233" fmla="*/ 134235 h 748361"/>
                    <a:gd name="csX234" fmla="*/ 695410 w 859002"/>
                    <a:gd name="csY234" fmla="*/ 109904 h 748361"/>
                    <a:gd name="csX235" fmla="*/ 682701 w 859002"/>
                    <a:gd name="csY235" fmla="*/ 106639 h 748361"/>
                    <a:gd name="csX236" fmla="*/ 667846 w 859002"/>
                    <a:gd name="csY236" fmla="*/ 96138 h 748361"/>
                    <a:gd name="csX237" fmla="*/ 664581 w 859002"/>
                    <a:gd name="csY237" fmla="*/ 79811 h 748361"/>
                    <a:gd name="csX238" fmla="*/ 650078 w 859002"/>
                    <a:gd name="csY238" fmla="*/ 77986 h 748361"/>
                    <a:gd name="csX239" fmla="*/ 643900 w 859002"/>
                    <a:gd name="csY239" fmla="*/ 80900 h 748361"/>
                    <a:gd name="csX240" fmla="*/ 635192 w 859002"/>
                    <a:gd name="csY240" fmla="*/ 76546 h 748361"/>
                    <a:gd name="csX241" fmla="*/ 609452 w 859002"/>
                    <a:gd name="csY241" fmla="*/ 94666 h 748361"/>
                    <a:gd name="csX242" fmla="*/ 601833 w 859002"/>
                    <a:gd name="csY242" fmla="*/ 91048 h 748361"/>
                    <a:gd name="csX243" fmla="*/ 592389 w 859002"/>
                    <a:gd name="csY243" fmla="*/ 69663 h 748361"/>
                    <a:gd name="csX244" fmla="*/ 586210 w 859002"/>
                    <a:gd name="csY244" fmla="*/ 67102 h 748361"/>
                    <a:gd name="csX245" fmla="*/ 580063 w 859002"/>
                    <a:gd name="csY245" fmla="*/ 64572 h 748361"/>
                    <a:gd name="csX246" fmla="*/ 566650 w 859002"/>
                    <a:gd name="csY246" fmla="*/ 68574 h 748361"/>
                    <a:gd name="csX247" fmla="*/ 546673 w 859002"/>
                    <a:gd name="csY247" fmla="*/ 76546 h 748361"/>
                    <a:gd name="csX248" fmla="*/ 533611 w 859002"/>
                    <a:gd name="csY248" fmla="*/ 68574 h 748361"/>
                    <a:gd name="csX249" fmla="*/ 519109 w 859002"/>
                    <a:gd name="csY249" fmla="*/ 67838 h 748361"/>
                    <a:gd name="csX250" fmla="*/ 514755 w 859002"/>
                    <a:gd name="csY250" fmla="*/ 58394 h 748361"/>
                    <a:gd name="csX251" fmla="*/ 519845 w 859002"/>
                    <a:gd name="csY251" fmla="*/ 37745 h 748361"/>
                    <a:gd name="csX252" fmla="*/ 511489 w 859002"/>
                    <a:gd name="csY252" fmla="*/ 39537 h 748361"/>
                    <a:gd name="csX253" fmla="*/ 510401 w 859002"/>
                    <a:gd name="csY253" fmla="*/ 31566 h 748361"/>
                    <a:gd name="csX254" fmla="*/ 505310 w 859002"/>
                    <a:gd name="csY254" fmla="*/ 30125 h 748361"/>
                    <a:gd name="csX255" fmla="*/ 488279 w 859002"/>
                    <a:gd name="csY255" fmla="*/ 38449 h 748361"/>
                    <a:gd name="csX256" fmla="*/ 492281 w 859002"/>
                    <a:gd name="csY256" fmla="*/ 25771 h 748361"/>
                    <a:gd name="csX257" fmla="*/ 483925 w 859002"/>
                    <a:gd name="csY257" fmla="*/ 5795 h 748361"/>
                    <a:gd name="csX258" fmla="*/ 477746 w 859002"/>
                    <a:gd name="csY258" fmla="*/ 8356 h 748361"/>
                    <a:gd name="csX259" fmla="*/ 469039 w 859002"/>
                    <a:gd name="csY259" fmla="*/ 0 h 74836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  <a:cxn ang="0">
                      <a:pos x="csX217" y="csY217"/>
                    </a:cxn>
                    <a:cxn ang="0">
                      <a:pos x="csX218" y="csY218"/>
                    </a:cxn>
                    <a:cxn ang="0">
                      <a:pos x="csX219" y="csY219"/>
                    </a:cxn>
                    <a:cxn ang="0">
                      <a:pos x="csX220" y="csY220"/>
                    </a:cxn>
                    <a:cxn ang="0">
                      <a:pos x="csX221" y="csY221"/>
                    </a:cxn>
                    <a:cxn ang="0">
                      <a:pos x="csX222" y="csY222"/>
                    </a:cxn>
                    <a:cxn ang="0">
                      <a:pos x="csX223" y="csY223"/>
                    </a:cxn>
                    <a:cxn ang="0">
                      <a:pos x="csX224" y="csY224"/>
                    </a:cxn>
                    <a:cxn ang="0">
                      <a:pos x="csX225" y="csY225"/>
                    </a:cxn>
                    <a:cxn ang="0">
                      <a:pos x="csX226" y="csY226"/>
                    </a:cxn>
                    <a:cxn ang="0">
                      <a:pos x="csX227" y="csY227"/>
                    </a:cxn>
                    <a:cxn ang="0">
                      <a:pos x="csX228" y="csY228"/>
                    </a:cxn>
                    <a:cxn ang="0">
                      <a:pos x="csX229" y="csY229"/>
                    </a:cxn>
                    <a:cxn ang="0">
                      <a:pos x="csX230" y="csY230"/>
                    </a:cxn>
                    <a:cxn ang="0">
                      <a:pos x="csX231" y="csY231"/>
                    </a:cxn>
                    <a:cxn ang="0">
                      <a:pos x="csX232" y="csY232"/>
                    </a:cxn>
                    <a:cxn ang="0">
                      <a:pos x="csX233" y="csY233"/>
                    </a:cxn>
                    <a:cxn ang="0">
                      <a:pos x="csX234" y="csY234"/>
                    </a:cxn>
                    <a:cxn ang="0">
                      <a:pos x="csX235" y="csY235"/>
                    </a:cxn>
                    <a:cxn ang="0">
                      <a:pos x="csX236" y="csY236"/>
                    </a:cxn>
                    <a:cxn ang="0">
                      <a:pos x="csX237" y="csY237"/>
                    </a:cxn>
                    <a:cxn ang="0">
                      <a:pos x="csX238" y="csY238"/>
                    </a:cxn>
                    <a:cxn ang="0">
                      <a:pos x="csX239" y="csY239"/>
                    </a:cxn>
                    <a:cxn ang="0">
                      <a:pos x="csX240" y="csY240"/>
                    </a:cxn>
                    <a:cxn ang="0">
                      <a:pos x="csX241" y="csY241"/>
                    </a:cxn>
                    <a:cxn ang="0">
                      <a:pos x="csX242" y="csY242"/>
                    </a:cxn>
                    <a:cxn ang="0">
                      <a:pos x="csX243" y="csY243"/>
                    </a:cxn>
                    <a:cxn ang="0">
                      <a:pos x="csX244" y="csY244"/>
                    </a:cxn>
                    <a:cxn ang="0">
                      <a:pos x="csX245" y="csY245"/>
                    </a:cxn>
                    <a:cxn ang="0">
                      <a:pos x="csX246" y="csY246"/>
                    </a:cxn>
                    <a:cxn ang="0">
                      <a:pos x="csX247" y="csY247"/>
                    </a:cxn>
                    <a:cxn ang="0">
                      <a:pos x="csX248" y="csY248"/>
                    </a:cxn>
                    <a:cxn ang="0">
                      <a:pos x="csX249" y="csY249"/>
                    </a:cxn>
                    <a:cxn ang="0">
                      <a:pos x="csX250" y="csY250"/>
                    </a:cxn>
                    <a:cxn ang="0">
                      <a:pos x="csX251" y="csY251"/>
                    </a:cxn>
                    <a:cxn ang="0">
                      <a:pos x="csX252" y="csY252"/>
                    </a:cxn>
                    <a:cxn ang="0">
                      <a:pos x="csX253" y="csY253"/>
                    </a:cxn>
                    <a:cxn ang="0">
                      <a:pos x="csX254" y="csY254"/>
                    </a:cxn>
                    <a:cxn ang="0">
                      <a:pos x="csX255" y="csY255"/>
                    </a:cxn>
                    <a:cxn ang="0">
                      <a:pos x="csX256" y="csY256"/>
                    </a:cxn>
                    <a:cxn ang="0">
                      <a:pos x="csX257" y="csY257"/>
                    </a:cxn>
                    <a:cxn ang="0">
                      <a:pos x="csX258" y="csY258"/>
                    </a:cxn>
                    <a:cxn ang="0">
                      <a:pos x="csX259" y="csY259"/>
                    </a:cxn>
                  </a:cxnLst>
                  <a:rect l="l" t="t" r="r" b="b"/>
                  <a:pathLst>
                    <a:path w="859002" h="748361">
                      <a:moveTo>
                        <a:pt x="469039" y="0"/>
                      </a:moveTo>
                      <a:lnTo>
                        <a:pt x="462156" y="8356"/>
                      </a:lnTo>
                      <a:lnTo>
                        <a:pt x="448357" y="15239"/>
                      </a:lnTo>
                      <a:lnTo>
                        <a:pt x="442563" y="6883"/>
                      </a:lnTo>
                      <a:lnTo>
                        <a:pt x="440738" y="2529"/>
                      </a:lnTo>
                      <a:lnTo>
                        <a:pt x="432062" y="6883"/>
                      </a:lnTo>
                      <a:lnTo>
                        <a:pt x="411381" y="33391"/>
                      </a:lnTo>
                      <a:lnTo>
                        <a:pt x="403026" y="35920"/>
                      </a:lnTo>
                      <a:lnTo>
                        <a:pt x="397935" y="47893"/>
                      </a:lnTo>
                      <a:lnTo>
                        <a:pt x="388171" y="44628"/>
                      </a:lnTo>
                      <a:lnTo>
                        <a:pt x="384906" y="37745"/>
                      </a:lnTo>
                      <a:lnTo>
                        <a:pt x="377990" y="38449"/>
                      </a:lnTo>
                      <a:lnTo>
                        <a:pt x="371844" y="23947"/>
                      </a:lnTo>
                      <a:lnTo>
                        <a:pt x="360575" y="40274"/>
                      </a:lnTo>
                      <a:lnTo>
                        <a:pt x="352955" y="38449"/>
                      </a:lnTo>
                      <a:lnTo>
                        <a:pt x="345336" y="46420"/>
                      </a:lnTo>
                      <a:lnTo>
                        <a:pt x="516580" y="205338"/>
                      </a:lnTo>
                      <a:lnTo>
                        <a:pt x="519109" y="269879"/>
                      </a:lnTo>
                      <a:lnTo>
                        <a:pt x="499164" y="273528"/>
                      </a:lnTo>
                      <a:lnTo>
                        <a:pt x="489720" y="275321"/>
                      </a:lnTo>
                      <a:lnTo>
                        <a:pt x="474481" y="265909"/>
                      </a:lnTo>
                      <a:lnTo>
                        <a:pt x="449446" y="261555"/>
                      </a:lnTo>
                      <a:lnTo>
                        <a:pt x="438209" y="264084"/>
                      </a:lnTo>
                      <a:lnTo>
                        <a:pt x="423707" y="257201"/>
                      </a:lnTo>
                      <a:lnTo>
                        <a:pt x="421882" y="261555"/>
                      </a:lnTo>
                      <a:lnTo>
                        <a:pt x="415735" y="257938"/>
                      </a:lnTo>
                      <a:lnTo>
                        <a:pt x="412470" y="257201"/>
                      </a:lnTo>
                      <a:lnTo>
                        <a:pt x="407379" y="248493"/>
                      </a:lnTo>
                      <a:lnTo>
                        <a:pt x="397935" y="247757"/>
                      </a:lnTo>
                      <a:lnTo>
                        <a:pt x="393613" y="235432"/>
                      </a:lnTo>
                      <a:lnTo>
                        <a:pt x="378727" y="222018"/>
                      </a:lnTo>
                      <a:lnTo>
                        <a:pt x="374373" y="227812"/>
                      </a:lnTo>
                      <a:lnTo>
                        <a:pt x="363488" y="227812"/>
                      </a:lnTo>
                      <a:lnTo>
                        <a:pt x="356605" y="220929"/>
                      </a:lnTo>
                      <a:lnTo>
                        <a:pt x="358046" y="206427"/>
                      </a:lnTo>
                      <a:lnTo>
                        <a:pt x="350426" y="212221"/>
                      </a:lnTo>
                      <a:lnTo>
                        <a:pt x="343543" y="208956"/>
                      </a:lnTo>
                      <a:lnTo>
                        <a:pt x="342807" y="216575"/>
                      </a:lnTo>
                      <a:lnTo>
                        <a:pt x="336628" y="215839"/>
                      </a:lnTo>
                      <a:lnTo>
                        <a:pt x="325391" y="223458"/>
                      </a:lnTo>
                      <a:lnTo>
                        <a:pt x="305799" y="244139"/>
                      </a:lnTo>
                      <a:lnTo>
                        <a:pt x="295298" y="244139"/>
                      </a:lnTo>
                      <a:lnTo>
                        <a:pt x="290208" y="236520"/>
                      </a:lnTo>
                      <a:lnTo>
                        <a:pt x="282589" y="234695"/>
                      </a:lnTo>
                      <a:lnTo>
                        <a:pt x="280796" y="252111"/>
                      </a:lnTo>
                      <a:lnTo>
                        <a:pt x="284061" y="256113"/>
                      </a:lnTo>
                      <a:lnTo>
                        <a:pt x="276442" y="268438"/>
                      </a:lnTo>
                      <a:lnTo>
                        <a:pt x="266261" y="267350"/>
                      </a:lnTo>
                      <a:lnTo>
                        <a:pt x="259378" y="255376"/>
                      </a:lnTo>
                      <a:lnTo>
                        <a:pt x="247053" y="250318"/>
                      </a:lnTo>
                      <a:lnTo>
                        <a:pt x="241963" y="250318"/>
                      </a:lnTo>
                      <a:lnTo>
                        <a:pt x="241226" y="255376"/>
                      </a:lnTo>
                      <a:lnTo>
                        <a:pt x="233255" y="257938"/>
                      </a:lnTo>
                      <a:lnTo>
                        <a:pt x="230726" y="265909"/>
                      </a:lnTo>
                      <a:lnTo>
                        <a:pt x="231814" y="288031"/>
                      </a:lnTo>
                      <a:lnTo>
                        <a:pt x="224899" y="283677"/>
                      </a:lnTo>
                      <a:lnTo>
                        <a:pt x="208604" y="285502"/>
                      </a:lnTo>
                      <a:lnTo>
                        <a:pt x="202425" y="285502"/>
                      </a:lnTo>
                      <a:lnTo>
                        <a:pt x="196246" y="271704"/>
                      </a:lnTo>
                      <a:lnTo>
                        <a:pt x="179215" y="272440"/>
                      </a:lnTo>
                      <a:lnTo>
                        <a:pt x="171596" y="291648"/>
                      </a:lnTo>
                      <a:lnTo>
                        <a:pt x="165417" y="289856"/>
                      </a:lnTo>
                      <a:lnTo>
                        <a:pt x="168682" y="278587"/>
                      </a:lnTo>
                      <a:lnTo>
                        <a:pt x="146561" y="282236"/>
                      </a:lnTo>
                      <a:lnTo>
                        <a:pt x="141118" y="283677"/>
                      </a:lnTo>
                      <a:lnTo>
                        <a:pt x="145472" y="292385"/>
                      </a:lnTo>
                      <a:lnTo>
                        <a:pt x="141118" y="300004"/>
                      </a:lnTo>
                      <a:lnTo>
                        <a:pt x="127704" y="303622"/>
                      </a:lnTo>
                      <a:lnTo>
                        <a:pt x="93225" y="322478"/>
                      </a:lnTo>
                      <a:lnTo>
                        <a:pt x="91432" y="339541"/>
                      </a:lnTo>
                      <a:lnTo>
                        <a:pt x="77634" y="345720"/>
                      </a:lnTo>
                      <a:lnTo>
                        <a:pt x="80163" y="353340"/>
                      </a:lnTo>
                      <a:lnTo>
                        <a:pt x="94698" y="365665"/>
                      </a:lnTo>
                      <a:lnTo>
                        <a:pt x="93961" y="369635"/>
                      </a:lnTo>
                      <a:lnTo>
                        <a:pt x="84517" y="371460"/>
                      </a:lnTo>
                      <a:lnTo>
                        <a:pt x="80163" y="377638"/>
                      </a:lnTo>
                      <a:lnTo>
                        <a:pt x="84517" y="380167"/>
                      </a:lnTo>
                      <a:lnTo>
                        <a:pt x="82724" y="386346"/>
                      </a:lnTo>
                      <a:lnTo>
                        <a:pt x="87783" y="402673"/>
                      </a:lnTo>
                      <a:lnTo>
                        <a:pt x="46805" y="430237"/>
                      </a:lnTo>
                      <a:lnTo>
                        <a:pt x="28653" y="452359"/>
                      </a:lnTo>
                      <a:lnTo>
                        <a:pt x="26860" y="458538"/>
                      </a:lnTo>
                      <a:lnTo>
                        <a:pt x="21770" y="460331"/>
                      </a:lnTo>
                      <a:lnTo>
                        <a:pt x="5442" y="472304"/>
                      </a:lnTo>
                      <a:lnTo>
                        <a:pt x="11237" y="506783"/>
                      </a:lnTo>
                      <a:lnTo>
                        <a:pt x="17416" y="509312"/>
                      </a:lnTo>
                      <a:lnTo>
                        <a:pt x="18152" y="541967"/>
                      </a:lnTo>
                      <a:lnTo>
                        <a:pt x="22506" y="558998"/>
                      </a:lnTo>
                      <a:lnTo>
                        <a:pt x="19945" y="565913"/>
                      </a:lnTo>
                      <a:lnTo>
                        <a:pt x="4354" y="569531"/>
                      </a:lnTo>
                      <a:lnTo>
                        <a:pt x="0" y="581504"/>
                      </a:lnTo>
                      <a:lnTo>
                        <a:pt x="3618" y="597095"/>
                      </a:lnTo>
                      <a:lnTo>
                        <a:pt x="25035" y="600360"/>
                      </a:lnTo>
                      <a:lnTo>
                        <a:pt x="28653" y="596006"/>
                      </a:lnTo>
                      <a:lnTo>
                        <a:pt x="53335" y="605451"/>
                      </a:lnTo>
                      <a:lnTo>
                        <a:pt x="62043" y="604714"/>
                      </a:lnTo>
                      <a:lnTo>
                        <a:pt x="64572" y="597095"/>
                      </a:lnTo>
                      <a:lnTo>
                        <a:pt x="84517" y="594566"/>
                      </a:lnTo>
                      <a:lnTo>
                        <a:pt x="88871" y="580768"/>
                      </a:lnTo>
                      <a:lnTo>
                        <a:pt x="97227" y="577886"/>
                      </a:lnTo>
                      <a:lnTo>
                        <a:pt x="100844" y="569531"/>
                      </a:lnTo>
                      <a:lnTo>
                        <a:pt x="100844" y="560087"/>
                      </a:lnTo>
                      <a:lnTo>
                        <a:pt x="112818" y="558998"/>
                      </a:lnTo>
                      <a:lnTo>
                        <a:pt x="125879" y="547025"/>
                      </a:lnTo>
                      <a:lnTo>
                        <a:pt x="125879" y="535788"/>
                      </a:lnTo>
                      <a:lnTo>
                        <a:pt x="133499" y="530730"/>
                      </a:lnTo>
                      <a:lnTo>
                        <a:pt x="141118" y="532522"/>
                      </a:lnTo>
                      <a:lnTo>
                        <a:pt x="144736" y="518756"/>
                      </a:lnTo>
                      <a:lnTo>
                        <a:pt x="161063" y="541967"/>
                      </a:lnTo>
                      <a:lnTo>
                        <a:pt x="172332" y="548850"/>
                      </a:lnTo>
                      <a:lnTo>
                        <a:pt x="163592" y="558294"/>
                      </a:lnTo>
                      <a:lnTo>
                        <a:pt x="167946" y="567706"/>
                      </a:lnTo>
                      <a:lnTo>
                        <a:pt x="161799" y="570267"/>
                      </a:lnTo>
                      <a:lnTo>
                        <a:pt x="170507" y="579679"/>
                      </a:lnTo>
                      <a:lnTo>
                        <a:pt x="179919" y="576414"/>
                      </a:lnTo>
                      <a:lnTo>
                        <a:pt x="181744" y="581504"/>
                      </a:lnTo>
                      <a:lnTo>
                        <a:pt x="187923" y="581504"/>
                      </a:lnTo>
                      <a:lnTo>
                        <a:pt x="202425" y="567002"/>
                      </a:lnTo>
                      <a:lnTo>
                        <a:pt x="210045" y="589123"/>
                      </a:lnTo>
                      <a:lnTo>
                        <a:pt x="218016" y="583329"/>
                      </a:lnTo>
                      <a:lnTo>
                        <a:pt x="235784" y="609068"/>
                      </a:lnTo>
                      <a:lnTo>
                        <a:pt x="247053" y="590948"/>
                      </a:lnTo>
                      <a:lnTo>
                        <a:pt x="238697" y="583329"/>
                      </a:lnTo>
                      <a:lnTo>
                        <a:pt x="260115" y="582240"/>
                      </a:lnTo>
                      <a:lnTo>
                        <a:pt x="272088" y="570971"/>
                      </a:lnTo>
                      <a:lnTo>
                        <a:pt x="278971" y="576414"/>
                      </a:lnTo>
                      <a:lnTo>
                        <a:pt x="290944" y="581504"/>
                      </a:lnTo>
                      <a:lnTo>
                        <a:pt x="279707" y="588387"/>
                      </a:lnTo>
                      <a:lnTo>
                        <a:pt x="281500" y="595302"/>
                      </a:lnTo>
                      <a:lnTo>
                        <a:pt x="292033" y="600360"/>
                      </a:lnTo>
                      <a:lnTo>
                        <a:pt x="304006" y="589123"/>
                      </a:lnTo>
                      <a:lnTo>
                        <a:pt x="310889" y="604010"/>
                      </a:lnTo>
                      <a:lnTo>
                        <a:pt x="315979" y="614863"/>
                      </a:lnTo>
                      <a:lnTo>
                        <a:pt x="302181" y="619217"/>
                      </a:lnTo>
                      <a:lnTo>
                        <a:pt x="301445" y="624659"/>
                      </a:lnTo>
                      <a:lnTo>
                        <a:pt x="312714" y="632278"/>
                      </a:lnTo>
                      <a:lnTo>
                        <a:pt x="309064" y="636632"/>
                      </a:lnTo>
                      <a:lnTo>
                        <a:pt x="315979" y="644988"/>
                      </a:lnTo>
                      <a:lnTo>
                        <a:pt x="342807" y="627220"/>
                      </a:lnTo>
                      <a:lnTo>
                        <a:pt x="348602" y="637369"/>
                      </a:lnTo>
                      <a:lnTo>
                        <a:pt x="368578" y="636632"/>
                      </a:lnTo>
                      <a:lnTo>
                        <a:pt x="378727" y="636632"/>
                      </a:lnTo>
                      <a:lnTo>
                        <a:pt x="384906" y="631574"/>
                      </a:lnTo>
                      <a:lnTo>
                        <a:pt x="398672" y="636632"/>
                      </a:lnTo>
                      <a:lnTo>
                        <a:pt x="407379" y="639193"/>
                      </a:lnTo>
                      <a:lnTo>
                        <a:pt x="415735" y="639193"/>
                      </a:lnTo>
                      <a:lnTo>
                        <a:pt x="410645" y="656225"/>
                      </a:lnTo>
                      <a:lnTo>
                        <a:pt x="416824" y="659842"/>
                      </a:lnTo>
                      <a:lnTo>
                        <a:pt x="416824" y="667462"/>
                      </a:lnTo>
                      <a:lnTo>
                        <a:pt x="408820" y="672552"/>
                      </a:lnTo>
                      <a:lnTo>
                        <a:pt x="419353" y="703766"/>
                      </a:lnTo>
                      <a:lnTo>
                        <a:pt x="418264" y="718268"/>
                      </a:lnTo>
                      <a:lnTo>
                        <a:pt x="424443" y="717532"/>
                      </a:lnTo>
                      <a:lnTo>
                        <a:pt x="425147" y="723326"/>
                      </a:lnTo>
                      <a:lnTo>
                        <a:pt x="440738" y="726976"/>
                      </a:lnTo>
                      <a:lnTo>
                        <a:pt x="463980" y="722622"/>
                      </a:lnTo>
                      <a:lnTo>
                        <a:pt x="475217" y="718268"/>
                      </a:lnTo>
                      <a:lnTo>
                        <a:pt x="497723" y="715707"/>
                      </a:lnTo>
                      <a:lnTo>
                        <a:pt x="492281" y="702677"/>
                      </a:lnTo>
                      <a:lnTo>
                        <a:pt x="495162" y="700116"/>
                      </a:lnTo>
                      <a:lnTo>
                        <a:pt x="521638" y="707031"/>
                      </a:lnTo>
                      <a:lnTo>
                        <a:pt x="525992" y="709560"/>
                      </a:lnTo>
                      <a:lnTo>
                        <a:pt x="537965" y="717532"/>
                      </a:lnTo>
                      <a:lnTo>
                        <a:pt x="545968" y="684877"/>
                      </a:lnTo>
                      <a:lnTo>
                        <a:pt x="573533" y="679435"/>
                      </a:lnTo>
                      <a:lnTo>
                        <a:pt x="582945" y="683789"/>
                      </a:lnTo>
                      <a:lnTo>
                        <a:pt x="586210" y="696851"/>
                      </a:lnTo>
                      <a:lnTo>
                        <a:pt x="594918" y="701941"/>
                      </a:lnTo>
                      <a:lnTo>
                        <a:pt x="600008" y="715707"/>
                      </a:lnTo>
                      <a:lnTo>
                        <a:pt x="615599" y="735300"/>
                      </a:lnTo>
                      <a:lnTo>
                        <a:pt x="623955" y="731330"/>
                      </a:lnTo>
                      <a:lnTo>
                        <a:pt x="642075" y="742215"/>
                      </a:lnTo>
                      <a:lnTo>
                        <a:pt x="650078" y="738213"/>
                      </a:lnTo>
                      <a:lnTo>
                        <a:pt x="656961" y="742215"/>
                      </a:lnTo>
                      <a:lnTo>
                        <a:pt x="677642" y="741478"/>
                      </a:lnTo>
                      <a:lnTo>
                        <a:pt x="677642" y="743303"/>
                      </a:lnTo>
                      <a:lnTo>
                        <a:pt x="679083" y="748361"/>
                      </a:lnTo>
                      <a:lnTo>
                        <a:pt x="696499" y="747657"/>
                      </a:lnTo>
                      <a:lnTo>
                        <a:pt x="702293" y="738213"/>
                      </a:lnTo>
                      <a:lnTo>
                        <a:pt x="718621" y="732771"/>
                      </a:lnTo>
                      <a:lnTo>
                        <a:pt x="721534" y="724415"/>
                      </a:lnTo>
                      <a:lnTo>
                        <a:pt x="755629" y="713914"/>
                      </a:lnTo>
                      <a:lnTo>
                        <a:pt x="795518" y="708824"/>
                      </a:lnTo>
                      <a:lnTo>
                        <a:pt x="812582" y="717532"/>
                      </a:lnTo>
                      <a:lnTo>
                        <a:pt x="833263" y="713914"/>
                      </a:lnTo>
                      <a:lnTo>
                        <a:pt x="840882" y="707031"/>
                      </a:lnTo>
                      <a:lnTo>
                        <a:pt x="849590" y="708824"/>
                      </a:lnTo>
                      <a:lnTo>
                        <a:pt x="858298" y="707031"/>
                      </a:lnTo>
                      <a:lnTo>
                        <a:pt x="859002" y="700116"/>
                      </a:lnTo>
                      <a:lnTo>
                        <a:pt x="848854" y="700116"/>
                      </a:lnTo>
                      <a:lnTo>
                        <a:pt x="848854" y="690704"/>
                      </a:lnTo>
                      <a:lnTo>
                        <a:pt x="822026" y="672552"/>
                      </a:lnTo>
                      <a:lnTo>
                        <a:pt x="821290" y="665669"/>
                      </a:lnTo>
                      <a:lnTo>
                        <a:pt x="815111" y="667462"/>
                      </a:lnTo>
                      <a:lnTo>
                        <a:pt x="803874" y="662404"/>
                      </a:lnTo>
                      <a:lnTo>
                        <a:pt x="783193" y="640986"/>
                      </a:lnTo>
                      <a:lnTo>
                        <a:pt x="773045" y="646813"/>
                      </a:lnTo>
                      <a:lnTo>
                        <a:pt x="754892" y="639898"/>
                      </a:lnTo>
                      <a:lnTo>
                        <a:pt x="749834" y="626132"/>
                      </a:lnTo>
                      <a:lnTo>
                        <a:pt x="736772" y="615951"/>
                      </a:lnTo>
                      <a:lnTo>
                        <a:pt x="769427" y="550674"/>
                      </a:lnTo>
                      <a:lnTo>
                        <a:pt x="769427" y="530730"/>
                      </a:lnTo>
                      <a:lnTo>
                        <a:pt x="779927" y="525639"/>
                      </a:lnTo>
                      <a:lnTo>
                        <a:pt x="779927" y="519461"/>
                      </a:lnTo>
                      <a:lnTo>
                        <a:pt x="767954" y="513666"/>
                      </a:lnTo>
                      <a:lnTo>
                        <a:pt x="751627" y="513666"/>
                      </a:lnTo>
                      <a:lnTo>
                        <a:pt x="744744" y="518756"/>
                      </a:lnTo>
                      <a:lnTo>
                        <a:pt x="730946" y="485014"/>
                      </a:lnTo>
                      <a:lnTo>
                        <a:pt x="734211" y="464332"/>
                      </a:lnTo>
                      <a:lnTo>
                        <a:pt x="721534" y="444740"/>
                      </a:lnTo>
                      <a:lnTo>
                        <a:pt x="761071" y="407731"/>
                      </a:lnTo>
                      <a:lnTo>
                        <a:pt x="801345" y="369635"/>
                      </a:lnTo>
                      <a:lnTo>
                        <a:pt x="810757" y="367106"/>
                      </a:lnTo>
                      <a:lnTo>
                        <a:pt x="808228" y="356957"/>
                      </a:lnTo>
                      <a:lnTo>
                        <a:pt x="818761" y="333747"/>
                      </a:lnTo>
                      <a:lnTo>
                        <a:pt x="810757" y="313066"/>
                      </a:lnTo>
                      <a:lnTo>
                        <a:pt x="805699" y="300004"/>
                      </a:lnTo>
                      <a:lnTo>
                        <a:pt x="809316" y="282941"/>
                      </a:lnTo>
                      <a:lnTo>
                        <a:pt x="803874" y="281148"/>
                      </a:lnTo>
                      <a:lnTo>
                        <a:pt x="803874" y="273528"/>
                      </a:lnTo>
                      <a:lnTo>
                        <a:pt x="795518" y="269174"/>
                      </a:lnTo>
                      <a:lnTo>
                        <a:pt x="800609" y="247757"/>
                      </a:lnTo>
                      <a:lnTo>
                        <a:pt x="796991" y="237256"/>
                      </a:lnTo>
                      <a:lnTo>
                        <a:pt x="802433" y="215103"/>
                      </a:lnTo>
                      <a:lnTo>
                        <a:pt x="785018" y="196983"/>
                      </a:lnTo>
                      <a:lnTo>
                        <a:pt x="773781" y="192629"/>
                      </a:lnTo>
                      <a:lnTo>
                        <a:pt x="757453" y="207131"/>
                      </a:lnTo>
                      <a:lnTo>
                        <a:pt x="751627" y="197719"/>
                      </a:lnTo>
                      <a:lnTo>
                        <a:pt x="744744" y="195158"/>
                      </a:lnTo>
                      <a:lnTo>
                        <a:pt x="739302" y="195894"/>
                      </a:lnTo>
                      <a:lnTo>
                        <a:pt x="729857" y="205338"/>
                      </a:lnTo>
                      <a:lnTo>
                        <a:pt x="729153" y="185746"/>
                      </a:lnTo>
                      <a:lnTo>
                        <a:pt x="709208" y="159974"/>
                      </a:lnTo>
                      <a:lnTo>
                        <a:pt x="705943" y="134235"/>
                      </a:lnTo>
                      <a:lnTo>
                        <a:pt x="695410" y="109904"/>
                      </a:lnTo>
                      <a:lnTo>
                        <a:pt x="682701" y="106639"/>
                      </a:lnTo>
                      <a:lnTo>
                        <a:pt x="667846" y="96138"/>
                      </a:lnTo>
                      <a:lnTo>
                        <a:pt x="664581" y="79811"/>
                      </a:lnTo>
                      <a:lnTo>
                        <a:pt x="650078" y="77986"/>
                      </a:lnTo>
                      <a:lnTo>
                        <a:pt x="643900" y="80900"/>
                      </a:lnTo>
                      <a:lnTo>
                        <a:pt x="635192" y="76546"/>
                      </a:lnTo>
                      <a:lnTo>
                        <a:pt x="609452" y="94666"/>
                      </a:lnTo>
                      <a:lnTo>
                        <a:pt x="601833" y="91048"/>
                      </a:lnTo>
                      <a:lnTo>
                        <a:pt x="592389" y="69663"/>
                      </a:lnTo>
                      <a:lnTo>
                        <a:pt x="586210" y="67102"/>
                      </a:lnTo>
                      <a:lnTo>
                        <a:pt x="580063" y="64572"/>
                      </a:lnTo>
                      <a:lnTo>
                        <a:pt x="566650" y="68574"/>
                      </a:lnTo>
                      <a:lnTo>
                        <a:pt x="546673" y="76546"/>
                      </a:lnTo>
                      <a:lnTo>
                        <a:pt x="533611" y="68574"/>
                      </a:lnTo>
                      <a:lnTo>
                        <a:pt x="519109" y="67838"/>
                      </a:lnTo>
                      <a:lnTo>
                        <a:pt x="514755" y="58394"/>
                      </a:lnTo>
                      <a:lnTo>
                        <a:pt x="519845" y="37745"/>
                      </a:lnTo>
                      <a:lnTo>
                        <a:pt x="511489" y="39537"/>
                      </a:lnTo>
                      <a:lnTo>
                        <a:pt x="510401" y="31566"/>
                      </a:lnTo>
                      <a:lnTo>
                        <a:pt x="505310" y="30125"/>
                      </a:lnTo>
                      <a:lnTo>
                        <a:pt x="488279" y="38449"/>
                      </a:lnTo>
                      <a:lnTo>
                        <a:pt x="492281" y="25771"/>
                      </a:lnTo>
                      <a:lnTo>
                        <a:pt x="483925" y="5795"/>
                      </a:lnTo>
                      <a:lnTo>
                        <a:pt x="477746" y="8356"/>
                      </a:lnTo>
                      <a:lnTo>
                        <a:pt x="46903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0" name="Forma Livre: Forma 249">
                  <a:extLst>
                    <a:ext uri="{FF2B5EF4-FFF2-40B4-BE49-F238E27FC236}">
                      <a16:creationId xmlns:a16="http://schemas.microsoft.com/office/drawing/2014/main" id="{ADA1EB03-B405-0E68-D547-1BA35E230FB6}"/>
                    </a:ext>
                  </a:extLst>
                </p:cNvPr>
                <p:cNvSpPr/>
                <p:nvPr/>
              </p:nvSpPr>
              <p:spPr>
                <a:xfrm>
                  <a:off x="2514495" y="2114214"/>
                  <a:ext cx="859002" cy="748361"/>
                </a:xfrm>
                <a:custGeom>
                  <a:avLst/>
                  <a:gdLst>
                    <a:gd name="csX0" fmla="*/ 469039 w 859002"/>
                    <a:gd name="csY0" fmla="*/ 0 h 748361"/>
                    <a:gd name="csX1" fmla="*/ 462156 w 859002"/>
                    <a:gd name="csY1" fmla="*/ 8356 h 748361"/>
                    <a:gd name="csX2" fmla="*/ 448357 w 859002"/>
                    <a:gd name="csY2" fmla="*/ 15239 h 748361"/>
                    <a:gd name="csX3" fmla="*/ 442563 w 859002"/>
                    <a:gd name="csY3" fmla="*/ 6883 h 748361"/>
                    <a:gd name="csX4" fmla="*/ 440738 w 859002"/>
                    <a:gd name="csY4" fmla="*/ 2529 h 748361"/>
                    <a:gd name="csX5" fmla="*/ 432062 w 859002"/>
                    <a:gd name="csY5" fmla="*/ 6883 h 748361"/>
                    <a:gd name="csX6" fmla="*/ 411381 w 859002"/>
                    <a:gd name="csY6" fmla="*/ 33391 h 748361"/>
                    <a:gd name="csX7" fmla="*/ 403026 w 859002"/>
                    <a:gd name="csY7" fmla="*/ 35920 h 748361"/>
                    <a:gd name="csX8" fmla="*/ 397935 w 859002"/>
                    <a:gd name="csY8" fmla="*/ 47893 h 748361"/>
                    <a:gd name="csX9" fmla="*/ 388171 w 859002"/>
                    <a:gd name="csY9" fmla="*/ 44628 h 748361"/>
                    <a:gd name="csX10" fmla="*/ 384906 w 859002"/>
                    <a:gd name="csY10" fmla="*/ 37745 h 748361"/>
                    <a:gd name="csX11" fmla="*/ 377990 w 859002"/>
                    <a:gd name="csY11" fmla="*/ 38449 h 748361"/>
                    <a:gd name="csX12" fmla="*/ 371844 w 859002"/>
                    <a:gd name="csY12" fmla="*/ 23947 h 748361"/>
                    <a:gd name="csX13" fmla="*/ 360575 w 859002"/>
                    <a:gd name="csY13" fmla="*/ 40274 h 748361"/>
                    <a:gd name="csX14" fmla="*/ 352955 w 859002"/>
                    <a:gd name="csY14" fmla="*/ 38449 h 748361"/>
                    <a:gd name="csX15" fmla="*/ 345336 w 859002"/>
                    <a:gd name="csY15" fmla="*/ 46420 h 748361"/>
                    <a:gd name="csX16" fmla="*/ 516580 w 859002"/>
                    <a:gd name="csY16" fmla="*/ 205338 h 748361"/>
                    <a:gd name="csX17" fmla="*/ 519109 w 859002"/>
                    <a:gd name="csY17" fmla="*/ 269879 h 748361"/>
                    <a:gd name="csX18" fmla="*/ 499164 w 859002"/>
                    <a:gd name="csY18" fmla="*/ 273528 h 748361"/>
                    <a:gd name="csX19" fmla="*/ 489720 w 859002"/>
                    <a:gd name="csY19" fmla="*/ 275321 h 748361"/>
                    <a:gd name="csX20" fmla="*/ 474481 w 859002"/>
                    <a:gd name="csY20" fmla="*/ 265909 h 748361"/>
                    <a:gd name="csX21" fmla="*/ 449446 w 859002"/>
                    <a:gd name="csY21" fmla="*/ 261555 h 748361"/>
                    <a:gd name="csX22" fmla="*/ 438209 w 859002"/>
                    <a:gd name="csY22" fmla="*/ 264084 h 748361"/>
                    <a:gd name="csX23" fmla="*/ 423707 w 859002"/>
                    <a:gd name="csY23" fmla="*/ 257201 h 748361"/>
                    <a:gd name="csX24" fmla="*/ 421882 w 859002"/>
                    <a:gd name="csY24" fmla="*/ 261555 h 748361"/>
                    <a:gd name="csX25" fmla="*/ 415735 w 859002"/>
                    <a:gd name="csY25" fmla="*/ 257938 h 748361"/>
                    <a:gd name="csX26" fmla="*/ 412470 w 859002"/>
                    <a:gd name="csY26" fmla="*/ 257201 h 748361"/>
                    <a:gd name="csX27" fmla="*/ 407379 w 859002"/>
                    <a:gd name="csY27" fmla="*/ 248493 h 748361"/>
                    <a:gd name="csX28" fmla="*/ 397935 w 859002"/>
                    <a:gd name="csY28" fmla="*/ 247757 h 748361"/>
                    <a:gd name="csX29" fmla="*/ 393613 w 859002"/>
                    <a:gd name="csY29" fmla="*/ 235432 h 748361"/>
                    <a:gd name="csX30" fmla="*/ 378727 w 859002"/>
                    <a:gd name="csY30" fmla="*/ 222018 h 748361"/>
                    <a:gd name="csX31" fmla="*/ 374373 w 859002"/>
                    <a:gd name="csY31" fmla="*/ 227812 h 748361"/>
                    <a:gd name="csX32" fmla="*/ 363488 w 859002"/>
                    <a:gd name="csY32" fmla="*/ 227812 h 748361"/>
                    <a:gd name="csX33" fmla="*/ 356605 w 859002"/>
                    <a:gd name="csY33" fmla="*/ 220929 h 748361"/>
                    <a:gd name="csX34" fmla="*/ 358046 w 859002"/>
                    <a:gd name="csY34" fmla="*/ 206427 h 748361"/>
                    <a:gd name="csX35" fmla="*/ 350426 w 859002"/>
                    <a:gd name="csY35" fmla="*/ 212221 h 748361"/>
                    <a:gd name="csX36" fmla="*/ 343543 w 859002"/>
                    <a:gd name="csY36" fmla="*/ 208956 h 748361"/>
                    <a:gd name="csX37" fmla="*/ 342807 w 859002"/>
                    <a:gd name="csY37" fmla="*/ 216575 h 748361"/>
                    <a:gd name="csX38" fmla="*/ 336628 w 859002"/>
                    <a:gd name="csY38" fmla="*/ 215839 h 748361"/>
                    <a:gd name="csX39" fmla="*/ 325391 w 859002"/>
                    <a:gd name="csY39" fmla="*/ 223458 h 748361"/>
                    <a:gd name="csX40" fmla="*/ 305799 w 859002"/>
                    <a:gd name="csY40" fmla="*/ 244139 h 748361"/>
                    <a:gd name="csX41" fmla="*/ 295298 w 859002"/>
                    <a:gd name="csY41" fmla="*/ 244139 h 748361"/>
                    <a:gd name="csX42" fmla="*/ 290208 w 859002"/>
                    <a:gd name="csY42" fmla="*/ 236520 h 748361"/>
                    <a:gd name="csX43" fmla="*/ 282589 w 859002"/>
                    <a:gd name="csY43" fmla="*/ 234695 h 748361"/>
                    <a:gd name="csX44" fmla="*/ 280796 w 859002"/>
                    <a:gd name="csY44" fmla="*/ 252111 h 748361"/>
                    <a:gd name="csX45" fmla="*/ 284061 w 859002"/>
                    <a:gd name="csY45" fmla="*/ 256113 h 748361"/>
                    <a:gd name="csX46" fmla="*/ 276442 w 859002"/>
                    <a:gd name="csY46" fmla="*/ 268438 h 748361"/>
                    <a:gd name="csX47" fmla="*/ 266261 w 859002"/>
                    <a:gd name="csY47" fmla="*/ 267350 h 748361"/>
                    <a:gd name="csX48" fmla="*/ 259378 w 859002"/>
                    <a:gd name="csY48" fmla="*/ 255376 h 748361"/>
                    <a:gd name="csX49" fmla="*/ 247053 w 859002"/>
                    <a:gd name="csY49" fmla="*/ 250318 h 748361"/>
                    <a:gd name="csX50" fmla="*/ 241963 w 859002"/>
                    <a:gd name="csY50" fmla="*/ 250318 h 748361"/>
                    <a:gd name="csX51" fmla="*/ 241226 w 859002"/>
                    <a:gd name="csY51" fmla="*/ 255376 h 748361"/>
                    <a:gd name="csX52" fmla="*/ 233255 w 859002"/>
                    <a:gd name="csY52" fmla="*/ 257938 h 748361"/>
                    <a:gd name="csX53" fmla="*/ 230726 w 859002"/>
                    <a:gd name="csY53" fmla="*/ 265909 h 748361"/>
                    <a:gd name="csX54" fmla="*/ 231814 w 859002"/>
                    <a:gd name="csY54" fmla="*/ 288031 h 748361"/>
                    <a:gd name="csX55" fmla="*/ 224899 w 859002"/>
                    <a:gd name="csY55" fmla="*/ 283677 h 748361"/>
                    <a:gd name="csX56" fmla="*/ 208604 w 859002"/>
                    <a:gd name="csY56" fmla="*/ 285502 h 748361"/>
                    <a:gd name="csX57" fmla="*/ 202425 w 859002"/>
                    <a:gd name="csY57" fmla="*/ 285502 h 748361"/>
                    <a:gd name="csX58" fmla="*/ 196246 w 859002"/>
                    <a:gd name="csY58" fmla="*/ 271704 h 748361"/>
                    <a:gd name="csX59" fmla="*/ 179215 w 859002"/>
                    <a:gd name="csY59" fmla="*/ 272440 h 748361"/>
                    <a:gd name="csX60" fmla="*/ 171596 w 859002"/>
                    <a:gd name="csY60" fmla="*/ 291648 h 748361"/>
                    <a:gd name="csX61" fmla="*/ 165417 w 859002"/>
                    <a:gd name="csY61" fmla="*/ 289856 h 748361"/>
                    <a:gd name="csX62" fmla="*/ 168682 w 859002"/>
                    <a:gd name="csY62" fmla="*/ 278587 h 748361"/>
                    <a:gd name="csX63" fmla="*/ 146561 w 859002"/>
                    <a:gd name="csY63" fmla="*/ 282236 h 748361"/>
                    <a:gd name="csX64" fmla="*/ 141118 w 859002"/>
                    <a:gd name="csY64" fmla="*/ 283677 h 748361"/>
                    <a:gd name="csX65" fmla="*/ 145472 w 859002"/>
                    <a:gd name="csY65" fmla="*/ 292385 h 748361"/>
                    <a:gd name="csX66" fmla="*/ 141118 w 859002"/>
                    <a:gd name="csY66" fmla="*/ 300004 h 748361"/>
                    <a:gd name="csX67" fmla="*/ 127704 w 859002"/>
                    <a:gd name="csY67" fmla="*/ 303622 h 748361"/>
                    <a:gd name="csX68" fmla="*/ 93225 w 859002"/>
                    <a:gd name="csY68" fmla="*/ 322478 h 748361"/>
                    <a:gd name="csX69" fmla="*/ 91432 w 859002"/>
                    <a:gd name="csY69" fmla="*/ 339541 h 748361"/>
                    <a:gd name="csX70" fmla="*/ 77634 w 859002"/>
                    <a:gd name="csY70" fmla="*/ 345720 h 748361"/>
                    <a:gd name="csX71" fmla="*/ 80163 w 859002"/>
                    <a:gd name="csY71" fmla="*/ 353340 h 748361"/>
                    <a:gd name="csX72" fmla="*/ 94698 w 859002"/>
                    <a:gd name="csY72" fmla="*/ 365665 h 748361"/>
                    <a:gd name="csX73" fmla="*/ 93961 w 859002"/>
                    <a:gd name="csY73" fmla="*/ 369635 h 748361"/>
                    <a:gd name="csX74" fmla="*/ 84517 w 859002"/>
                    <a:gd name="csY74" fmla="*/ 371460 h 748361"/>
                    <a:gd name="csX75" fmla="*/ 80163 w 859002"/>
                    <a:gd name="csY75" fmla="*/ 377638 h 748361"/>
                    <a:gd name="csX76" fmla="*/ 84517 w 859002"/>
                    <a:gd name="csY76" fmla="*/ 380167 h 748361"/>
                    <a:gd name="csX77" fmla="*/ 82724 w 859002"/>
                    <a:gd name="csY77" fmla="*/ 386346 h 748361"/>
                    <a:gd name="csX78" fmla="*/ 87783 w 859002"/>
                    <a:gd name="csY78" fmla="*/ 402673 h 748361"/>
                    <a:gd name="csX79" fmla="*/ 46805 w 859002"/>
                    <a:gd name="csY79" fmla="*/ 430237 h 748361"/>
                    <a:gd name="csX80" fmla="*/ 28653 w 859002"/>
                    <a:gd name="csY80" fmla="*/ 452359 h 748361"/>
                    <a:gd name="csX81" fmla="*/ 26860 w 859002"/>
                    <a:gd name="csY81" fmla="*/ 458538 h 748361"/>
                    <a:gd name="csX82" fmla="*/ 21770 w 859002"/>
                    <a:gd name="csY82" fmla="*/ 460331 h 748361"/>
                    <a:gd name="csX83" fmla="*/ 5442 w 859002"/>
                    <a:gd name="csY83" fmla="*/ 472304 h 748361"/>
                    <a:gd name="csX84" fmla="*/ 11237 w 859002"/>
                    <a:gd name="csY84" fmla="*/ 506783 h 748361"/>
                    <a:gd name="csX85" fmla="*/ 17416 w 859002"/>
                    <a:gd name="csY85" fmla="*/ 509312 h 748361"/>
                    <a:gd name="csX86" fmla="*/ 18152 w 859002"/>
                    <a:gd name="csY86" fmla="*/ 541967 h 748361"/>
                    <a:gd name="csX87" fmla="*/ 22506 w 859002"/>
                    <a:gd name="csY87" fmla="*/ 558998 h 748361"/>
                    <a:gd name="csX88" fmla="*/ 19945 w 859002"/>
                    <a:gd name="csY88" fmla="*/ 565913 h 748361"/>
                    <a:gd name="csX89" fmla="*/ 4354 w 859002"/>
                    <a:gd name="csY89" fmla="*/ 569531 h 748361"/>
                    <a:gd name="csX90" fmla="*/ 0 w 859002"/>
                    <a:gd name="csY90" fmla="*/ 581504 h 748361"/>
                    <a:gd name="csX91" fmla="*/ 3618 w 859002"/>
                    <a:gd name="csY91" fmla="*/ 597095 h 748361"/>
                    <a:gd name="csX92" fmla="*/ 25035 w 859002"/>
                    <a:gd name="csY92" fmla="*/ 600360 h 748361"/>
                    <a:gd name="csX93" fmla="*/ 28653 w 859002"/>
                    <a:gd name="csY93" fmla="*/ 596006 h 748361"/>
                    <a:gd name="csX94" fmla="*/ 53335 w 859002"/>
                    <a:gd name="csY94" fmla="*/ 605451 h 748361"/>
                    <a:gd name="csX95" fmla="*/ 62043 w 859002"/>
                    <a:gd name="csY95" fmla="*/ 604714 h 748361"/>
                    <a:gd name="csX96" fmla="*/ 64572 w 859002"/>
                    <a:gd name="csY96" fmla="*/ 597095 h 748361"/>
                    <a:gd name="csX97" fmla="*/ 84517 w 859002"/>
                    <a:gd name="csY97" fmla="*/ 594566 h 748361"/>
                    <a:gd name="csX98" fmla="*/ 88871 w 859002"/>
                    <a:gd name="csY98" fmla="*/ 580768 h 748361"/>
                    <a:gd name="csX99" fmla="*/ 97227 w 859002"/>
                    <a:gd name="csY99" fmla="*/ 577886 h 748361"/>
                    <a:gd name="csX100" fmla="*/ 100844 w 859002"/>
                    <a:gd name="csY100" fmla="*/ 569531 h 748361"/>
                    <a:gd name="csX101" fmla="*/ 100844 w 859002"/>
                    <a:gd name="csY101" fmla="*/ 560087 h 748361"/>
                    <a:gd name="csX102" fmla="*/ 112818 w 859002"/>
                    <a:gd name="csY102" fmla="*/ 558998 h 748361"/>
                    <a:gd name="csX103" fmla="*/ 125879 w 859002"/>
                    <a:gd name="csY103" fmla="*/ 547025 h 748361"/>
                    <a:gd name="csX104" fmla="*/ 125879 w 859002"/>
                    <a:gd name="csY104" fmla="*/ 535788 h 748361"/>
                    <a:gd name="csX105" fmla="*/ 133499 w 859002"/>
                    <a:gd name="csY105" fmla="*/ 530730 h 748361"/>
                    <a:gd name="csX106" fmla="*/ 141118 w 859002"/>
                    <a:gd name="csY106" fmla="*/ 532522 h 748361"/>
                    <a:gd name="csX107" fmla="*/ 144736 w 859002"/>
                    <a:gd name="csY107" fmla="*/ 518756 h 748361"/>
                    <a:gd name="csX108" fmla="*/ 161063 w 859002"/>
                    <a:gd name="csY108" fmla="*/ 541967 h 748361"/>
                    <a:gd name="csX109" fmla="*/ 172332 w 859002"/>
                    <a:gd name="csY109" fmla="*/ 548850 h 748361"/>
                    <a:gd name="csX110" fmla="*/ 163592 w 859002"/>
                    <a:gd name="csY110" fmla="*/ 558294 h 748361"/>
                    <a:gd name="csX111" fmla="*/ 167946 w 859002"/>
                    <a:gd name="csY111" fmla="*/ 567706 h 748361"/>
                    <a:gd name="csX112" fmla="*/ 161799 w 859002"/>
                    <a:gd name="csY112" fmla="*/ 570267 h 748361"/>
                    <a:gd name="csX113" fmla="*/ 170507 w 859002"/>
                    <a:gd name="csY113" fmla="*/ 579679 h 748361"/>
                    <a:gd name="csX114" fmla="*/ 179919 w 859002"/>
                    <a:gd name="csY114" fmla="*/ 576414 h 748361"/>
                    <a:gd name="csX115" fmla="*/ 181744 w 859002"/>
                    <a:gd name="csY115" fmla="*/ 581504 h 748361"/>
                    <a:gd name="csX116" fmla="*/ 187923 w 859002"/>
                    <a:gd name="csY116" fmla="*/ 581504 h 748361"/>
                    <a:gd name="csX117" fmla="*/ 202425 w 859002"/>
                    <a:gd name="csY117" fmla="*/ 567002 h 748361"/>
                    <a:gd name="csX118" fmla="*/ 210045 w 859002"/>
                    <a:gd name="csY118" fmla="*/ 589123 h 748361"/>
                    <a:gd name="csX119" fmla="*/ 218016 w 859002"/>
                    <a:gd name="csY119" fmla="*/ 583329 h 748361"/>
                    <a:gd name="csX120" fmla="*/ 235784 w 859002"/>
                    <a:gd name="csY120" fmla="*/ 609068 h 748361"/>
                    <a:gd name="csX121" fmla="*/ 247053 w 859002"/>
                    <a:gd name="csY121" fmla="*/ 590948 h 748361"/>
                    <a:gd name="csX122" fmla="*/ 238697 w 859002"/>
                    <a:gd name="csY122" fmla="*/ 583329 h 748361"/>
                    <a:gd name="csX123" fmla="*/ 260115 w 859002"/>
                    <a:gd name="csY123" fmla="*/ 582240 h 748361"/>
                    <a:gd name="csX124" fmla="*/ 272088 w 859002"/>
                    <a:gd name="csY124" fmla="*/ 570971 h 748361"/>
                    <a:gd name="csX125" fmla="*/ 278971 w 859002"/>
                    <a:gd name="csY125" fmla="*/ 576414 h 748361"/>
                    <a:gd name="csX126" fmla="*/ 290944 w 859002"/>
                    <a:gd name="csY126" fmla="*/ 581504 h 748361"/>
                    <a:gd name="csX127" fmla="*/ 279707 w 859002"/>
                    <a:gd name="csY127" fmla="*/ 588387 h 748361"/>
                    <a:gd name="csX128" fmla="*/ 281500 w 859002"/>
                    <a:gd name="csY128" fmla="*/ 595302 h 748361"/>
                    <a:gd name="csX129" fmla="*/ 292033 w 859002"/>
                    <a:gd name="csY129" fmla="*/ 600360 h 748361"/>
                    <a:gd name="csX130" fmla="*/ 304006 w 859002"/>
                    <a:gd name="csY130" fmla="*/ 589123 h 748361"/>
                    <a:gd name="csX131" fmla="*/ 310889 w 859002"/>
                    <a:gd name="csY131" fmla="*/ 604010 h 748361"/>
                    <a:gd name="csX132" fmla="*/ 315979 w 859002"/>
                    <a:gd name="csY132" fmla="*/ 614863 h 748361"/>
                    <a:gd name="csX133" fmla="*/ 302181 w 859002"/>
                    <a:gd name="csY133" fmla="*/ 619217 h 748361"/>
                    <a:gd name="csX134" fmla="*/ 301445 w 859002"/>
                    <a:gd name="csY134" fmla="*/ 624659 h 748361"/>
                    <a:gd name="csX135" fmla="*/ 312714 w 859002"/>
                    <a:gd name="csY135" fmla="*/ 632278 h 748361"/>
                    <a:gd name="csX136" fmla="*/ 309064 w 859002"/>
                    <a:gd name="csY136" fmla="*/ 636632 h 748361"/>
                    <a:gd name="csX137" fmla="*/ 315979 w 859002"/>
                    <a:gd name="csY137" fmla="*/ 644988 h 748361"/>
                    <a:gd name="csX138" fmla="*/ 342807 w 859002"/>
                    <a:gd name="csY138" fmla="*/ 627220 h 748361"/>
                    <a:gd name="csX139" fmla="*/ 348602 w 859002"/>
                    <a:gd name="csY139" fmla="*/ 637369 h 748361"/>
                    <a:gd name="csX140" fmla="*/ 368578 w 859002"/>
                    <a:gd name="csY140" fmla="*/ 636632 h 748361"/>
                    <a:gd name="csX141" fmla="*/ 378727 w 859002"/>
                    <a:gd name="csY141" fmla="*/ 636632 h 748361"/>
                    <a:gd name="csX142" fmla="*/ 384906 w 859002"/>
                    <a:gd name="csY142" fmla="*/ 631574 h 748361"/>
                    <a:gd name="csX143" fmla="*/ 398672 w 859002"/>
                    <a:gd name="csY143" fmla="*/ 636632 h 748361"/>
                    <a:gd name="csX144" fmla="*/ 407379 w 859002"/>
                    <a:gd name="csY144" fmla="*/ 639193 h 748361"/>
                    <a:gd name="csX145" fmla="*/ 415735 w 859002"/>
                    <a:gd name="csY145" fmla="*/ 639193 h 748361"/>
                    <a:gd name="csX146" fmla="*/ 410645 w 859002"/>
                    <a:gd name="csY146" fmla="*/ 656225 h 748361"/>
                    <a:gd name="csX147" fmla="*/ 416824 w 859002"/>
                    <a:gd name="csY147" fmla="*/ 659842 h 748361"/>
                    <a:gd name="csX148" fmla="*/ 416824 w 859002"/>
                    <a:gd name="csY148" fmla="*/ 667462 h 748361"/>
                    <a:gd name="csX149" fmla="*/ 408820 w 859002"/>
                    <a:gd name="csY149" fmla="*/ 672552 h 748361"/>
                    <a:gd name="csX150" fmla="*/ 419353 w 859002"/>
                    <a:gd name="csY150" fmla="*/ 703766 h 748361"/>
                    <a:gd name="csX151" fmla="*/ 418264 w 859002"/>
                    <a:gd name="csY151" fmla="*/ 718268 h 748361"/>
                    <a:gd name="csX152" fmla="*/ 424443 w 859002"/>
                    <a:gd name="csY152" fmla="*/ 717532 h 748361"/>
                    <a:gd name="csX153" fmla="*/ 425147 w 859002"/>
                    <a:gd name="csY153" fmla="*/ 723326 h 748361"/>
                    <a:gd name="csX154" fmla="*/ 440738 w 859002"/>
                    <a:gd name="csY154" fmla="*/ 726976 h 748361"/>
                    <a:gd name="csX155" fmla="*/ 463980 w 859002"/>
                    <a:gd name="csY155" fmla="*/ 722622 h 748361"/>
                    <a:gd name="csX156" fmla="*/ 475217 w 859002"/>
                    <a:gd name="csY156" fmla="*/ 718268 h 748361"/>
                    <a:gd name="csX157" fmla="*/ 497723 w 859002"/>
                    <a:gd name="csY157" fmla="*/ 715707 h 748361"/>
                    <a:gd name="csX158" fmla="*/ 492281 w 859002"/>
                    <a:gd name="csY158" fmla="*/ 702677 h 748361"/>
                    <a:gd name="csX159" fmla="*/ 495162 w 859002"/>
                    <a:gd name="csY159" fmla="*/ 700116 h 748361"/>
                    <a:gd name="csX160" fmla="*/ 521638 w 859002"/>
                    <a:gd name="csY160" fmla="*/ 707031 h 748361"/>
                    <a:gd name="csX161" fmla="*/ 525992 w 859002"/>
                    <a:gd name="csY161" fmla="*/ 709560 h 748361"/>
                    <a:gd name="csX162" fmla="*/ 537965 w 859002"/>
                    <a:gd name="csY162" fmla="*/ 717532 h 748361"/>
                    <a:gd name="csX163" fmla="*/ 545968 w 859002"/>
                    <a:gd name="csY163" fmla="*/ 684877 h 748361"/>
                    <a:gd name="csX164" fmla="*/ 573533 w 859002"/>
                    <a:gd name="csY164" fmla="*/ 679435 h 748361"/>
                    <a:gd name="csX165" fmla="*/ 582945 w 859002"/>
                    <a:gd name="csY165" fmla="*/ 683789 h 748361"/>
                    <a:gd name="csX166" fmla="*/ 586210 w 859002"/>
                    <a:gd name="csY166" fmla="*/ 696851 h 748361"/>
                    <a:gd name="csX167" fmla="*/ 594918 w 859002"/>
                    <a:gd name="csY167" fmla="*/ 701941 h 748361"/>
                    <a:gd name="csX168" fmla="*/ 600008 w 859002"/>
                    <a:gd name="csY168" fmla="*/ 715707 h 748361"/>
                    <a:gd name="csX169" fmla="*/ 615599 w 859002"/>
                    <a:gd name="csY169" fmla="*/ 735300 h 748361"/>
                    <a:gd name="csX170" fmla="*/ 623955 w 859002"/>
                    <a:gd name="csY170" fmla="*/ 731330 h 748361"/>
                    <a:gd name="csX171" fmla="*/ 642075 w 859002"/>
                    <a:gd name="csY171" fmla="*/ 742215 h 748361"/>
                    <a:gd name="csX172" fmla="*/ 650078 w 859002"/>
                    <a:gd name="csY172" fmla="*/ 738213 h 748361"/>
                    <a:gd name="csX173" fmla="*/ 656961 w 859002"/>
                    <a:gd name="csY173" fmla="*/ 742215 h 748361"/>
                    <a:gd name="csX174" fmla="*/ 677642 w 859002"/>
                    <a:gd name="csY174" fmla="*/ 741478 h 748361"/>
                    <a:gd name="csX175" fmla="*/ 677642 w 859002"/>
                    <a:gd name="csY175" fmla="*/ 743303 h 748361"/>
                    <a:gd name="csX176" fmla="*/ 679083 w 859002"/>
                    <a:gd name="csY176" fmla="*/ 748361 h 748361"/>
                    <a:gd name="csX177" fmla="*/ 696499 w 859002"/>
                    <a:gd name="csY177" fmla="*/ 747657 h 748361"/>
                    <a:gd name="csX178" fmla="*/ 702293 w 859002"/>
                    <a:gd name="csY178" fmla="*/ 738213 h 748361"/>
                    <a:gd name="csX179" fmla="*/ 718621 w 859002"/>
                    <a:gd name="csY179" fmla="*/ 732771 h 748361"/>
                    <a:gd name="csX180" fmla="*/ 721534 w 859002"/>
                    <a:gd name="csY180" fmla="*/ 724415 h 748361"/>
                    <a:gd name="csX181" fmla="*/ 755629 w 859002"/>
                    <a:gd name="csY181" fmla="*/ 713914 h 748361"/>
                    <a:gd name="csX182" fmla="*/ 795518 w 859002"/>
                    <a:gd name="csY182" fmla="*/ 708824 h 748361"/>
                    <a:gd name="csX183" fmla="*/ 812582 w 859002"/>
                    <a:gd name="csY183" fmla="*/ 717532 h 748361"/>
                    <a:gd name="csX184" fmla="*/ 833263 w 859002"/>
                    <a:gd name="csY184" fmla="*/ 713914 h 748361"/>
                    <a:gd name="csX185" fmla="*/ 840882 w 859002"/>
                    <a:gd name="csY185" fmla="*/ 707031 h 748361"/>
                    <a:gd name="csX186" fmla="*/ 849590 w 859002"/>
                    <a:gd name="csY186" fmla="*/ 708824 h 748361"/>
                    <a:gd name="csX187" fmla="*/ 858298 w 859002"/>
                    <a:gd name="csY187" fmla="*/ 707031 h 748361"/>
                    <a:gd name="csX188" fmla="*/ 859002 w 859002"/>
                    <a:gd name="csY188" fmla="*/ 700116 h 748361"/>
                    <a:gd name="csX189" fmla="*/ 848854 w 859002"/>
                    <a:gd name="csY189" fmla="*/ 700116 h 748361"/>
                    <a:gd name="csX190" fmla="*/ 848854 w 859002"/>
                    <a:gd name="csY190" fmla="*/ 690704 h 748361"/>
                    <a:gd name="csX191" fmla="*/ 822026 w 859002"/>
                    <a:gd name="csY191" fmla="*/ 672552 h 748361"/>
                    <a:gd name="csX192" fmla="*/ 821290 w 859002"/>
                    <a:gd name="csY192" fmla="*/ 665669 h 748361"/>
                    <a:gd name="csX193" fmla="*/ 815111 w 859002"/>
                    <a:gd name="csY193" fmla="*/ 667462 h 748361"/>
                    <a:gd name="csX194" fmla="*/ 803874 w 859002"/>
                    <a:gd name="csY194" fmla="*/ 662404 h 748361"/>
                    <a:gd name="csX195" fmla="*/ 783193 w 859002"/>
                    <a:gd name="csY195" fmla="*/ 640986 h 748361"/>
                    <a:gd name="csX196" fmla="*/ 773045 w 859002"/>
                    <a:gd name="csY196" fmla="*/ 646813 h 748361"/>
                    <a:gd name="csX197" fmla="*/ 754892 w 859002"/>
                    <a:gd name="csY197" fmla="*/ 639898 h 748361"/>
                    <a:gd name="csX198" fmla="*/ 749834 w 859002"/>
                    <a:gd name="csY198" fmla="*/ 626132 h 748361"/>
                    <a:gd name="csX199" fmla="*/ 736772 w 859002"/>
                    <a:gd name="csY199" fmla="*/ 615951 h 748361"/>
                    <a:gd name="csX200" fmla="*/ 769427 w 859002"/>
                    <a:gd name="csY200" fmla="*/ 550674 h 748361"/>
                    <a:gd name="csX201" fmla="*/ 769427 w 859002"/>
                    <a:gd name="csY201" fmla="*/ 530730 h 748361"/>
                    <a:gd name="csX202" fmla="*/ 779927 w 859002"/>
                    <a:gd name="csY202" fmla="*/ 525639 h 748361"/>
                    <a:gd name="csX203" fmla="*/ 779927 w 859002"/>
                    <a:gd name="csY203" fmla="*/ 519461 h 748361"/>
                    <a:gd name="csX204" fmla="*/ 767954 w 859002"/>
                    <a:gd name="csY204" fmla="*/ 513666 h 748361"/>
                    <a:gd name="csX205" fmla="*/ 751627 w 859002"/>
                    <a:gd name="csY205" fmla="*/ 513666 h 748361"/>
                    <a:gd name="csX206" fmla="*/ 744744 w 859002"/>
                    <a:gd name="csY206" fmla="*/ 518756 h 748361"/>
                    <a:gd name="csX207" fmla="*/ 730946 w 859002"/>
                    <a:gd name="csY207" fmla="*/ 485014 h 748361"/>
                    <a:gd name="csX208" fmla="*/ 734211 w 859002"/>
                    <a:gd name="csY208" fmla="*/ 464332 h 748361"/>
                    <a:gd name="csX209" fmla="*/ 721534 w 859002"/>
                    <a:gd name="csY209" fmla="*/ 444740 h 748361"/>
                    <a:gd name="csX210" fmla="*/ 761071 w 859002"/>
                    <a:gd name="csY210" fmla="*/ 407731 h 748361"/>
                    <a:gd name="csX211" fmla="*/ 801345 w 859002"/>
                    <a:gd name="csY211" fmla="*/ 369635 h 748361"/>
                    <a:gd name="csX212" fmla="*/ 810757 w 859002"/>
                    <a:gd name="csY212" fmla="*/ 367106 h 748361"/>
                    <a:gd name="csX213" fmla="*/ 808228 w 859002"/>
                    <a:gd name="csY213" fmla="*/ 356957 h 748361"/>
                    <a:gd name="csX214" fmla="*/ 818761 w 859002"/>
                    <a:gd name="csY214" fmla="*/ 333747 h 748361"/>
                    <a:gd name="csX215" fmla="*/ 810757 w 859002"/>
                    <a:gd name="csY215" fmla="*/ 313066 h 748361"/>
                    <a:gd name="csX216" fmla="*/ 805699 w 859002"/>
                    <a:gd name="csY216" fmla="*/ 300004 h 748361"/>
                    <a:gd name="csX217" fmla="*/ 809316 w 859002"/>
                    <a:gd name="csY217" fmla="*/ 282941 h 748361"/>
                    <a:gd name="csX218" fmla="*/ 803874 w 859002"/>
                    <a:gd name="csY218" fmla="*/ 281148 h 748361"/>
                    <a:gd name="csX219" fmla="*/ 803874 w 859002"/>
                    <a:gd name="csY219" fmla="*/ 273528 h 748361"/>
                    <a:gd name="csX220" fmla="*/ 795518 w 859002"/>
                    <a:gd name="csY220" fmla="*/ 269174 h 748361"/>
                    <a:gd name="csX221" fmla="*/ 800609 w 859002"/>
                    <a:gd name="csY221" fmla="*/ 247757 h 748361"/>
                    <a:gd name="csX222" fmla="*/ 796991 w 859002"/>
                    <a:gd name="csY222" fmla="*/ 237256 h 748361"/>
                    <a:gd name="csX223" fmla="*/ 802433 w 859002"/>
                    <a:gd name="csY223" fmla="*/ 215103 h 748361"/>
                    <a:gd name="csX224" fmla="*/ 785018 w 859002"/>
                    <a:gd name="csY224" fmla="*/ 196983 h 748361"/>
                    <a:gd name="csX225" fmla="*/ 773781 w 859002"/>
                    <a:gd name="csY225" fmla="*/ 192629 h 748361"/>
                    <a:gd name="csX226" fmla="*/ 757453 w 859002"/>
                    <a:gd name="csY226" fmla="*/ 207131 h 748361"/>
                    <a:gd name="csX227" fmla="*/ 751627 w 859002"/>
                    <a:gd name="csY227" fmla="*/ 197719 h 748361"/>
                    <a:gd name="csX228" fmla="*/ 744744 w 859002"/>
                    <a:gd name="csY228" fmla="*/ 195158 h 748361"/>
                    <a:gd name="csX229" fmla="*/ 739302 w 859002"/>
                    <a:gd name="csY229" fmla="*/ 195894 h 748361"/>
                    <a:gd name="csX230" fmla="*/ 729857 w 859002"/>
                    <a:gd name="csY230" fmla="*/ 205338 h 748361"/>
                    <a:gd name="csX231" fmla="*/ 729153 w 859002"/>
                    <a:gd name="csY231" fmla="*/ 185746 h 748361"/>
                    <a:gd name="csX232" fmla="*/ 709208 w 859002"/>
                    <a:gd name="csY232" fmla="*/ 159974 h 748361"/>
                    <a:gd name="csX233" fmla="*/ 705943 w 859002"/>
                    <a:gd name="csY233" fmla="*/ 134235 h 748361"/>
                    <a:gd name="csX234" fmla="*/ 695410 w 859002"/>
                    <a:gd name="csY234" fmla="*/ 109904 h 748361"/>
                    <a:gd name="csX235" fmla="*/ 682701 w 859002"/>
                    <a:gd name="csY235" fmla="*/ 106639 h 748361"/>
                    <a:gd name="csX236" fmla="*/ 667846 w 859002"/>
                    <a:gd name="csY236" fmla="*/ 96138 h 748361"/>
                    <a:gd name="csX237" fmla="*/ 664581 w 859002"/>
                    <a:gd name="csY237" fmla="*/ 79811 h 748361"/>
                    <a:gd name="csX238" fmla="*/ 650078 w 859002"/>
                    <a:gd name="csY238" fmla="*/ 77986 h 748361"/>
                    <a:gd name="csX239" fmla="*/ 643900 w 859002"/>
                    <a:gd name="csY239" fmla="*/ 80900 h 748361"/>
                    <a:gd name="csX240" fmla="*/ 635192 w 859002"/>
                    <a:gd name="csY240" fmla="*/ 76546 h 748361"/>
                    <a:gd name="csX241" fmla="*/ 609452 w 859002"/>
                    <a:gd name="csY241" fmla="*/ 94666 h 748361"/>
                    <a:gd name="csX242" fmla="*/ 601833 w 859002"/>
                    <a:gd name="csY242" fmla="*/ 91048 h 748361"/>
                    <a:gd name="csX243" fmla="*/ 592389 w 859002"/>
                    <a:gd name="csY243" fmla="*/ 69663 h 748361"/>
                    <a:gd name="csX244" fmla="*/ 586210 w 859002"/>
                    <a:gd name="csY244" fmla="*/ 67102 h 748361"/>
                    <a:gd name="csX245" fmla="*/ 580063 w 859002"/>
                    <a:gd name="csY245" fmla="*/ 64572 h 748361"/>
                    <a:gd name="csX246" fmla="*/ 566650 w 859002"/>
                    <a:gd name="csY246" fmla="*/ 68574 h 748361"/>
                    <a:gd name="csX247" fmla="*/ 546673 w 859002"/>
                    <a:gd name="csY247" fmla="*/ 76546 h 748361"/>
                    <a:gd name="csX248" fmla="*/ 533611 w 859002"/>
                    <a:gd name="csY248" fmla="*/ 68574 h 748361"/>
                    <a:gd name="csX249" fmla="*/ 519109 w 859002"/>
                    <a:gd name="csY249" fmla="*/ 67838 h 748361"/>
                    <a:gd name="csX250" fmla="*/ 514755 w 859002"/>
                    <a:gd name="csY250" fmla="*/ 58394 h 748361"/>
                    <a:gd name="csX251" fmla="*/ 519845 w 859002"/>
                    <a:gd name="csY251" fmla="*/ 37745 h 748361"/>
                    <a:gd name="csX252" fmla="*/ 511489 w 859002"/>
                    <a:gd name="csY252" fmla="*/ 39537 h 748361"/>
                    <a:gd name="csX253" fmla="*/ 510401 w 859002"/>
                    <a:gd name="csY253" fmla="*/ 31566 h 748361"/>
                    <a:gd name="csX254" fmla="*/ 505310 w 859002"/>
                    <a:gd name="csY254" fmla="*/ 30125 h 748361"/>
                    <a:gd name="csX255" fmla="*/ 488279 w 859002"/>
                    <a:gd name="csY255" fmla="*/ 38449 h 748361"/>
                    <a:gd name="csX256" fmla="*/ 492281 w 859002"/>
                    <a:gd name="csY256" fmla="*/ 25771 h 748361"/>
                    <a:gd name="csX257" fmla="*/ 483925 w 859002"/>
                    <a:gd name="csY257" fmla="*/ 5795 h 748361"/>
                    <a:gd name="csX258" fmla="*/ 477746 w 859002"/>
                    <a:gd name="csY258" fmla="*/ 8356 h 748361"/>
                    <a:gd name="csX259" fmla="*/ 469039 w 859002"/>
                    <a:gd name="csY259" fmla="*/ 0 h 74836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  <a:cxn ang="0">
                      <a:pos x="csX217" y="csY217"/>
                    </a:cxn>
                    <a:cxn ang="0">
                      <a:pos x="csX218" y="csY218"/>
                    </a:cxn>
                    <a:cxn ang="0">
                      <a:pos x="csX219" y="csY219"/>
                    </a:cxn>
                    <a:cxn ang="0">
                      <a:pos x="csX220" y="csY220"/>
                    </a:cxn>
                    <a:cxn ang="0">
                      <a:pos x="csX221" y="csY221"/>
                    </a:cxn>
                    <a:cxn ang="0">
                      <a:pos x="csX222" y="csY222"/>
                    </a:cxn>
                    <a:cxn ang="0">
                      <a:pos x="csX223" y="csY223"/>
                    </a:cxn>
                    <a:cxn ang="0">
                      <a:pos x="csX224" y="csY224"/>
                    </a:cxn>
                    <a:cxn ang="0">
                      <a:pos x="csX225" y="csY225"/>
                    </a:cxn>
                    <a:cxn ang="0">
                      <a:pos x="csX226" y="csY226"/>
                    </a:cxn>
                    <a:cxn ang="0">
                      <a:pos x="csX227" y="csY227"/>
                    </a:cxn>
                    <a:cxn ang="0">
                      <a:pos x="csX228" y="csY228"/>
                    </a:cxn>
                    <a:cxn ang="0">
                      <a:pos x="csX229" y="csY229"/>
                    </a:cxn>
                    <a:cxn ang="0">
                      <a:pos x="csX230" y="csY230"/>
                    </a:cxn>
                    <a:cxn ang="0">
                      <a:pos x="csX231" y="csY231"/>
                    </a:cxn>
                    <a:cxn ang="0">
                      <a:pos x="csX232" y="csY232"/>
                    </a:cxn>
                    <a:cxn ang="0">
                      <a:pos x="csX233" y="csY233"/>
                    </a:cxn>
                    <a:cxn ang="0">
                      <a:pos x="csX234" y="csY234"/>
                    </a:cxn>
                    <a:cxn ang="0">
                      <a:pos x="csX235" y="csY235"/>
                    </a:cxn>
                    <a:cxn ang="0">
                      <a:pos x="csX236" y="csY236"/>
                    </a:cxn>
                    <a:cxn ang="0">
                      <a:pos x="csX237" y="csY237"/>
                    </a:cxn>
                    <a:cxn ang="0">
                      <a:pos x="csX238" y="csY238"/>
                    </a:cxn>
                    <a:cxn ang="0">
                      <a:pos x="csX239" y="csY239"/>
                    </a:cxn>
                    <a:cxn ang="0">
                      <a:pos x="csX240" y="csY240"/>
                    </a:cxn>
                    <a:cxn ang="0">
                      <a:pos x="csX241" y="csY241"/>
                    </a:cxn>
                    <a:cxn ang="0">
                      <a:pos x="csX242" y="csY242"/>
                    </a:cxn>
                    <a:cxn ang="0">
                      <a:pos x="csX243" y="csY243"/>
                    </a:cxn>
                    <a:cxn ang="0">
                      <a:pos x="csX244" y="csY244"/>
                    </a:cxn>
                    <a:cxn ang="0">
                      <a:pos x="csX245" y="csY245"/>
                    </a:cxn>
                    <a:cxn ang="0">
                      <a:pos x="csX246" y="csY246"/>
                    </a:cxn>
                    <a:cxn ang="0">
                      <a:pos x="csX247" y="csY247"/>
                    </a:cxn>
                    <a:cxn ang="0">
                      <a:pos x="csX248" y="csY248"/>
                    </a:cxn>
                    <a:cxn ang="0">
                      <a:pos x="csX249" y="csY249"/>
                    </a:cxn>
                    <a:cxn ang="0">
                      <a:pos x="csX250" y="csY250"/>
                    </a:cxn>
                    <a:cxn ang="0">
                      <a:pos x="csX251" y="csY251"/>
                    </a:cxn>
                    <a:cxn ang="0">
                      <a:pos x="csX252" y="csY252"/>
                    </a:cxn>
                    <a:cxn ang="0">
                      <a:pos x="csX253" y="csY253"/>
                    </a:cxn>
                    <a:cxn ang="0">
                      <a:pos x="csX254" y="csY254"/>
                    </a:cxn>
                    <a:cxn ang="0">
                      <a:pos x="csX255" y="csY255"/>
                    </a:cxn>
                    <a:cxn ang="0">
                      <a:pos x="csX256" y="csY256"/>
                    </a:cxn>
                    <a:cxn ang="0">
                      <a:pos x="csX257" y="csY257"/>
                    </a:cxn>
                    <a:cxn ang="0">
                      <a:pos x="csX258" y="csY258"/>
                    </a:cxn>
                    <a:cxn ang="0">
                      <a:pos x="csX259" y="csY259"/>
                    </a:cxn>
                  </a:cxnLst>
                  <a:rect l="l" t="t" r="r" b="b"/>
                  <a:pathLst>
                    <a:path w="859002" h="748361">
                      <a:moveTo>
                        <a:pt x="469039" y="0"/>
                      </a:moveTo>
                      <a:lnTo>
                        <a:pt x="462156" y="8356"/>
                      </a:lnTo>
                      <a:lnTo>
                        <a:pt x="448357" y="15239"/>
                      </a:lnTo>
                      <a:lnTo>
                        <a:pt x="442563" y="6883"/>
                      </a:lnTo>
                      <a:lnTo>
                        <a:pt x="440738" y="2529"/>
                      </a:lnTo>
                      <a:lnTo>
                        <a:pt x="432062" y="6883"/>
                      </a:lnTo>
                      <a:lnTo>
                        <a:pt x="411381" y="33391"/>
                      </a:lnTo>
                      <a:lnTo>
                        <a:pt x="403026" y="35920"/>
                      </a:lnTo>
                      <a:lnTo>
                        <a:pt x="397935" y="47893"/>
                      </a:lnTo>
                      <a:lnTo>
                        <a:pt x="388171" y="44628"/>
                      </a:lnTo>
                      <a:lnTo>
                        <a:pt x="384906" y="37745"/>
                      </a:lnTo>
                      <a:lnTo>
                        <a:pt x="377990" y="38449"/>
                      </a:lnTo>
                      <a:lnTo>
                        <a:pt x="371844" y="23947"/>
                      </a:lnTo>
                      <a:lnTo>
                        <a:pt x="360575" y="40274"/>
                      </a:lnTo>
                      <a:lnTo>
                        <a:pt x="352955" y="38449"/>
                      </a:lnTo>
                      <a:lnTo>
                        <a:pt x="345336" y="46420"/>
                      </a:lnTo>
                      <a:lnTo>
                        <a:pt x="516580" y="205338"/>
                      </a:lnTo>
                      <a:lnTo>
                        <a:pt x="519109" y="269879"/>
                      </a:lnTo>
                      <a:lnTo>
                        <a:pt x="499164" y="273528"/>
                      </a:lnTo>
                      <a:lnTo>
                        <a:pt x="489720" y="275321"/>
                      </a:lnTo>
                      <a:lnTo>
                        <a:pt x="474481" y="265909"/>
                      </a:lnTo>
                      <a:lnTo>
                        <a:pt x="449446" y="261555"/>
                      </a:lnTo>
                      <a:lnTo>
                        <a:pt x="438209" y="264084"/>
                      </a:lnTo>
                      <a:lnTo>
                        <a:pt x="423707" y="257201"/>
                      </a:lnTo>
                      <a:lnTo>
                        <a:pt x="421882" y="261555"/>
                      </a:lnTo>
                      <a:lnTo>
                        <a:pt x="415735" y="257938"/>
                      </a:lnTo>
                      <a:lnTo>
                        <a:pt x="412470" y="257201"/>
                      </a:lnTo>
                      <a:lnTo>
                        <a:pt x="407379" y="248493"/>
                      </a:lnTo>
                      <a:lnTo>
                        <a:pt x="397935" y="247757"/>
                      </a:lnTo>
                      <a:lnTo>
                        <a:pt x="393613" y="235432"/>
                      </a:lnTo>
                      <a:lnTo>
                        <a:pt x="378727" y="222018"/>
                      </a:lnTo>
                      <a:lnTo>
                        <a:pt x="374373" y="227812"/>
                      </a:lnTo>
                      <a:lnTo>
                        <a:pt x="363488" y="227812"/>
                      </a:lnTo>
                      <a:lnTo>
                        <a:pt x="356605" y="220929"/>
                      </a:lnTo>
                      <a:lnTo>
                        <a:pt x="358046" y="206427"/>
                      </a:lnTo>
                      <a:lnTo>
                        <a:pt x="350426" y="212221"/>
                      </a:lnTo>
                      <a:lnTo>
                        <a:pt x="343543" y="208956"/>
                      </a:lnTo>
                      <a:lnTo>
                        <a:pt x="342807" y="216575"/>
                      </a:lnTo>
                      <a:lnTo>
                        <a:pt x="336628" y="215839"/>
                      </a:lnTo>
                      <a:lnTo>
                        <a:pt x="325391" y="223458"/>
                      </a:lnTo>
                      <a:lnTo>
                        <a:pt x="305799" y="244139"/>
                      </a:lnTo>
                      <a:lnTo>
                        <a:pt x="295298" y="244139"/>
                      </a:lnTo>
                      <a:lnTo>
                        <a:pt x="290208" y="236520"/>
                      </a:lnTo>
                      <a:lnTo>
                        <a:pt x="282589" y="234695"/>
                      </a:lnTo>
                      <a:lnTo>
                        <a:pt x="280796" y="252111"/>
                      </a:lnTo>
                      <a:lnTo>
                        <a:pt x="284061" y="256113"/>
                      </a:lnTo>
                      <a:lnTo>
                        <a:pt x="276442" y="268438"/>
                      </a:lnTo>
                      <a:lnTo>
                        <a:pt x="266261" y="267350"/>
                      </a:lnTo>
                      <a:lnTo>
                        <a:pt x="259378" y="255376"/>
                      </a:lnTo>
                      <a:lnTo>
                        <a:pt x="247053" y="250318"/>
                      </a:lnTo>
                      <a:lnTo>
                        <a:pt x="241963" y="250318"/>
                      </a:lnTo>
                      <a:lnTo>
                        <a:pt x="241226" y="255376"/>
                      </a:lnTo>
                      <a:lnTo>
                        <a:pt x="233255" y="257938"/>
                      </a:lnTo>
                      <a:lnTo>
                        <a:pt x="230726" y="265909"/>
                      </a:lnTo>
                      <a:lnTo>
                        <a:pt x="231814" y="288031"/>
                      </a:lnTo>
                      <a:lnTo>
                        <a:pt x="224899" y="283677"/>
                      </a:lnTo>
                      <a:lnTo>
                        <a:pt x="208604" y="285502"/>
                      </a:lnTo>
                      <a:lnTo>
                        <a:pt x="202425" y="285502"/>
                      </a:lnTo>
                      <a:lnTo>
                        <a:pt x="196246" y="271704"/>
                      </a:lnTo>
                      <a:lnTo>
                        <a:pt x="179215" y="272440"/>
                      </a:lnTo>
                      <a:lnTo>
                        <a:pt x="171596" y="291648"/>
                      </a:lnTo>
                      <a:lnTo>
                        <a:pt x="165417" y="289856"/>
                      </a:lnTo>
                      <a:lnTo>
                        <a:pt x="168682" y="278587"/>
                      </a:lnTo>
                      <a:lnTo>
                        <a:pt x="146561" y="282236"/>
                      </a:lnTo>
                      <a:lnTo>
                        <a:pt x="141118" y="283677"/>
                      </a:lnTo>
                      <a:lnTo>
                        <a:pt x="145472" y="292385"/>
                      </a:lnTo>
                      <a:lnTo>
                        <a:pt x="141118" y="300004"/>
                      </a:lnTo>
                      <a:lnTo>
                        <a:pt x="127704" y="303622"/>
                      </a:lnTo>
                      <a:lnTo>
                        <a:pt x="93225" y="322478"/>
                      </a:lnTo>
                      <a:lnTo>
                        <a:pt x="91432" y="339541"/>
                      </a:lnTo>
                      <a:lnTo>
                        <a:pt x="77634" y="345720"/>
                      </a:lnTo>
                      <a:lnTo>
                        <a:pt x="80163" y="353340"/>
                      </a:lnTo>
                      <a:lnTo>
                        <a:pt x="94698" y="365665"/>
                      </a:lnTo>
                      <a:lnTo>
                        <a:pt x="93961" y="369635"/>
                      </a:lnTo>
                      <a:lnTo>
                        <a:pt x="84517" y="371460"/>
                      </a:lnTo>
                      <a:lnTo>
                        <a:pt x="80163" y="377638"/>
                      </a:lnTo>
                      <a:lnTo>
                        <a:pt x="84517" y="380167"/>
                      </a:lnTo>
                      <a:lnTo>
                        <a:pt x="82724" y="386346"/>
                      </a:lnTo>
                      <a:lnTo>
                        <a:pt x="87783" y="402673"/>
                      </a:lnTo>
                      <a:lnTo>
                        <a:pt x="46805" y="430237"/>
                      </a:lnTo>
                      <a:lnTo>
                        <a:pt x="28653" y="452359"/>
                      </a:lnTo>
                      <a:lnTo>
                        <a:pt x="26860" y="458538"/>
                      </a:lnTo>
                      <a:lnTo>
                        <a:pt x="21770" y="460331"/>
                      </a:lnTo>
                      <a:lnTo>
                        <a:pt x="5442" y="472304"/>
                      </a:lnTo>
                      <a:lnTo>
                        <a:pt x="11237" y="506783"/>
                      </a:lnTo>
                      <a:lnTo>
                        <a:pt x="17416" y="509312"/>
                      </a:lnTo>
                      <a:lnTo>
                        <a:pt x="18152" y="541967"/>
                      </a:lnTo>
                      <a:lnTo>
                        <a:pt x="22506" y="558998"/>
                      </a:lnTo>
                      <a:lnTo>
                        <a:pt x="19945" y="565913"/>
                      </a:lnTo>
                      <a:lnTo>
                        <a:pt x="4354" y="569531"/>
                      </a:lnTo>
                      <a:lnTo>
                        <a:pt x="0" y="581504"/>
                      </a:lnTo>
                      <a:lnTo>
                        <a:pt x="3618" y="597095"/>
                      </a:lnTo>
                      <a:lnTo>
                        <a:pt x="25035" y="600360"/>
                      </a:lnTo>
                      <a:lnTo>
                        <a:pt x="28653" y="596006"/>
                      </a:lnTo>
                      <a:lnTo>
                        <a:pt x="53335" y="605451"/>
                      </a:lnTo>
                      <a:lnTo>
                        <a:pt x="62043" y="604714"/>
                      </a:lnTo>
                      <a:lnTo>
                        <a:pt x="64572" y="597095"/>
                      </a:lnTo>
                      <a:lnTo>
                        <a:pt x="84517" y="594566"/>
                      </a:lnTo>
                      <a:lnTo>
                        <a:pt x="88871" y="580768"/>
                      </a:lnTo>
                      <a:lnTo>
                        <a:pt x="97227" y="577886"/>
                      </a:lnTo>
                      <a:lnTo>
                        <a:pt x="100844" y="569531"/>
                      </a:lnTo>
                      <a:lnTo>
                        <a:pt x="100844" y="560087"/>
                      </a:lnTo>
                      <a:lnTo>
                        <a:pt x="112818" y="558998"/>
                      </a:lnTo>
                      <a:lnTo>
                        <a:pt x="125879" y="547025"/>
                      </a:lnTo>
                      <a:lnTo>
                        <a:pt x="125879" y="535788"/>
                      </a:lnTo>
                      <a:lnTo>
                        <a:pt x="133499" y="530730"/>
                      </a:lnTo>
                      <a:lnTo>
                        <a:pt x="141118" y="532522"/>
                      </a:lnTo>
                      <a:lnTo>
                        <a:pt x="144736" y="518756"/>
                      </a:lnTo>
                      <a:lnTo>
                        <a:pt x="161063" y="541967"/>
                      </a:lnTo>
                      <a:lnTo>
                        <a:pt x="172332" y="548850"/>
                      </a:lnTo>
                      <a:lnTo>
                        <a:pt x="163592" y="558294"/>
                      </a:lnTo>
                      <a:lnTo>
                        <a:pt x="167946" y="567706"/>
                      </a:lnTo>
                      <a:lnTo>
                        <a:pt x="161799" y="570267"/>
                      </a:lnTo>
                      <a:lnTo>
                        <a:pt x="170507" y="579679"/>
                      </a:lnTo>
                      <a:lnTo>
                        <a:pt x="179919" y="576414"/>
                      </a:lnTo>
                      <a:lnTo>
                        <a:pt x="181744" y="581504"/>
                      </a:lnTo>
                      <a:lnTo>
                        <a:pt x="187923" y="581504"/>
                      </a:lnTo>
                      <a:lnTo>
                        <a:pt x="202425" y="567002"/>
                      </a:lnTo>
                      <a:lnTo>
                        <a:pt x="210045" y="589123"/>
                      </a:lnTo>
                      <a:lnTo>
                        <a:pt x="218016" y="583329"/>
                      </a:lnTo>
                      <a:lnTo>
                        <a:pt x="235784" y="609068"/>
                      </a:lnTo>
                      <a:lnTo>
                        <a:pt x="247053" y="590948"/>
                      </a:lnTo>
                      <a:lnTo>
                        <a:pt x="238697" y="583329"/>
                      </a:lnTo>
                      <a:lnTo>
                        <a:pt x="260115" y="582240"/>
                      </a:lnTo>
                      <a:lnTo>
                        <a:pt x="272088" y="570971"/>
                      </a:lnTo>
                      <a:lnTo>
                        <a:pt x="278971" y="576414"/>
                      </a:lnTo>
                      <a:lnTo>
                        <a:pt x="290944" y="581504"/>
                      </a:lnTo>
                      <a:lnTo>
                        <a:pt x="279707" y="588387"/>
                      </a:lnTo>
                      <a:lnTo>
                        <a:pt x="281500" y="595302"/>
                      </a:lnTo>
                      <a:lnTo>
                        <a:pt x="292033" y="600360"/>
                      </a:lnTo>
                      <a:lnTo>
                        <a:pt x="304006" y="589123"/>
                      </a:lnTo>
                      <a:lnTo>
                        <a:pt x="310889" y="604010"/>
                      </a:lnTo>
                      <a:lnTo>
                        <a:pt x="315979" y="614863"/>
                      </a:lnTo>
                      <a:lnTo>
                        <a:pt x="302181" y="619217"/>
                      </a:lnTo>
                      <a:lnTo>
                        <a:pt x="301445" y="624659"/>
                      </a:lnTo>
                      <a:lnTo>
                        <a:pt x="312714" y="632278"/>
                      </a:lnTo>
                      <a:lnTo>
                        <a:pt x="309064" y="636632"/>
                      </a:lnTo>
                      <a:lnTo>
                        <a:pt x="315979" y="644988"/>
                      </a:lnTo>
                      <a:lnTo>
                        <a:pt x="342807" y="627220"/>
                      </a:lnTo>
                      <a:lnTo>
                        <a:pt x="348602" y="637369"/>
                      </a:lnTo>
                      <a:lnTo>
                        <a:pt x="368578" y="636632"/>
                      </a:lnTo>
                      <a:lnTo>
                        <a:pt x="378727" y="636632"/>
                      </a:lnTo>
                      <a:lnTo>
                        <a:pt x="384906" y="631574"/>
                      </a:lnTo>
                      <a:lnTo>
                        <a:pt x="398672" y="636632"/>
                      </a:lnTo>
                      <a:lnTo>
                        <a:pt x="407379" y="639193"/>
                      </a:lnTo>
                      <a:lnTo>
                        <a:pt x="415735" y="639193"/>
                      </a:lnTo>
                      <a:lnTo>
                        <a:pt x="410645" y="656225"/>
                      </a:lnTo>
                      <a:lnTo>
                        <a:pt x="416824" y="659842"/>
                      </a:lnTo>
                      <a:lnTo>
                        <a:pt x="416824" y="667462"/>
                      </a:lnTo>
                      <a:lnTo>
                        <a:pt x="408820" y="672552"/>
                      </a:lnTo>
                      <a:lnTo>
                        <a:pt x="419353" y="703766"/>
                      </a:lnTo>
                      <a:lnTo>
                        <a:pt x="418264" y="718268"/>
                      </a:lnTo>
                      <a:lnTo>
                        <a:pt x="424443" y="717532"/>
                      </a:lnTo>
                      <a:lnTo>
                        <a:pt x="425147" y="723326"/>
                      </a:lnTo>
                      <a:lnTo>
                        <a:pt x="440738" y="726976"/>
                      </a:lnTo>
                      <a:lnTo>
                        <a:pt x="463980" y="722622"/>
                      </a:lnTo>
                      <a:lnTo>
                        <a:pt x="475217" y="718268"/>
                      </a:lnTo>
                      <a:lnTo>
                        <a:pt x="497723" y="715707"/>
                      </a:lnTo>
                      <a:lnTo>
                        <a:pt x="492281" y="702677"/>
                      </a:lnTo>
                      <a:lnTo>
                        <a:pt x="495162" y="700116"/>
                      </a:lnTo>
                      <a:lnTo>
                        <a:pt x="521638" y="707031"/>
                      </a:lnTo>
                      <a:lnTo>
                        <a:pt x="525992" y="709560"/>
                      </a:lnTo>
                      <a:lnTo>
                        <a:pt x="537965" y="717532"/>
                      </a:lnTo>
                      <a:lnTo>
                        <a:pt x="545968" y="684877"/>
                      </a:lnTo>
                      <a:lnTo>
                        <a:pt x="573533" y="679435"/>
                      </a:lnTo>
                      <a:lnTo>
                        <a:pt x="582945" y="683789"/>
                      </a:lnTo>
                      <a:lnTo>
                        <a:pt x="586210" y="696851"/>
                      </a:lnTo>
                      <a:lnTo>
                        <a:pt x="594918" y="701941"/>
                      </a:lnTo>
                      <a:lnTo>
                        <a:pt x="600008" y="715707"/>
                      </a:lnTo>
                      <a:lnTo>
                        <a:pt x="615599" y="735300"/>
                      </a:lnTo>
                      <a:lnTo>
                        <a:pt x="623955" y="731330"/>
                      </a:lnTo>
                      <a:lnTo>
                        <a:pt x="642075" y="742215"/>
                      </a:lnTo>
                      <a:lnTo>
                        <a:pt x="650078" y="738213"/>
                      </a:lnTo>
                      <a:lnTo>
                        <a:pt x="656961" y="742215"/>
                      </a:lnTo>
                      <a:lnTo>
                        <a:pt x="677642" y="741478"/>
                      </a:lnTo>
                      <a:lnTo>
                        <a:pt x="677642" y="743303"/>
                      </a:lnTo>
                      <a:lnTo>
                        <a:pt x="679083" y="748361"/>
                      </a:lnTo>
                      <a:lnTo>
                        <a:pt x="696499" y="747657"/>
                      </a:lnTo>
                      <a:lnTo>
                        <a:pt x="702293" y="738213"/>
                      </a:lnTo>
                      <a:lnTo>
                        <a:pt x="718621" y="732771"/>
                      </a:lnTo>
                      <a:lnTo>
                        <a:pt x="721534" y="724415"/>
                      </a:lnTo>
                      <a:lnTo>
                        <a:pt x="755629" y="713914"/>
                      </a:lnTo>
                      <a:lnTo>
                        <a:pt x="795518" y="708824"/>
                      </a:lnTo>
                      <a:lnTo>
                        <a:pt x="812582" y="717532"/>
                      </a:lnTo>
                      <a:lnTo>
                        <a:pt x="833263" y="713914"/>
                      </a:lnTo>
                      <a:lnTo>
                        <a:pt x="840882" y="707031"/>
                      </a:lnTo>
                      <a:lnTo>
                        <a:pt x="849590" y="708824"/>
                      </a:lnTo>
                      <a:lnTo>
                        <a:pt x="858298" y="707031"/>
                      </a:lnTo>
                      <a:lnTo>
                        <a:pt x="859002" y="700116"/>
                      </a:lnTo>
                      <a:lnTo>
                        <a:pt x="848854" y="700116"/>
                      </a:lnTo>
                      <a:lnTo>
                        <a:pt x="848854" y="690704"/>
                      </a:lnTo>
                      <a:lnTo>
                        <a:pt x="822026" y="672552"/>
                      </a:lnTo>
                      <a:lnTo>
                        <a:pt x="821290" y="665669"/>
                      </a:lnTo>
                      <a:lnTo>
                        <a:pt x="815111" y="667462"/>
                      </a:lnTo>
                      <a:lnTo>
                        <a:pt x="803874" y="662404"/>
                      </a:lnTo>
                      <a:lnTo>
                        <a:pt x="783193" y="640986"/>
                      </a:lnTo>
                      <a:lnTo>
                        <a:pt x="773045" y="646813"/>
                      </a:lnTo>
                      <a:lnTo>
                        <a:pt x="754892" y="639898"/>
                      </a:lnTo>
                      <a:lnTo>
                        <a:pt x="749834" y="626132"/>
                      </a:lnTo>
                      <a:lnTo>
                        <a:pt x="736772" y="615951"/>
                      </a:lnTo>
                      <a:lnTo>
                        <a:pt x="769427" y="550674"/>
                      </a:lnTo>
                      <a:lnTo>
                        <a:pt x="769427" y="530730"/>
                      </a:lnTo>
                      <a:lnTo>
                        <a:pt x="779927" y="525639"/>
                      </a:lnTo>
                      <a:lnTo>
                        <a:pt x="779927" y="519461"/>
                      </a:lnTo>
                      <a:lnTo>
                        <a:pt x="767954" y="513666"/>
                      </a:lnTo>
                      <a:lnTo>
                        <a:pt x="751627" y="513666"/>
                      </a:lnTo>
                      <a:lnTo>
                        <a:pt x="744744" y="518756"/>
                      </a:lnTo>
                      <a:lnTo>
                        <a:pt x="730946" y="485014"/>
                      </a:lnTo>
                      <a:lnTo>
                        <a:pt x="734211" y="464332"/>
                      </a:lnTo>
                      <a:lnTo>
                        <a:pt x="721534" y="444740"/>
                      </a:lnTo>
                      <a:lnTo>
                        <a:pt x="761071" y="407731"/>
                      </a:lnTo>
                      <a:lnTo>
                        <a:pt x="801345" y="369635"/>
                      </a:lnTo>
                      <a:lnTo>
                        <a:pt x="810757" y="367106"/>
                      </a:lnTo>
                      <a:lnTo>
                        <a:pt x="808228" y="356957"/>
                      </a:lnTo>
                      <a:lnTo>
                        <a:pt x="818761" y="333747"/>
                      </a:lnTo>
                      <a:lnTo>
                        <a:pt x="810757" y="313066"/>
                      </a:lnTo>
                      <a:lnTo>
                        <a:pt x="805699" y="300004"/>
                      </a:lnTo>
                      <a:lnTo>
                        <a:pt x="809316" y="282941"/>
                      </a:lnTo>
                      <a:lnTo>
                        <a:pt x="803874" y="281148"/>
                      </a:lnTo>
                      <a:lnTo>
                        <a:pt x="803874" y="273528"/>
                      </a:lnTo>
                      <a:lnTo>
                        <a:pt x="795518" y="269174"/>
                      </a:lnTo>
                      <a:lnTo>
                        <a:pt x="800609" y="247757"/>
                      </a:lnTo>
                      <a:lnTo>
                        <a:pt x="796991" y="237256"/>
                      </a:lnTo>
                      <a:lnTo>
                        <a:pt x="802433" y="215103"/>
                      </a:lnTo>
                      <a:lnTo>
                        <a:pt x="785018" y="196983"/>
                      </a:lnTo>
                      <a:lnTo>
                        <a:pt x="773781" y="192629"/>
                      </a:lnTo>
                      <a:lnTo>
                        <a:pt x="757453" y="207131"/>
                      </a:lnTo>
                      <a:lnTo>
                        <a:pt x="751627" y="197719"/>
                      </a:lnTo>
                      <a:lnTo>
                        <a:pt x="744744" y="195158"/>
                      </a:lnTo>
                      <a:lnTo>
                        <a:pt x="739302" y="195894"/>
                      </a:lnTo>
                      <a:lnTo>
                        <a:pt x="729857" y="205338"/>
                      </a:lnTo>
                      <a:lnTo>
                        <a:pt x="729153" y="185746"/>
                      </a:lnTo>
                      <a:lnTo>
                        <a:pt x="709208" y="159974"/>
                      </a:lnTo>
                      <a:lnTo>
                        <a:pt x="705943" y="134235"/>
                      </a:lnTo>
                      <a:lnTo>
                        <a:pt x="695410" y="109904"/>
                      </a:lnTo>
                      <a:lnTo>
                        <a:pt x="682701" y="106639"/>
                      </a:lnTo>
                      <a:lnTo>
                        <a:pt x="667846" y="96138"/>
                      </a:lnTo>
                      <a:lnTo>
                        <a:pt x="664581" y="79811"/>
                      </a:lnTo>
                      <a:lnTo>
                        <a:pt x="650078" y="77986"/>
                      </a:lnTo>
                      <a:lnTo>
                        <a:pt x="643900" y="80900"/>
                      </a:lnTo>
                      <a:lnTo>
                        <a:pt x="635192" y="76546"/>
                      </a:lnTo>
                      <a:lnTo>
                        <a:pt x="609452" y="94666"/>
                      </a:lnTo>
                      <a:lnTo>
                        <a:pt x="601833" y="91048"/>
                      </a:lnTo>
                      <a:lnTo>
                        <a:pt x="592389" y="69663"/>
                      </a:lnTo>
                      <a:lnTo>
                        <a:pt x="586210" y="67102"/>
                      </a:lnTo>
                      <a:lnTo>
                        <a:pt x="580063" y="64572"/>
                      </a:lnTo>
                      <a:lnTo>
                        <a:pt x="566650" y="68574"/>
                      </a:lnTo>
                      <a:lnTo>
                        <a:pt x="546673" y="76546"/>
                      </a:lnTo>
                      <a:lnTo>
                        <a:pt x="533611" y="68574"/>
                      </a:lnTo>
                      <a:lnTo>
                        <a:pt x="519109" y="67838"/>
                      </a:lnTo>
                      <a:lnTo>
                        <a:pt x="514755" y="58394"/>
                      </a:lnTo>
                      <a:lnTo>
                        <a:pt x="519845" y="37745"/>
                      </a:lnTo>
                      <a:lnTo>
                        <a:pt x="511489" y="39537"/>
                      </a:lnTo>
                      <a:lnTo>
                        <a:pt x="510401" y="31566"/>
                      </a:lnTo>
                      <a:lnTo>
                        <a:pt x="505310" y="30125"/>
                      </a:lnTo>
                      <a:lnTo>
                        <a:pt x="488279" y="38449"/>
                      </a:lnTo>
                      <a:lnTo>
                        <a:pt x="492281" y="25771"/>
                      </a:lnTo>
                      <a:lnTo>
                        <a:pt x="483925" y="5795"/>
                      </a:lnTo>
                      <a:lnTo>
                        <a:pt x="477746" y="8356"/>
                      </a:lnTo>
                      <a:lnTo>
                        <a:pt x="46903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1" name="Forma Livre: Forma 250">
                  <a:extLst>
                    <a:ext uri="{FF2B5EF4-FFF2-40B4-BE49-F238E27FC236}">
                      <a16:creationId xmlns:a16="http://schemas.microsoft.com/office/drawing/2014/main" id="{9550F2CE-9B19-BFDF-F1F9-6F2D6834FD1C}"/>
                    </a:ext>
                  </a:extLst>
                </p:cNvPr>
                <p:cNvSpPr/>
                <p:nvPr/>
              </p:nvSpPr>
              <p:spPr>
                <a:xfrm>
                  <a:off x="2514495" y="2114214"/>
                  <a:ext cx="859002" cy="748361"/>
                </a:xfrm>
                <a:custGeom>
                  <a:avLst/>
                  <a:gdLst>
                    <a:gd name="csX0" fmla="*/ 469039 w 859002"/>
                    <a:gd name="csY0" fmla="*/ 0 h 748361"/>
                    <a:gd name="csX1" fmla="*/ 462156 w 859002"/>
                    <a:gd name="csY1" fmla="*/ 8356 h 748361"/>
                    <a:gd name="csX2" fmla="*/ 448357 w 859002"/>
                    <a:gd name="csY2" fmla="*/ 15239 h 748361"/>
                    <a:gd name="csX3" fmla="*/ 442563 w 859002"/>
                    <a:gd name="csY3" fmla="*/ 6883 h 748361"/>
                    <a:gd name="csX4" fmla="*/ 440738 w 859002"/>
                    <a:gd name="csY4" fmla="*/ 2529 h 748361"/>
                    <a:gd name="csX5" fmla="*/ 432062 w 859002"/>
                    <a:gd name="csY5" fmla="*/ 6883 h 748361"/>
                    <a:gd name="csX6" fmla="*/ 411381 w 859002"/>
                    <a:gd name="csY6" fmla="*/ 33391 h 748361"/>
                    <a:gd name="csX7" fmla="*/ 403026 w 859002"/>
                    <a:gd name="csY7" fmla="*/ 35920 h 748361"/>
                    <a:gd name="csX8" fmla="*/ 397935 w 859002"/>
                    <a:gd name="csY8" fmla="*/ 47893 h 748361"/>
                    <a:gd name="csX9" fmla="*/ 388171 w 859002"/>
                    <a:gd name="csY9" fmla="*/ 44628 h 748361"/>
                    <a:gd name="csX10" fmla="*/ 384906 w 859002"/>
                    <a:gd name="csY10" fmla="*/ 37745 h 748361"/>
                    <a:gd name="csX11" fmla="*/ 377990 w 859002"/>
                    <a:gd name="csY11" fmla="*/ 38449 h 748361"/>
                    <a:gd name="csX12" fmla="*/ 371844 w 859002"/>
                    <a:gd name="csY12" fmla="*/ 23947 h 748361"/>
                    <a:gd name="csX13" fmla="*/ 360575 w 859002"/>
                    <a:gd name="csY13" fmla="*/ 40274 h 748361"/>
                    <a:gd name="csX14" fmla="*/ 352955 w 859002"/>
                    <a:gd name="csY14" fmla="*/ 38449 h 748361"/>
                    <a:gd name="csX15" fmla="*/ 345336 w 859002"/>
                    <a:gd name="csY15" fmla="*/ 46420 h 748361"/>
                    <a:gd name="csX16" fmla="*/ 516580 w 859002"/>
                    <a:gd name="csY16" fmla="*/ 205338 h 748361"/>
                    <a:gd name="csX17" fmla="*/ 519109 w 859002"/>
                    <a:gd name="csY17" fmla="*/ 269879 h 748361"/>
                    <a:gd name="csX18" fmla="*/ 499164 w 859002"/>
                    <a:gd name="csY18" fmla="*/ 273528 h 748361"/>
                    <a:gd name="csX19" fmla="*/ 489720 w 859002"/>
                    <a:gd name="csY19" fmla="*/ 275321 h 748361"/>
                    <a:gd name="csX20" fmla="*/ 474481 w 859002"/>
                    <a:gd name="csY20" fmla="*/ 265909 h 748361"/>
                    <a:gd name="csX21" fmla="*/ 449446 w 859002"/>
                    <a:gd name="csY21" fmla="*/ 261555 h 748361"/>
                    <a:gd name="csX22" fmla="*/ 438209 w 859002"/>
                    <a:gd name="csY22" fmla="*/ 264084 h 748361"/>
                    <a:gd name="csX23" fmla="*/ 423707 w 859002"/>
                    <a:gd name="csY23" fmla="*/ 257201 h 748361"/>
                    <a:gd name="csX24" fmla="*/ 421882 w 859002"/>
                    <a:gd name="csY24" fmla="*/ 261555 h 748361"/>
                    <a:gd name="csX25" fmla="*/ 415735 w 859002"/>
                    <a:gd name="csY25" fmla="*/ 257938 h 748361"/>
                    <a:gd name="csX26" fmla="*/ 412470 w 859002"/>
                    <a:gd name="csY26" fmla="*/ 257201 h 748361"/>
                    <a:gd name="csX27" fmla="*/ 407379 w 859002"/>
                    <a:gd name="csY27" fmla="*/ 248493 h 748361"/>
                    <a:gd name="csX28" fmla="*/ 397935 w 859002"/>
                    <a:gd name="csY28" fmla="*/ 247757 h 748361"/>
                    <a:gd name="csX29" fmla="*/ 393613 w 859002"/>
                    <a:gd name="csY29" fmla="*/ 235432 h 748361"/>
                    <a:gd name="csX30" fmla="*/ 378727 w 859002"/>
                    <a:gd name="csY30" fmla="*/ 222018 h 748361"/>
                    <a:gd name="csX31" fmla="*/ 374373 w 859002"/>
                    <a:gd name="csY31" fmla="*/ 227812 h 748361"/>
                    <a:gd name="csX32" fmla="*/ 363488 w 859002"/>
                    <a:gd name="csY32" fmla="*/ 227812 h 748361"/>
                    <a:gd name="csX33" fmla="*/ 356605 w 859002"/>
                    <a:gd name="csY33" fmla="*/ 220929 h 748361"/>
                    <a:gd name="csX34" fmla="*/ 358046 w 859002"/>
                    <a:gd name="csY34" fmla="*/ 206427 h 748361"/>
                    <a:gd name="csX35" fmla="*/ 350426 w 859002"/>
                    <a:gd name="csY35" fmla="*/ 212221 h 748361"/>
                    <a:gd name="csX36" fmla="*/ 343543 w 859002"/>
                    <a:gd name="csY36" fmla="*/ 208956 h 748361"/>
                    <a:gd name="csX37" fmla="*/ 342807 w 859002"/>
                    <a:gd name="csY37" fmla="*/ 216575 h 748361"/>
                    <a:gd name="csX38" fmla="*/ 336628 w 859002"/>
                    <a:gd name="csY38" fmla="*/ 215839 h 748361"/>
                    <a:gd name="csX39" fmla="*/ 325391 w 859002"/>
                    <a:gd name="csY39" fmla="*/ 223458 h 748361"/>
                    <a:gd name="csX40" fmla="*/ 305799 w 859002"/>
                    <a:gd name="csY40" fmla="*/ 244139 h 748361"/>
                    <a:gd name="csX41" fmla="*/ 295298 w 859002"/>
                    <a:gd name="csY41" fmla="*/ 244139 h 748361"/>
                    <a:gd name="csX42" fmla="*/ 290208 w 859002"/>
                    <a:gd name="csY42" fmla="*/ 236520 h 748361"/>
                    <a:gd name="csX43" fmla="*/ 282589 w 859002"/>
                    <a:gd name="csY43" fmla="*/ 234695 h 748361"/>
                    <a:gd name="csX44" fmla="*/ 280796 w 859002"/>
                    <a:gd name="csY44" fmla="*/ 252111 h 748361"/>
                    <a:gd name="csX45" fmla="*/ 284061 w 859002"/>
                    <a:gd name="csY45" fmla="*/ 256113 h 748361"/>
                    <a:gd name="csX46" fmla="*/ 276442 w 859002"/>
                    <a:gd name="csY46" fmla="*/ 268438 h 748361"/>
                    <a:gd name="csX47" fmla="*/ 266261 w 859002"/>
                    <a:gd name="csY47" fmla="*/ 267350 h 748361"/>
                    <a:gd name="csX48" fmla="*/ 259378 w 859002"/>
                    <a:gd name="csY48" fmla="*/ 255376 h 748361"/>
                    <a:gd name="csX49" fmla="*/ 247053 w 859002"/>
                    <a:gd name="csY49" fmla="*/ 250318 h 748361"/>
                    <a:gd name="csX50" fmla="*/ 241963 w 859002"/>
                    <a:gd name="csY50" fmla="*/ 250318 h 748361"/>
                    <a:gd name="csX51" fmla="*/ 241226 w 859002"/>
                    <a:gd name="csY51" fmla="*/ 255376 h 748361"/>
                    <a:gd name="csX52" fmla="*/ 233255 w 859002"/>
                    <a:gd name="csY52" fmla="*/ 257938 h 748361"/>
                    <a:gd name="csX53" fmla="*/ 230726 w 859002"/>
                    <a:gd name="csY53" fmla="*/ 265909 h 748361"/>
                    <a:gd name="csX54" fmla="*/ 231814 w 859002"/>
                    <a:gd name="csY54" fmla="*/ 288031 h 748361"/>
                    <a:gd name="csX55" fmla="*/ 224899 w 859002"/>
                    <a:gd name="csY55" fmla="*/ 283677 h 748361"/>
                    <a:gd name="csX56" fmla="*/ 208604 w 859002"/>
                    <a:gd name="csY56" fmla="*/ 285502 h 748361"/>
                    <a:gd name="csX57" fmla="*/ 202425 w 859002"/>
                    <a:gd name="csY57" fmla="*/ 285502 h 748361"/>
                    <a:gd name="csX58" fmla="*/ 196246 w 859002"/>
                    <a:gd name="csY58" fmla="*/ 271704 h 748361"/>
                    <a:gd name="csX59" fmla="*/ 179215 w 859002"/>
                    <a:gd name="csY59" fmla="*/ 272440 h 748361"/>
                    <a:gd name="csX60" fmla="*/ 171596 w 859002"/>
                    <a:gd name="csY60" fmla="*/ 291648 h 748361"/>
                    <a:gd name="csX61" fmla="*/ 165417 w 859002"/>
                    <a:gd name="csY61" fmla="*/ 289856 h 748361"/>
                    <a:gd name="csX62" fmla="*/ 168682 w 859002"/>
                    <a:gd name="csY62" fmla="*/ 278587 h 748361"/>
                    <a:gd name="csX63" fmla="*/ 146561 w 859002"/>
                    <a:gd name="csY63" fmla="*/ 282236 h 748361"/>
                    <a:gd name="csX64" fmla="*/ 141118 w 859002"/>
                    <a:gd name="csY64" fmla="*/ 283677 h 748361"/>
                    <a:gd name="csX65" fmla="*/ 145472 w 859002"/>
                    <a:gd name="csY65" fmla="*/ 292385 h 748361"/>
                    <a:gd name="csX66" fmla="*/ 141118 w 859002"/>
                    <a:gd name="csY66" fmla="*/ 300004 h 748361"/>
                    <a:gd name="csX67" fmla="*/ 127704 w 859002"/>
                    <a:gd name="csY67" fmla="*/ 303622 h 748361"/>
                    <a:gd name="csX68" fmla="*/ 93225 w 859002"/>
                    <a:gd name="csY68" fmla="*/ 322478 h 748361"/>
                    <a:gd name="csX69" fmla="*/ 91432 w 859002"/>
                    <a:gd name="csY69" fmla="*/ 339541 h 748361"/>
                    <a:gd name="csX70" fmla="*/ 77634 w 859002"/>
                    <a:gd name="csY70" fmla="*/ 345720 h 748361"/>
                    <a:gd name="csX71" fmla="*/ 80163 w 859002"/>
                    <a:gd name="csY71" fmla="*/ 353340 h 748361"/>
                    <a:gd name="csX72" fmla="*/ 94698 w 859002"/>
                    <a:gd name="csY72" fmla="*/ 365665 h 748361"/>
                    <a:gd name="csX73" fmla="*/ 93961 w 859002"/>
                    <a:gd name="csY73" fmla="*/ 369635 h 748361"/>
                    <a:gd name="csX74" fmla="*/ 84517 w 859002"/>
                    <a:gd name="csY74" fmla="*/ 371460 h 748361"/>
                    <a:gd name="csX75" fmla="*/ 80163 w 859002"/>
                    <a:gd name="csY75" fmla="*/ 377638 h 748361"/>
                    <a:gd name="csX76" fmla="*/ 84517 w 859002"/>
                    <a:gd name="csY76" fmla="*/ 380167 h 748361"/>
                    <a:gd name="csX77" fmla="*/ 82724 w 859002"/>
                    <a:gd name="csY77" fmla="*/ 386346 h 748361"/>
                    <a:gd name="csX78" fmla="*/ 87783 w 859002"/>
                    <a:gd name="csY78" fmla="*/ 402673 h 748361"/>
                    <a:gd name="csX79" fmla="*/ 46805 w 859002"/>
                    <a:gd name="csY79" fmla="*/ 430237 h 748361"/>
                    <a:gd name="csX80" fmla="*/ 28653 w 859002"/>
                    <a:gd name="csY80" fmla="*/ 452359 h 748361"/>
                    <a:gd name="csX81" fmla="*/ 26860 w 859002"/>
                    <a:gd name="csY81" fmla="*/ 458538 h 748361"/>
                    <a:gd name="csX82" fmla="*/ 21770 w 859002"/>
                    <a:gd name="csY82" fmla="*/ 460331 h 748361"/>
                    <a:gd name="csX83" fmla="*/ 5442 w 859002"/>
                    <a:gd name="csY83" fmla="*/ 472304 h 748361"/>
                    <a:gd name="csX84" fmla="*/ 11237 w 859002"/>
                    <a:gd name="csY84" fmla="*/ 506783 h 748361"/>
                    <a:gd name="csX85" fmla="*/ 17416 w 859002"/>
                    <a:gd name="csY85" fmla="*/ 509312 h 748361"/>
                    <a:gd name="csX86" fmla="*/ 18152 w 859002"/>
                    <a:gd name="csY86" fmla="*/ 541967 h 748361"/>
                    <a:gd name="csX87" fmla="*/ 22506 w 859002"/>
                    <a:gd name="csY87" fmla="*/ 558998 h 748361"/>
                    <a:gd name="csX88" fmla="*/ 19945 w 859002"/>
                    <a:gd name="csY88" fmla="*/ 565913 h 748361"/>
                    <a:gd name="csX89" fmla="*/ 4354 w 859002"/>
                    <a:gd name="csY89" fmla="*/ 569531 h 748361"/>
                    <a:gd name="csX90" fmla="*/ 0 w 859002"/>
                    <a:gd name="csY90" fmla="*/ 581504 h 748361"/>
                    <a:gd name="csX91" fmla="*/ 3618 w 859002"/>
                    <a:gd name="csY91" fmla="*/ 597095 h 748361"/>
                    <a:gd name="csX92" fmla="*/ 25035 w 859002"/>
                    <a:gd name="csY92" fmla="*/ 600360 h 748361"/>
                    <a:gd name="csX93" fmla="*/ 28653 w 859002"/>
                    <a:gd name="csY93" fmla="*/ 596006 h 748361"/>
                    <a:gd name="csX94" fmla="*/ 53335 w 859002"/>
                    <a:gd name="csY94" fmla="*/ 605451 h 748361"/>
                    <a:gd name="csX95" fmla="*/ 62043 w 859002"/>
                    <a:gd name="csY95" fmla="*/ 604714 h 748361"/>
                    <a:gd name="csX96" fmla="*/ 64572 w 859002"/>
                    <a:gd name="csY96" fmla="*/ 597095 h 748361"/>
                    <a:gd name="csX97" fmla="*/ 84517 w 859002"/>
                    <a:gd name="csY97" fmla="*/ 594566 h 748361"/>
                    <a:gd name="csX98" fmla="*/ 88871 w 859002"/>
                    <a:gd name="csY98" fmla="*/ 580768 h 748361"/>
                    <a:gd name="csX99" fmla="*/ 97227 w 859002"/>
                    <a:gd name="csY99" fmla="*/ 577886 h 748361"/>
                    <a:gd name="csX100" fmla="*/ 100844 w 859002"/>
                    <a:gd name="csY100" fmla="*/ 569531 h 748361"/>
                    <a:gd name="csX101" fmla="*/ 100844 w 859002"/>
                    <a:gd name="csY101" fmla="*/ 560087 h 748361"/>
                    <a:gd name="csX102" fmla="*/ 112818 w 859002"/>
                    <a:gd name="csY102" fmla="*/ 558998 h 748361"/>
                    <a:gd name="csX103" fmla="*/ 125879 w 859002"/>
                    <a:gd name="csY103" fmla="*/ 547025 h 748361"/>
                    <a:gd name="csX104" fmla="*/ 125879 w 859002"/>
                    <a:gd name="csY104" fmla="*/ 535788 h 748361"/>
                    <a:gd name="csX105" fmla="*/ 133499 w 859002"/>
                    <a:gd name="csY105" fmla="*/ 530730 h 748361"/>
                    <a:gd name="csX106" fmla="*/ 141118 w 859002"/>
                    <a:gd name="csY106" fmla="*/ 532522 h 748361"/>
                    <a:gd name="csX107" fmla="*/ 144736 w 859002"/>
                    <a:gd name="csY107" fmla="*/ 518756 h 748361"/>
                    <a:gd name="csX108" fmla="*/ 161063 w 859002"/>
                    <a:gd name="csY108" fmla="*/ 541967 h 748361"/>
                    <a:gd name="csX109" fmla="*/ 172332 w 859002"/>
                    <a:gd name="csY109" fmla="*/ 548850 h 748361"/>
                    <a:gd name="csX110" fmla="*/ 163592 w 859002"/>
                    <a:gd name="csY110" fmla="*/ 558294 h 748361"/>
                    <a:gd name="csX111" fmla="*/ 167946 w 859002"/>
                    <a:gd name="csY111" fmla="*/ 567706 h 748361"/>
                    <a:gd name="csX112" fmla="*/ 161799 w 859002"/>
                    <a:gd name="csY112" fmla="*/ 570267 h 748361"/>
                    <a:gd name="csX113" fmla="*/ 170507 w 859002"/>
                    <a:gd name="csY113" fmla="*/ 579679 h 748361"/>
                    <a:gd name="csX114" fmla="*/ 179919 w 859002"/>
                    <a:gd name="csY114" fmla="*/ 576414 h 748361"/>
                    <a:gd name="csX115" fmla="*/ 181744 w 859002"/>
                    <a:gd name="csY115" fmla="*/ 581504 h 748361"/>
                    <a:gd name="csX116" fmla="*/ 187923 w 859002"/>
                    <a:gd name="csY116" fmla="*/ 581504 h 748361"/>
                    <a:gd name="csX117" fmla="*/ 202425 w 859002"/>
                    <a:gd name="csY117" fmla="*/ 567002 h 748361"/>
                    <a:gd name="csX118" fmla="*/ 210045 w 859002"/>
                    <a:gd name="csY118" fmla="*/ 589123 h 748361"/>
                    <a:gd name="csX119" fmla="*/ 218016 w 859002"/>
                    <a:gd name="csY119" fmla="*/ 583329 h 748361"/>
                    <a:gd name="csX120" fmla="*/ 235784 w 859002"/>
                    <a:gd name="csY120" fmla="*/ 609068 h 748361"/>
                    <a:gd name="csX121" fmla="*/ 247053 w 859002"/>
                    <a:gd name="csY121" fmla="*/ 590948 h 748361"/>
                    <a:gd name="csX122" fmla="*/ 238697 w 859002"/>
                    <a:gd name="csY122" fmla="*/ 583329 h 748361"/>
                    <a:gd name="csX123" fmla="*/ 260115 w 859002"/>
                    <a:gd name="csY123" fmla="*/ 582240 h 748361"/>
                    <a:gd name="csX124" fmla="*/ 272088 w 859002"/>
                    <a:gd name="csY124" fmla="*/ 570971 h 748361"/>
                    <a:gd name="csX125" fmla="*/ 278971 w 859002"/>
                    <a:gd name="csY125" fmla="*/ 576414 h 748361"/>
                    <a:gd name="csX126" fmla="*/ 290944 w 859002"/>
                    <a:gd name="csY126" fmla="*/ 581504 h 748361"/>
                    <a:gd name="csX127" fmla="*/ 279707 w 859002"/>
                    <a:gd name="csY127" fmla="*/ 588387 h 748361"/>
                    <a:gd name="csX128" fmla="*/ 281500 w 859002"/>
                    <a:gd name="csY128" fmla="*/ 595302 h 748361"/>
                    <a:gd name="csX129" fmla="*/ 292033 w 859002"/>
                    <a:gd name="csY129" fmla="*/ 600360 h 748361"/>
                    <a:gd name="csX130" fmla="*/ 304006 w 859002"/>
                    <a:gd name="csY130" fmla="*/ 589123 h 748361"/>
                    <a:gd name="csX131" fmla="*/ 310889 w 859002"/>
                    <a:gd name="csY131" fmla="*/ 604010 h 748361"/>
                    <a:gd name="csX132" fmla="*/ 315979 w 859002"/>
                    <a:gd name="csY132" fmla="*/ 614863 h 748361"/>
                    <a:gd name="csX133" fmla="*/ 302181 w 859002"/>
                    <a:gd name="csY133" fmla="*/ 619217 h 748361"/>
                    <a:gd name="csX134" fmla="*/ 301445 w 859002"/>
                    <a:gd name="csY134" fmla="*/ 624659 h 748361"/>
                    <a:gd name="csX135" fmla="*/ 312714 w 859002"/>
                    <a:gd name="csY135" fmla="*/ 632278 h 748361"/>
                    <a:gd name="csX136" fmla="*/ 309064 w 859002"/>
                    <a:gd name="csY136" fmla="*/ 636632 h 748361"/>
                    <a:gd name="csX137" fmla="*/ 315979 w 859002"/>
                    <a:gd name="csY137" fmla="*/ 644988 h 748361"/>
                    <a:gd name="csX138" fmla="*/ 342807 w 859002"/>
                    <a:gd name="csY138" fmla="*/ 627220 h 748361"/>
                    <a:gd name="csX139" fmla="*/ 348602 w 859002"/>
                    <a:gd name="csY139" fmla="*/ 637369 h 748361"/>
                    <a:gd name="csX140" fmla="*/ 368578 w 859002"/>
                    <a:gd name="csY140" fmla="*/ 636632 h 748361"/>
                    <a:gd name="csX141" fmla="*/ 378727 w 859002"/>
                    <a:gd name="csY141" fmla="*/ 636632 h 748361"/>
                    <a:gd name="csX142" fmla="*/ 384906 w 859002"/>
                    <a:gd name="csY142" fmla="*/ 631574 h 748361"/>
                    <a:gd name="csX143" fmla="*/ 398672 w 859002"/>
                    <a:gd name="csY143" fmla="*/ 636632 h 748361"/>
                    <a:gd name="csX144" fmla="*/ 407379 w 859002"/>
                    <a:gd name="csY144" fmla="*/ 639193 h 748361"/>
                    <a:gd name="csX145" fmla="*/ 415735 w 859002"/>
                    <a:gd name="csY145" fmla="*/ 639193 h 748361"/>
                    <a:gd name="csX146" fmla="*/ 410645 w 859002"/>
                    <a:gd name="csY146" fmla="*/ 656225 h 748361"/>
                    <a:gd name="csX147" fmla="*/ 416824 w 859002"/>
                    <a:gd name="csY147" fmla="*/ 659842 h 748361"/>
                    <a:gd name="csX148" fmla="*/ 416824 w 859002"/>
                    <a:gd name="csY148" fmla="*/ 667462 h 748361"/>
                    <a:gd name="csX149" fmla="*/ 408820 w 859002"/>
                    <a:gd name="csY149" fmla="*/ 672552 h 748361"/>
                    <a:gd name="csX150" fmla="*/ 419353 w 859002"/>
                    <a:gd name="csY150" fmla="*/ 703766 h 748361"/>
                    <a:gd name="csX151" fmla="*/ 418264 w 859002"/>
                    <a:gd name="csY151" fmla="*/ 718268 h 748361"/>
                    <a:gd name="csX152" fmla="*/ 424443 w 859002"/>
                    <a:gd name="csY152" fmla="*/ 717532 h 748361"/>
                    <a:gd name="csX153" fmla="*/ 425147 w 859002"/>
                    <a:gd name="csY153" fmla="*/ 723326 h 748361"/>
                    <a:gd name="csX154" fmla="*/ 440738 w 859002"/>
                    <a:gd name="csY154" fmla="*/ 726976 h 748361"/>
                    <a:gd name="csX155" fmla="*/ 463980 w 859002"/>
                    <a:gd name="csY155" fmla="*/ 722622 h 748361"/>
                    <a:gd name="csX156" fmla="*/ 475217 w 859002"/>
                    <a:gd name="csY156" fmla="*/ 718268 h 748361"/>
                    <a:gd name="csX157" fmla="*/ 497723 w 859002"/>
                    <a:gd name="csY157" fmla="*/ 715707 h 748361"/>
                    <a:gd name="csX158" fmla="*/ 492281 w 859002"/>
                    <a:gd name="csY158" fmla="*/ 702677 h 748361"/>
                    <a:gd name="csX159" fmla="*/ 495162 w 859002"/>
                    <a:gd name="csY159" fmla="*/ 700116 h 748361"/>
                    <a:gd name="csX160" fmla="*/ 521638 w 859002"/>
                    <a:gd name="csY160" fmla="*/ 707031 h 748361"/>
                    <a:gd name="csX161" fmla="*/ 525992 w 859002"/>
                    <a:gd name="csY161" fmla="*/ 709560 h 748361"/>
                    <a:gd name="csX162" fmla="*/ 537965 w 859002"/>
                    <a:gd name="csY162" fmla="*/ 717532 h 748361"/>
                    <a:gd name="csX163" fmla="*/ 545968 w 859002"/>
                    <a:gd name="csY163" fmla="*/ 684877 h 748361"/>
                    <a:gd name="csX164" fmla="*/ 573533 w 859002"/>
                    <a:gd name="csY164" fmla="*/ 679435 h 748361"/>
                    <a:gd name="csX165" fmla="*/ 582945 w 859002"/>
                    <a:gd name="csY165" fmla="*/ 683789 h 748361"/>
                    <a:gd name="csX166" fmla="*/ 586210 w 859002"/>
                    <a:gd name="csY166" fmla="*/ 696851 h 748361"/>
                    <a:gd name="csX167" fmla="*/ 594918 w 859002"/>
                    <a:gd name="csY167" fmla="*/ 701941 h 748361"/>
                    <a:gd name="csX168" fmla="*/ 600008 w 859002"/>
                    <a:gd name="csY168" fmla="*/ 715707 h 748361"/>
                    <a:gd name="csX169" fmla="*/ 615599 w 859002"/>
                    <a:gd name="csY169" fmla="*/ 735300 h 748361"/>
                    <a:gd name="csX170" fmla="*/ 623955 w 859002"/>
                    <a:gd name="csY170" fmla="*/ 731330 h 748361"/>
                    <a:gd name="csX171" fmla="*/ 642075 w 859002"/>
                    <a:gd name="csY171" fmla="*/ 742215 h 748361"/>
                    <a:gd name="csX172" fmla="*/ 650078 w 859002"/>
                    <a:gd name="csY172" fmla="*/ 738213 h 748361"/>
                    <a:gd name="csX173" fmla="*/ 656961 w 859002"/>
                    <a:gd name="csY173" fmla="*/ 742215 h 748361"/>
                    <a:gd name="csX174" fmla="*/ 677642 w 859002"/>
                    <a:gd name="csY174" fmla="*/ 741478 h 748361"/>
                    <a:gd name="csX175" fmla="*/ 677642 w 859002"/>
                    <a:gd name="csY175" fmla="*/ 743303 h 748361"/>
                    <a:gd name="csX176" fmla="*/ 679083 w 859002"/>
                    <a:gd name="csY176" fmla="*/ 748361 h 748361"/>
                    <a:gd name="csX177" fmla="*/ 696499 w 859002"/>
                    <a:gd name="csY177" fmla="*/ 747657 h 748361"/>
                    <a:gd name="csX178" fmla="*/ 702293 w 859002"/>
                    <a:gd name="csY178" fmla="*/ 738213 h 748361"/>
                    <a:gd name="csX179" fmla="*/ 718621 w 859002"/>
                    <a:gd name="csY179" fmla="*/ 732771 h 748361"/>
                    <a:gd name="csX180" fmla="*/ 721534 w 859002"/>
                    <a:gd name="csY180" fmla="*/ 724415 h 748361"/>
                    <a:gd name="csX181" fmla="*/ 755629 w 859002"/>
                    <a:gd name="csY181" fmla="*/ 713914 h 748361"/>
                    <a:gd name="csX182" fmla="*/ 795518 w 859002"/>
                    <a:gd name="csY182" fmla="*/ 708824 h 748361"/>
                    <a:gd name="csX183" fmla="*/ 812582 w 859002"/>
                    <a:gd name="csY183" fmla="*/ 717532 h 748361"/>
                    <a:gd name="csX184" fmla="*/ 833263 w 859002"/>
                    <a:gd name="csY184" fmla="*/ 713914 h 748361"/>
                    <a:gd name="csX185" fmla="*/ 840882 w 859002"/>
                    <a:gd name="csY185" fmla="*/ 707031 h 748361"/>
                    <a:gd name="csX186" fmla="*/ 849590 w 859002"/>
                    <a:gd name="csY186" fmla="*/ 708824 h 748361"/>
                    <a:gd name="csX187" fmla="*/ 858298 w 859002"/>
                    <a:gd name="csY187" fmla="*/ 707031 h 748361"/>
                    <a:gd name="csX188" fmla="*/ 859002 w 859002"/>
                    <a:gd name="csY188" fmla="*/ 700116 h 748361"/>
                    <a:gd name="csX189" fmla="*/ 848854 w 859002"/>
                    <a:gd name="csY189" fmla="*/ 700116 h 748361"/>
                    <a:gd name="csX190" fmla="*/ 848854 w 859002"/>
                    <a:gd name="csY190" fmla="*/ 690704 h 748361"/>
                    <a:gd name="csX191" fmla="*/ 822026 w 859002"/>
                    <a:gd name="csY191" fmla="*/ 672552 h 748361"/>
                    <a:gd name="csX192" fmla="*/ 821290 w 859002"/>
                    <a:gd name="csY192" fmla="*/ 665669 h 748361"/>
                    <a:gd name="csX193" fmla="*/ 815111 w 859002"/>
                    <a:gd name="csY193" fmla="*/ 667462 h 748361"/>
                    <a:gd name="csX194" fmla="*/ 803874 w 859002"/>
                    <a:gd name="csY194" fmla="*/ 662404 h 748361"/>
                    <a:gd name="csX195" fmla="*/ 783193 w 859002"/>
                    <a:gd name="csY195" fmla="*/ 640986 h 748361"/>
                    <a:gd name="csX196" fmla="*/ 773045 w 859002"/>
                    <a:gd name="csY196" fmla="*/ 646813 h 748361"/>
                    <a:gd name="csX197" fmla="*/ 754892 w 859002"/>
                    <a:gd name="csY197" fmla="*/ 639898 h 748361"/>
                    <a:gd name="csX198" fmla="*/ 749834 w 859002"/>
                    <a:gd name="csY198" fmla="*/ 626132 h 748361"/>
                    <a:gd name="csX199" fmla="*/ 736772 w 859002"/>
                    <a:gd name="csY199" fmla="*/ 615951 h 748361"/>
                    <a:gd name="csX200" fmla="*/ 769427 w 859002"/>
                    <a:gd name="csY200" fmla="*/ 550674 h 748361"/>
                    <a:gd name="csX201" fmla="*/ 769427 w 859002"/>
                    <a:gd name="csY201" fmla="*/ 530730 h 748361"/>
                    <a:gd name="csX202" fmla="*/ 779927 w 859002"/>
                    <a:gd name="csY202" fmla="*/ 525639 h 748361"/>
                    <a:gd name="csX203" fmla="*/ 779927 w 859002"/>
                    <a:gd name="csY203" fmla="*/ 519461 h 748361"/>
                    <a:gd name="csX204" fmla="*/ 767954 w 859002"/>
                    <a:gd name="csY204" fmla="*/ 513666 h 748361"/>
                    <a:gd name="csX205" fmla="*/ 751627 w 859002"/>
                    <a:gd name="csY205" fmla="*/ 513666 h 748361"/>
                    <a:gd name="csX206" fmla="*/ 744744 w 859002"/>
                    <a:gd name="csY206" fmla="*/ 518756 h 748361"/>
                    <a:gd name="csX207" fmla="*/ 730946 w 859002"/>
                    <a:gd name="csY207" fmla="*/ 485014 h 748361"/>
                    <a:gd name="csX208" fmla="*/ 734211 w 859002"/>
                    <a:gd name="csY208" fmla="*/ 464332 h 748361"/>
                    <a:gd name="csX209" fmla="*/ 721534 w 859002"/>
                    <a:gd name="csY209" fmla="*/ 444740 h 748361"/>
                    <a:gd name="csX210" fmla="*/ 761071 w 859002"/>
                    <a:gd name="csY210" fmla="*/ 407731 h 748361"/>
                    <a:gd name="csX211" fmla="*/ 801345 w 859002"/>
                    <a:gd name="csY211" fmla="*/ 369635 h 748361"/>
                    <a:gd name="csX212" fmla="*/ 810757 w 859002"/>
                    <a:gd name="csY212" fmla="*/ 367106 h 748361"/>
                    <a:gd name="csX213" fmla="*/ 808228 w 859002"/>
                    <a:gd name="csY213" fmla="*/ 356957 h 748361"/>
                    <a:gd name="csX214" fmla="*/ 818761 w 859002"/>
                    <a:gd name="csY214" fmla="*/ 333747 h 748361"/>
                    <a:gd name="csX215" fmla="*/ 810757 w 859002"/>
                    <a:gd name="csY215" fmla="*/ 313066 h 748361"/>
                    <a:gd name="csX216" fmla="*/ 805699 w 859002"/>
                    <a:gd name="csY216" fmla="*/ 300004 h 748361"/>
                    <a:gd name="csX217" fmla="*/ 809316 w 859002"/>
                    <a:gd name="csY217" fmla="*/ 282941 h 748361"/>
                    <a:gd name="csX218" fmla="*/ 803874 w 859002"/>
                    <a:gd name="csY218" fmla="*/ 281148 h 748361"/>
                    <a:gd name="csX219" fmla="*/ 803874 w 859002"/>
                    <a:gd name="csY219" fmla="*/ 273528 h 748361"/>
                    <a:gd name="csX220" fmla="*/ 795518 w 859002"/>
                    <a:gd name="csY220" fmla="*/ 269174 h 748361"/>
                    <a:gd name="csX221" fmla="*/ 800609 w 859002"/>
                    <a:gd name="csY221" fmla="*/ 247757 h 748361"/>
                    <a:gd name="csX222" fmla="*/ 796991 w 859002"/>
                    <a:gd name="csY222" fmla="*/ 237256 h 748361"/>
                    <a:gd name="csX223" fmla="*/ 802433 w 859002"/>
                    <a:gd name="csY223" fmla="*/ 215103 h 748361"/>
                    <a:gd name="csX224" fmla="*/ 785018 w 859002"/>
                    <a:gd name="csY224" fmla="*/ 196983 h 748361"/>
                    <a:gd name="csX225" fmla="*/ 773781 w 859002"/>
                    <a:gd name="csY225" fmla="*/ 192629 h 748361"/>
                    <a:gd name="csX226" fmla="*/ 757453 w 859002"/>
                    <a:gd name="csY226" fmla="*/ 207131 h 748361"/>
                    <a:gd name="csX227" fmla="*/ 751627 w 859002"/>
                    <a:gd name="csY227" fmla="*/ 197719 h 748361"/>
                    <a:gd name="csX228" fmla="*/ 744744 w 859002"/>
                    <a:gd name="csY228" fmla="*/ 195158 h 748361"/>
                    <a:gd name="csX229" fmla="*/ 739302 w 859002"/>
                    <a:gd name="csY229" fmla="*/ 195894 h 748361"/>
                    <a:gd name="csX230" fmla="*/ 729857 w 859002"/>
                    <a:gd name="csY230" fmla="*/ 205338 h 748361"/>
                    <a:gd name="csX231" fmla="*/ 729153 w 859002"/>
                    <a:gd name="csY231" fmla="*/ 185746 h 748361"/>
                    <a:gd name="csX232" fmla="*/ 709208 w 859002"/>
                    <a:gd name="csY232" fmla="*/ 159974 h 748361"/>
                    <a:gd name="csX233" fmla="*/ 705943 w 859002"/>
                    <a:gd name="csY233" fmla="*/ 134235 h 748361"/>
                    <a:gd name="csX234" fmla="*/ 695410 w 859002"/>
                    <a:gd name="csY234" fmla="*/ 109904 h 748361"/>
                    <a:gd name="csX235" fmla="*/ 682701 w 859002"/>
                    <a:gd name="csY235" fmla="*/ 106639 h 748361"/>
                    <a:gd name="csX236" fmla="*/ 667846 w 859002"/>
                    <a:gd name="csY236" fmla="*/ 96138 h 748361"/>
                    <a:gd name="csX237" fmla="*/ 664581 w 859002"/>
                    <a:gd name="csY237" fmla="*/ 79811 h 748361"/>
                    <a:gd name="csX238" fmla="*/ 650078 w 859002"/>
                    <a:gd name="csY238" fmla="*/ 77986 h 748361"/>
                    <a:gd name="csX239" fmla="*/ 643900 w 859002"/>
                    <a:gd name="csY239" fmla="*/ 80900 h 748361"/>
                    <a:gd name="csX240" fmla="*/ 635192 w 859002"/>
                    <a:gd name="csY240" fmla="*/ 76546 h 748361"/>
                    <a:gd name="csX241" fmla="*/ 609452 w 859002"/>
                    <a:gd name="csY241" fmla="*/ 94666 h 748361"/>
                    <a:gd name="csX242" fmla="*/ 601833 w 859002"/>
                    <a:gd name="csY242" fmla="*/ 91048 h 748361"/>
                    <a:gd name="csX243" fmla="*/ 592389 w 859002"/>
                    <a:gd name="csY243" fmla="*/ 69663 h 748361"/>
                    <a:gd name="csX244" fmla="*/ 586210 w 859002"/>
                    <a:gd name="csY244" fmla="*/ 67102 h 748361"/>
                    <a:gd name="csX245" fmla="*/ 580063 w 859002"/>
                    <a:gd name="csY245" fmla="*/ 64572 h 748361"/>
                    <a:gd name="csX246" fmla="*/ 566650 w 859002"/>
                    <a:gd name="csY246" fmla="*/ 68574 h 748361"/>
                    <a:gd name="csX247" fmla="*/ 546673 w 859002"/>
                    <a:gd name="csY247" fmla="*/ 76546 h 748361"/>
                    <a:gd name="csX248" fmla="*/ 533611 w 859002"/>
                    <a:gd name="csY248" fmla="*/ 68574 h 748361"/>
                    <a:gd name="csX249" fmla="*/ 519109 w 859002"/>
                    <a:gd name="csY249" fmla="*/ 67838 h 748361"/>
                    <a:gd name="csX250" fmla="*/ 514755 w 859002"/>
                    <a:gd name="csY250" fmla="*/ 58394 h 748361"/>
                    <a:gd name="csX251" fmla="*/ 519845 w 859002"/>
                    <a:gd name="csY251" fmla="*/ 37745 h 748361"/>
                    <a:gd name="csX252" fmla="*/ 511489 w 859002"/>
                    <a:gd name="csY252" fmla="*/ 39537 h 748361"/>
                    <a:gd name="csX253" fmla="*/ 510401 w 859002"/>
                    <a:gd name="csY253" fmla="*/ 31566 h 748361"/>
                    <a:gd name="csX254" fmla="*/ 505310 w 859002"/>
                    <a:gd name="csY254" fmla="*/ 30125 h 748361"/>
                    <a:gd name="csX255" fmla="*/ 488279 w 859002"/>
                    <a:gd name="csY255" fmla="*/ 38449 h 748361"/>
                    <a:gd name="csX256" fmla="*/ 492281 w 859002"/>
                    <a:gd name="csY256" fmla="*/ 25771 h 748361"/>
                    <a:gd name="csX257" fmla="*/ 483925 w 859002"/>
                    <a:gd name="csY257" fmla="*/ 5795 h 748361"/>
                    <a:gd name="csX258" fmla="*/ 477746 w 859002"/>
                    <a:gd name="csY258" fmla="*/ 8356 h 748361"/>
                    <a:gd name="csX259" fmla="*/ 469039 w 859002"/>
                    <a:gd name="csY259" fmla="*/ 0 h 74836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  <a:cxn ang="0">
                      <a:pos x="csX217" y="csY217"/>
                    </a:cxn>
                    <a:cxn ang="0">
                      <a:pos x="csX218" y="csY218"/>
                    </a:cxn>
                    <a:cxn ang="0">
                      <a:pos x="csX219" y="csY219"/>
                    </a:cxn>
                    <a:cxn ang="0">
                      <a:pos x="csX220" y="csY220"/>
                    </a:cxn>
                    <a:cxn ang="0">
                      <a:pos x="csX221" y="csY221"/>
                    </a:cxn>
                    <a:cxn ang="0">
                      <a:pos x="csX222" y="csY222"/>
                    </a:cxn>
                    <a:cxn ang="0">
                      <a:pos x="csX223" y="csY223"/>
                    </a:cxn>
                    <a:cxn ang="0">
                      <a:pos x="csX224" y="csY224"/>
                    </a:cxn>
                    <a:cxn ang="0">
                      <a:pos x="csX225" y="csY225"/>
                    </a:cxn>
                    <a:cxn ang="0">
                      <a:pos x="csX226" y="csY226"/>
                    </a:cxn>
                    <a:cxn ang="0">
                      <a:pos x="csX227" y="csY227"/>
                    </a:cxn>
                    <a:cxn ang="0">
                      <a:pos x="csX228" y="csY228"/>
                    </a:cxn>
                    <a:cxn ang="0">
                      <a:pos x="csX229" y="csY229"/>
                    </a:cxn>
                    <a:cxn ang="0">
                      <a:pos x="csX230" y="csY230"/>
                    </a:cxn>
                    <a:cxn ang="0">
                      <a:pos x="csX231" y="csY231"/>
                    </a:cxn>
                    <a:cxn ang="0">
                      <a:pos x="csX232" y="csY232"/>
                    </a:cxn>
                    <a:cxn ang="0">
                      <a:pos x="csX233" y="csY233"/>
                    </a:cxn>
                    <a:cxn ang="0">
                      <a:pos x="csX234" y="csY234"/>
                    </a:cxn>
                    <a:cxn ang="0">
                      <a:pos x="csX235" y="csY235"/>
                    </a:cxn>
                    <a:cxn ang="0">
                      <a:pos x="csX236" y="csY236"/>
                    </a:cxn>
                    <a:cxn ang="0">
                      <a:pos x="csX237" y="csY237"/>
                    </a:cxn>
                    <a:cxn ang="0">
                      <a:pos x="csX238" y="csY238"/>
                    </a:cxn>
                    <a:cxn ang="0">
                      <a:pos x="csX239" y="csY239"/>
                    </a:cxn>
                    <a:cxn ang="0">
                      <a:pos x="csX240" y="csY240"/>
                    </a:cxn>
                    <a:cxn ang="0">
                      <a:pos x="csX241" y="csY241"/>
                    </a:cxn>
                    <a:cxn ang="0">
                      <a:pos x="csX242" y="csY242"/>
                    </a:cxn>
                    <a:cxn ang="0">
                      <a:pos x="csX243" y="csY243"/>
                    </a:cxn>
                    <a:cxn ang="0">
                      <a:pos x="csX244" y="csY244"/>
                    </a:cxn>
                    <a:cxn ang="0">
                      <a:pos x="csX245" y="csY245"/>
                    </a:cxn>
                    <a:cxn ang="0">
                      <a:pos x="csX246" y="csY246"/>
                    </a:cxn>
                    <a:cxn ang="0">
                      <a:pos x="csX247" y="csY247"/>
                    </a:cxn>
                    <a:cxn ang="0">
                      <a:pos x="csX248" y="csY248"/>
                    </a:cxn>
                    <a:cxn ang="0">
                      <a:pos x="csX249" y="csY249"/>
                    </a:cxn>
                    <a:cxn ang="0">
                      <a:pos x="csX250" y="csY250"/>
                    </a:cxn>
                    <a:cxn ang="0">
                      <a:pos x="csX251" y="csY251"/>
                    </a:cxn>
                    <a:cxn ang="0">
                      <a:pos x="csX252" y="csY252"/>
                    </a:cxn>
                    <a:cxn ang="0">
                      <a:pos x="csX253" y="csY253"/>
                    </a:cxn>
                    <a:cxn ang="0">
                      <a:pos x="csX254" y="csY254"/>
                    </a:cxn>
                    <a:cxn ang="0">
                      <a:pos x="csX255" y="csY255"/>
                    </a:cxn>
                    <a:cxn ang="0">
                      <a:pos x="csX256" y="csY256"/>
                    </a:cxn>
                    <a:cxn ang="0">
                      <a:pos x="csX257" y="csY257"/>
                    </a:cxn>
                    <a:cxn ang="0">
                      <a:pos x="csX258" y="csY258"/>
                    </a:cxn>
                    <a:cxn ang="0">
                      <a:pos x="csX259" y="csY259"/>
                    </a:cxn>
                  </a:cxnLst>
                  <a:rect l="l" t="t" r="r" b="b"/>
                  <a:pathLst>
                    <a:path w="859002" h="748361">
                      <a:moveTo>
                        <a:pt x="469039" y="0"/>
                      </a:moveTo>
                      <a:lnTo>
                        <a:pt x="462156" y="8356"/>
                      </a:lnTo>
                      <a:lnTo>
                        <a:pt x="448357" y="15239"/>
                      </a:lnTo>
                      <a:lnTo>
                        <a:pt x="442563" y="6883"/>
                      </a:lnTo>
                      <a:lnTo>
                        <a:pt x="440738" y="2529"/>
                      </a:lnTo>
                      <a:lnTo>
                        <a:pt x="432062" y="6883"/>
                      </a:lnTo>
                      <a:lnTo>
                        <a:pt x="411381" y="33391"/>
                      </a:lnTo>
                      <a:lnTo>
                        <a:pt x="403026" y="35920"/>
                      </a:lnTo>
                      <a:lnTo>
                        <a:pt x="397935" y="47893"/>
                      </a:lnTo>
                      <a:lnTo>
                        <a:pt x="388171" y="44628"/>
                      </a:lnTo>
                      <a:lnTo>
                        <a:pt x="384906" y="37745"/>
                      </a:lnTo>
                      <a:lnTo>
                        <a:pt x="377990" y="38449"/>
                      </a:lnTo>
                      <a:lnTo>
                        <a:pt x="371844" y="23947"/>
                      </a:lnTo>
                      <a:lnTo>
                        <a:pt x="360575" y="40274"/>
                      </a:lnTo>
                      <a:lnTo>
                        <a:pt x="352955" y="38449"/>
                      </a:lnTo>
                      <a:lnTo>
                        <a:pt x="345336" y="46420"/>
                      </a:lnTo>
                      <a:lnTo>
                        <a:pt x="516580" y="205338"/>
                      </a:lnTo>
                      <a:lnTo>
                        <a:pt x="519109" y="269879"/>
                      </a:lnTo>
                      <a:lnTo>
                        <a:pt x="499164" y="273528"/>
                      </a:lnTo>
                      <a:lnTo>
                        <a:pt x="489720" y="275321"/>
                      </a:lnTo>
                      <a:lnTo>
                        <a:pt x="474481" y="265909"/>
                      </a:lnTo>
                      <a:lnTo>
                        <a:pt x="449446" y="261555"/>
                      </a:lnTo>
                      <a:lnTo>
                        <a:pt x="438209" y="264084"/>
                      </a:lnTo>
                      <a:lnTo>
                        <a:pt x="423707" y="257201"/>
                      </a:lnTo>
                      <a:lnTo>
                        <a:pt x="421882" y="261555"/>
                      </a:lnTo>
                      <a:lnTo>
                        <a:pt x="415735" y="257938"/>
                      </a:lnTo>
                      <a:lnTo>
                        <a:pt x="412470" y="257201"/>
                      </a:lnTo>
                      <a:lnTo>
                        <a:pt x="407379" y="248493"/>
                      </a:lnTo>
                      <a:lnTo>
                        <a:pt x="397935" y="247757"/>
                      </a:lnTo>
                      <a:lnTo>
                        <a:pt x="393613" y="235432"/>
                      </a:lnTo>
                      <a:lnTo>
                        <a:pt x="378727" y="222018"/>
                      </a:lnTo>
                      <a:lnTo>
                        <a:pt x="374373" y="227812"/>
                      </a:lnTo>
                      <a:lnTo>
                        <a:pt x="363488" y="227812"/>
                      </a:lnTo>
                      <a:lnTo>
                        <a:pt x="356605" y="220929"/>
                      </a:lnTo>
                      <a:lnTo>
                        <a:pt x="358046" y="206427"/>
                      </a:lnTo>
                      <a:lnTo>
                        <a:pt x="350426" y="212221"/>
                      </a:lnTo>
                      <a:lnTo>
                        <a:pt x="343543" y="208956"/>
                      </a:lnTo>
                      <a:lnTo>
                        <a:pt x="342807" y="216575"/>
                      </a:lnTo>
                      <a:lnTo>
                        <a:pt x="336628" y="215839"/>
                      </a:lnTo>
                      <a:lnTo>
                        <a:pt x="325391" y="223458"/>
                      </a:lnTo>
                      <a:lnTo>
                        <a:pt x="305799" y="244139"/>
                      </a:lnTo>
                      <a:lnTo>
                        <a:pt x="295298" y="244139"/>
                      </a:lnTo>
                      <a:lnTo>
                        <a:pt x="290208" y="236520"/>
                      </a:lnTo>
                      <a:lnTo>
                        <a:pt x="282589" y="234695"/>
                      </a:lnTo>
                      <a:lnTo>
                        <a:pt x="280796" y="252111"/>
                      </a:lnTo>
                      <a:lnTo>
                        <a:pt x="284061" y="256113"/>
                      </a:lnTo>
                      <a:lnTo>
                        <a:pt x="276442" y="268438"/>
                      </a:lnTo>
                      <a:lnTo>
                        <a:pt x="266261" y="267350"/>
                      </a:lnTo>
                      <a:lnTo>
                        <a:pt x="259378" y="255376"/>
                      </a:lnTo>
                      <a:lnTo>
                        <a:pt x="247053" y="250318"/>
                      </a:lnTo>
                      <a:lnTo>
                        <a:pt x="241963" y="250318"/>
                      </a:lnTo>
                      <a:lnTo>
                        <a:pt x="241226" y="255376"/>
                      </a:lnTo>
                      <a:lnTo>
                        <a:pt x="233255" y="257938"/>
                      </a:lnTo>
                      <a:lnTo>
                        <a:pt x="230726" y="265909"/>
                      </a:lnTo>
                      <a:lnTo>
                        <a:pt x="231814" y="288031"/>
                      </a:lnTo>
                      <a:lnTo>
                        <a:pt x="224899" y="283677"/>
                      </a:lnTo>
                      <a:lnTo>
                        <a:pt x="208604" y="285502"/>
                      </a:lnTo>
                      <a:lnTo>
                        <a:pt x="202425" y="285502"/>
                      </a:lnTo>
                      <a:lnTo>
                        <a:pt x="196246" y="271704"/>
                      </a:lnTo>
                      <a:lnTo>
                        <a:pt x="179215" y="272440"/>
                      </a:lnTo>
                      <a:lnTo>
                        <a:pt x="171596" y="291648"/>
                      </a:lnTo>
                      <a:lnTo>
                        <a:pt x="165417" y="289856"/>
                      </a:lnTo>
                      <a:lnTo>
                        <a:pt x="168682" y="278587"/>
                      </a:lnTo>
                      <a:lnTo>
                        <a:pt x="146561" y="282236"/>
                      </a:lnTo>
                      <a:lnTo>
                        <a:pt x="141118" y="283677"/>
                      </a:lnTo>
                      <a:lnTo>
                        <a:pt x="145472" y="292385"/>
                      </a:lnTo>
                      <a:lnTo>
                        <a:pt x="141118" y="300004"/>
                      </a:lnTo>
                      <a:lnTo>
                        <a:pt x="127704" y="303622"/>
                      </a:lnTo>
                      <a:lnTo>
                        <a:pt x="93225" y="322478"/>
                      </a:lnTo>
                      <a:lnTo>
                        <a:pt x="91432" y="339541"/>
                      </a:lnTo>
                      <a:lnTo>
                        <a:pt x="77634" y="345720"/>
                      </a:lnTo>
                      <a:lnTo>
                        <a:pt x="80163" y="353340"/>
                      </a:lnTo>
                      <a:lnTo>
                        <a:pt x="94698" y="365665"/>
                      </a:lnTo>
                      <a:lnTo>
                        <a:pt x="93961" y="369635"/>
                      </a:lnTo>
                      <a:lnTo>
                        <a:pt x="84517" y="371460"/>
                      </a:lnTo>
                      <a:lnTo>
                        <a:pt x="80163" y="377638"/>
                      </a:lnTo>
                      <a:lnTo>
                        <a:pt x="84517" y="380167"/>
                      </a:lnTo>
                      <a:lnTo>
                        <a:pt x="82724" y="386346"/>
                      </a:lnTo>
                      <a:lnTo>
                        <a:pt x="87783" y="402673"/>
                      </a:lnTo>
                      <a:lnTo>
                        <a:pt x="46805" y="430237"/>
                      </a:lnTo>
                      <a:lnTo>
                        <a:pt x="28653" y="452359"/>
                      </a:lnTo>
                      <a:lnTo>
                        <a:pt x="26860" y="458538"/>
                      </a:lnTo>
                      <a:lnTo>
                        <a:pt x="21770" y="460331"/>
                      </a:lnTo>
                      <a:lnTo>
                        <a:pt x="5442" y="472304"/>
                      </a:lnTo>
                      <a:lnTo>
                        <a:pt x="11237" y="506783"/>
                      </a:lnTo>
                      <a:lnTo>
                        <a:pt x="17416" y="509312"/>
                      </a:lnTo>
                      <a:lnTo>
                        <a:pt x="18152" y="541967"/>
                      </a:lnTo>
                      <a:lnTo>
                        <a:pt x="22506" y="558998"/>
                      </a:lnTo>
                      <a:lnTo>
                        <a:pt x="19945" y="565913"/>
                      </a:lnTo>
                      <a:lnTo>
                        <a:pt x="4354" y="569531"/>
                      </a:lnTo>
                      <a:lnTo>
                        <a:pt x="0" y="581504"/>
                      </a:lnTo>
                      <a:lnTo>
                        <a:pt x="3618" y="597095"/>
                      </a:lnTo>
                      <a:lnTo>
                        <a:pt x="25035" y="600360"/>
                      </a:lnTo>
                      <a:lnTo>
                        <a:pt x="28653" y="596006"/>
                      </a:lnTo>
                      <a:lnTo>
                        <a:pt x="53335" y="605451"/>
                      </a:lnTo>
                      <a:lnTo>
                        <a:pt x="62043" y="604714"/>
                      </a:lnTo>
                      <a:lnTo>
                        <a:pt x="64572" y="597095"/>
                      </a:lnTo>
                      <a:lnTo>
                        <a:pt x="84517" y="594566"/>
                      </a:lnTo>
                      <a:lnTo>
                        <a:pt x="88871" y="580768"/>
                      </a:lnTo>
                      <a:lnTo>
                        <a:pt x="97227" y="577886"/>
                      </a:lnTo>
                      <a:lnTo>
                        <a:pt x="100844" y="569531"/>
                      </a:lnTo>
                      <a:lnTo>
                        <a:pt x="100844" y="560087"/>
                      </a:lnTo>
                      <a:lnTo>
                        <a:pt x="112818" y="558998"/>
                      </a:lnTo>
                      <a:lnTo>
                        <a:pt x="125879" y="547025"/>
                      </a:lnTo>
                      <a:lnTo>
                        <a:pt x="125879" y="535788"/>
                      </a:lnTo>
                      <a:lnTo>
                        <a:pt x="133499" y="530730"/>
                      </a:lnTo>
                      <a:lnTo>
                        <a:pt x="141118" y="532522"/>
                      </a:lnTo>
                      <a:lnTo>
                        <a:pt x="144736" y="518756"/>
                      </a:lnTo>
                      <a:lnTo>
                        <a:pt x="161063" y="541967"/>
                      </a:lnTo>
                      <a:lnTo>
                        <a:pt x="172332" y="548850"/>
                      </a:lnTo>
                      <a:lnTo>
                        <a:pt x="163592" y="558294"/>
                      </a:lnTo>
                      <a:lnTo>
                        <a:pt x="167946" y="567706"/>
                      </a:lnTo>
                      <a:lnTo>
                        <a:pt x="161799" y="570267"/>
                      </a:lnTo>
                      <a:lnTo>
                        <a:pt x="170507" y="579679"/>
                      </a:lnTo>
                      <a:lnTo>
                        <a:pt x="179919" y="576414"/>
                      </a:lnTo>
                      <a:lnTo>
                        <a:pt x="181744" y="581504"/>
                      </a:lnTo>
                      <a:lnTo>
                        <a:pt x="187923" y="581504"/>
                      </a:lnTo>
                      <a:lnTo>
                        <a:pt x="202425" y="567002"/>
                      </a:lnTo>
                      <a:lnTo>
                        <a:pt x="210045" y="589123"/>
                      </a:lnTo>
                      <a:lnTo>
                        <a:pt x="218016" y="583329"/>
                      </a:lnTo>
                      <a:lnTo>
                        <a:pt x="235784" y="609068"/>
                      </a:lnTo>
                      <a:lnTo>
                        <a:pt x="247053" y="590948"/>
                      </a:lnTo>
                      <a:lnTo>
                        <a:pt x="238697" y="583329"/>
                      </a:lnTo>
                      <a:lnTo>
                        <a:pt x="260115" y="582240"/>
                      </a:lnTo>
                      <a:lnTo>
                        <a:pt x="272088" y="570971"/>
                      </a:lnTo>
                      <a:lnTo>
                        <a:pt x="278971" y="576414"/>
                      </a:lnTo>
                      <a:lnTo>
                        <a:pt x="290944" y="581504"/>
                      </a:lnTo>
                      <a:lnTo>
                        <a:pt x="279707" y="588387"/>
                      </a:lnTo>
                      <a:lnTo>
                        <a:pt x="281500" y="595302"/>
                      </a:lnTo>
                      <a:lnTo>
                        <a:pt x="292033" y="600360"/>
                      </a:lnTo>
                      <a:lnTo>
                        <a:pt x="304006" y="589123"/>
                      </a:lnTo>
                      <a:lnTo>
                        <a:pt x="310889" y="604010"/>
                      </a:lnTo>
                      <a:lnTo>
                        <a:pt x="315979" y="614863"/>
                      </a:lnTo>
                      <a:lnTo>
                        <a:pt x="302181" y="619217"/>
                      </a:lnTo>
                      <a:lnTo>
                        <a:pt x="301445" y="624659"/>
                      </a:lnTo>
                      <a:lnTo>
                        <a:pt x="312714" y="632278"/>
                      </a:lnTo>
                      <a:lnTo>
                        <a:pt x="309064" y="636632"/>
                      </a:lnTo>
                      <a:lnTo>
                        <a:pt x="315979" y="644988"/>
                      </a:lnTo>
                      <a:lnTo>
                        <a:pt x="342807" y="627220"/>
                      </a:lnTo>
                      <a:lnTo>
                        <a:pt x="348602" y="637369"/>
                      </a:lnTo>
                      <a:lnTo>
                        <a:pt x="368578" y="636632"/>
                      </a:lnTo>
                      <a:lnTo>
                        <a:pt x="378727" y="636632"/>
                      </a:lnTo>
                      <a:lnTo>
                        <a:pt x="384906" y="631574"/>
                      </a:lnTo>
                      <a:lnTo>
                        <a:pt x="398672" y="636632"/>
                      </a:lnTo>
                      <a:lnTo>
                        <a:pt x="407379" y="639193"/>
                      </a:lnTo>
                      <a:lnTo>
                        <a:pt x="415735" y="639193"/>
                      </a:lnTo>
                      <a:lnTo>
                        <a:pt x="410645" y="656225"/>
                      </a:lnTo>
                      <a:lnTo>
                        <a:pt x="416824" y="659842"/>
                      </a:lnTo>
                      <a:lnTo>
                        <a:pt x="416824" y="667462"/>
                      </a:lnTo>
                      <a:lnTo>
                        <a:pt x="408820" y="672552"/>
                      </a:lnTo>
                      <a:lnTo>
                        <a:pt x="419353" y="703766"/>
                      </a:lnTo>
                      <a:lnTo>
                        <a:pt x="418264" y="718268"/>
                      </a:lnTo>
                      <a:lnTo>
                        <a:pt x="424443" y="717532"/>
                      </a:lnTo>
                      <a:lnTo>
                        <a:pt x="425147" y="723326"/>
                      </a:lnTo>
                      <a:lnTo>
                        <a:pt x="440738" y="726976"/>
                      </a:lnTo>
                      <a:lnTo>
                        <a:pt x="463980" y="722622"/>
                      </a:lnTo>
                      <a:lnTo>
                        <a:pt x="475217" y="718268"/>
                      </a:lnTo>
                      <a:lnTo>
                        <a:pt x="497723" y="715707"/>
                      </a:lnTo>
                      <a:lnTo>
                        <a:pt x="492281" y="702677"/>
                      </a:lnTo>
                      <a:lnTo>
                        <a:pt x="495162" y="700116"/>
                      </a:lnTo>
                      <a:lnTo>
                        <a:pt x="521638" y="707031"/>
                      </a:lnTo>
                      <a:lnTo>
                        <a:pt x="525992" y="709560"/>
                      </a:lnTo>
                      <a:lnTo>
                        <a:pt x="537965" y="717532"/>
                      </a:lnTo>
                      <a:lnTo>
                        <a:pt x="545968" y="684877"/>
                      </a:lnTo>
                      <a:lnTo>
                        <a:pt x="573533" y="679435"/>
                      </a:lnTo>
                      <a:lnTo>
                        <a:pt x="582945" y="683789"/>
                      </a:lnTo>
                      <a:lnTo>
                        <a:pt x="586210" y="696851"/>
                      </a:lnTo>
                      <a:lnTo>
                        <a:pt x="594918" y="701941"/>
                      </a:lnTo>
                      <a:lnTo>
                        <a:pt x="600008" y="715707"/>
                      </a:lnTo>
                      <a:lnTo>
                        <a:pt x="615599" y="735300"/>
                      </a:lnTo>
                      <a:lnTo>
                        <a:pt x="623955" y="731330"/>
                      </a:lnTo>
                      <a:lnTo>
                        <a:pt x="642075" y="742215"/>
                      </a:lnTo>
                      <a:lnTo>
                        <a:pt x="650078" y="738213"/>
                      </a:lnTo>
                      <a:lnTo>
                        <a:pt x="656961" y="742215"/>
                      </a:lnTo>
                      <a:lnTo>
                        <a:pt x="677642" y="741478"/>
                      </a:lnTo>
                      <a:lnTo>
                        <a:pt x="677642" y="743303"/>
                      </a:lnTo>
                      <a:lnTo>
                        <a:pt x="679083" y="748361"/>
                      </a:lnTo>
                      <a:lnTo>
                        <a:pt x="696499" y="747657"/>
                      </a:lnTo>
                      <a:lnTo>
                        <a:pt x="702293" y="738213"/>
                      </a:lnTo>
                      <a:lnTo>
                        <a:pt x="718621" y="732771"/>
                      </a:lnTo>
                      <a:lnTo>
                        <a:pt x="721534" y="724415"/>
                      </a:lnTo>
                      <a:lnTo>
                        <a:pt x="755629" y="713914"/>
                      </a:lnTo>
                      <a:lnTo>
                        <a:pt x="795518" y="708824"/>
                      </a:lnTo>
                      <a:lnTo>
                        <a:pt x="812582" y="717532"/>
                      </a:lnTo>
                      <a:lnTo>
                        <a:pt x="833263" y="713914"/>
                      </a:lnTo>
                      <a:lnTo>
                        <a:pt x="840882" y="707031"/>
                      </a:lnTo>
                      <a:lnTo>
                        <a:pt x="849590" y="708824"/>
                      </a:lnTo>
                      <a:lnTo>
                        <a:pt x="858298" y="707031"/>
                      </a:lnTo>
                      <a:lnTo>
                        <a:pt x="859002" y="700116"/>
                      </a:lnTo>
                      <a:lnTo>
                        <a:pt x="848854" y="700116"/>
                      </a:lnTo>
                      <a:lnTo>
                        <a:pt x="848854" y="690704"/>
                      </a:lnTo>
                      <a:lnTo>
                        <a:pt x="822026" y="672552"/>
                      </a:lnTo>
                      <a:lnTo>
                        <a:pt x="821290" y="665669"/>
                      </a:lnTo>
                      <a:lnTo>
                        <a:pt x="815111" y="667462"/>
                      </a:lnTo>
                      <a:lnTo>
                        <a:pt x="803874" y="662404"/>
                      </a:lnTo>
                      <a:lnTo>
                        <a:pt x="783193" y="640986"/>
                      </a:lnTo>
                      <a:lnTo>
                        <a:pt x="773045" y="646813"/>
                      </a:lnTo>
                      <a:lnTo>
                        <a:pt x="754892" y="639898"/>
                      </a:lnTo>
                      <a:lnTo>
                        <a:pt x="749834" y="626132"/>
                      </a:lnTo>
                      <a:lnTo>
                        <a:pt x="736772" y="615951"/>
                      </a:lnTo>
                      <a:lnTo>
                        <a:pt x="769427" y="550674"/>
                      </a:lnTo>
                      <a:lnTo>
                        <a:pt x="769427" y="530730"/>
                      </a:lnTo>
                      <a:lnTo>
                        <a:pt x="779927" y="525639"/>
                      </a:lnTo>
                      <a:lnTo>
                        <a:pt x="779927" y="519461"/>
                      </a:lnTo>
                      <a:lnTo>
                        <a:pt x="767954" y="513666"/>
                      </a:lnTo>
                      <a:lnTo>
                        <a:pt x="751627" y="513666"/>
                      </a:lnTo>
                      <a:lnTo>
                        <a:pt x="744744" y="518756"/>
                      </a:lnTo>
                      <a:lnTo>
                        <a:pt x="730946" y="485014"/>
                      </a:lnTo>
                      <a:lnTo>
                        <a:pt x="734211" y="464332"/>
                      </a:lnTo>
                      <a:lnTo>
                        <a:pt x="721534" y="444740"/>
                      </a:lnTo>
                      <a:lnTo>
                        <a:pt x="761071" y="407731"/>
                      </a:lnTo>
                      <a:lnTo>
                        <a:pt x="801345" y="369635"/>
                      </a:lnTo>
                      <a:lnTo>
                        <a:pt x="810757" y="367106"/>
                      </a:lnTo>
                      <a:lnTo>
                        <a:pt x="808228" y="356957"/>
                      </a:lnTo>
                      <a:lnTo>
                        <a:pt x="818761" y="333747"/>
                      </a:lnTo>
                      <a:lnTo>
                        <a:pt x="810757" y="313066"/>
                      </a:lnTo>
                      <a:lnTo>
                        <a:pt x="805699" y="300004"/>
                      </a:lnTo>
                      <a:lnTo>
                        <a:pt x="809316" y="282941"/>
                      </a:lnTo>
                      <a:lnTo>
                        <a:pt x="803874" y="281148"/>
                      </a:lnTo>
                      <a:lnTo>
                        <a:pt x="803874" y="273528"/>
                      </a:lnTo>
                      <a:lnTo>
                        <a:pt x="795518" y="269174"/>
                      </a:lnTo>
                      <a:lnTo>
                        <a:pt x="800609" y="247757"/>
                      </a:lnTo>
                      <a:lnTo>
                        <a:pt x="796991" y="237256"/>
                      </a:lnTo>
                      <a:lnTo>
                        <a:pt x="802433" y="215103"/>
                      </a:lnTo>
                      <a:lnTo>
                        <a:pt x="785018" y="196983"/>
                      </a:lnTo>
                      <a:lnTo>
                        <a:pt x="773781" y="192629"/>
                      </a:lnTo>
                      <a:lnTo>
                        <a:pt x="757453" y="207131"/>
                      </a:lnTo>
                      <a:lnTo>
                        <a:pt x="751627" y="197719"/>
                      </a:lnTo>
                      <a:lnTo>
                        <a:pt x="744744" y="195158"/>
                      </a:lnTo>
                      <a:lnTo>
                        <a:pt x="739302" y="195894"/>
                      </a:lnTo>
                      <a:lnTo>
                        <a:pt x="729857" y="205338"/>
                      </a:lnTo>
                      <a:lnTo>
                        <a:pt x="729153" y="185746"/>
                      </a:lnTo>
                      <a:lnTo>
                        <a:pt x="709208" y="159974"/>
                      </a:lnTo>
                      <a:lnTo>
                        <a:pt x="705943" y="134235"/>
                      </a:lnTo>
                      <a:lnTo>
                        <a:pt x="695410" y="109904"/>
                      </a:lnTo>
                      <a:lnTo>
                        <a:pt x="682701" y="106639"/>
                      </a:lnTo>
                      <a:lnTo>
                        <a:pt x="667846" y="96138"/>
                      </a:lnTo>
                      <a:lnTo>
                        <a:pt x="664581" y="79811"/>
                      </a:lnTo>
                      <a:lnTo>
                        <a:pt x="650078" y="77986"/>
                      </a:lnTo>
                      <a:lnTo>
                        <a:pt x="643900" y="80900"/>
                      </a:lnTo>
                      <a:lnTo>
                        <a:pt x="635192" y="76546"/>
                      </a:lnTo>
                      <a:lnTo>
                        <a:pt x="609452" y="94666"/>
                      </a:lnTo>
                      <a:lnTo>
                        <a:pt x="601833" y="91048"/>
                      </a:lnTo>
                      <a:lnTo>
                        <a:pt x="592389" y="69663"/>
                      </a:lnTo>
                      <a:lnTo>
                        <a:pt x="586210" y="67102"/>
                      </a:lnTo>
                      <a:lnTo>
                        <a:pt x="580063" y="64572"/>
                      </a:lnTo>
                      <a:lnTo>
                        <a:pt x="566650" y="68574"/>
                      </a:lnTo>
                      <a:lnTo>
                        <a:pt x="546673" y="76546"/>
                      </a:lnTo>
                      <a:lnTo>
                        <a:pt x="533611" y="68574"/>
                      </a:lnTo>
                      <a:lnTo>
                        <a:pt x="519109" y="67838"/>
                      </a:lnTo>
                      <a:lnTo>
                        <a:pt x="514755" y="58394"/>
                      </a:lnTo>
                      <a:lnTo>
                        <a:pt x="519845" y="37745"/>
                      </a:lnTo>
                      <a:lnTo>
                        <a:pt x="511489" y="39537"/>
                      </a:lnTo>
                      <a:lnTo>
                        <a:pt x="510401" y="31566"/>
                      </a:lnTo>
                      <a:lnTo>
                        <a:pt x="505310" y="30125"/>
                      </a:lnTo>
                      <a:lnTo>
                        <a:pt x="488279" y="38449"/>
                      </a:lnTo>
                      <a:lnTo>
                        <a:pt x="492281" y="25771"/>
                      </a:lnTo>
                      <a:lnTo>
                        <a:pt x="483925" y="5795"/>
                      </a:lnTo>
                      <a:lnTo>
                        <a:pt x="477746" y="8356"/>
                      </a:lnTo>
                      <a:lnTo>
                        <a:pt x="46903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2" name="Forma Livre: Forma 251">
                  <a:extLst>
                    <a:ext uri="{FF2B5EF4-FFF2-40B4-BE49-F238E27FC236}">
                      <a16:creationId xmlns:a16="http://schemas.microsoft.com/office/drawing/2014/main" id="{61F64571-B679-9CAC-E1B8-1462818D1912}"/>
                    </a:ext>
                  </a:extLst>
                </p:cNvPr>
                <p:cNvSpPr/>
                <p:nvPr/>
              </p:nvSpPr>
              <p:spPr>
                <a:xfrm>
                  <a:off x="2514495" y="2114214"/>
                  <a:ext cx="859002" cy="748361"/>
                </a:xfrm>
                <a:custGeom>
                  <a:avLst/>
                  <a:gdLst>
                    <a:gd name="csX0" fmla="*/ 469039 w 859002"/>
                    <a:gd name="csY0" fmla="*/ 0 h 748361"/>
                    <a:gd name="csX1" fmla="*/ 462156 w 859002"/>
                    <a:gd name="csY1" fmla="*/ 8356 h 748361"/>
                    <a:gd name="csX2" fmla="*/ 448357 w 859002"/>
                    <a:gd name="csY2" fmla="*/ 15239 h 748361"/>
                    <a:gd name="csX3" fmla="*/ 442563 w 859002"/>
                    <a:gd name="csY3" fmla="*/ 6883 h 748361"/>
                    <a:gd name="csX4" fmla="*/ 440738 w 859002"/>
                    <a:gd name="csY4" fmla="*/ 2529 h 748361"/>
                    <a:gd name="csX5" fmla="*/ 432062 w 859002"/>
                    <a:gd name="csY5" fmla="*/ 6883 h 748361"/>
                    <a:gd name="csX6" fmla="*/ 411381 w 859002"/>
                    <a:gd name="csY6" fmla="*/ 33391 h 748361"/>
                    <a:gd name="csX7" fmla="*/ 403026 w 859002"/>
                    <a:gd name="csY7" fmla="*/ 35920 h 748361"/>
                    <a:gd name="csX8" fmla="*/ 397935 w 859002"/>
                    <a:gd name="csY8" fmla="*/ 47893 h 748361"/>
                    <a:gd name="csX9" fmla="*/ 388171 w 859002"/>
                    <a:gd name="csY9" fmla="*/ 44628 h 748361"/>
                    <a:gd name="csX10" fmla="*/ 384906 w 859002"/>
                    <a:gd name="csY10" fmla="*/ 37745 h 748361"/>
                    <a:gd name="csX11" fmla="*/ 377990 w 859002"/>
                    <a:gd name="csY11" fmla="*/ 38449 h 748361"/>
                    <a:gd name="csX12" fmla="*/ 371844 w 859002"/>
                    <a:gd name="csY12" fmla="*/ 23947 h 748361"/>
                    <a:gd name="csX13" fmla="*/ 360575 w 859002"/>
                    <a:gd name="csY13" fmla="*/ 40274 h 748361"/>
                    <a:gd name="csX14" fmla="*/ 352955 w 859002"/>
                    <a:gd name="csY14" fmla="*/ 38449 h 748361"/>
                    <a:gd name="csX15" fmla="*/ 345336 w 859002"/>
                    <a:gd name="csY15" fmla="*/ 46420 h 748361"/>
                    <a:gd name="csX16" fmla="*/ 516580 w 859002"/>
                    <a:gd name="csY16" fmla="*/ 205338 h 748361"/>
                    <a:gd name="csX17" fmla="*/ 519109 w 859002"/>
                    <a:gd name="csY17" fmla="*/ 269879 h 748361"/>
                    <a:gd name="csX18" fmla="*/ 499164 w 859002"/>
                    <a:gd name="csY18" fmla="*/ 273528 h 748361"/>
                    <a:gd name="csX19" fmla="*/ 489720 w 859002"/>
                    <a:gd name="csY19" fmla="*/ 275321 h 748361"/>
                    <a:gd name="csX20" fmla="*/ 474481 w 859002"/>
                    <a:gd name="csY20" fmla="*/ 265909 h 748361"/>
                    <a:gd name="csX21" fmla="*/ 449446 w 859002"/>
                    <a:gd name="csY21" fmla="*/ 261555 h 748361"/>
                    <a:gd name="csX22" fmla="*/ 438209 w 859002"/>
                    <a:gd name="csY22" fmla="*/ 264084 h 748361"/>
                    <a:gd name="csX23" fmla="*/ 423707 w 859002"/>
                    <a:gd name="csY23" fmla="*/ 257201 h 748361"/>
                    <a:gd name="csX24" fmla="*/ 421882 w 859002"/>
                    <a:gd name="csY24" fmla="*/ 261555 h 748361"/>
                    <a:gd name="csX25" fmla="*/ 415735 w 859002"/>
                    <a:gd name="csY25" fmla="*/ 257938 h 748361"/>
                    <a:gd name="csX26" fmla="*/ 412470 w 859002"/>
                    <a:gd name="csY26" fmla="*/ 257201 h 748361"/>
                    <a:gd name="csX27" fmla="*/ 407379 w 859002"/>
                    <a:gd name="csY27" fmla="*/ 248493 h 748361"/>
                    <a:gd name="csX28" fmla="*/ 397935 w 859002"/>
                    <a:gd name="csY28" fmla="*/ 247757 h 748361"/>
                    <a:gd name="csX29" fmla="*/ 393613 w 859002"/>
                    <a:gd name="csY29" fmla="*/ 235432 h 748361"/>
                    <a:gd name="csX30" fmla="*/ 378727 w 859002"/>
                    <a:gd name="csY30" fmla="*/ 222018 h 748361"/>
                    <a:gd name="csX31" fmla="*/ 374373 w 859002"/>
                    <a:gd name="csY31" fmla="*/ 227812 h 748361"/>
                    <a:gd name="csX32" fmla="*/ 363488 w 859002"/>
                    <a:gd name="csY32" fmla="*/ 227812 h 748361"/>
                    <a:gd name="csX33" fmla="*/ 356605 w 859002"/>
                    <a:gd name="csY33" fmla="*/ 220929 h 748361"/>
                    <a:gd name="csX34" fmla="*/ 358046 w 859002"/>
                    <a:gd name="csY34" fmla="*/ 206427 h 748361"/>
                    <a:gd name="csX35" fmla="*/ 350426 w 859002"/>
                    <a:gd name="csY35" fmla="*/ 212221 h 748361"/>
                    <a:gd name="csX36" fmla="*/ 343543 w 859002"/>
                    <a:gd name="csY36" fmla="*/ 208956 h 748361"/>
                    <a:gd name="csX37" fmla="*/ 342807 w 859002"/>
                    <a:gd name="csY37" fmla="*/ 216575 h 748361"/>
                    <a:gd name="csX38" fmla="*/ 336628 w 859002"/>
                    <a:gd name="csY38" fmla="*/ 215839 h 748361"/>
                    <a:gd name="csX39" fmla="*/ 325391 w 859002"/>
                    <a:gd name="csY39" fmla="*/ 223458 h 748361"/>
                    <a:gd name="csX40" fmla="*/ 305799 w 859002"/>
                    <a:gd name="csY40" fmla="*/ 244139 h 748361"/>
                    <a:gd name="csX41" fmla="*/ 295298 w 859002"/>
                    <a:gd name="csY41" fmla="*/ 244139 h 748361"/>
                    <a:gd name="csX42" fmla="*/ 290208 w 859002"/>
                    <a:gd name="csY42" fmla="*/ 236520 h 748361"/>
                    <a:gd name="csX43" fmla="*/ 282589 w 859002"/>
                    <a:gd name="csY43" fmla="*/ 234695 h 748361"/>
                    <a:gd name="csX44" fmla="*/ 280796 w 859002"/>
                    <a:gd name="csY44" fmla="*/ 252111 h 748361"/>
                    <a:gd name="csX45" fmla="*/ 284061 w 859002"/>
                    <a:gd name="csY45" fmla="*/ 256113 h 748361"/>
                    <a:gd name="csX46" fmla="*/ 276442 w 859002"/>
                    <a:gd name="csY46" fmla="*/ 268438 h 748361"/>
                    <a:gd name="csX47" fmla="*/ 266261 w 859002"/>
                    <a:gd name="csY47" fmla="*/ 267350 h 748361"/>
                    <a:gd name="csX48" fmla="*/ 259378 w 859002"/>
                    <a:gd name="csY48" fmla="*/ 255376 h 748361"/>
                    <a:gd name="csX49" fmla="*/ 247053 w 859002"/>
                    <a:gd name="csY49" fmla="*/ 250318 h 748361"/>
                    <a:gd name="csX50" fmla="*/ 241963 w 859002"/>
                    <a:gd name="csY50" fmla="*/ 250318 h 748361"/>
                    <a:gd name="csX51" fmla="*/ 241226 w 859002"/>
                    <a:gd name="csY51" fmla="*/ 255376 h 748361"/>
                    <a:gd name="csX52" fmla="*/ 233255 w 859002"/>
                    <a:gd name="csY52" fmla="*/ 257938 h 748361"/>
                    <a:gd name="csX53" fmla="*/ 230726 w 859002"/>
                    <a:gd name="csY53" fmla="*/ 265909 h 748361"/>
                    <a:gd name="csX54" fmla="*/ 231814 w 859002"/>
                    <a:gd name="csY54" fmla="*/ 288031 h 748361"/>
                    <a:gd name="csX55" fmla="*/ 224899 w 859002"/>
                    <a:gd name="csY55" fmla="*/ 283677 h 748361"/>
                    <a:gd name="csX56" fmla="*/ 208604 w 859002"/>
                    <a:gd name="csY56" fmla="*/ 285502 h 748361"/>
                    <a:gd name="csX57" fmla="*/ 202425 w 859002"/>
                    <a:gd name="csY57" fmla="*/ 285502 h 748361"/>
                    <a:gd name="csX58" fmla="*/ 196246 w 859002"/>
                    <a:gd name="csY58" fmla="*/ 271704 h 748361"/>
                    <a:gd name="csX59" fmla="*/ 179215 w 859002"/>
                    <a:gd name="csY59" fmla="*/ 272440 h 748361"/>
                    <a:gd name="csX60" fmla="*/ 171596 w 859002"/>
                    <a:gd name="csY60" fmla="*/ 291648 h 748361"/>
                    <a:gd name="csX61" fmla="*/ 165417 w 859002"/>
                    <a:gd name="csY61" fmla="*/ 289856 h 748361"/>
                    <a:gd name="csX62" fmla="*/ 168682 w 859002"/>
                    <a:gd name="csY62" fmla="*/ 278587 h 748361"/>
                    <a:gd name="csX63" fmla="*/ 146561 w 859002"/>
                    <a:gd name="csY63" fmla="*/ 282236 h 748361"/>
                    <a:gd name="csX64" fmla="*/ 141118 w 859002"/>
                    <a:gd name="csY64" fmla="*/ 283677 h 748361"/>
                    <a:gd name="csX65" fmla="*/ 145472 w 859002"/>
                    <a:gd name="csY65" fmla="*/ 292385 h 748361"/>
                    <a:gd name="csX66" fmla="*/ 141118 w 859002"/>
                    <a:gd name="csY66" fmla="*/ 300004 h 748361"/>
                    <a:gd name="csX67" fmla="*/ 127704 w 859002"/>
                    <a:gd name="csY67" fmla="*/ 303622 h 748361"/>
                    <a:gd name="csX68" fmla="*/ 93225 w 859002"/>
                    <a:gd name="csY68" fmla="*/ 322478 h 748361"/>
                    <a:gd name="csX69" fmla="*/ 91432 w 859002"/>
                    <a:gd name="csY69" fmla="*/ 339541 h 748361"/>
                    <a:gd name="csX70" fmla="*/ 77634 w 859002"/>
                    <a:gd name="csY70" fmla="*/ 345720 h 748361"/>
                    <a:gd name="csX71" fmla="*/ 80163 w 859002"/>
                    <a:gd name="csY71" fmla="*/ 353340 h 748361"/>
                    <a:gd name="csX72" fmla="*/ 94698 w 859002"/>
                    <a:gd name="csY72" fmla="*/ 365665 h 748361"/>
                    <a:gd name="csX73" fmla="*/ 93961 w 859002"/>
                    <a:gd name="csY73" fmla="*/ 369635 h 748361"/>
                    <a:gd name="csX74" fmla="*/ 84517 w 859002"/>
                    <a:gd name="csY74" fmla="*/ 371460 h 748361"/>
                    <a:gd name="csX75" fmla="*/ 80163 w 859002"/>
                    <a:gd name="csY75" fmla="*/ 377638 h 748361"/>
                    <a:gd name="csX76" fmla="*/ 84517 w 859002"/>
                    <a:gd name="csY76" fmla="*/ 380167 h 748361"/>
                    <a:gd name="csX77" fmla="*/ 82724 w 859002"/>
                    <a:gd name="csY77" fmla="*/ 386346 h 748361"/>
                    <a:gd name="csX78" fmla="*/ 87783 w 859002"/>
                    <a:gd name="csY78" fmla="*/ 402673 h 748361"/>
                    <a:gd name="csX79" fmla="*/ 46805 w 859002"/>
                    <a:gd name="csY79" fmla="*/ 430237 h 748361"/>
                    <a:gd name="csX80" fmla="*/ 28653 w 859002"/>
                    <a:gd name="csY80" fmla="*/ 452359 h 748361"/>
                    <a:gd name="csX81" fmla="*/ 26860 w 859002"/>
                    <a:gd name="csY81" fmla="*/ 458538 h 748361"/>
                    <a:gd name="csX82" fmla="*/ 21770 w 859002"/>
                    <a:gd name="csY82" fmla="*/ 460331 h 748361"/>
                    <a:gd name="csX83" fmla="*/ 5442 w 859002"/>
                    <a:gd name="csY83" fmla="*/ 472304 h 748361"/>
                    <a:gd name="csX84" fmla="*/ 11237 w 859002"/>
                    <a:gd name="csY84" fmla="*/ 506783 h 748361"/>
                    <a:gd name="csX85" fmla="*/ 17416 w 859002"/>
                    <a:gd name="csY85" fmla="*/ 509312 h 748361"/>
                    <a:gd name="csX86" fmla="*/ 18152 w 859002"/>
                    <a:gd name="csY86" fmla="*/ 541967 h 748361"/>
                    <a:gd name="csX87" fmla="*/ 22506 w 859002"/>
                    <a:gd name="csY87" fmla="*/ 558998 h 748361"/>
                    <a:gd name="csX88" fmla="*/ 19945 w 859002"/>
                    <a:gd name="csY88" fmla="*/ 565913 h 748361"/>
                    <a:gd name="csX89" fmla="*/ 4354 w 859002"/>
                    <a:gd name="csY89" fmla="*/ 569531 h 748361"/>
                    <a:gd name="csX90" fmla="*/ 0 w 859002"/>
                    <a:gd name="csY90" fmla="*/ 581504 h 748361"/>
                    <a:gd name="csX91" fmla="*/ 3618 w 859002"/>
                    <a:gd name="csY91" fmla="*/ 597095 h 748361"/>
                    <a:gd name="csX92" fmla="*/ 25035 w 859002"/>
                    <a:gd name="csY92" fmla="*/ 600360 h 748361"/>
                    <a:gd name="csX93" fmla="*/ 28653 w 859002"/>
                    <a:gd name="csY93" fmla="*/ 596006 h 748361"/>
                    <a:gd name="csX94" fmla="*/ 53335 w 859002"/>
                    <a:gd name="csY94" fmla="*/ 605451 h 748361"/>
                    <a:gd name="csX95" fmla="*/ 62043 w 859002"/>
                    <a:gd name="csY95" fmla="*/ 604714 h 748361"/>
                    <a:gd name="csX96" fmla="*/ 64572 w 859002"/>
                    <a:gd name="csY96" fmla="*/ 597095 h 748361"/>
                    <a:gd name="csX97" fmla="*/ 84517 w 859002"/>
                    <a:gd name="csY97" fmla="*/ 594566 h 748361"/>
                    <a:gd name="csX98" fmla="*/ 88871 w 859002"/>
                    <a:gd name="csY98" fmla="*/ 580768 h 748361"/>
                    <a:gd name="csX99" fmla="*/ 97227 w 859002"/>
                    <a:gd name="csY99" fmla="*/ 577886 h 748361"/>
                    <a:gd name="csX100" fmla="*/ 100844 w 859002"/>
                    <a:gd name="csY100" fmla="*/ 569531 h 748361"/>
                    <a:gd name="csX101" fmla="*/ 100844 w 859002"/>
                    <a:gd name="csY101" fmla="*/ 560087 h 748361"/>
                    <a:gd name="csX102" fmla="*/ 112818 w 859002"/>
                    <a:gd name="csY102" fmla="*/ 558998 h 748361"/>
                    <a:gd name="csX103" fmla="*/ 125879 w 859002"/>
                    <a:gd name="csY103" fmla="*/ 547025 h 748361"/>
                    <a:gd name="csX104" fmla="*/ 125879 w 859002"/>
                    <a:gd name="csY104" fmla="*/ 535788 h 748361"/>
                    <a:gd name="csX105" fmla="*/ 133499 w 859002"/>
                    <a:gd name="csY105" fmla="*/ 530730 h 748361"/>
                    <a:gd name="csX106" fmla="*/ 141118 w 859002"/>
                    <a:gd name="csY106" fmla="*/ 532522 h 748361"/>
                    <a:gd name="csX107" fmla="*/ 144736 w 859002"/>
                    <a:gd name="csY107" fmla="*/ 518756 h 748361"/>
                    <a:gd name="csX108" fmla="*/ 161063 w 859002"/>
                    <a:gd name="csY108" fmla="*/ 541967 h 748361"/>
                    <a:gd name="csX109" fmla="*/ 172332 w 859002"/>
                    <a:gd name="csY109" fmla="*/ 548850 h 748361"/>
                    <a:gd name="csX110" fmla="*/ 163592 w 859002"/>
                    <a:gd name="csY110" fmla="*/ 558294 h 748361"/>
                    <a:gd name="csX111" fmla="*/ 167946 w 859002"/>
                    <a:gd name="csY111" fmla="*/ 567706 h 748361"/>
                    <a:gd name="csX112" fmla="*/ 161799 w 859002"/>
                    <a:gd name="csY112" fmla="*/ 570267 h 748361"/>
                    <a:gd name="csX113" fmla="*/ 170507 w 859002"/>
                    <a:gd name="csY113" fmla="*/ 579679 h 748361"/>
                    <a:gd name="csX114" fmla="*/ 179919 w 859002"/>
                    <a:gd name="csY114" fmla="*/ 576414 h 748361"/>
                    <a:gd name="csX115" fmla="*/ 181744 w 859002"/>
                    <a:gd name="csY115" fmla="*/ 581504 h 748361"/>
                    <a:gd name="csX116" fmla="*/ 187923 w 859002"/>
                    <a:gd name="csY116" fmla="*/ 581504 h 748361"/>
                    <a:gd name="csX117" fmla="*/ 202425 w 859002"/>
                    <a:gd name="csY117" fmla="*/ 567002 h 748361"/>
                    <a:gd name="csX118" fmla="*/ 210045 w 859002"/>
                    <a:gd name="csY118" fmla="*/ 589123 h 748361"/>
                    <a:gd name="csX119" fmla="*/ 218016 w 859002"/>
                    <a:gd name="csY119" fmla="*/ 583329 h 748361"/>
                    <a:gd name="csX120" fmla="*/ 235784 w 859002"/>
                    <a:gd name="csY120" fmla="*/ 609068 h 748361"/>
                    <a:gd name="csX121" fmla="*/ 247053 w 859002"/>
                    <a:gd name="csY121" fmla="*/ 590948 h 748361"/>
                    <a:gd name="csX122" fmla="*/ 238697 w 859002"/>
                    <a:gd name="csY122" fmla="*/ 583329 h 748361"/>
                    <a:gd name="csX123" fmla="*/ 260115 w 859002"/>
                    <a:gd name="csY123" fmla="*/ 582240 h 748361"/>
                    <a:gd name="csX124" fmla="*/ 272088 w 859002"/>
                    <a:gd name="csY124" fmla="*/ 570971 h 748361"/>
                    <a:gd name="csX125" fmla="*/ 278971 w 859002"/>
                    <a:gd name="csY125" fmla="*/ 576414 h 748361"/>
                    <a:gd name="csX126" fmla="*/ 290944 w 859002"/>
                    <a:gd name="csY126" fmla="*/ 581504 h 748361"/>
                    <a:gd name="csX127" fmla="*/ 279707 w 859002"/>
                    <a:gd name="csY127" fmla="*/ 588387 h 748361"/>
                    <a:gd name="csX128" fmla="*/ 281500 w 859002"/>
                    <a:gd name="csY128" fmla="*/ 595302 h 748361"/>
                    <a:gd name="csX129" fmla="*/ 292033 w 859002"/>
                    <a:gd name="csY129" fmla="*/ 600360 h 748361"/>
                    <a:gd name="csX130" fmla="*/ 304006 w 859002"/>
                    <a:gd name="csY130" fmla="*/ 589123 h 748361"/>
                    <a:gd name="csX131" fmla="*/ 310889 w 859002"/>
                    <a:gd name="csY131" fmla="*/ 604010 h 748361"/>
                    <a:gd name="csX132" fmla="*/ 315979 w 859002"/>
                    <a:gd name="csY132" fmla="*/ 614863 h 748361"/>
                    <a:gd name="csX133" fmla="*/ 302181 w 859002"/>
                    <a:gd name="csY133" fmla="*/ 619217 h 748361"/>
                    <a:gd name="csX134" fmla="*/ 301445 w 859002"/>
                    <a:gd name="csY134" fmla="*/ 624659 h 748361"/>
                    <a:gd name="csX135" fmla="*/ 312714 w 859002"/>
                    <a:gd name="csY135" fmla="*/ 632278 h 748361"/>
                    <a:gd name="csX136" fmla="*/ 309064 w 859002"/>
                    <a:gd name="csY136" fmla="*/ 636632 h 748361"/>
                    <a:gd name="csX137" fmla="*/ 315979 w 859002"/>
                    <a:gd name="csY137" fmla="*/ 644988 h 748361"/>
                    <a:gd name="csX138" fmla="*/ 342807 w 859002"/>
                    <a:gd name="csY138" fmla="*/ 627220 h 748361"/>
                    <a:gd name="csX139" fmla="*/ 348602 w 859002"/>
                    <a:gd name="csY139" fmla="*/ 637369 h 748361"/>
                    <a:gd name="csX140" fmla="*/ 368578 w 859002"/>
                    <a:gd name="csY140" fmla="*/ 636632 h 748361"/>
                    <a:gd name="csX141" fmla="*/ 378727 w 859002"/>
                    <a:gd name="csY141" fmla="*/ 636632 h 748361"/>
                    <a:gd name="csX142" fmla="*/ 384906 w 859002"/>
                    <a:gd name="csY142" fmla="*/ 631574 h 748361"/>
                    <a:gd name="csX143" fmla="*/ 398672 w 859002"/>
                    <a:gd name="csY143" fmla="*/ 636632 h 748361"/>
                    <a:gd name="csX144" fmla="*/ 407379 w 859002"/>
                    <a:gd name="csY144" fmla="*/ 639193 h 748361"/>
                    <a:gd name="csX145" fmla="*/ 415735 w 859002"/>
                    <a:gd name="csY145" fmla="*/ 639193 h 748361"/>
                    <a:gd name="csX146" fmla="*/ 410645 w 859002"/>
                    <a:gd name="csY146" fmla="*/ 656225 h 748361"/>
                    <a:gd name="csX147" fmla="*/ 416824 w 859002"/>
                    <a:gd name="csY147" fmla="*/ 659842 h 748361"/>
                    <a:gd name="csX148" fmla="*/ 416824 w 859002"/>
                    <a:gd name="csY148" fmla="*/ 667462 h 748361"/>
                    <a:gd name="csX149" fmla="*/ 408820 w 859002"/>
                    <a:gd name="csY149" fmla="*/ 672552 h 748361"/>
                    <a:gd name="csX150" fmla="*/ 419353 w 859002"/>
                    <a:gd name="csY150" fmla="*/ 703766 h 748361"/>
                    <a:gd name="csX151" fmla="*/ 418264 w 859002"/>
                    <a:gd name="csY151" fmla="*/ 718268 h 748361"/>
                    <a:gd name="csX152" fmla="*/ 424443 w 859002"/>
                    <a:gd name="csY152" fmla="*/ 717532 h 748361"/>
                    <a:gd name="csX153" fmla="*/ 425147 w 859002"/>
                    <a:gd name="csY153" fmla="*/ 723326 h 748361"/>
                    <a:gd name="csX154" fmla="*/ 440738 w 859002"/>
                    <a:gd name="csY154" fmla="*/ 726976 h 748361"/>
                    <a:gd name="csX155" fmla="*/ 463980 w 859002"/>
                    <a:gd name="csY155" fmla="*/ 722622 h 748361"/>
                    <a:gd name="csX156" fmla="*/ 475217 w 859002"/>
                    <a:gd name="csY156" fmla="*/ 718268 h 748361"/>
                    <a:gd name="csX157" fmla="*/ 497723 w 859002"/>
                    <a:gd name="csY157" fmla="*/ 715707 h 748361"/>
                    <a:gd name="csX158" fmla="*/ 492281 w 859002"/>
                    <a:gd name="csY158" fmla="*/ 702677 h 748361"/>
                    <a:gd name="csX159" fmla="*/ 495162 w 859002"/>
                    <a:gd name="csY159" fmla="*/ 700116 h 748361"/>
                    <a:gd name="csX160" fmla="*/ 521638 w 859002"/>
                    <a:gd name="csY160" fmla="*/ 707031 h 748361"/>
                    <a:gd name="csX161" fmla="*/ 525992 w 859002"/>
                    <a:gd name="csY161" fmla="*/ 709560 h 748361"/>
                    <a:gd name="csX162" fmla="*/ 537965 w 859002"/>
                    <a:gd name="csY162" fmla="*/ 717532 h 748361"/>
                    <a:gd name="csX163" fmla="*/ 545968 w 859002"/>
                    <a:gd name="csY163" fmla="*/ 684877 h 748361"/>
                    <a:gd name="csX164" fmla="*/ 573533 w 859002"/>
                    <a:gd name="csY164" fmla="*/ 679435 h 748361"/>
                    <a:gd name="csX165" fmla="*/ 582945 w 859002"/>
                    <a:gd name="csY165" fmla="*/ 683789 h 748361"/>
                    <a:gd name="csX166" fmla="*/ 586210 w 859002"/>
                    <a:gd name="csY166" fmla="*/ 696851 h 748361"/>
                    <a:gd name="csX167" fmla="*/ 594918 w 859002"/>
                    <a:gd name="csY167" fmla="*/ 701941 h 748361"/>
                    <a:gd name="csX168" fmla="*/ 600008 w 859002"/>
                    <a:gd name="csY168" fmla="*/ 715707 h 748361"/>
                    <a:gd name="csX169" fmla="*/ 615599 w 859002"/>
                    <a:gd name="csY169" fmla="*/ 735300 h 748361"/>
                    <a:gd name="csX170" fmla="*/ 623955 w 859002"/>
                    <a:gd name="csY170" fmla="*/ 731330 h 748361"/>
                    <a:gd name="csX171" fmla="*/ 642075 w 859002"/>
                    <a:gd name="csY171" fmla="*/ 742215 h 748361"/>
                    <a:gd name="csX172" fmla="*/ 650078 w 859002"/>
                    <a:gd name="csY172" fmla="*/ 738213 h 748361"/>
                    <a:gd name="csX173" fmla="*/ 656961 w 859002"/>
                    <a:gd name="csY173" fmla="*/ 742215 h 748361"/>
                    <a:gd name="csX174" fmla="*/ 677642 w 859002"/>
                    <a:gd name="csY174" fmla="*/ 741478 h 748361"/>
                    <a:gd name="csX175" fmla="*/ 677642 w 859002"/>
                    <a:gd name="csY175" fmla="*/ 743303 h 748361"/>
                    <a:gd name="csX176" fmla="*/ 679083 w 859002"/>
                    <a:gd name="csY176" fmla="*/ 748361 h 748361"/>
                    <a:gd name="csX177" fmla="*/ 696499 w 859002"/>
                    <a:gd name="csY177" fmla="*/ 747657 h 748361"/>
                    <a:gd name="csX178" fmla="*/ 702293 w 859002"/>
                    <a:gd name="csY178" fmla="*/ 738213 h 748361"/>
                    <a:gd name="csX179" fmla="*/ 718621 w 859002"/>
                    <a:gd name="csY179" fmla="*/ 732771 h 748361"/>
                    <a:gd name="csX180" fmla="*/ 721534 w 859002"/>
                    <a:gd name="csY180" fmla="*/ 724415 h 748361"/>
                    <a:gd name="csX181" fmla="*/ 755629 w 859002"/>
                    <a:gd name="csY181" fmla="*/ 713914 h 748361"/>
                    <a:gd name="csX182" fmla="*/ 795518 w 859002"/>
                    <a:gd name="csY182" fmla="*/ 708824 h 748361"/>
                    <a:gd name="csX183" fmla="*/ 812582 w 859002"/>
                    <a:gd name="csY183" fmla="*/ 717532 h 748361"/>
                    <a:gd name="csX184" fmla="*/ 833263 w 859002"/>
                    <a:gd name="csY184" fmla="*/ 713914 h 748361"/>
                    <a:gd name="csX185" fmla="*/ 840882 w 859002"/>
                    <a:gd name="csY185" fmla="*/ 707031 h 748361"/>
                    <a:gd name="csX186" fmla="*/ 849590 w 859002"/>
                    <a:gd name="csY186" fmla="*/ 708824 h 748361"/>
                    <a:gd name="csX187" fmla="*/ 858298 w 859002"/>
                    <a:gd name="csY187" fmla="*/ 707031 h 748361"/>
                    <a:gd name="csX188" fmla="*/ 859002 w 859002"/>
                    <a:gd name="csY188" fmla="*/ 700116 h 748361"/>
                    <a:gd name="csX189" fmla="*/ 848854 w 859002"/>
                    <a:gd name="csY189" fmla="*/ 700116 h 748361"/>
                    <a:gd name="csX190" fmla="*/ 848854 w 859002"/>
                    <a:gd name="csY190" fmla="*/ 690704 h 748361"/>
                    <a:gd name="csX191" fmla="*/ 822026 w 859002"/>
                    <a:gd name="csY191" fmla="*/ 672552 h 748361"/>
                    <a:gd name="csX192" fmla="*/ 821290 w 859002"/>
                    <a:gd name="csY192" fmla="*/ 665669 h 748361"/>
                    <a:gd name="csX193" fmla="*/ 815111 w 859002"/>
                    <a:gd name="csY193" fmla="*/ 667462 h 748361"/>
                    <a:gd name="csX194" fmla="*/ 803874 w 859002"/>
                    <a:gd name="csY194" fmla="*/ 662404 h 748361"/>
                    <a:gd name="csX195" fmla="*/ 783193 w 859002"/>
                    <a:gd name="csY195" fmla="*/ 640986 h 748361"/>
                    <a:gd name="csX196" fmla="*/ 773045 w 859002"/>
                    <a:gd name="csY196" fmla="*/ 646813 h 748361"/>
                    <a:gd name="csX197" fmla="*/ 754892 w 859002"/>
                    <a:gd name="csY197" fmla="*/ 639898 h 748361"/>
                    <a:gd name="csX198" fmla="*/ 749834 w 859002"/>
                    <a:gd name="csY198" fmla="*/ 626132 h 748361"/>
                    <a:gd name="csX199" fmla="*/ 736772 w 859002"/>
                    <a:gd name="csY199" fmla="*/ 615951 h 748361"/>
                    <a:gd name="csX200" fmla="*/ 769427 w 859002"/>
                    <a:gd name="csY200" fmla="*/ 550674 h 748361"/>
                    <a:gd name="csX201" fmla="*/ 769427 w 859002"/>
                    <a:gd name="csY201" fmla="*/ 530730 h 748361"/>
                    <a:gd name="csX202" fmla="*/ 779927 w 859002"/>
                    <a:gd name="csY202" fmla="*/ 525639 h 748361"/>
                    <a:gd name="csX203" fmla="*/ 779927 w 859002"/>
                    <a:gd name="csY203" fmla="*/ 519461 h 748361"/>
                    <a:gd name="csX204" fmla="*/ 767954 w 859002"/>
                    <a:gd name="csY204" fmla="*/ 513666 h 748361"/>
                    <a:gd name="csX205" fmla="*/ 751627 w 859002"/>
                    <a:gd name="csY205" fmla="*/ 513666 h 748361"/>
                    <a:gd name="csX206" fmla="*/ 744744 w 859002"/>
                    <a:gd name="csY206" fmla="*/ 518756 h 748361"/>
                    <a:gd name="csX207" fmla="*/ 730946 w 859002"/>
                    <a:gd name="csY207" fmla="*/ 485014 h 748361"/>
                    <a:gd name="csX208" fmla="*/ 734211 w 859002"/>
                    <a:gd name="csY208" fmla="*/ 464332 h 748361"/>
                    <a:gd name="csX209" fmla="*/ 721534 w 859002"/>
                    <a:gd name="csY209" fmla="*/ 444740 h 748361"/>
                    <a:gd name="csX210" fmla="*/ 761071 w 859002"/>
                    <a:gd name="csY210" fmla="*/ 407731 h 748361"/>
                    <a:gd name="csX211" fmla="*/ 801345 w 859002"/>
                    <a:gd name="csY211" fmla="*/ 369635 h 748361"/>
                    <a:gd name="csX212" fmla="*/ 810757 w 859002"/>
                    <a:gd name="csY212" fmla="*/ 367106 h 748361"/>
                    <a:gd name="csX213" fmla="*/ 808228 w 859002"/>
                    <a:gd name="csY213" fmla="*/ 356957 h 748361"/>
                    <a:gd name="csX214" fmla="*/ 818761 w 859002"/>
                    <a:gd name="csY214" fmla="*/ 333747 h 748361"/>
                    <a:gd name="csX215" fmla="*/ 810757 w 859002"/>
                    <a:gd name="csY215" fmla="*/ 313066 h 748361"/>
                    <a:gd name="csX216" fmla="*/ 805699 w 859002"/>
                    <a:gd name="csY216" fmla="*/ 300004 h 748361"/>
                    <a:gd name="csX217" fmla="*/ 809316 w 859002"/>
                    <a:gd name="csY217" fmla="*/ 282941 h 748361"/>
                    <a:gd name="csX218" fmla="*/ 803874 w 859002"/>
                    <a:gd name="csY218" fmla="*/ 281148 h 748361"/>
                    <a:gd name="csX219" fmla="*/ 803874 w 859002"/>
                    <a:gd name="csY219" fmla="*/ 273528 h 748361"/>
                    <a:gd name="csX220" fmla="*/ 795518 w 859002"/>
                    <a:gd name="csY220" fmla="*/ 269174 h 748361"/>
                    <a:gd name="csX221" fmla="*/ 800609 w 859002"/>
                    <a:gd name="csY221" fmla="*/ 247757 h 748361"/>
                    <a:gd name="csX222" fmla="*/ 796991 w 859002"/>
                    <a:gd name="csY222" fmla="*/ 237256 h 748361"/>
                    <a:gd name="csX223" fmla="*/ 802433 w 859002"/>
                    <a:gd name="csY223" fmla="*/ 215103 h 748361"/>
                    <a:gd name="csX224" fmla="*/ 785018 w 859002"/>
                    <a:gd name="csY224" fmla="*/ 196983 h 748361"/>
                    <a:gd name="csX225" fmla="*/ 773781 w 859002"/>
                    <a:gd name="csY225" fmla="*/ 192629 h 748361"/>
                    <a:gd name="csX226" fmla="*/ 757453 w 859002"/>
                    <a:gd name="csY226" fmla="*/ 207131 h 748361"/>
                    <a:gd name="csX227" fmla="*/ 751627 w 859002"/>
                    <a:gd name="csY227" fmla="*/ 197719 h 748361"/>
                    <a:gd name="csX228" fmla="*/ 744744 w 859002"/>
                    <a:gd name="csY228" fmla="*/ 195158 h 748361"/>
                    <a:gd name="csX229" fmla="*/ 739302 w 859002"/>
                    <a:gd name="csY229" fmla="*/ 195894 h 748361"/>
                    <a:gd name="csX230" fmla="*/ 729857 w 859002"/>
                    <a:gd name="csY230" fmla="*/ 205338 h 748361"/>
                    <a:gd name="csX231" fmla="*/ 729153 w 859002"/>
                    <a:gd name="csY231" fmla="*/ 185746 h 748361"/>
                    <a:gd name="csX232" fmla="*/ 709208 w 859002"/>
                    <a:gd name="csY232" fmla="*/ 159974 h 748361"/>
                    <a:gd name="csX233" fmla="*/ 705943 w 859002"/>
                    <a:gd name="csY233" fmla="*/ 134235 h 748361"/>
                    <a:gd name="csX234" fmla="*/ 695410 w 859002"/>
                    <a:gd name="csY234" fmla="*/ 109904 h 748361"/>
                    <a:gd name="csX235" fmla="*/ 682701 w 859002"/>
                    <a:gd name="csY235" fmla="*/ 106639 h 748361"/>
                    <a:gd name="csX236" fmla="*/ 667846 w 859002"/>
                    <a:gd name="csY236" fmla="*/ 96138 h 748361"/>
                    <a:gd name="csX237" fmla="*/ 664581 w 859002"/>
                    <a:gd name="csY237" fmla="*/ 79811 h 748361"/>
                    <a:gd name="csX238" fmla="*/ 650078 w 859002"/>
                    <a:gd name="csY238" fmla="*/ 77986 h 748361"/>
                    <a:gd name="csX239" fmla="*/ 643900 w 859002"/>
                    <a:gd name="csY239" fmla="*/ 80900 h 748361"/>
                    <a:gd name="csX240" fmla="*/ 635192 w 859002"/>
                    <a:gd name="csY240" fmla="*/ 76546 h 748361"/>
                    <a:gd name="csX241" fmla="*/ 609452 w 859002"/>
                    <a:gd name="csY241" fmla="*/ 94666 h 748361"/>
                    <a:gd name="csX242" fmla="*/ 601833 w 859002"/>
                    <a:gd name="csY242" fmla="*/ 91048 h 748361"/>
                    <a:gd name="csX243" fmla="*/ 592389 w 859002"/>
                    <a:gd name="csY243" fmla="*/ 69663 h 748361"/>
                    <a:gd name="csX244" fmla="*/ 586210 w 859002"/>
                    <a:gd name="csY244" fmla="*/ 67102 h 748361"/>
                    <a:gd name="csX245" fmla="*/ 580063 w 859002"/>
                    <a:gd name="csY245" fmla="*/ 64572 h 748361"/>
                    <a:gd name="csX246" fmla="*/ 566650 w 859002"/>
                    <a:gd name="csY246" fmla="*/ 68574 h 748361"/>
                    <a:gd name="csX247" fmla="*/ 546673 w 859002"/>
                    <a:gd name="csY247" fmla="*/ 76546 h 748361"/>
                    <a:gd name="csX248" fmla="*/ 533611 w 859002"/>
                    <a:gd name="csY248" fmla="*/ 68574 h 748361"/>
                    <a:gd name="csX249" fmla="*/ 519109 w 859002"/>
                    <a:gd name="csY249" fmla="*/ 67838 h 748361"/>
                    <a:gd name="csX250" fmla="*/ 514755 w 859002"/>
                    <a:gd name="csY250" fmla="*/ 58394 h 748361"/>
                    <a:gd name="csX251" fmla="*/ 519845 w 859002"/>
                    <a:gd name="csY251" fmla="*/ 37745 h 748361"/>
                    <a:gd name="csX252" fmla="*/ 511489 w 859002"/>
                    <a:gd name="csY252" fmla="*/ 39537 h 748361"/>
                    <a:gd name="csX253" fmla="*/ 510401 w 859002"/>
                    <a:gd name="csY253" fmla="*/ 31566 h 748361"/>
                    <a:gd name="csX254" fmla="*/ 505310 w 859002"/>
                    <a:gd name="csY254" fmla="*/ 30125 h 748361"/>
                    <a:gd name="csX255" fmla="*/ 488279 w 859002"/>
                    <a:gd name="csY255" fmla="*/ 38449 h 748361"/>
                    <a:gd name="csX256" fmla="*/ 492281 w 859002"/>
                    <a:gd name="csY256" fmla="*/ 25771 h 748361"/>
                    <a:gd name="csX257" fmla="*/ 483925 w 859002"/>
                    <a:gd name="csY257" fmla="*/ 5795 h 748361"/>
                    <a:gd name="csX258" fmla="*/ 477746 w 859002"/>
                    <a:gd name="csY258" fmla="*/ 8356 h 748361"/>
                    <a:gd name="csX259" fmla="*/ 469039 w 859002"/>
                    <a:gd name="csY259" fmla="*/ 0 h 74836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  <a:cxn ang="0">
                      <a:pos x="csX217" y="csY217"/>
                    </a:cxn>
                    <a:cxn ang="0">
                      <a:pos x="csX218" y="csY218"/>
                    </a:cxn>
                    <a:cxn ang="0">
                      <a:pos x="csX219" y="csY219"/>
                    </a:cxn>
                    <a:cxn ang="0">
                      <a:pos x="csX220" y="csY220"/>
                    </a:cxn>
                    <a:cxn ang="0">
                      <a:pos x="csX221" y="csY221"/>
                    </a:cxn>
                    <a:cxn ang="0">
                      <a:pos x="csX222" y="csY222"/>
                    </a:cxn>
                    <a:cxn ang="0">
                      <a:pos x="csX223" y="csY223"/>
                    </a:cxn>
                    <a:cxn ang="0">
                      <a:pos x="csX224" y="csY224"/>
                    </a:cxn>
                    <a:cxn ang="0">
                      <a:pos x="csX225" y="csY225"/>
                    </a:cxn>
                    <a:cxn ang="0">
                      <a:pos x="csX226" y="csY226"/>
                    </a:cxn>
                    <a:cxn ang="0">
                      <a:pos x="csX227" y="csY227"/>
                    </a:cxn>
                    <a:cxn ang="0">
                      <a:pos x="csX228" y="csY228"/>
                    </a:cxn>
                    <a:cxn ang="0">
                      <a:pos x="csX229" y="csY229"/>
                    </a:cxn>
                    <a:cxn ang="0">
                      <a:pos x="csX230" y="csY230"/>
                    </a:cxn>
                    <a:cxn ang="0">
                      <a:pos x="csX231" y="csY231"/>
                    </a:cxn>
                    <a:cxn ang="0">
                      <a:pos x="csX232" y="csY232"/>
                    </a:cxn>
                    <a:cxn ang="0">
                      <a:pos x="csX233" y="csY233"/>
                    </a:cxn>
                    <a:cxn ang="0">
                      <a:pos x="csX234" y="csY234"/>
                    </a:cxn>
                    <a:cxn ang="0">
                      <a:pos x="csX235" y="csY235"/>
                    </a:cxn>
                    <a:cxn ang="0">
                      <a:pos x="csX236" y="csY236"/>
                    </a:cxn>
                    <a:cxn ang="0">
                      <a:pos x="csX237" y="csY237"/>
                    </a:cxn>
                    <a:cxn ang="0">
                      <a:pos x="csX238" y="csY238"/>
                    </a:cxn>
                    <a:cxn ang="0">
                      <a:pos x="csX239" y="csY239"/>
                    </a:cxn>
                    <a:cxn ang="0">
                      <a:pos x="csX240" y="csY240"/>
                    </a:cxn>
                    <a:cxn ang="0">
                      <a:pos x="csX241" y="csY241"/>
                    </a:cxn>
                    <a:cxn ang="0">
                      <a:pos x="csX242" y="csY242"/>
                    </a:cxn>
                    <a:cxn ang="0">
                      <a:pos x="csX243" y="csY243"/>
                    </a:cxn>
                    <a:cxn ang="0">
                      <a:pos x="csX244" y="csY244"/>
                    </a:cxn>
                    <a:cxn ang="0">
                      <a:pos x="csX245" y="csY245"/>
                    </a:cxn>
                    <a:cxn ang="0">
                      <a:pos x="csX246" y="csY246"/>
                    </a:cxn>
                    <a:cxn ang="0">
                      <a:pos x="csX247" y="csY247"/>
                    </a:cxn>
                    <a:cxn ang="0">
                      <a:pos x="csX248" y="csY248"/>
                    </a:cxn>
                    <a:cxn ang="0">
                      <a:pos x="csX249" y="csY249"/>
                    </a:cxn>
                    <a:cxn ang="0">
                      <a:pos x="csX250" y="csY250"/>
                    </a:cxn>
                    <a:cxn ang="0">
                      <a:pos x="csX251" y="csY251"/>
                    </a:cxn>
                    <a:cxn ang="0">
                      <a:pos x="csX252" y="csY252"/>
                    </a:cxn>
                    <a:cxn ang="0">
                      <a:pos x="csX253" y="csY253"/>
                    </a:cxn>
                    <a:cxn ang="0">
                      <a:pos x="csX254" y="csY254"/>
                    </a:cxn>
                    <a:cxn ang="0">
                      <a:pos x="csX255" y="csY255"/>
                    </a:cxn>
                    <a:cxn ang="0">
                      <a:pos x="csX256" y="csY256"/>
                    </a:cxn>
                    <a:cxn ang="0">
                      <a:pos x="csX257" y="csY257"/>
                    </a:cxn>
                    <a:cxn ang="0">
                      <a:pos x="csX258" y="csY258"/>
                    </a:cxn>
                    <a:cxn ang="0">
                      <a:pos x="csX259" y="csY259"/>
                    </a:cxn>
                  </a:cxnLst>
                  <a:rect l="l" t="t" r="r" b="b"/>
                  <a:pathLst>
                    <a:path w="859002" h="748361">
                      <a:moveTo>
                        <a:pt x="469039" y="0"/>
                      </a:moveTo>
                      <a:lnTo>
                        <a:pt x="462156" y="8356"/>
                      </a:lnTo>
                      <a:lnTo>
                        <a:pt x="448357" y="15239"/>
                      </a:lnTo>
                      <a:lnTo>
                        <a:pt x="442563" y="6883"/>
                      </a:lnTo>
                      <a:lnTo>
                        <a:pt x="440738" y="2529"/>
                      </a:lnTo>
                      <a:lnTo>
                        <a:pt x="432062" y="6883"/>
                      </a:lnTo>
                      <a:lnTo>
                        <a:pt x="411381" y="33391"/>
                      </a:lnTo>
                      <a:lnTo>
                        <a:pt x="403026" y="35920"/>
                      </a:lnTo>
                      <a:lnTo>
                        <a:pt x="397935" y="47893"/>
                      </a:lnTo>
                      <a:lnTo>
                        <a:pt x="388171" y="44628"/>
                      </a:lnTo>
                      <a:lnTo>
                        <a:pt x="384906" y="37745"/>
                      </a:lnTo>
                      <a:lnTo>
                        <a:pt x="377990" y="38449"/>
                      </a:lnTo>
                      <a:lnTo>
                        <a:pt x="371844" y="23947"/>
                      </a:lnTo>
                      <a:lnTo>
                        <a:pt x="360575" y="40274"/>
                      </a:lnTo>
                      <a:lnTo>
                        <a:pt x="352955" y="38449"/>
                      </a:lnTo>
                      <a:lnTo>
                        <a:pt x="345336" y="46420"/>
                      </a:lnTo>
                      <a:lnTo>
                        <a:pt x="516580" y="205338"/>
                      </a:lnTo>
                      <a:lnTo>
                        <a:pt x="519109" y="269879"/>
                      </a:lnTo>
                      <a:lnTo>
                        <a:pt x="499164" y="273528"/>
                      </a:lnTo>
                      <a:lnTo>
                        <a:pt x="489720" y="275321"/>
                      </a:lnTo>
                      <a:lnTo>
                        <a:pt x="474481" y="265909"/>
                      </a:lnTo>
                      <a:lnTo>
                        <a:pt x="449446" y="261555"/>
                      </a:lnTo>
                      <a:lnTo>
                        <a:pt x="438209" y="264084"/>
                      </a:lnTo>
                      <a:lnTo>
                        <a:pt x="423707" y="257201"/>
                      </a:lnTo>
                      <a:lnTo>
                        <a:pt x="421882" y="261555"/>
                      </a:lnTo>
                      <a:lnTo>
                        <a:pt x="415735" y="257938"/>
                      </a:lnTo>
                      <a:lnTo>
                        <a:pt x="412470" y="257201"/>
                      </a:lnTo>
                      <a:lnTo>
                        <a:pt x="407379" y="248493"/>
                      </a:lnTo>
                      <a:lnTo>
                        <a:pt x="397935" y="247757"/>
                      </a:lnTo>
                      <a:lnTo>
                        <a:pt x="393613" y="235432"/>
                      </a:lnTo>
                      <a:lnTo>
                        <a:pt x="378727" y="222018"/>
                      </a:lnTo>
                      <a:lnTo>
                        <a:pt x="374373" y="227812"/>
                      </a:lnTo>
                      <a:lnTo>
                        <a:pt x="363488" y="227812"/>
                      </a:lnTo>
                      <a:lnTo>
                        <a:pt x="356605" y="220929"/>
                      </a:lnTo>
                      <a:lnTo>
                        <a:pt x="358046" y="206427"/>
                      </a:lnTo>
                      <a:lnTo>
                        <a:pt x="350426" y="212221"/>
                      </a:lnTo>
                      <a:lnTo>
                        <a:pt x="343543" y="208956"/>
                      </a:lnTo>
                      <a:lnTo>
                        <a:pt x="342807" y="216575"/>
                      </a:lnTo>
                      <a:lnTo>
                        <a:pt x="336628" y="215839"/>
                      </a:lnTo>
                      <a:lnTo>
                        <a:pt x="325391" y="223458"/>
                      </a:lnTo>
                      <a:lnTo>
                        <a:pt x="305799" y="244139"/>
                      </a:lnTo>
                      <a:lnTo>
                        <a:pt x="295298" y="244139"/>
                      </a:lnTo>
                      <a:lnTo>
                        <a:pt x="290208" y="236520"/>
                      </a:lnTo>
                      <a:lnTo>
                        <a:pt x="282589" y="234695"/>
                      </a:lnTo>
                      <a:lnTo>
                        <a:pt x="280796" y="252111"/>
                      </a:lnTo>
                      <a:lnTo>
                        <a:pt x="284061" y="256113"/>
                      </a:lnTo>
                      <a:lnTo>
                        <a:pt x="276442" y="268438"/>
                      </a:lnTo>
                      <a:lnTo>
                        <a:pt x="266261" y="267350"/>
                      </a:lnTo>
                      <a:lnTo>
                        <a:pt x="259378" y="255376"/>
                      </a:lnTo>
                      <a:lnTo>
                        <a:pt x="247053" y="250318"/>
                      </a:lnTo>
                      <a:lnTo>
                        <a:pt x="241963" y="250318"/>
                      </a:lnTo>
                      <a:lnTo>
                        <a:pt x="241226" y="255376"/>
                      </a:lnTo>
                      <a:lnTo>
                        <a:pt x="233255" y="257938"/>
                      </a:lnTo>
                      <a:lnTo>
                        <a:pt x="230726" y="265909"/>
                      </a:lnTo>
                      <a:lnTo>
                        <a:pt x="231814" y="288031"/>
                      </a:lnTo>
                      <a:lnTo>
                        <a:pt x="224899" y="283677"/>
                      </a:lnTo>
                      <a:lnTo>
                        <a:pt x="208604" y="285502"/>
                      </a:lnTo>
                      <a:lnTo>
                        <a:pt x="202425" y="285502"/>
                      </a:lnTo>
                      <a:lnTo>
                        <a:pt x="196246" y="271704"/>
                      </a:lnTo>
                      <a:lnTo>
                        <a:pt x="179215" y="272440"/>
                      </a:lnTo>
                      <a:lnTo>
                        <a:pt x="171596" y="291648"/>
                      </a:lnTo>
                      <a:lnTo>
                        <a:pt x="165417" y="289856"/>
                      </a:lnTo>
                      <a:lnTo>
                        <a:pt x="168682" y="278587"/>
                      </a:lnTo>
                      <a:lnTo>
                        <a:pt x="146561" y="282236"/>
                      </a:lnTo>
                      <a:lnTo>
                        <a:pt x="141118" y="283677"/>
                      </a:lnTo>
                      <a:lnTo>
                        <a:pt x="145472" y="292385"/>
                      </a:lnTo>
                      <a:lnTo>
                        <a:pt x="141118" y="300004"/>
                      </a:lnTo>
                      <a:lnTo>
                        <a:pt x="127704" y="303622"/>
                      </a:lnTo>
                      <a:lnTo>
                        <a:pt x="93225" y="322478"/>
                      </a:lnTo>
                      <a:lnTo>
                        <a:pt x="91432" y="339541"/>
                      </a:lnTo>
                      <a:lnTo>
                        <a:pt x="77634" y="345720"/>
                      </a:lnTo>
                      <a:lnTo>
                        <a:pt x="80163" y="353340"/>
                      </a:lnTo>
                      <a:lnTo>
                        <a:pt x="94698" y="365665"/>
                      </a:lnTo>
                      <a:lnTo>
                        <a:pt x="93961" y="369635"/>
                      </a:lnTo>
                      <a:lnTo>
                        <a:pt x="84517" y="371460"/>
                      </a:lnTo>
                      <a:lnTo>
                        <a:pt x="80163" y="377638"/>
                      </a:lnTo>
                      <a:lnTo>
                        <a:pt x="84517" y="380167"/>
                      </a:lnTo>
                      <a:lnTo>
                        <a:pt x="82724" y="386346"/>
                      </a:lnTo>
                      <a:lnTo>
                        <a:pt x="87783" y="402673"/>
                      </a:lnTo>
                      <a:lnTo>
                        <a:pt x="46805" y="430237"/>
                      </a:lnTo>
                      <a:lnTo>
                        <a:pt x="28653" y="452359"/>
                      </a:lnTo>
                      <a:lnTo>
                        <a:pt x="26860" y="458538"/>
                      </a:lnTo>
                      <a:lnTo>
                        <a:pt x="21770" y="460331"/>
                      </a:lnTo>
                      <a:lnTo>
                        <a:pt x="5442" y="472304"/>
                      </a:lnTo>
                      <a:lnTo>
                        <a:pt x="11237" y="506783"/>
                      </a:lnTo>
                      <a:lnTo>
                        <a:pt x="17416" y="509312"/>
                      </a:lnTo>
                      <a:lnTo>
                        <a:pt x="18152" y="541967"/>
                      </a:lnTo>
                      <a:lnTo>
                        <a:pt x="22506" y="558998"/>
                      </a:lnTo>
                      <a:lnTo>
                        <a:pt x="19945" y="565913"/>
                      </a:lnTo>
                      <a:lnTo>
                        <a:pt x="4354" y="569531"/>
                      </a:lnTo>
                      <a:lnTo>
                        <a:pt x="0" y="581504"/>
                      </a:lnTo>
                      <a:lnTo>
                        <a:pt x="3618" y="597095"/>
                      </a:lnTo>
                      <a:lnTo>
                        <a:pt x="25035" y="600360"/>
                      </a:lnTo>
                      <a:lnTo>
                        <a:pt x="28653" y="596006"/>
                      </a:lnTo>
                      <a:lnTo>
                        <a:pt x="53335" y="605451"/>
                      </a:lnTo>
                      <a:lnTo>
                        <a:pt x="62043" y="604714"/>
                      </a:lnTo>
                      <a:lnTo>
                        <a:pt x="64572" y="597095"/>
                      </a:lnTo>
                      <a:lnTo>
                        <a:pt x="84517" y="594566"/>
                      </a:lnTo>
                      <a:lnTo>
                        <a:pt x="88871" y="580768"/>
                      </a:lnTo>
                      <a:lnTo>
                        <a:pt x="97227" y="577886"/>
                      </a:lnTo>
                      <a:lnTo>
                        <a:pt x="100844" y="569531"/>
                      </a:lnTo>
                      <a:lnTo>
                        <a:pt x="100844" y="560087"/>
                      </a:lnTo>
                      <a:lnTo>
                        <a:pt x="112818" y="558998"/>
                      </a:lnTo>
                      <a:lnTo>
                        <a:pt x="125879" y="547025"/>
                      </a:lnTo>
                      <a:lnTo>
                        <a:pt x="125879" y="535788"/>
                      </a:lnTo>
                      <a:lnTo>
                        <a:pt x="133499" y="530730"/>
                      </a:lnTo>
                      <a:lnTo>
                        <a:pt x="141118" y="532522"/>
                      </a:lnTo>
                      <a:lnTo>
                        <a:pt x="144736" y="518756"/>
                      </a:lnTo>
                      <a:lnTo>
                        <a:pt x="161063" y="541967"/>
                      </a:lnTo>
                      <a:lnTo>
                        <a:pt x="172332" y="548850"/>
                      </a:lnTo>
                      <a:lnTo>
                        <a:pt x="163592" y="558294"/>
                      </a:lnTo>
                      <a:lnTo>
                        <a:pt x="167946" y="567706"/>
                      </a:lnTo>
                      <a:lnTo>
                        <a:pt x="161799" y="570267"/>
                      </a:lnTo>
                      <a:lnTo>
                        <a:pt x="170507" y="579679"/>
                      </a:lnTo>
                      <a:lnTo>
                        <a:pt x="179919" y="576414"/>
                      </a:lnTo>
                      <a:lnTo>
                        <a:pt x="181744" y="581504"/>
                      </a:lnTo>
                      <a:lnTo>
                        <a:pt x="187923" y="581504"/>
                      </a:lnTo>
                      <a:lnTo>
                        <a:pt x="202425" y="567002"/>
                      </a:lnTo>
                      <a:lnTo>
                        <a:pt x="210045" y="589123"/>
                      </a:lnTo>
                      <a:lnTo>
                        <a:pt x="218016" y="583329"/>
                      </a:lnTo>
                      <a:lnTo>
                        <a:pt x="235784" y="609068"/>
                      </a:lnTo>
                      <a:lnTo>
                        <a:pt x="247053" y="590948"/>
                      </a:lnTo>
                      <a:lnTo>
                        <a:pt x="238697" y="583329"/>
                      </a:lnTo>
                      <a:lnTo>
                        <a:pt x="260115" y="582240"/>
                      </a:lnTo>
                      <a:lnTo>
                        <a:pt x="272088" y="570971"/>
                      </a:lnTo>
                      <a:lnTo>
                        <a:pt x="278971" y="576414"/>
                      </a:lnTo>
                      <a:lnTo>
                        <a:pt x="290944" y="581504"/>
                      </a:lnTo>
                      <a:lnTo>
                        <a:pt x="279707" y="588387"/>
                      </a:lnTo>
                      <a:lnTo>
                        <a:pt x="281500" y="595302"/>
                      </a:lnTo>
                      <a:lnTo>
                        <a:pt x="292033" y="600360"/>
                      </a:lnTo>
                      <a:lnTo>
                        <a:pt x="304006" y="589123"/>
                      </a:lnTo>
                      <a:lnTo>
                        <a:pt x="310889" y="604010"/>
                      </a:lnTo>
                      <a:lnTo>
                        <a:pt x="315979" y="614863"/>
                      </a:lnTo>
                      <a:lnTo>
                        <a:pt x="302181" y="619217"/>
                      </a:lnTo>
                      <a:lnTo>
                        <a:pt x="301445" y="624659"/>
                      </a:lnTo>
                      <a:lnTo>
                        <a:pt x="312714" y="632278"/>
                      </a:lnTo>
                      <a:lnTo>
                        <a:pt x="309064" y="636632"/>
                      </a:lnTo>
                      <a:lnTo>
                        <a:pt x="315979" y="644988"/>
                      </a:lnTo>
                      <a:lnTo>
                        <a:pt x="342807" y="627220"/>
                      </a:lnTo>
                      <a:lnTo>
                        <a:pt x="348602" y="637369"/>
                      </a:lnTo>
                      <a:lnTo>
                        <a:pt x="368578" y="636632"/>
                      </a:lnTo>
                      <a:lnTo>
                        <a:pt x="378727" y="636632"/>
                      </a:lnTo>
                      <a:lnTo>
                        <a:pt x="384906" y="631574"/>
                      </a:lnTo>
                      <a:lnTo>
                        <a:pt x="398672" y="636632"/>
                      </a:lnTo>
                      <a:lnTo>
                        <a:pt x="407379" y="639193"/>
                      </a:lnTo>
                      <a:lnTo>
                        <a:pt x="415735" y="639193"/>
                      </a:lnTo>
                      <a:lnTo>
                        <a:pt x="410645" y="656225"/>
                      </a:lnTo>
                      <a:lnTo>
                        <a:pt x="416824" y="659842"/>
                      </a:lnTo>
                      <a:lnTo>
                        <a:pt x="416824" y="667462"/>
                      </a:lnTo>
                      <a:lnTo>
                        <a:pt x="408820" y="672552"/>
                      </a:lnTo>
                      <a:lnTo>
                        <a:pt x="419353" y="703766"/>
                      </a:lnTo>
                      <a:lnTo>
                        <a:pt x="418264" y="718268"/>
                      </a:lnTo>
                      <a:lnTo>
                        <a:pt x="424443" y="717532"/>
                      </a:lnTo>
                      <a:lnTo>
                        <a:pt x="425147" y="723326"/>
                      </a:lnTo>
                      <a:lnTo>
                        <a:pt x="440738" y="726976"/>
                      </a:lnTo>
                      <a:lnTo>
                        <a:pt x="463980" y="722622"/>
                      </a:lnTo>
                      <a:lnTo>
                        <a:pt x="475217" y="718268"/>
                      </a:lnTo>
                      <a:lnTo>
                        <a:pt x="497723" y="715707"/>
                      </a:lnTo>
                      <a:lnTo>
                        <a:pt x="492281" y="702677"/>
                      </a:lnTo>
                      <a:lnTo>
                        <a:pt x="495162" y="700116"/>
                      </a:lnTo>
                      <a:lnTo>
                        <a:pt x="521638" y="707031"/>
                      </a:lnTo>
                      <a:lnTo>
                        <a:pt x="525992" y="709560"/>
                      </a:lnTo>
                      <a:lnTo>
                        <a:pt x="537965" y="717532"/>
                      </a:lnTo>
                      <a:lnTo>
                        <a:pt x="545968" y="684877"/>
                      </a:lnTo>
                      <a:lnTo>
                        <a:pt x="573533" y="679435"/>
                      </a:lnTo>
                      <a:lnTo>
                        <a:pt x="582945" y="683789"/>
                      </a:lnTo>
                      <a:lnTo>
                        <a:pt x="586210" y="696851"/>
                      </a:lnTo>
                      <a:lnTo>
                        <a:pt x="594918" y="701941"/>
                      </a:lnTo>
                      <a:lnTo>
                        <a:pt x="600008" y="715707"/>
                      </a:lnTo>
                      <a:lnTo>
                        <a:pt x="615599" y="735300"/>
                      </a:lnTo>
                      <a:lnTo>
                        <a:pt x="623955" y="731330"/>
                      </a:lnTo>
                      <a:lnTo>
                        <a:pt x="642075" y="742215"/>
                      </a:lnTo>
                      <a:lnTo>
                        <a:pt x="650078" y="738213"/>
                      </a:lnTo>
                      <a:lnTo>
                        <a:pt x="656961" y="742215"/>
                      </a:lnTo>
                      <a:lnTo>
                        <a:pt x="677642" y="741478"/>
                      </a:lnTo>
                      <a:lnTo>
                        <a:pt x="677642" y="743303"/>
                      </a:lnTo>
                      <a:lnTo>
                        <a:pt x="679083" y="748361"/>
                      </a:lnTo>
                      <a:lnTo>
                        <a:pt x="696499" y="747657"/>
                      </a:lnTo>
                      <a:lnTo>
                        <a:pt x="702293" y="738213"/>
                      </a:lnTo>
                      <a:lnTo>
                        <a:pt x="718621" y="732771"/>
                      </a:lnTo>
                      <a:lnTo>
                        <a:pt x="721534" y="724415"/>
                      </a:lnTo>
                      <a:lnTo>
                        <a:pt x="755629" y="713914"/>
                      </a:lnTo>
                      <a:lnTo>
                        <a:pt x="795518" y="708824"/>
                      </a:lnTo>
                      <a:lnTo>
                        <a:pt x="812582" y="717532"/>
                      </a:lnTo>
                      <a:lnTo>
                        <a:pt x="833263" y="713914"/>
                      </a:lnTo>
                      <a:lnTo>
                        <a:pt x="840882" y="707031"/>
                      </a:lnTo>
                      <a:lnTo>
                        <a:pt x="849590" y="708824"/>
                      </a:lnTo>
                      <a:lnTo>
                        <a:pt x="858298" y="707031"/>
                      </a:lnTo>
                      <a:lnTo>
                        <a:pt x="859002" y="700116"/>
                      </a:lnTo>
                      <a:lnTo>
                        <a:pt x="848854" y="700116"/>
                      </a:lnTo>
                      <a:lnTo>
                        <a:pt x="848854" y="690704"/>
                      </a:lnTo>
                      <a:lnTo>
                        <a:pt x="822026" y="672552"/>
                      </a:lnTo>
                      <a:lnTo>
                        <a:pt x="821290" y="665669"/>
                      </a:lnTo>
                      <a:lnTo>
                        <a:pt x="815111" y="667462"/>
                      </a:lnTo>
                      <a:lnTo>
                        <a:pt x="803874" y="662404"/>
                      </a:lnTo>
                      <a:lnTo>
                        <a:pt x="783193" y="640986"/>
                      </a:lnTo>
                      <a:lnTo>
                        <a:pt x="773045" y="646813"/>
                      </a:lnTo>
                      <a:lnTo>
                        <a:pt x="754892" y="639898"/>
                      </a:lnTo>
                      <a:lnTo>
                        <a:pt x="749834" y="626132"/>
                      </a:lnTo>
                      <a:lnTo>
                        <a:pt x="736772" y="615951"/>
                      </a:lnTo>
                      <a:lnTo>
                        <a:pt x="769427" y="550674"/>
                      </a:lnTo>
                      <a:lnTo>
                        <a:pt x="769427" y="530730"/>
                      </a:lnTo>
                      <a:lnTo>
                        <a:pt x="779927" y="525639"/>
                      </a:lnTo>
                      <a:lnTo>
                        <a:pt x="779927" y="519461"/>
                      </a:lnTo>
                      <a:lnTo>
                        <a:pt x="767954" y="513666"/>
                      </a:lnTo>
                      <a:lnTo>
                        <a:pt x="751627" y="513666"/>
                      </a:lnTo>
                      <a:lnTo>
                        <a:pt x="744744" y="518756"/>
                      </a:lnTo>
                      <a:lnTo>
                        <a:pt x="730946" y="485014"/>
                      </a:lnTo>
                      <a:lnTo>
                        <a:pt x="734211" y="464332"/>
                      </a:lnTo>
                      <a:lnTo>
                        <a:pt x="721534" y="444740"/>
                      </a:lnTo>
                      <a:lnTo>
                        <a:pt x="761071" y="407731"/>
                      </a:lnTo>
                      <a:lnTo>
                        <a:pt x="801345" y="369635"/>
                      </a:lnTo>
                      <a:lnTo>
                        <a:pt x="810757" y="367106"/>
                      </a:lnTo>
                      <a:lnTo>
                        <a:pt x="808228" y="356957"/>
                      </a:lnTo>
                      <a:lnTo>
                        <a:pt x="818761" y="333747"/>
                      </a:lnTo>
                      <a:lnTo>
                        <a:pt x="810757" y="313066"/>
                      </a:lnTo>
                      <a:lnTo>
                        <a:pt x="805699" y="300004"/>
                      </a:lnTo>
                      <a:lnTo>
                        <a:pt x="809316" y="282941"/>
                      </a:lnTo>
                      <a:lnTo>
                        <a:pt x="803874" y="281148"/>
                      </a:lnTo>
                      <a:lnTo>
                        <a:pt x="803874" y="273528"/>
                      </a:lnTo>
                      <a:lnTo>
                        <a:pt x="795518" y="269174"/>
                      </a:lnTo>
                      <a:lnTo>
                        <a:pt x="800609" y="247757"/>
                      </a:lnTo>
                      <a:lnTo>
                        <a:pt x="796991" y="237256"/>
                      </a:lnTo>
                      <a:lnTo>
                        <a:pt x="802433" y="215103"/>
                      </a:lnTo>
                      <a:lnTo>
                        <a:pt x="785018" y="196983"/>
                      </a:lnTo>
                      <a:lnTo>
                        <a:pt x="773781" y="192629"/>
                      </a:lnTo>
                      <a:lnTo>
                        <a:pt x="757453" y="207131"/>
                      </a:lnTo>
                      <a:lnTo>
                        <a:pt x="751627" y="197719"/>
                      </a:lnTo>
                      <a:lnTo>
                        <a:pt x="744744" y="195158"/>
                      </a:lnTo>
                      <a:lnTo>
                        <a:pt x="739302" y="195894"/>
                      </a:lnTo>
                      <a:lnTo>
                        <a:pt x="729857" y="205338"/>
                      </a:lnTo>
                      <a:lnTo>
                        <a:pt x="729153" y="185746"/>
                      </a:lnTo>
                      <a:lnTo>
                        <a:pt x="709208" y="159974"/>
                      </a:lnTo>
                      <a:lnTo>
                        <a:pt x="705943" y="134235"/>
                      </a:lnTo>
                      <a:lnTo>
                        <a:pt x="695410" y="109904"/>
                      </a:lnTo>
                      <a:lnTo>
                        <a:pt x="682701" y="106639"/>
                      </a:lnTo>
                      <a:lnTo>
                        <a:pt x="667846" y="96138"/>
                      </a:lnTo>
                      <a:lnTo>
                        <a:pt x="664581" y="79811"/>
                      </a:lnTo>
                      <a:lnTo>
                        <a:pt x="650078" y="77986"/>
                      </a:lnTo>
                      <a:lnTo>
                        <a:pt x="643900" y="80900"/>
                      </a:lnTo>
                      <a:lnTo>
                        <a:pt x="635192" y="76546"/>
                      </a:lnTo>
                      <a:lnTo>
                        <a:pt x="609452" y="94666"/>
                      </a:lnTo>
                      <a:lnTo>
                        <a:pt x="601833" y="91048"/>
                      </a:lnTo>
                      <a:lnTo>
                        <a:pt x="592389" y="69663"/>
                      </a:lnTo>
                      <a:lnTo>
                        <a:pt x="586210" y="67102"/>
                      </a:lnTo>
                      <a:lnTo>
                        <a:pt x="580063" y="64572"/>
                      </a:lnTo>
                      <a:lnTo>
                        <a:pt x="566650" y="68574"/>
                      </a:lnTo>
                      <a:lnTo>
                        <a:pt x="546673" y="76546"/>
                      </a:lnTo>
                      <a:lnTo>
                        <a:pt x="533611" y="68574"/>
                      </a:lnTo>
                      <a:lnTo>
                        <a:pt x="519109" y="67838"/>
                      </a:lnTo>
                      <a:lnTo>
                        <a:pt x="514755" y="58394"/>
                      </a:lnTo>
                      <a:lnTo>
                        <a:pt x="519845" y="37745"/>
                      </a:lnTo>
                      <a:lnTo>
                        <a:pt x="511489" y="39537"/>
                      </a:lnTo>
                      <a:lnTo>
                        <a:pt x="510401" y="31566"/>
                      </a:lnTo>
                      <a:lnTo>
                        <a:pt x="505310" y="30125"/>
                      </a:lnTo>
                      <a:lnTo>
                        <a:pt x="488279" y="38449"/>
                      </a:lnTo>
                      <a:lnTo>
                        <a:pt x="492281" y="25771"/>
                      </a:lnTo>
                      <a:lnTo>
                        <a:pt x="483925" y="5795"/>
                      </a:lnTo>
                      <a:lnTo>
                        <a:pt x="477746" y="8356"/>
                      </a:lnTo>
                      <a:lnTo>
                        <a:pt x="46903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3" name="Forma Livre: Forma 252">
                  <a:extLst>
                    <a:ext uri="{FF2B5EF4-FFF2-40B4-BE49-F238E27FC236}">
                      <a16:creationId xmlns:a16="http://schemas.microsoft.com/office/drawing/2014/main" id="{58B5E967-2EF8-B015-BA43-5B7043BE7421}"/>
                    </a:ext>
                  </a:extLst>
                </p:cNvPr>
                <p:cNvSpPr/>
                <p:nvPr/>
              </p:nvSpPr>
              <p:spPr>
                <a:xfrm>
                  <a:off x="3387295" y="4632475"/>
                  <a:ext cx="465773" cy="272791"/>
                </a:xfrm>
                <a:custGeom>
                  <a:avLst/>
                  <a:gdLst>
                    <a:gd name="csX0" fmla="*/ 48982 w 465773"/>
                    <a:gd name="csY0" fmla="*/ 22122 h 272791"/>
                    <a:gd name="csX1" fmla="*/ 35183 w 465773"/>
                    <a:gd name="csY1" fmla="*/ 23210 h 272791"/>
                    <a:gd name="csX2" fmla="*/ 31214 w 465773"/>
                    <a:gd name="csY2" fmla="*/ 19593 h 272791"/>
                    <a:gd name="csX3" fmla="*/ 30125 w 465773"/>
                    <a:gd name="csY3" fmla="*/ 5795 h 272791"/>
                    <a:gd name="csX4" fmla="*/ 25771 w 465773"/>
                    <a:gd name="csY4" fmla="*/ 4354 h 272791"/>
                    <a:gd name="csX5" fmla="*/ 15591 w 465773"/>
                    <a:gd name="csY5" fmla="*/ 0 h 272791"/>
                    <a:gd name="csX6" fmla="*/ 0 w 465773"/>
                    <a:gd name="csY6" fmla="*/ 3265 h 272791"/>
                    <a:gd name="csX7" fmla="*/ 0 w 465773"/>
                    <a:gd name="csY7" fmla="*/ 39537 h 272791"/>
                    <a:gd name="csX8" fmla="*/ 7619 w 465773"/>
                    <a:gd name="csY8" fmla="*/ 38449 h 272791"/>
                    <a:gd name="csX9" fmla="*/ 18152 w 465773"/>
                    <a:gd name="csY9" fmla="*/ 51511 h 272791"/>
                    <a:gd name="csX10" fmla="*/ 20681 w 465773"/>
                    <a:gd name="csY10" fmla="*/ 54040 h 272791"/>
                    <a:gd name="csX11" fmla="*/ 39537 w 465773"/>
                    <a:gd name="csY11" fmla="*/ 72192 h 272791"/>
                    <a:gd name="csX12" fmla="*/ 38801 w 465773"/>
                    <a:gd name="csY12" fmla="*/ 114258 h 272791"/>
                    <a:gd name="csX13" fmla="*/ 48982 w 465773"/>
                    <a:gd name="csY13" fmla="*/ 109904 h 272791"/>
                    <a:gd name="csX14" fmla="*/ 64572 w 465773"/>
                    <a:gd name="csY14" fmla="*/ 112466 h 272791"/>
                    <a:gd name="csX15" fmla="*/ 68926 w 465773"/>
                    <a:gd name="csY15" fmla="*/ 113554 h 272791"/>
                    <a:gd name="csX16" fmla="*/ 69663 w 465773"/>
                    <a:gd name="csY16" fmla="*/ 125527 h 272791"/>
                    <a:gd name="csX17" fmla="*/ 74017 w 465773"/>
                    <a:gd name="csY17" fmla="*/ 137500 h 272791"/>
                    <a:gd name="csX18" fmla="*/ 71455 w 465773"/>
                    <a:gd name="csY18" fmla="*/ 159238 h 272791"/>
                    <a:gd name="csX19" fmla="*/ 76546 w 465773"/>
                    <a:gd name="csY19" fmla="*/ 190100 h 272791"/>
                    <a:gd name="csX20" fmla="*/ 105198 w 465773"/>
                    <a:gd name="csY20" fmla="*/ 210781 h 272791"/>
                    <a:gd name="csX21" fmla="*/ 115347 w 465773"/>
                    <a:gd name="csY21" fmla="*/ 215103 h 272791"/>
                    <a:gd name="csX22" fmla="*/ 117172 w 465773"/>
                    <a:gd name="csY22" fmla="*/ 220193 h 272791"/>
                    <a:gd name="csX23" fmla="*/ 126616 w 465773"/>
                    <a:gd name="csY23" fmla="*/ 220929 h 272791"/>
                    <a:gd name="csX24" fmla="*/ 141118 w 465773"/>
                    <a:gd name="csY24" fmla="*/ 217664 h 272791"/>
                    <a:gd name="csX25" fmla="*/ 159238 w 465773"/>
                    <a:gd name="csY25" fmla="*/ 216575 h 272791"/>
                    <a:gd name="csX26" fmla="*/ 166153 w 465773"/>
                    <a:gd name="csY26" fmla="*/ 229637 h 272791"/>
                    <a:gd name="csX27" fmla="*/ 173773 w 465773"/>
                    <a:gd name="csY27" fmla="*/ 228901 h 272791"/>
                    <a:gd name="csX28" fmla="*/ 182480 w 465773"/>
                    <a:gd name="csY28" fmla="*/ 250318 h 272791"/>
                    <a:gd name="csX29" fmla="*/ 191156 w 465773"/>
                    <a:gd name="csY29" fmla="*/ 253583 h 272791"/>
                    <a:gd name="csX30" fmla="*/ 196983 w 465773"/>
                    <a:gd name="csY30" fmla="*/ 262259 h 272791"/>
                    <a:gd name="csX31" fmla="*/ 205691 w 465773"/>
                    <a:gd name="csY31" fmla="*/ 259730 h 272791"/>
                    <a:gd name="csX32" fmla="*/ 213662 w 465773"/>
                    <a:gd name="csY32" fmla="*/ 245964 h 272791"/>
                    <a:gd name="csX33" fmla="*/ 227076 w 465773"/>
                    <a:gd name="csY33" fmla="*/ 243403 h 272791"/>
                    <a:gd name="csX34" fmla="*/ 236872 w 465773"/>
                    <a:gd name="csY34" fmla="*/ 236520 h 272791"/>
                    <a:gd name="csX35" fmla="*/ 247053 w 465773"/>
                    <a:gd name="csY35" fmla="*/ 237256 h 272791"/>
                    <a:gd name="csX36" fmla="*/ 268438 w 465773"/>
                    <a:gd name="csY36" fmla="*/ 231430 h 272791"/>
                    <a:gd name="csX37" fmla="*/ 266998 w 465773"/>
                    <a:gd name="csY37" fmla="*/ 225283 h 272791"/>
                    <a:gd name="csX38" fmla="*/ 280764 w 465773"/>
                    <a:gd name="csY38" fmla="*/ 231430 h 272791"/>
                    <a:gd name="csX39" fmla="*/ 284029 w 465773"/>
                    <a:gd name="csY39" fmla="*/ 228901 h 272791"/>
                    <a:gd name="csX40" fmla="*/ 297091 w 465773"/>
                    <a:gd name="csY40" fmla="*/ 239785 h 272791"/>
                    <a:gd name="csX41" fmla="*/ 301445 w 465773"/>
                    <a:gd name="csY41" fmla="*/ 235784 h 272791"/>
                    <a:gd name="csX42" fmla="*/ 309064 w 465773"/>
                    <a:gd name="csY42" fmla="*/ 237256 h 272791"/>
                    <a:gd name="csX43" fmla="*/ 305446 w 465773"/>
                    <a:gd name="csY43" fmla="*/ 245228 h 272791"/>
                    <a:gd name="csX44" fmla="*/ 308360 w 465773"/>
                    <a:gd name="csY44" fmla="*/ 246669 h 272791"/>
                    <a:gd name="csX45" fmla="*/ 319213 w 465773"/>
                    <a:gd name="csY45" fmla="*/ 239049 h 272791"/>
                    <a:gd name="csX46" fmla="*/ 327920 w 465773"/>
                    <a:gd name="csY46" fmla="*/ 252111 h 272791"/>
                    <a:gd name="csX47" fmla="*/ 333011 w 465773"/>
                    <a:gd name="csY47" fmla="*/ 240874 h 272791"/>
                    <a:gd name="csX48" fmla="*/ 340982 w 465773"/>
                    <a:gd name="csY48" fmla="*/ 247757 h 272791"/>
                    <a:gd name="csX49" fmla="*/ 382344 w 465773"/>
                    <a:gd name="csY49" fmla="*/ 232903 h 272791"/>
                    <a:gd name="csX50" fmla="*/ 398672 w 465773"/>
                    <a:gd name="csY50" fmla="*/ 239049 h 272791"/>
                    <a:gd name="csX51" fmla="*/ 403762 w 465773"/>
                    <a:gd name="csY51" fmla="*/ 245228 h 272791"/>
                    <a:gd name="csX52" fmla="*/ 410645 w 465773"/>
                    <a:gd name="csY52" fmla="*/ 245228 h 272791"/>
                    <a:gd name="csX53" fmla="*/ 417528 w 465773"/>
                    <a:gd name="csY53" fmla="*/ 257201 h 272791"/>
                    <a:gd name="csX54" fmla="*/ 410645 w 465773"/>
                    <a:gd name="csY54" fmla="*/ 269174 h 272791"/>
                    <a:gd name="csX55" fmla="*/ 416439 w 465773"/>
                    <a:gd name="csY55" fmla="*/ 272792 h 272791"/>
                    <a:gd name="csX56" fmla="*/ 428765 w 465773"/>
                    <a:gd name="csY56" fmla="*/ 252847 h 272791"/>
                    <a:gd name="csX57" fmla="*/ 458890 w 465773"/>
                    <a:gd name="csY57" fmla="*/ 248493 h 272791"/>
                    <a:gd name="csX58" fmla="*/ 465773 w 465773"/>
                    <a:gd name="csY58" fmla="*/ 215103 h 272791"/>
                    <a:gd name="csX59" fmla="*/ 452007 w 465773"/>
                    <a:gd name="csY59" fmla="*/ 209692 h 272791"/>
                    <a:gd name="csX60" fmla="*/ 444004 w 465773"/>
                    <a:gd name="csY60" fmla="*/ 217664 h 272791"/>
                    <a:gd name="csX61" fmla="*/ 433855 w 465773"/>
                    <a:gd name="csY61" fmla="*/ 215839 h 272791"/>
                    <a:gd name="csX62" fmla="*/ 420089 w 465773"/>
                    <a:gd name="csY62" fmla="*/ 214014 h 272791"/>
                    <a:gd name="csX63" fmla="*/ 378727 w 465773"/>
                    <a:gd name="csY63" fmla="*/ 202073 h 272791"/>
                    <a:gd name="csX64" fmla="*/ 352955 w 465773"/>
                    <a:gd name="csY64" fmla="*/ 209692 h 272791"/>
                    <a:gd name="csX65" fmla="*/ 335540 w 465773"/>
                    <a:gd name="csY65" fmla="*/ 199512 h 272791"/>
                    <a:gd name="csX66" fmla="*/ 325391 w 465773"/>
                    <a:gd name="csY66" fmla="*/ 210781 h 272791"/>
                    <a:gd name="csX67" fmla="*/ 316683 w 465773"/>
                    <a:gd name="csY67" fmla="*/ 210781 h 272791"/>
                    <a:gd name="csX68" fmla="*/ 316683 w 465773"/>
                    <a:gd name="csY68" fmla="*/ 202777 h 272791"/>
                    <a:gd name="csX69" fmla="*/ 312330 w 465773"/>
                    <a:gd name="csY69" fmla="*/ 201336 h 272791"/>
                    <a:gd name="csX70" fmla="*/ 314154 w 465773"/>
                    <a:gd name="csY70" fmla="*/ 190100 h 272791"/>
                    <a:gd name="csX71" fmla="*/ 309800 w 465773"/>
                    <a:gd name="csY71" fmla="*/ 185009 h 272791"/>
                    <a:gd name="csX72" fmla="*/ 301445 w 465773"/>
                    <a:gd name="csY72" fmla="*/ 185009 h 272791"/>
                    <a:gd name="csX73" fmla="*/ 297091 w 465773"/>
                    <a:gd name="csY73" fmla="*/ 166857 h 272791"/>
                    <a:gd name="csX74" fmla="*/ 267702 w 465773"/>
                    <a:gd name="csY74" fmla="*/ 159238 h 272791"/>
                    <a:gd name="csX75" fmla="*/ 265173 w 465773"/>
                    <a:gd name="csY75" fmla="*/ 148001 h 272791"/>
                    <a:gd name="csX76" fmla="*/ 260082 w 465773"/>
                    <a:gd name="csY76" fmla="*/ 143647 h 272791"/>
                    <a:gd name="csX77" fmla="*/ 258994 w 465773"/>
                    <a:gd name="csY77" fmla="*/ 132410 h 272791"/>
                    <a:gd name="csX78" fmla="*/ 251407 w 465773"/>
                    <a:gd name="csY78" fmla="*/ 128793 h 272791"/>
                    <a:gd name="csX79" fmla="*/ 254640 w 465773"/>
                    <a:gd name="csY79" fmla="*/ 122262 h 272791"/>
                    <a:gd name="csX80" fmla="*/ 242699 w 465773"/>
                    <a:gd name="csY80" fmla="*/ 122966 h 272791"/>
                    <a:gd name="csX81" fmla="*/ 229989 w 465773"/>
                    <a:gd name="csY81" fmla="*/ 108464 h 272791"/>
                    <a:gd name="csX82" fmla="*/ 228901 w 465773"/>
                    <a:gd name="csY82" fmla="*/ 72928 h 272791"/>
                    <a:gd name="csX83" fmla="*/ 222018 w 465773"/>
                    <a:gd name="csY83" fmla="*/ 68574 h 272791"/>
                    <a:gd name="csX84" fmla="*/ 210749 w 465773"/>
                    <a:gd name="csY84" fmla="*/ 74017 h 272791"/>
                    <a:gd name="csX85" fmla="*/ 206779 w 465773"/>
                    <a:gd name="csY85" fmla="*/ 72192 h 272791"/>
                    <a:gd name="csX86" fmla="*/ 196246 w 465773"/>
                    <a:gd name="csY86" fmla="*/ 81636 h 272791"/>
                    <a:gd name="csX87" fmla="*/ 174861 w 465773"/>
                    <a:gd name="csY87" fmla="*/ 72928 h 272791"/>
                    <a:gd name="csX88" fmla="*/ 135324 w 465773"/>
                    <a:gd name="csY88" fmla="*/ 74017 h 272791"/>
                    <a:gd name="csX89" fmla="*/ 121526 w 465773"/>
                    <a:gd name="csY89" fmla="*/ 74017 h 272791"/>
                    <a:gd name="csX90" fmla="*/ 105935 w 465773"/>
                    <a:gd name="csY90" fmla="*/ 74017 h 272791"/>
                    <a:gd name="csX91" fmla="*/ 105935 w 465773"/>
                    <a:gd name="csY91" fmla="*/ 55864 h 272791"/>
                    <a:gd name="csX92" fmla="*/ 92137 w 465773"/>
                    <a:gd name="csY92" fmla="*/ 42803 h 272791"/>
                    <a:gd name="csX93" fmla="*/ 83429 w 465773"/>
                    <a:gd name="csY93" fmla="*/ 10148 h 272791"/>
                    <a:gd name="csX94" fmla="*/ 76546 w 465773"/>
                    <a:gd name="csY94" fmla="*/ 10148 h 272791"/>
                    <a:gd name="csX95" fmla="*/ 75809 w 465773"/>
                    <a:gd name="csY95" fmla="*/ 16327 h 272791"/>
                    <a:gd name="csX96" fmla="*/ 68190 w 465773"/>
                    <a:gd name="csY96" fmla="*/ 18856 h 272791"/>
                    <a:gd name="csX97" fmla="*/ 66397 w 465773"/>
                    <a:gd name="csY97" fmla="*/ 40274 h 272791"/>
                    <a:gd name="csX98" fmla="*/ 48982 w 465773"/>
                    <a:gd name="csY98" fmla="*/ 22122 h 2727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</a:cxnLst>
                  <a:rect l="l" t="t" r="r" b="b"/>
                  <a:pathLst>
                    <a:path w="465773" h="272791">
                      <a:moveTo>
                        <a:pt x="48982" y="22122"/>
                      </a:moveTo>
                      <a:lnTo>
                        <a:pt x="35183" y="23210"/>
                      </a:lnTo>
                      <a:lnTo>
                        <a:pt x="31214" y="19593"/>
                      </a:lnTo>
                      <a:lnTo>
                        <a:pt x="30125" y="5795"/>
                      </a:lnTo>
                      <a:lnTo>
                        <a:pt x="25771" y="4354"/>
                      </a:lnTo>
                      <a:lnTo>
                        <a:pt x="15591" y="0"/>
                      </a:lnTo>
                      <a:lnTo>
                        <a:pt x="0" y="3265"/>
                      </a:lnTo>
                      <a:lnTo>
                        <a:pt x="0" y="39537"/>
                      </a:lnTo>
                      <a:lnTo>
                        <a:pt x="7619" y="38449"/>
                      </a:lnTo>
                      <a:lnTo>
                        <a:pt x="18152" y="51511"/>
                      </a:lnTo>
                      <a:lnTo>
                        <a:pt x="20681" y="54040"/>
                      </a:lnTo>
                      <a:lnTo>
                        <a:pt x="39537" y="72192"/>
                      </a:lnTo>
                      <a:lnTo>
                        <a:pt x="38801" y="114258"/>
                      </a:lnTo>
                      <a:lnTo>
                        <a:pt x="48982" y="109904"/>
                      </a:lnTo>
                      <a:lnTo>
                        <a:pt x="64572" y="112466"/>
                      </a:lnTo>
                      <a:lnTo>
                        <a:pt x="68926" y="113554"/>
                      </a:lnTo>
                      <a:lnTo>
                        <a:pt x="69663" y="125527"/>
                      </a:lnTo>
                      <a:lnTo>
                        <a:pt x="74017" y="137500"/>
                      </a:lnTo>
                      <a:lnTo>
                        <a:pt x="71455" y="159238"/>
                      </a:lnTo>
                      <a:lnTo>
                        <a:pt x="76546" y="190100"/>
                      </a:lnTo>
                      <a:lnTo>
                        <a:pt x="105198" y="210781"/>
                      </a:lnTo>
                      <a:lnTo>
                        <a:pt x="115347" y="215103"/>
                      </a:lnTo>
                      <a:lnTo>
                        <a:pt x="117172" y="220193"/>
                      </a:lnTo>
                      <a:lnTo>
                        <a:pt x="126616" y="220929"/>
                      </a:lnTo>
                      <a:lnTo>
                        <a:pt x="141118" y="217664"/>
                      </a:lnTo>
                      <a:lnTo>
                        <a:pt x="159238" y="216575"/>
                      </a:lnTo>
                      <a:lnTo>
                        <a:pt x="166153" y="229637"/>
                      </a:lnTo>
                      <a:lnTo>
                        <a:pt x="173773" y="228901"/>
                      </a:lnTo>
                      <a:lnTo>
                        <a:pt x="182480" y="250318"/>
                      </a:lnTo>
                      <a:lnTo>
                        <a:pt x="191156" y="253583"/>
                      </a:lnTo>
                      <a:lnTo>
                        <a:pt x="196983" y="262259"/>
                      </a:lnTo>
                      <a:lnTo>
                        <a:pt x="205691" y="259730"/>
                      </a:lnTo>
                      <a:lnTo>
                        <a:pt x="213662" y="245964"/>
                      </a:lnTo>
                      <a:lnTo>
                        <a:pt x="227076" y="243403"/>
                      </a:lnTo>
                      <a:lnTo>
                        <a:pt x="236872" y="236520"/>
                      </a:lnTo>
                      <a:lnTo>
                        <a:pt x="247053" y="237256"/>
                      </a:lnTo>
                      <a:lnTo>
                        <a:pt x="268438" y="231430"/>
                      </a:lnTo>
                      <a:lnTo>
                        <a:pt x="266998" y="225283"/>
                      </a:lnTo>
                      <a:lnTo>
                        <a:pt x="280764" y="231430"/>
                      </a:lnTo>
                      <a:lnTo>
                        <a:pt x="284029" y="228901"/>
                      </a:lnTo>
                      <a:lnTo>
                        <a:pt x="297091" y="239785"/>
                      </a:lnTo>
                      <a:lnTo>
                        <a:pt x="301445" y="235784"/>
                      </a:lnTo>
                      <a:lnTo>
                        <a:pt x="309064" y="237256"/>
                      </a:lnTo>
                      <a:lnTo>
                        <a:pt x="305446" y="245228"/>
                      </a:lnTo>
                      <a:lnTo>
                        <a:pt x="308360" y="246669"/>
                      </a:lnTo>
                      <a:lnTo>
                        <a:pt x="319213" y="239049"/>
                      </a:lnTo>
                      <a:lnTo>
                        <a:pt x="327920" y="252111"/>
                      </a:lnTo>
                      <a:lnTo>
                        <a:pt x="333011" y="240874"/>
                      </a:lnTo>
                      <a:lnTo>
                        <a:pt x="340982" y="247757"/>
                      </a:lnTo>
                      <a:lnTo>
                        <a:pt x="382344" y="232903"/>
                      </a:lnTo>
                      <a:lnTo>
                        <a:pt x="398672" y="239049"/>
                      </a:lnTo>
                      <a:lnTo>
                        <a:pt x="403762" y="245228"/>
                      </a:lnTo>
                      <a:lnTo>
                        <a:pt x="410645" y="245228"/>
                      </a:lnTo>
                      <a:lnTo>
                        <a:pt x="417528" y="257201"/>
                      </a:lnTo>
                      <a:lnTo>
                        <a:pt x="410645" y="269174"/>
                      </a:lnTo>
                      <a:lnTo>
                        <a:pt x="416439" y="272792"/>
                      </a:lnTo>
                      <a:lnTo>
                        <a:pt x="428765" y="252847"/>
                      </a:lnTo>
                      <a:lnTo>
                        <a:pt x="458890" y="248493"/>
                      </a:lnTo>
                      <a:lnTo>
                        <a:pt x="465773" y="215103"/>
                      </a:lnTo>
                      <a:lnTo>
                        <a:pt x="452007" y="209692"/>
                      </a:lnTo>
                      <a:lnTo>
                        <a:pt x="444004" y="217664"/>
                      </a:lnTo>
                      <a:lnTo>
                        <a:pt x="433855" y="215839"/>
                      </a:lnTo>
                      <a:lnTo>
                        <a:pt x="420089" y="214014"/>
                      </a:lnTo>
                      <a:lnTo>
                        <a:pt x="378727" y="202073"/>
                      </a:lnTo>
                      <a:lnTo>
                        <a:pt x="352955" y="209692"/>
                      </a:lnTo>
                      <a:lnTo>
                        <a:pt x="335540" y="199512"/>
                      </a:lnTo>
                      <a:lnTo>
                        <a:pt x="325391" y="210781"/>
                      </a:lnTo>
                      <a:lnTo>
                        <a:pt x="316683" y="210781"/>
                      </a:lnTo>
                      <a:lnTo>
                        <a:pt x="316683" y="202777"/>
                      </a:lnTo>
                      <a:lnTo>
                        <a:pt x="312330" y="201336"/>
                      </a:lnTo>
                      <a:lnTo>
                        <a:pt x="314154" y="190100"/>
                      </a:lnTo>
                      <a:lnTo>
                        <a:pt x="309800" y="185009"/>
                      </a:lnTo>
                      <a:lnTo>
                        <a:pt x="301445" y="185009"/>
                      </a:lnTo>
                      <a:lnTo>
                        <a:pt x="297091" y="166857"/>
                      </a:lnTo>
                      <a:lnTo>
                        <a:pt x="267702" y="159238"/>
                      </a:lnTo>
                      <a:lnTo>
                        <a:pt x="265173" y="148001"/>
                      </a:lnTo>
                      <a:lnTo>
                        <a:pt x="260082" y="143647"/>
                      </a:lnTo>
                      <a:lnTo>
                        <a:pt x="258994" y="132410"/>
                      </a:lnTo>
                      <a:lnTo>
                        <a:pt x="251407" y="128793"/>
                      </a:lnTo>
                      <a:lnTo>
                        <a:pt x="254640" y="122262"/>
                      </a:lnTo>
                      <a:lnTo>
                        <a:pt x="242699" y="122966"/>
                      </a:lnTo>
                      <a:lnTo>
                        <a:pt x="229989" y="108464"/>
                      </a:lnTo>
                      <a:lnTo>
                        <a:pt x="228901" y="72928"/>
                      </a:lnTo>
                      <a:lnTo>
                        <a:pt x="222018" y="68574"/>
                      </a:lnTo>
                      <a:lnTo>
                        <a:pt x="210749" y="74017"/>
                      </a:lnTo>
                      <a:lnTo>
                        <a:pt x="206779" y="72192"/>
                      </a:lnTo>
                      <a:lnTo>
                        <a:pt x="196246" y="81636"/>
                      </a:lnTo>
                      <a:lnTo>
                        <a:pt x="174861" y="72928"/>
                      </a:lnTo>
                      <a:lnTo>
                        <a:pt x="135324" y="74017"/>
                      </a:lnTo>
                      <a:lnTo>
                        <a:pt x="121526" y="74017"/>
                      </a:lnTo>
                      <a:lnTo>
                        <a:pt x="105935" y="74017"/>
                      </a:lnTo>
                      <a:lnTo>
                        <a:pt x="105935" y="55864"/>
                      </a:lnTo>
                      <a:lnTo>
                        <a:pt x="92137" y="42803"/>
                      </a:lnTo>
                      <a:lnTo>
                        <a:pt x="83429" y="10148"/>
                      </a:lnTo>
                      <a:lnTo>
                        <a:pt x="76546" y="10148"/>
                      </a:lnTo>
                      <a:lnTo>
                        <a:pt x="75809" y="16327"/>
                      </a:lnTo>
                      <a:lnTo>
                        <a:pt x="68190" y="18856"/>
                      </a:lnTo>
                      <a:lnTo>
                        <a:pt x="66397" y="40274"/>
                      </a:lnTo>
                      <a:lnTo>
                        <a:pt x="48982" y="2212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4" name="Forma Livre: Forma 253">
                  <a:extLst>
                    <a:ext uri="{FF2B5EF4-FFF2-40B4-BE49-F238E27FC236}">
                      <a16:creationId xmlns:a16="http://schemas.microsoft.com/office/drawing/2014/main" id="{795057FC-BF9A-F020-5C65-A16B27D740E2}"/>
                    </a:ext>
                  </a:extLst>
                </p:cNvPr>
                <p:cNvSpPr/>
                <p:nvPr/>
              </p:nvSpPr>
              <p:spPr>
                <a:xfrm>
                  <a:off x="3387295" y="4632475"/>
                  <a:ext cx="465773" cy="272791"/>
                </a:xfrm>
                <a:custGeom>
                  <a:avLst/>
                  <a:gdLst>
                    <a:gd name="csX0" fmla="*/ 48982 w 465773"/>
                    <a:gd name="csY0" fmla="*/ 22122 h 272791"/>
                    <a:gd name="csX1" fmla="*/ 35183 w 465773"/>
                    <a:gd name="csY1" fmla="*/ 23210 h 272791"/>
                    <a:gd name="csX2" fmla="*/ 31214 w 465773"/>
                    <a:gd name="csY2" fmla="*/ 19593 h 272791"/>
                    <a:gd name="csX3" fmla="*/ 30125 w 465773"/>
                    <a:gd name="csY3" fmla="*/ 5795 h 272791"/>
                    <a:gd name="csX4" fmla="*/ 25771 w 465773"/>
                    <a:gd name="csY4" fmla="*/ 4354 h 272791"/>
                    <a:gd name="csX5" fmla="*/ 15591 w 465773"/>
                    <a:gd name="csY5" fmla="*/ 0 h 272791"/>
                    <a:gd name="csX6" fmla="*/ 0 w 465773"/>
                    <a:gd name="csY6" fmla="*/ 3265 h 272791"/>
                    <a:gd name="csX7" fmla="*/ 0 w 465773"/>
                    <a:gd name="csY7" fmla="*/ 39537 h 272791"/>
                    <a:gd name="csX8" fmla="*/ 7619 w 465773"/>
                    <a:gd name="csY8" fmla="*/ 38449 h 272791"/>
                    <a:gd name="csX9" fmla="*/ 18152 w 465773"/>
                    <a:gd name="csY9" fmla="*/ 51511 h 272791"/>
                    <a:gd name="csX10" fmla="*/ 20681 w 465773"/>
                    <a:gd name="csY10" fmla="*/ 54040 h 272791"/>
                    <a:gd name="csX11" fmla="*/ 39537 w 465773"/>
                    <a:gd name="csY11" fmla="*/ 72192 h 272791"/>
                    <a:gd name="csX12" fmla="*/ 38801 w 465773"/>
                    <a:gd name="csY12" fmla="*/ 114258 h 272791"/>
                    <a:gd name="csX13" fmla="*/ 48982 w 465773"/>
                    <a:gd name="csY13" fmla="*/ 109904 h 272791"/>
                    <a:gd name="csX14" fmla="*/ 64572 w 465773"/>
                    <a:gd name="csY14" fmla="*/ 112466 h 272791"/>
                    <a:gd name="csX15" fmla="*/ 68926 w 465773"/>
                    <a:gd name="csY15" fmla="*/ 113554 h 272791"/>
                    <a:gd name="csX16" fmla="*/ 69663 w 465773"/>
                    <a:gd name="csY16" fmla="*/ 125527 h 272791"/>
                    <a:gd name="csX17" fmla="*/ 74017 w 465773"/>
                    <a:gd name="csY17" fmla="*/ 137500 h 272791"/>
                    <a:gd name="csX18" fmla="*/ 71455 w 465773"/>
                    <a:gd name="csY18" fmla="*/ 159238 h 272791"/>
                    <a:gd name="csX19" fmla="*/ 76546 w 465773"/>
                    <a:gd name="csY19" fmla="*/ 190100 h 272791"/>
                    <a:gd name="csX20" fmla="*/ 105198 w 465773"/>
                    <a:gd name="csY20" fmla="*/ 210781 h 272791"/>
                    <a:gd name="csX21" fmla="*/ 115347 w 465773"/>
                    <a:gd name="csY21" fmla="*/ 215103 h 272791"/>
                    <a:gd name="csX22" fmla="*/ 117172 w 465773"/>
                    <a:gd name="csY22" fmla="*/ 220193 h 272791"/>
                    <a:gd name="csX23" fmla="*/ 126616 w 465773"/>
                    <a:gd name="csY23" fmla="*/ 220929 h 272791"/>
                    <a:gd name="csX24" fmla="*/ 141118 w 465773"/>
                    <a:gd name="csY24" fmla="*/ 217664 h 272791"/>
                    <a:gd name="csX25" fmla="*/ 159238 w 465773"/>
                    <a:gd name="csY25" fmla="*/ 216575 h 272791"/>
                    <a:gd name="csX26" fmla="*/ 166153 w 465773"/>
                    <a:gd name="csY26" fmla="*/ 229637 h 272791"/>
                    <a:gd name="csX27" fmla="*/ 173773 w 465773"/>
                    <a:gd name="csY27" fmla="*/ 228901 h 272791"/>
                    <a:gd name="csX28" fmla="*/ 182480 w 465773"/>
                    <a:gd name="csY28" fmla="*/ 250318 h 272791"/>
                    <a:gd name="csX29" fmla="*/ 191156 w 465773"/>
                    <a:gd name="csY29" fmla="*/ 253583 h 272791"/>
                    <a:gd name="csX30" fmla="*/ 196983 w 465773"/>
                    <a:gd name="csY30" fmla="*/ 262259 h 272791"/>
                    <a:gd name="csX31" fmla="*/ 205691 w 465773"/>
                    <a:gd name="csY31" fmla="*/ 259730 h 272791"/>
                    <a:gd name="csX32" fmla="*/ 213662 w 465773"/>
                    <a:gd name="csY32" fmla="*/ 245964 h 272791"/>
                    <a:gd name="csX33" fmla="*/ 227076 w 465773"/>
                    <a:gd name="csY33" fmla="*/ 243403 h 272791"/>
                    <a:gd name="csX34" fmla="*/ 236872 w 465773"/>
                    <a:gd name="csY34" fmla="*/ 236520 h 272791"/>
                    <a:gd name="csX35" fmla="*/ 247053 w 465773"/>
                    <a:gd name="csY35" fmla="*/ 237256 h 272791"/>
                    <a:gd name="csX36" fmla="*/ 268438 w 465773"/>
                    <a:gd name="csY36" fmla="*/ 231430 h 272791"/>
                    <a:gd name="csX37" fmla="*/ 266998 w 465773"/>
                    <a:gd name="csY37" fmla="*/ 225283 h 272791"/>
                    <a:gd name="csX38" fmla="*/ 280764 w 465773"/>
                    <a:gd name="csY38" fmla="*/ 231430 h 272791"/>
                    <a:gd name="csX39" fmla="*/ 284029 w 465773"/>
                    <a:gd name="csY39" fmla="*/ 228901 h 272791"/>
                    <a:gd name="csX40" fmla="*/ 297091 w 465773"/>
                    <a:gd name="csY40" fmla="*/ 239785 h 272791"/>
                    <a:gd name="csX41" fmla="*/ 301445 w 465773"/>
                    <a:gd name="csY41" fmla="*/ 235784 h 272791"/>
                    <a:gd name="csX42" fmla="*/ 309064 w 465773"/>
                    <a:gd name="csY42" fmla="*/ 237256 h 272791"/>
                    <a:gd name="csX43" fmla="*/ 305446 w 465773"/>
                    <a:gd name="csY43" fmla="*/ 245228 h 272791"/>
                    <a:gd name="csX44" fmla="*/ 308360 w 465773"/>
                    <a:gd name="csY44" fmla="*/ 246669 h 272791"/>
                    <a:gd name="csX45" fmla="*/ 319213 w 465773"/>
                    <a:gd name="csY45" fmla="*/ 239049 h 272791"/>
                    <a:gd name="csX46" fmla="*/ 327920 w 465773"/>
                    <a:gd name="csY46" fmla="*/ 252111 h 272791"/>
                    <a:gd name="csX47" fmla="*/ 333011 w 465773"/>
                    <a:gd name="csY47" fmla="*/ 240874 h 272791"/>
                    <a:gd name="csX48" fmla="*/ 340982 w 465773"/>
                    <a:gd name="csY48" fmla="*/ 247757 h 272791"/>
                    <a:gd name="csX49" fmla="*/ 382344 w 465773"/>
                    <a:gd name="csY49" fmla="*/ 232903 h 272791"/>
                    <a:gd name="csX50" fmla="*/ 398672 w 465773"/>
                    <a:gd name="csY50" fmla="*/ 239049 h 272791"/>
                    <a:gd name="csX51" fmla="*/ 403762 w 465773"/>
                    <a:gd name="csY51" fmla="*/ 245228 h 272791"/>
                    <a:gd name="csX52" fmla="*/ 410645 w 465773"/>
                    <a:gd name="csY52" fmla="*/ 245228 h 272791"/>
                    <a:gd name="csX53" fmla="*/ 417528 w 465773"/>
                    <a:gd name="csY53" fmla="*/ 257201 h 272791"/>
                    <a:gd name="csX54" fmla="*/ 410645 w 465773"/>
                    <a:gd name="csY54" fmla="*/ 269174 h 272791"/>
                    <a:gd name="csX55" fmla="*/ 416439 w 465773"/>
                    <a:gd name="csY55" fmla="*/ 272792 h 272791"/>
                    <a:gd name="csX56" fmla="*/ 428765 w 465773"/>
                    <a:gd name="csY56" fmla="*/ 252847 h 272791"/>
                    <a:gd name="csX57" fmla="*/ 458890 w 465773"/>
                    <a:gd name="csY57" fmla="*/ 248493 h 272791"/>
                    <a:gd name="csX58" fmla="*/ 465773 w 465773"/>
                    <a:gd name="csY58" fmla="*/ 215103 h 272791"/>
                    <a:gd name="csX59" fmla="*/ 452007 w 465773"/>
                    <a:gd name="csY59" fmla="*/ 209692 h 272791"/>
                    <a:gd name="csX60" fmla="*/ 444004 w 465773"/>
                    <a:gd name="csY60" fmla="*/ 217664 h 272791"/>
                    <a:gd name="csX61" fmla="*/ 433855 w 465773"/>
                    <a:gd name="csY61" fmla="*/ 215839 h 272791"/>
                    <a:gd name="csX62" fmla="*/ 420089 w 465773"/>
                    <a:gd name="csY62" fmla="*/ 214014 h 272791"/>
                    <a:gd name="csX63" fmla="*/ 378727 w 465773"/>
                    <a:gd name="csY63" fmla="*/ 202073 h 272791"/>
                    <a:gd name="csX64" fmla="*/ 352955 w 465773"/>
                    <a:gd name="csY64" fmla="*/ 209692 h 272791"/>
                    <a:gd name="csX65" fmla="*/ 335540 w 465773"/>
                    <a:gd name="csY65" fmla="*/ 199512 h 272791"/>
                    <a:gd name="csX66" fmla="*/ 325391 w 465773"/>
                    <a:gd name="csY66" fmla="*/ 210781 h 272791"/>
                    <a:gd name="csX67" fmla="*/ 316683 w 465773"/>
                    <a:gd name="csY67" fmla="*/ 210781 h 272791"/>
                    <a:gd name="csX68" fmla="*/ 316683 w 465773"/>
                    <a:gd name="csY68" fmla="*/ 202777 h 272791"/>
                    <a:gd name="csX69" fmla="*/ 312330 w 465773"/>
                    <a:gd name="csY69" fmla="*/ 201336 h 272791"/>
                    <a:gd name="csX70" fmla="*/ 314154 w 465773"/>
                    <a:gd name="csY70" fmla="*/ 190100 h 272791"/>
                    <a:gd name="csX71" fmla="*/ 309800 w 465773"/>
                    <a:gd name="csY71" fmla="*/ 185009 h 272791"/>
                    <a:gd name="csX72" fmla="*/ 301445 w 465773"/>
                    <a:gd name="csY72" fmla="*/ 185009 h 272791"/>
                    <a:gd name="csX73" fmla="*/ 297091 w 465773"/>
                    <a:gd name="csY73" fmla="*/ 166857 h 272791"/>
                    <a:gd name="csX74" fmla="*/ 267702 w 465773"/>
                    <a:gd name="csY74" fmla="*/ 159238 h 272791"/>
                    <a:gd name="csX75" fmla="*/ 265173 w 465773"/>
                    <a:gd name="csY75" fmla="*/ 148001 h 272791"/>
                    <a:gd name="csX76" fmla="*/ 260082 w 465773"/>
                    <a:gd name="csY76" fmla="*/ 143647 h 272791"/>
                    <a:gd name="csX77" fmla="*/ 258994 w 465773"/>
                    <a:gd name="csY77" fmla="*/ 132410 h 272791"/>
                    <a:gd name="csX78" fmla="*/ 251407 w 465773"/>
                    <a:gd name="csY78" fmla="*/ 128793 h 272791"/>
                    <a:gd name="csX79" fmla="*/ 254640 w 465773"/>
                    <a:gd name="csY79" fmla="*/ 122262 h 272791"/>
                    <a:gd name="csX80" fmla="*/ 242699 w 465773"/>
                    <a:gd name="csY80" fmla="*/ 122966 h 272791"/>
                    <a:gd name="csX81" fmla="*/ 229989 w 465773"/>
                    <a:gd name="csY81" fmla="*/ 108464 h 272791"/>
                    <a:gd name="csX82" fmla="*/ 228901 w 465773"/>
                    <a:gd name="csY82" fmla="*/ 72928 h 272791"/>
                    <a:gd name="csX83" fmla="*/ 222018 w 465773"/>
                    <a:gd name="csY83" fmla="*/ 68574 h 272791"/>
                    <a:gd name="csX84" fmla="*/ 210749 w 465773"/>
                    <a:gd name="csY84" fmla="*/ 74017 h 272791"/>
                    <a:gd name="csX85" fmla="*/ 206779 w 465773"/>
                    <a:gd name="csY85" fmla="*/ 72192 h 272791"/>
                    <a:gd name="csX86" fmla="*/ 196246 w 465773"/>
                    <a:gd name="csY86" fmla="*/ 81636 h 272791"/>
                    <a:gd name="csX87" fmla="*/ 174861 w 465773"/>
                    <a:gd name="csY87" fmla="*/ 72928 h 272791"/>
                    <a:gd name="csX88" fmla="*/ 135324 w 465773"/>
                    <a:gd name="csY88" fmla="*/ 74017 h 272791"/>
                    <a:gd name="csX89" fmla="*/ 121526 w 465773"/>
                    <a:gd name="csY89" fmla="*/ 74017 h 272791"/>
                    <a:gd name="csX90" fmla="*/ 105935 w 465773"/>
                    <a:gd name="csY90" fmla="*/ 74017 h 272791"/>
                    <a:gd name="csX91" fmla="*/ 105935 w 465773"/>
                    <a:gd name="csY91" fmla="*/ 55864 h 272791"/>
                    <a:gd name="csX92" fmla="*/ 92137 w 465773"/>
                    <a:gd name="csY92" fmla="*/ 42803 h 272791"/>
                    <a:gd name="csX93" fmla="*/ 83429 w 465773"/>
                    <a:gd name="csY93" fmla="*/ 10148 h 272791"/>
                    <a:gd name="csX94" fmla="*/ 76546 w 465773"/>
                    <a:gd name="csY94" fmla="*/ 10148 h 272791"/>
                    <a:gd name="csX95" fmla="*/ 75809 w 465773"/>
                    <a:gd name="csY95" fmla="*/ 16327 h 272791"/>
                    <a:gd name="csX96" fmla="*/ 68190 w 465773"/>
                    <a:gd name="csY96" fmla="*/ 18856 h 272791"/>
                    <a:gd name="csX97" fmla="*/ 66397 w 465773"/>
                    <a:gd name="csY97" fmla="*/ 40274 h 272791"/>
                    <a:gd name="csX98" fmla="*/ 48982 w 465773"/>
                    <a:gd name="csY98" fmla="*/ 22122 h 2727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</a:cxnLst>
                  <a:rect l="l" t="t" r="r" b="b"/>
                  <a:pathLst>
                    <a:path w="465773" h="272791">
                      <a:moveTo>
                        <a:pt x="48982" y="22122"/>
                      </a:moveTo>
                      <a:lnTo>
                        <a:pt x="35183" y="23210"/>
                      </a:lnTo>
                      <a:lnTo>
                        <a:pt x="31214" y="19593"/>
                      </a:lnTo>
                      <a:lnTo>
                        <a:pt x="30125" y="5795"/>
                      </a:lnTo>
                      <a:lnTo>
                        <a:pt x="25771" y="4354"/>
                      </a:lnTo>
                      <a:lnTo>
                        <a:pt x="15591" y="0"/>
                      </a:lnTo>
                      <a:lnTo>
                        <a:pt x="0" y="3265"/>
                      </a:lnTo>
                      <a:lnTo>
                        <a:pt x="0" y="39537"/>
                      </a:lnTo>
                      <a:lnTo>
                        <a:pt x="7619" y="38449"/>
                      </a:lnTo>
                      <a:lnTo>
                        <a:pt x="18152" y="51511"/>
                      </a:lnTo>
                      <a:lnTo>
                        <a:pt x="20681" y="54040"/>
                      </a:lnTo>
                      <a:lnTo>
                        <a:pt x="39537" y="72192"/>
                      </a:lnTo>
                      <a:lnTo>
                        <a:pt x="38801" y="114258"/>
                      </a:lnTo>
                      <a:lnTo>
                        <a:pt x="48982" y="109904"/>
                      </a:lnTo>
                      <a:lnTo>
                        <a:pt x="64572" y="112466"/>
                      </a:lnTo>
                      <a:lnTo>
                        <a:pt x="68926" y="113554"/>
                      </a:lnTo>
                      <a:lnTo>
                        <a:pt x="69663" y="125527"/>
                      </a:lnTo>
                      <a:lnTo>
                        <a:pt x="74017" y="137500"/>
                      </a:lnTo>
                      <a:lnTo>
                        <a:pt x="71455" y="159238"/>
                      </a:lnTo>
                      <a:lnTo>
                        <a:pt x="76546" y="190100"/>
                      </a:lnTo>
                      <a:lnTo>
                        <a:pt x="105198" y="210781"/>
                      </a:lnTo>
                      <a:lnTo>
                        <a:pt x="115347" y="215103"/>
                      </a:lnTo>
                      <a:lnTo>
                        <a:pt x="117172" y="220193"/>
                      </a:lnTo>
                      <a:lnTo>
                        <a:pt x="126616" y="220929"/>
                      </a:lnTo>
                      <a:lnTo>
                        <a:pt x="141118" y="217664"/>
                      </a:lnTo>
                      <a:lnTo>
                        <a:pt x="159238" y="216575"/>
                      </a:lnTo>
                      <a:lnTo>
                        <a:pt x="166153" y="229637"/>
                      </a:lnTo>
                      <a:lnTo>
                        <a:pt x="173773" y="228901"/>
                      </a:lnTo>
                      <a:lnTo>
                        <a:pt x="182480" y="250318"/>
                      </a:lnTo>
                      <a:lnTo>
                        <a:pt x="191156" y="253583"/>
                      </a:lnTo>
                      <a:lnTo>
                        <a:pt x="196983" y="262259"/>
                      </a:lnTo>
                      <a:lnTo>
                        <a:pt x="205691" y="259730"/>
                      </a:lnTo>
                      <a:lnTo>
                        <a:pt x="213662" y="245964"/>
                      </a:lnTo>
                      <a:lnTo>
                        <a:pt x="227076" y="243403"/>
                      </a:lnTo>
                      <a:lnTo>
                        <a:pt x="236872" y="236520"/>
                      </a:lnTo>
                      <a:lnTo>
                        <a:pt x="247053" y="237256"/>
                      </a:lnTo>
                      <a:lnTo>
                        <a:pt x="268438" y="231430"/>
                      </a:lnTo>
                      <a:lnTo>
                        <a:pt x="266998" y="225283"/>
                      </a:lnTo>
                      <a:lnTo>
                        <a:pt x="280764" y="231430"/>
                      </a:lnTo>
                      <a:lnTo>
                        <a:pt x="284029" y="228901"/>
                      </a:lnTo>
                      <a:lnTo>
                        <a:pt x="297091" y="239785"/>
                      </a:lnTo>
                      <a:lnTo>
                        <a:pt x="301445" y="235784"/>
                      </a:lnTo>
                      <a:lnTo>
                        <a:pt x="309064" y="237256"/>
                      </a:lnTo>
                      <a:lnTo>
                        <a:pt x="305446" y="245228"/>
                      </a:lnTo>
                      <a:lnTo>
                        <a:pt x="308360" y="246669"/>
                      </a:lnTo>
                      <a:lnTo>
                        <a:pt x="319213" y="239049"/>
                      </a:lnTo>
                      <a:lnTo>
                        <a:pt x="327920" y="252111"/>
                      </a:lnTo>
                      <a:lnTo>
                        <a:pt x="333011" y="240874"/>
                      </a:lnTo>
                      <a:lnTo>
                        <a:pt x="340982" y="247757"/>
                      </a:lnTo>
                      <a:lnTo>
                        <a:pt x="382344" y="232903"/>
                      </a:lnTo>
                      <a:lnTo>
                        <a:pt x="398672" y="239049"/>
                      </a:lnTo>
                      <a:lnTo>
                        <a:pt x="403762" y="245228"/>
                      </a:lnTo>
                      <a:lnTo>
                        <a:pt x="410645" y="245228"/>
                      </a:lnTo>
                      <a:lnTo>
                        <a:pt x="417528" y="257201"/>
                      </a:lnTo>
                      <a:lnTo>
                        <a:pt x="410645" y="269174"/>
                      </a:lnTo>
                      <a:lnTo>
                        <a:pt x="416439" y="272792"/>
                      </a:lnTo>
                      <a:lnTo>
                        <a:pt x="428765" y="252847"/>
                      </a:lnTo>
                      <a:lnTo>
                        <a:pt x="458890" y="248493"/>
                      </a:lnTo>
                      <a:lnTo>
                        <a:pt x="465773" y="215103"/>
                      </a:lnTo>
                      <a:lnTo>
                        <a:pt x="452007" y="209692"/>
                      </a:lnTo>
                      <a:lnTo>
                        <a:pt x="444004" y="217664"/>
                      </a:lnTo>
                      <a:lnTo>
                        <a:pt x="433855" y="215839"/>
                      </a:lnTo>
                      <a:lnTo>
                        <a:pt x="420089" y="214014"/>
                      </a:lnTo>
                      <a:lnTo>
                        <a:pt x="378727" y="202073"/>
                      </a:lnTo>
                      <a:lnTo>
                        <a:pt x="352955" y="209692"/>
                      </a:lnTo>
                      <a:lnTo>
                        <a:pt x="335540" y="199512"/>
                      </a:lnTo>
                      <a:lnTo>
                        <a:pt x="325391" y="210781"/>
                      </a:lnTo>
                      <a:lnTo>
                        <a:pt x="316683" y="210781"/>
                      </a:lnTo>
                      <a:lnTo>
                        <a:pt x="316683" y="202777"/>
                      </a:lnTo>
                      <a:lnTo>
                        <a:pt x="312330" y="201336"/>
                      </a:lnTo>
                      <a:lnTo>
                        <a:pt x="314154" y="190100"/>
                      </a:lnTo>
                      <a:lnTo>
                        <a:pt x="309800" y="185009"/>
                      </a:lnTo>
                      <a:lnTo>
                        <a:pt x="301445" y="185009"/>
                      </a:lnTo>
                      <a:lnTo>
                        <a:pt x="297091" y="166857"/>
                      </a:lnTo>
                      <a:lnTo>
                        <a:pt x="267702" y="159238"/>
                      </a:lnTo>
                      <a:lnTo>
                        <a:pt x="265173" y="148001"/>
                      </a:lnTo>
                      <a:lnTo>
                        <a:pt x="260082" y="143647"/>
                      </a:lnTo>
                      <a:lnTo>
                        <a:pt x="258994" y="132410"/>
                      </a:lnTo>
                      <a:lnTo>
                        <a:pt x="251407" y="128793"/>
                      </a:lnTo>
                      <a:lnTo>
                        <a:pt x="254640" y="122262"/>
                      </a:lnTo>
                      <a:lnTo>
                        <a:pt x="242699" y="122966"/>
                      </a:lnTo>
                      <a:lnTo>
                        <a:pt x="229989" y="108464"/>
                      </a:lnTo>
                      <a:lnTo>
                        <a:pt x="228901" y="72928"/>
                      </a:lnTo>
                      <a:lnTo>
                        <a:pt x="222018" y="68574"/>
                      </a:lnTo>
                      <a:lnTo>
                        <a:pt x="210749" y="74017"/>
                      </a:lnTo>
                      <a:lnTo>
                        <a:pt x="206779" y="72192"/>
                      </a:lnTo>
                      <a:lnTo>
                        <a:pt x="196246" y="81636"/>
                      </a:lnTo>
                      <a:lnTo>
                        <a:pt x="174861" y="72928"/>
                      </a:lnTo>
                      <a:lnTo>
                        <a:pt x="135324" y="74017"/>
                      </a:lnTo>
                      <a:lnTo>
                        <a:pt x="121526" y="74017"/>
                      </a:lnTo>
                      <a:lnTo>
                        <a:pt x="105935" y="74017"/>
                      </a:lnTo>
                      <a:lnTo>
                        <a:pt x="105935" y="55864"/>
                      </a:lnTo>
                      <a:lnTo>
                        <a:pt x="92137" y="42803"/>
                      </a:lnTo>
                      <a:lnTo>
                        <a:pt x="83429" y="10148"/>
                      </a:lnTo>
                      <a:lnTo>
                        <a:pt x="76546" y="10148"/>
                      </a:lnTo>
                      <a:lnTo>
                        <a:pt x="75809" y="16327"/>
                      </a:lnTo>
                      <a:lnTo>
                        <a:pt x="68190" y="18856"/>
                      </a:lnTo>
                      <a:lnTo>
                        <a:pt x="66397" y="40274"/>
                      </a:lnTo>
                      <a:lnTo>
                        <a:pt x="48982" y="2212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5" name="Forma Livre: Forma 254">
                  <a:extLst>
                    <a:ext uri="{FF2B5EF4-FFF2-40B4-BE49-F238E27FC236}">
                      <a16:creationId xmlns:a16="http://schemas.microsoft.com/office/drawing/2014/main" id="{7F92A2EA-5399-8E45-E920-5B48982146FF}"/>
                    </a:ext>
                  </a:extLst>
                </p:cNvPr>
                <p:cNvSpPr/>
                <p:nvPr/>
              </p:nvSpPr>
              <p:spPr>
                <a:xfrm>
                  <a:off x="3387295" y="4632475"/>
                  <a:ext cx="465773" cy="272791"/>
                </a:xfrm>
                <a:custGeom>
                  <a:avLst/>
                  <a:gdLst>
                    <a:gd name="csX0" fmla="*/ 48982 w 465773"/>
                    <a:gd name="csY0" fmla="*/ 22122 h 272791"/>
                    <a:gd name="csX1" fmla="*/ 35183 w 465773"/>
                    <a:gd name="csY1" fmla="*/ 23210 h 272791"/>
                    <a:gd name="csX2" fmla="*/ 31214 w 465773"/>
                    <a:gd name="csY2" fmla="*/ 19593 h 272791"/>
                    <a:gd name="csX3" fmla="*/ 30125 w 465773"/>
                    <a:gd name="csY3" fmla="*/ 5795 h 272791"/>
                    <a:gd name="csX4" fmla="*/ 25771 w 465773"/>
                    <a:gd name="csY4" fmla="*/ 4354 h 272791"/>
                    <a:gd name="csX5" fmla="*/ 15591 w 465773"/>
                    <a:gd name="csY5" fmla="*/ 0 h 272791"/>
                    <a:gd name="csX6" fmla="*/ 0 w 465773"/>
                    <a:gd name="csY6" fmla="*/ 3265 h 272791"/>
                    <a:gd name="csX7" fmla="*/ 0 w 465773"/>
                    <a:gd name="csY7" fmla="*/ 39537 h 272791"/>
                    <a:gd name="csX8" fmla="*/ 7619 w 465773"/>
                    <a:gd name="csY8" fmla="*/ 38449 h 272791"/>
                    <a:gd name="csX9" fmla="*/ 18152 w 465773"/>
                    <a:gd name="csY9" fmla="*/ 51511 h 272791"/>
                    <a:gd name="csX10" fmla="*/ 20681 w 465773"/>
                    <a:gd name="csY10" fmla="*/ 54040 h 272791"/>
                    <a:gd name="csX11" fmla="*/ 39537 w 465773"/>
                    <a:gd name="csY11" fmla="*/ 72192 h 272791"/>
                    <a:gd name="csX12" fmla="*/ 38801 w 465773"/>
                    <a:gd name="csY12" fmla="*/ 114258 h 272791"/>
                    <a:gd name="csX13" fmla="*/ 48982 w 465773"/>
                    <a:gd name="csY13" fmla="*/ 109904 h 272791"/>
                    <a:gd name="csX14" fmla="*/ 64572 w 465773"/>
                    <a:gd name="csY14" fmla="*/ 112466 h 272791"/>
                    <a:gd name="csX15" fmla="*/ 68926 w 465773"/>
                    <a:gd name="csY15" fmla="*/ 113554 h 272791"/>
                    <a:gd name="csX16" fmla="*/ 69663 w 465773"/>
                    <a:gd name="csY16" fmla="*/ 125527 h 272791"/>
                    <a:gd name="csX17" fmla="*/ 74017 w 465773"/>
                    <a:gd name="csY17" fmla="*/ 137500 h 272791"/>
                    <a:gd name="csX18" fmla="*/ 71455 w 465773"/>
                    <a:gd name="csY18" fmla="*/ 159238 h 272791"/>
                    <a:gd name="csX19" fmla="*/ 76546 w 465773"/>
                    <a:gd name="csY19" fmla="*/ 190100 h 272791"/>
                    <a:gd name="csX20" fmla="*/ 105198 w 465773"/>
                    <a:gd name="csY20" fmla="*/ 210781 h 272791"/>
                    <a:gd name="csX21" fmla="*/ 115347 w 465773"/>
                    <a:gd name="csY21" fmla="*/ 215103 h 272791"/>
                    <a:gd name="csX22" fmla="*/ 117172 w 465773"/>
                    <a:gd name="csY22" fmla="*/ 220193 h 272791"/>
                    <a:gd name="csX23" fmla="*/ 126616 w 465773"/>
                    <a:gd name="csY23" fmla="*/ 220929 h 272791"/>
                    <a:gd name="csX24" fmla="*/ 141118 w 465773"/>
                    <a:gd name="csY24" fmla="*/ 217664 h 272791"/>
                    <a:gd name="csX25" fmla="*/ 159238 w 465773"/>
                    <a:gd name="csY25" fmla="*/ 216575 h 272791"/>
                    <a:gd name="csX26" fmla="*/ 166153 w 465773"/>
                    <a:gd name="csY26" fmla="*/ 229637 h 272791"/>
                    <a:gd name="csX27" fmla="*/ 173773 w 465773"/>
                    <a:gd name="csY27" fmla="*/ 228901 h 272791"/>
                    <a:gd name="csX28" fmla="*/ 182480 w 465773"/>
                    <a:gd name="csY28" fmla="*/ 250318 h 272791"/>
                    <a:gd name="csX29" fmla="*/ 191156 w 465773"/>
                    <a:gd name="csY29" fmla="*/ 253583 h 272791"/>
                    <a:gd name="csX30" fmla="*/ 196983 w 465773"/>
                    <a:gd name="csY30" fmla="*/ 262259 h 272791"/>
                    <a:gd name="csX31" fmla="*/ 205691 w 465773"/>
                    <a:gd name="csY31" fmla="*/ 259730 h 272791"/>
                    <a:gd name="csX32" fmla="*/ 213662 w 465773"/>
                    <a:gd name="csY32" fmla="*/ 245964 h 272791"/>
                    <a:gd name="csX33" fmla="*/ 227076 w 465773"/>
                    <a:gd name="csY33" fmla="*/ 243403 h 272791"/>
                    <a:gd name="csX34" fmla="*/ 236872 w 465773"/>
                    <a:gd name="csY34" fmla="*/ 236520 h 272791"/>
                    <a:gd name="csX35" fmla="*/ 247053 w 465773"/>
                    <a:gd name="csY35" fmla="*/ 237256 h 272791"/>
                    <a:gd name="csX36" fmla="*/ 268438 w 465773"/>
                    <a:gd name="csY36" fmla="*/ 231430 h 272791"/>
                    <a:gd name="csX37" fmla="*/ 266998 w 465773"/>
                    <a:gd name="csY37" fmla="*/ 225283 h 272791"/>
                    <a:gd name="csX38" fmla="*/ 280764 w 465773"/>
                    <a:gd name="csY38" fmla="*/ 231430 h 272791"/>
                    <a:gd name="csX39" fmla="*/ 284029 w 465773"/>
                    <a:gd name="csY39" fmla="*/ 228901 h 272791"/>
                    <a:gd name="csX40" fmla="*/ 297091 w 465773"/>
                    <a:gd name="csY40" fmla="*/ 239785 h 272791"/>
                    <a:gd name="csX41" fmla="*/ 301445 w 465773"/>
                    <a:gd name="csY41" fmla="*/ 235784 h 272791"/>
                    <a:gd name="csX42" fmla="*/ 309064 w 465773"/>
                    <a:gd name="csY42" fmla="*/ 237256 h 272791"/>
                    <a:gd name="csX43" fmla="*/ 305446 w 465773"/>
                    <a:gd name="csY43" fmla="*/ 245228 h 272791"/>
                    <a:gd name="csX44" fmla="*/ 308360 w 465773"/>
                    <a:gd name="csY44" fmla="*/ 246669 h 272791"/>
                    <a:gd name="csX45" fmla="*/ 319213 w 465773"/>
                    <a:gd name="csY45" fmla="*/ 239049 h 272791"/>
                    <a:gd name="csX46" fmla="*/ 327920 w 465773"/>
                    <a:gd name="csY46" fmla="*/ 252111 h 272791"/>
                    <a:gd name="csX47" fmla="*/ 333011 w 465773"/>
                    <a:gd name="csY47" fmla="*/ 240874 h 272791"/>
                    <a:gd name="csX48" fmla="*/ 340982 w 465773"/>
                    <a:gd name="csY48" fmla="*/ 247757 h 272791"/>
                    <a:gd name="csX49" fmla="*/ 382344 w 465773"/>
                    <a:gd name="csY49" fmla="*/ 232903 h 272791"/>
                    <a:gd name="csX50" fmla="*/ 398672 w 465773"/>
                    <a:gd name="csY50" fmla="*/ 239049 h 272791"/>
                    <a:gd name="csX51" fmla="*/ 403762 w 465773"/>
                    <a:gd name="csY51" fmla="*/ 245228 h 272791"/>
                    <a:gd name="csX52" fmla="*/ 410645 w 465773"/>
                    <a:gd name="csY52" fmla="*/ 245228 h 272791"/>
                    <a:gd name="csX53" fmla="*/ 417528 w 465773"/>
                    <a:gd name="csY53" fmla="*/ 257201 h 272791"/>
                    <a:gd name="csX54" fmla="*/ 410645 w 465773"/>
                    <a:gd name="csY54" fmla="*/ 269174 h 272791"/>
                    <a:gd name="csX55" fmla="*/ 416439 w 465773"/>
                    <a:gd name="csY55" fmla="*/ 272792 h 272791"/>
                    <a:gd name="csX56" fmla="*/ 428765 w 465773"/>
                    <a:gd name="csY56" fmla="*/ 252847 h 272791"/>
                    <a:gd name="csX57" fmla="*/ 458890 w 465773"/>
                    <a:gd name="csY57" fmla="*/ 248493 h 272791"/>
                    <a:gd name="csX58" fmla="*/ 465773 w 465773"/>
                    <a:gd name="csY58" fmla="*/ 215103 h 272791"/>
                    <a:gd name="csX59" fmla="*/ 452007 w 465773"/>
                    <a:gd name="csY59" fmla="*/ 209692 h 272791"/>
                    <a:gd name="csX60" fmla="*/ 444004 w 465773"/>
                    <a:gd name="csY60" fmla="*/ 217664 h 272791"/>
                    <a:gd name="csX61" fmla="*/ 433855 w 465773"/>
                    <a:gd name="csY61" fmla="*/ 215839 h 272791"/>
                    <a:gd name="csX62" fmla="*/ 420089 w 465773"/>
                    <a:gd name="csY62" fmla="*/ 214014 h 272791"/>
                    <a:gd name="csX63" fmla="*/ 378727 w 465773"/>
                    <a:gd name="csY63" fmla="*/ 202073 h 272791"/>
                    <a:gd name="csX64" fmla="*/ 352955 w 465773"/>
                    <a:gd name="csY64" fmla="*/ 209692 h 272791"/>
                    <a:gd name="csX65" fmla="*/ 335540 w 465773"/>
                    <a:gd name="csY65" fmla="*/ 199512 h 272791"/>
                    <a:gd name="csX66" fmla="*/ 325391 w 465773"/>
                    <a:gd name="csY66" fmla="*/ 210781 h 272791"/>
                    <a:gd name="csX67" fmla="*/ 316683 w 465773"/>
                    <a:gd name="csY67" fmla="*/ 210781 h 272791"/>
                    <a:gd name="csX68" fmla="*/ 316683 w 465773"/>
                    <a:gd name="csY68" fmla="*/ 202777 h 272791"/>
                    <a:gd name="csX69" fmla="*/ 312330 w 465773"/>
                    <a:gd name="csY69" fmla="*/ 201336 h 272791"/>
                    <a:gd name="csX70" fmla="*/ 314154 w 465773"/>
                    <a:gd name="csY70" fmla="*/ 190100 h 272791"/>
                    <a:gd name="csX71" fmla="*/ 309800 w 465773"/>
                    <a:gd name="csY71" fmla="*/ 185009 h 272791"/>
                    <a:gd name="csX72" fmla="*/ 301445 w 465773"/>
                    <a:gd name="csY72" fmla="*/ 185009 h 272791"/>
                    <a:gd name="csX73" fmla="*/ 297091 w 465773"/>
                    <a:gd name="csY73" fmla="*/ 166857 h 272791"/>
                    <a:gd name="csX74" fmla="*/ 267702 w 465773"/>
                    <a:gd name="csY74" fmla="*/ 159238 h 272791"/>
                    <a:gd name="csX75" fmla="*/ 265173 w 465773"/>
                    <a:gd name="csY75" fmla="*/ 148001 h 272791"/>
                    <a:gd name="csX76" fmla="*/ 260082 w 465773"/>
                    <a:gd name="csY76" fmla="*/ 143647 h 272791"/>
                    <a:gd name="csX77" fmla="*/ 258994 w 465773"/>
                    <a:gd name="csY77" fmla="*/ 132410 h 272791"/>
                    <a:gd name="csX78" fmla="*/ 251407 w 465773"/>
                    <a:gd name="csY78" fmla="*/ 128793 h 272791"/>
                    <a:gd name="csX79" fmla="*/ 254640 w 465773"/>
                    <a:gd name="csY79" fmla="*/ 122262 h 272791"/>
                    <a:gd name="csX80" fmla="*/ 242699 w 465773"/>
                    <a:gd name="csY80" fmla="*/ 122966 h 272791"/>
                    <a:gd name="csX81" fmla="*/ 229989 w 465773"/>
                    <a:gd name="csY81" fmla="*/ 108464 h 272791"/>
                    <a:gd name="csX82" fmla="*/ 228901 w 465773"/>
                    <a:gd name="csY82" fmla="*/ 72928 h 272791"/>
                    <a:gd name="csX83" fmla="*/ 222018 w 465773"/>
                    <a:gd name="csY83" fmla="*/ 68574 h 272791"/>
                    <a:gd name="csX84" fmla="*/ 210749 w 465773"/>
                    <a:gd name="csY84" fmla="*/ 74017 h 272791"/>
                    <a:gd name="csX85" fmla="*/ 206779 w 465773"/>
                    <a:gd name="csY85" fmla="*/ 72192 h 272791"/>
                    <a:gd name="csX86" fmla="*/ 196246 w 465773"/>
                    <a:gd name="csY86" fmla="*/ 81636 h 272791"/>
                    <a:gd name="csX87" fmla="*/ 174861 w 465773"/>
                    <a:gd name="csY87" fmla="*/ 72928 h 272791"/>
                    <a:gd name="csX88" fmla="*/ 135324 w 465773"/>
                    <a:gd name="csY88" fmla="*/ 74017 h 272791"/>
                    <a:gd name="csX89" fmla="*/ 121526 w 465773"/>
                    <a:gd name="csY89" fmla="*/ 74017 h 272791"/>
                    <a:gd name="csX90" fmla="*/ 105935 w 465773"/>
                    <a:gd name="csY90" fmla="*/ 74017 h 272791"/>
                    <a:gd name="csX91" fmla="*/ 105935 w 465773"/>
                    <a:gd name="csY91" fmla="*/ 55864 h 272791"/>
                    <a:gd name="csX92" fmla="*/ 92137 w 465773"/>
                    <a:gd name="csY92" fmla="*/ 42803 h 272791"/>
                    <a:gd name="csX93" fmla="*/ 83429 w 465773"/>
                    <a:gd name="csY93" fmla="*/ 10148 h 272791"/>
                    <a:gd name="csX94" fmla="*/ 76546 w 465773"/>
                    <a:gd name="csY94" fmla="*/ 10148 h 272791"/>
                    <a:gd name="csX95" fmla="*/ 75809 w 465773"/>
                    <a:gd name="csY95" fmla="*/ 16327 h 272791"/>
                    <a:gd name="csX96" fmla="*/ 68190 w 465773"/>
                    <a:gd name="csY96" fmla="*/ 18856 h 272791"/>
                    <a:gd name="csX97" fmla="*/ 66397 w 465773"/>
                    <a:gd name="csY97" fmla="*/ 40274 h 272791"/>
                    <a:gd name="csX98" fmla="*/ 48982 w 465773"/>
                    <a:gd name="csY98" fmla="*/ 22122 h 2727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</a:cxnLst>
                  <a:rect l="l" t="t" r="r" b="b"/>
                  <a:pathLst>
                    <a:path w="465773" h="272791">
                      <a:moveTo>
                        <a:pt x="48982" y="22122"/>
                      </a:moveTo>
                      <a:lnTo>
                        <a:pt x="35183" y="23210"/>
                      </a:lnTo>
                      <a:lnTo>
                        <a:pt x="31214" y="19593"/>
                      </a:lnTo>
                      <a:lnTo>
                        <a:pt x="30125" y="5795"/>
                      </a:lnTo>
                      <a:lnTo>
                        <a:pt x="25771" y="4354"/>
                      </a:lnTo>
                      <a:lnTo>
                        <a:pt x="15591" y="0"/>
                      </a:lnTo>
                      <a:lnTo>
                        <a:pt x="0" y="3265"/>
                      </a:lnTo>
                      <a:lnTo>
                        <a:pt x="0" y="39537"/>
                      </a:lnTo>
                      <a:lnTo>
                        <a:pt x="7619" y="38449"/>
                      </a:lnTo>
                      <a:lnTo>
                        <a:pt x="18152" y="51511"/>
                      </a:lnTo>
                      <a:lnTo>
                        <a:pt x="20681" y="54040"/>
                      </a:lnTo>
                      <a:lnTo>
                        <a:pt x="39537" y="72192"/>
                      </a:lnTo>
                      <a:lnTo>
                        <a:pt x="38801" y="114258"/>
                      </a:lnTo>
                      <a:lnTo>
                        <a:pt x="48982" y="109904"/>
                      </a:lnTo>
                      <a:lnTo>
                        <a:pt x="64572" y="112466"/>
                      </a:lnTo>
                      <a:lnTo>
                        <a:pt x="68926" y="113554"/>
                      </a:lnTo>
                      <a:lnTo>
                        <a:pt x="69663" y="125527"/>
                      </a:lnTo>
                      <a:lnTo>
                        <a:pt x="74017" y="137500"/>
                      </a:lnTo>
                      <a:lnTo>
                        <a:pt x="71455" y="159238"/>
                      </a:lnTo>
                      <a:lnTo>
                        <a:pt x="76546" y="190100"/>
                      </a:lnTo>
                      <a:lnTo>
                        <a:pt x="105198" y="210781"/>
                      </a:lnTo>
                      <a:lnTo>
                        <a:pt x="115347" y="215103"/>
                      </a:lnTo>
                      <a:lnTo>
                        <a:pt x="117172" y="220193"/>
                      </a:lnTo>
                      <a:lnTo>
                        <a:pt x="126616" y="220929"/>
                      </a:lnTo>
                      <a:lnTo>
                        <a:pt x="141118" y="217664"/>
                      </a:lnTo>
                      <a:lnTo>
                        <a:pt x="159238" y="216575"/>
                      </a:lnTo>
                      <a:lnTo>
                        <a:pt x="166153" y="229637"/>
                      </a:lnTo>
                      <a:lnTo>
                        <a:pt x="173773" y="228901"/>
                      </a:lnTo>
                      <a:lnTo>
                        <a:pt x="182480" y="250318"/>
                      </a:lnTo>
                      <a:lnTo>
                        <a:pt x="191156" y="253583"/>
                      </a:lnTo>
                      <a:lnTo>
                        <a:pt x="196983" y="262259"/>
                      </a:lnTo>
                      <a:lnTo>
                        <a:pt x="205691" y="259730"/>
                      </a:lnTo>
                      <a:lnTo>
                        <a:pt x="213662" y="245964"/>
                      </a:lnTo>
                      <a:lnTo>
                        <a:pt x="227076" y="243403"/>
                      </a:lnTo>
                      <a:lnTo>
                        <a:pt x="236872" y="236520"/>
                      </a:lnTo>
                      <a:lnTo>
                        <a:pt x="247053" y="237256"/>
                      </a:lnTo>
                      <a:lnTo>
                        <a:pt x="268438" y="231430"/>
                      </a:lnTo>
                      <a:lnTo>
                        <a:pt x="266998" y="225283"/>
                      </a:lnTo>
                      <a:lnTo>
                        <a:pt x="280764" y="231430"/>
                      </a:lnTo>
                      <a:lnTo>
                        <a:pt x="284029" y="228901"/>
                      </a:lnTo>
                      <a:lnTo>
                        <a:pt x="297091" y="239785"/>
                      </a:lnTo>
                      <a:lnTo>
                        <a:pt x="301445" y="235784"/>
                      </a:lnTo>
                      <a:lnTo>
                        <a:pt x="309064" y="237256"/>
                      </a:lnTo>
                      <a:lnTo>
                        <a:pt x="305446" y="245228"/>
                      </a:lnTo>
                      <a:lnTo>
                        <a:pt x="308360" y="246669"/>
                      </a:lnTo>
                      <a:lnTo>
                        <a:pt x="319213" y="239049"/>
                      </a:lnTo>
                      <a:lnTo>
                        <a:pt x="327920" y="252111"/>
                      </a:lnTo>
                      <a:lnTo>
                        <a:pt x="333011" y="240874"/>
                      </a:lnTo>
                      <a:lnTo>
                        <a:pt x="340982" y="247757"/>
                      </a:lnTo>
                      <a:lnTo>
                        <a:pt x="382344" y="232903"/>
                      </a:lnTo>
                      <a:lnTo>
                        <a:pt x="398672" y="239049"/>
                      </a:lnTo>
                      <a:lnTo>
                        <a:pt x="403762" y="245228"/>
                      </a:lnTo>
                      <a:lnTo>
                        <a:pt x="410645" y="245228"/>
                      </a:lnTo>
                      <a:lnTo>
                        <a:pt x="417528" y="257201"/>
                      </a:lnTo>
                      <a:lnTo>
                        <a:pt x="410645" y="269174"/>
                      </a:lnTo>
                      <a:lnTo>
                        <a:pt x="416439" y="272792"/>
                      </a:lnTo>
                      <a:lnTo>
                        <a:pt x="428765" y="252847"/>
                      </a:lnTo>
                      <a:lnTo>
                        <a:pt x="458890" y="248493"/>
                      </a:lnTo>
                      <a:lnTo>
                        <a:pt x="465773" y="215103"/>
                      </a:lnTo>
                      <a:lnTo>
                        <a:pt x="452007" y="209692"/>
                      </a:lnTo>
                      <a:lnTo>
                        <a:pt x="444004" y="217664"/>
                      </a:lnTo>
                      <a:lnTo>
                        <a:pt x="433855" y="215839"/>
                      </a:lnTo>
                      <a:lnTo>
                        <a:pt x="420089" y="214014"/>
                      </a:lnTo>
                      <a:lnTo>
                        <a:pt x="378727" y="202073"/>
                      </a:lnTo>
                      <a:lnTo>
                        <a:pt x="352955" y="209692"/>
                      </a:lnTo>
                      <a:lnTo>
                        <a:pt x="335540" y="199512"/>
                      </a:lnTo>
                      <a:lnTo>
                        <a:pt x="325391" y="210781"/>
                      </a:lnTo>
                      <a:lnTo>
                        <a:pt x="316683" y="210781"/>
                      </a:lnTo>
                      <a:lnTo>
                        <a:pt x="316683" y="202777"/>
                      </a:lnTo>
                      <a:lnTo>
                        <a:pt x="312330" y="201336"/>
                      </a:lnTo>
                      <a:lnTo>
                        <a:pt x="314154" y="190100"/>
                      </a:lnTo>
                      <a:lnTo>
                        <a:pt x="309800" y="185009"/>
                      </a:lnTo>
                      <a:lnTo>
                        <a:pt x="301445" y="185009"/>
                      </a:lnTo>
                      <a:lnTo>
                        <a:pt x="297091" y="166857"/>
                      </a:lnTo>
                      <a:lnTo>
                        <a:pt x="267702" y="159238"/>
                      </a:lnTo>
                      <a:lnTo>
                        <a:pt x="265173" y="148001"/>
                      </a:lnTo>
                      <a:lnTo>
                        <a:pt x="260082" y="143647"/>
                      </a:lnTo>
                      <a:lnTo>
                        <a:pt x="258994" y="132410"/>
                      </a:lnTo>
                      <a:lnTo>
                        <a:pt x="251407" y="128793"/>
                      </a:lnTo>
                      <a:lnTo>
                        <a:pt x="254640" y="122262"/>
                      </a:lnTo>
                      <a:lnTo>
                        <a:pt x="242699" y="122966"/>
                      </a:lnTo>
                      <a:lnTo>
                        <a:pt x="229989" y="108464"/>
                      </a:lnTo>
                      <a:lnTo>
                        <a:pt x="228901" y="72928"/>
                      </a:lnTo>
                      <a:lnTo>
                        <a:pt x="222018" y="68574"/>
                      </a:lnTo>
                      <a:lnTo>
                        <a:pt x="210749" y="74017"/>
                      </a:lnTo>
                      <a:lnTo>
                        <a:pt x="206779" y="72192"/>
                      </a:lnTo>
                      <a:lnTo>
                        <a:pt x="196246" y="81636"/>
                      </a:lnTo>
                      <a:lnTo>
                        <a:pt x="174861" y="72928"/>
                      </a:lnTo>
                      <a:lnTo>
                        <a:pt x="135324" y="74017"/>
                      </a:lnTo>
                      <a:lnTo>
                        <a:pt x="121526" y="74017"/>
                      </a:lnTo>
                      <a:lnTo>
                        <a:pt x="105935" y="74017"/>
                      </a:lnTo>
                      <a:lnTo>
                        <a:pt x="105935" y="55864"/>
                      </a:lnTo>
                      <a:lnTo>
                        <a:pt x="92137" y="42803"/>
                      </a:lnTo>
                      <a:lnTo>
                        <a:pt x="83429" y="10148"/>
                      </a:lnTo>
                      <a:lnTo>
                        <a:pt x="76546" y="10148"/>
                      </a:lnTo>
                      <a:lnTo>
                        <a:pt x="75809" y="16327"/>
                      </a:lnTo>
                      <a:lnTo>
                        <a:pt x="68190" y="18856"/>
                      </a:lnTo>
                      <a:lnTo>
                        <a:pt x="66397" y="40274"/>
                      </a:lnTo>
                      <a:lnTo>
                        <a:pt x="48982" y="22122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6" name="Forma Livre: Forma 255">
                  <a:extLst>
                    <a:ext uri="{FF2B5EF4-FFF2-40B4-BE49-F238E27FC236}">
                      <a16:creationId xmlns:a16="http://schemas.microsoft.com/office/drawing/2014/main" id="{3277DDA8-1EAF-7E4E-EB89-2C9DCA5E3819}"/>
                    </a:ext>
                  </a:extLst>
                </p:cNvPr>
                <p:cNvSpPr/>
                <p:nvPr/>
              </p:nvSpPr>
              <p:spPr>
                <a:xfrm>
                  <a:off x="3387295" y="4632475"/>
                  <a:ext cx="465773" cy="272791"/>
                </a:xfrm>
                <a:custGeom>
                  <a:avLst/>
                  <a:gdLst>
                    <a:gd name="csX0" fmla="*/ 48982 w 465773"/>
                    <a:gd name="csY0" fmla="*/ 22122 h 272791"/>
                    <a:gd name="csX1" fmla="*/ 35183 w 465773"/>
                    <a:gd name="csY1" fmla="*/ 23210 h 272791"/>
                    <a:gd name="csX2" fmla="*/ 31214 w 465773"/>
                    <a:gd name="csY2" fmla="*/ 19593 h 272791"/>
                    <a:gd name="csX3" fmla="*/ 30125 w 465773"/>
                    <a:gd name="csY3" fmla="*/ 5795 h 272791"/>
                    <a:gd name="csX4" fmla="*/ 25771 w 465773"/>
                    <a:gd name="csY4" fmla="*/ 4354 h 272791"/>
                    <a:gd name="csX5" fmla="*/ 15591 w 465773"/>
                    <a:gd name="csY5" fmla="*/ 0 h 272791"/>
                    <a:gd name="csX6" fmla="*/ 0 w 465773"/>
                    <a:gd name="csY6" fmla="*/ 3265 h 272791"/>
                    <a:gd name="csX7" fmla="*/ 0 w 465773"/>
                    <a:gd name="csY7" fmla="*/ 39537 h 272791"/>
                    <a:gd name="csX8" fmla="*/ 7619 w 465773"/>
                    <a:gd name="csY8" fmla="*/ 38449 h 272791"/>
                    <a:gd name="csX9" fmla="*/ 18152 w 465773"/>
                    <a:gd name="csY9" fmla="*/ 51511 h 272791"/>
                    <a:gd name="csX10" fmla="*/ 20681 w 465773"/>
                    <a:gd name="csY10" fmla="*/ 54040 h 272791"/>
                    <a:gd name="csX11" fmla="*/ 39537 w 465773"/>
                    <a:gd name="csY11" fmla="*/ 72192 h 272791"/>
                    <a:gd name="csX12" fmla="*/ 38801 w 465773"/>
                    <a:gd name="csY12" fmla="*/ 114258 h 272791"/>
                    <a:gd name="csX13" fmla="*/ 48982 w 465773"/>
                    <a:gd name="csY13" fmla="*/ 109904 h 272791"/>
                    <a:gd name="csX14" fmla="*/ 64572 w 465773"/>
                    <a:gd name="csY14" fmla="*/ 112466 h 272791"/>
                    <a:gd name="csX15" fmla="*/ 68926 w 465773"/>
                    <a:gd name="csY15" fmla="*/ 113554 h 272791"/>
                    <a:gd name="csX16" fmla="*/ 69663 w 465773"/>
                    <a:gd name="csY16" fmla="*/ 125527 h 272791"/>
                    <a:gd name="csX17" fmla="*/ 74017 w 465773"/>
                    <a:gd name="csY17" fmla="*/ 137500 h 272791"/>
                    <a:gd name="csX18" fmla="*/ 71455 w 465773"/>
                    <a:gd name="csY18" fmla="*/ 159238 h 272791"/>
                    <a:gd name="csX19" fmla="*/ 76546 w 465773"/>
                    <a:gd name="csY19" fmla="*/ 190100 h 272791"/>
                    <a:gd name="csX20" fmla="*/ 105198 w 465773"/>
                    <a:gd name="csY20" fmla="*/ 210781 h 272791"/>
                    <a:gd name="csX21" fmla="*/ 115347 w 465773"/>
                    <a:gd name="csY21" fmla="*/ 215103 h 272791"/>
                    <a:gd name="csX22" fmla="*/ 117172 w 465773"/>
                    <a:gd name="csY22" fmla="*/ 220193 h 272791"/>
                    <a:gd name="csX23" fmla="*/ 126616 w 465773"/>
                    <a:gd name="csY23" fmla="*/ 220929 h 272791"/>
                    <a:gd name="csX24" fmla="*/ 141118 w 465773"/>
                    <a:gd name="csY24" fmla="*/ 217664 h 272791"/>
                    <a:gd name="csX25" fmla="*/ 159238 w 465773"/>
                    <a:gd name="csY25" fmla="*/ 216575 h 272791"/>
                    <a:gd name="csX26" fmla="*/ 166153 w 465773"/>
                    <a:gd name="csY26" fmla="*/ 229637 h 272791"/>
                    <a:gd name="csX27" fmla="*/ 173773 w 465773"/>
                    <a:gd name="csY27" fmla="*/ 228901 h 272791"/>
                    <a:gd name="csX28" fmla="*/ 182480 w 465773"/>
                    <a:gd name="csY28" fmla="*/ 250318 h 272791"/>
                    <a:gd name="csX29" fmla="*/ 191156 w 465773"/>
                    <a:gd name="csY29" fmla="*/ 253583 h 272791"/>
                    <a:gd name="csX30" fmla="*/ 196983 w 465773"/>
                    <a:gd name="csY30" fmla="*/ 262259 h 272791"/>
                    <a:gd name="csX31" fmla="*/ 205691 w 465773"/>
                    <a:gd name="csY31" fmla="*/ 259730 h 272791"/>
                    <a:gd name="csX32" fmla="*/ 213662 w 465773"/>
                    <a:gd name="csY32" fmla="*/ 245964 h 272791"/>
                    <a:gd name="csX33" fmla="*/ 227076 w 465773"/>
                    <a:gd name="csY33" fmla="*/ 243403 h 272791"/>
                    <a:gd name="csX34" fmla="*/ 236872 w 465773"/>
                    <a:gd name="csY34" fmla="*/ 236520 h 272791"/>
                    <a:gd name="csX35" fmla="*/ 247053 w 465773"/>
                    <a:gd name="csY35" fmla="*/ 237256 h 272791"/>
                    <a:gd name="csX36" fmla="*/ 268438 w 465773"/>
                    <a:gd name="csY36" fmla="*/ 231430 h 272791"/>
                    <a:gd name="csX37" fmla="*/ 266998 w 465773"/>
                    <a:gd name="csY37" fmla="*/ 225283 h 272791"/>
                    <a:gd name="csX38" fmla="*/ 280764 w 465773"/>
                    <a:gd name="csY38" fmla="*/ 231430 h 272791"/>
                    <a:gd name="csX39" fmla="*/ 284029 w 465773"/>
                    <a:gd name="csY39" fmla="*/ 228901 h 272791"/>
                    <a:gd name="csX40" fmla="*/ 297091 w 465773"/>
                    <a:gd name="csY40" fmla="*/ 239785 h 272791"/>
                    <a:gd name="csX41" fmla="*/ 301445 w 465773"/>
                    <a:gd name="csY41" fmla="*/ 235784 h 272791"/>
                    <a:gd name="csX42" fmla="*/ 309064 w 465773"/>
                    <a:gd name="csY42" fmla="*/ 237256 h 272791"/>
                    <a:gd name="csX43" fmla="*/ 305446 w 465773"/>
                    <a:gd name="csY43" fmla="*/ 245228 h 272791"/>
                    <a:gd name="csX44" fmla="*/ 308360 w 465773"/>
                    <a:gd name="csY44" fmla="*/ 246669 h 272791"/>
                    <a:gd name="csX45" fmla="*/ 319213 w 465773"/>
                    <a:gd name="csY45" fmla="*/ 239049 h 272791"/>
                    <a:gd name="csX46" fmla="*/ 327920 w 465773"/>
                    <a:gd name="csY46" fmla="*/ 252111 h 272791"/>
                    <a:gd name="csX47" fmla="*/ 333011 w 465773"/>
                    <a:gd name="csY47" fmla="*/ 240874 h 272791"/>
                    <a:gd name="csX48" fmla="*/ 340982 w 465773"/>
                    <a:gd name="csY48" fmla="*/ 247757 h 272791"/>
                    <a:gd name="csX49" fmla="*/ 382344 w 465773"/>
                    <a:gd name="csY49" fmla="*/ 232903 h 272791"/>
                    <a:gd name="csX50" fmla="*/ 398672 w 465773"/>
                    <a:gd name="csY50" fmla="*/ 239049 h 272791"/>
                    <a:gd name="csX51" fmla="*/ 403762 w 465773"/>
                    <a:gd name="csY51" fmla="*/ 245228 h 272791"/>
                    <a:gd name="csX52" fmla="*/ 410645 w 465773"/>
                    <a:gd name="csY52" fmla="*/ 245228 h 272791"/>
                    <a:gd name="csX53" fmla="*/ 417528 w 465773"/>
                    <a:gd name="csY53" fmla="*/ 257201 h 272791"/>
                    <a:gd name="csX54" fmla="*/ 410645 w 465773"/>
                    <a:gd name="csY54" fmla="*/ 269174 h 272791"/>
                    <a:gd name="csX55" fmla="*/ 416439 w 465773"/>
                    <a:gd name="csY55" fmla="*/ 272792 h 272791"/>
                    <a:gd name="csX56" fmla="*/ 428765 w 465773"/>
                    <a:gd name="csY56" fmla="*/ 252847 h 272791"/>
                    <a:gd name="csX57" fmla="*/ 458890 w 465773"/>
                    <a:gd name="csY57" fmla="*/ 248493 h 272791"/>
                    <a:gd name="csX58" fmla="*/ 465773 w 465773"/>
                    <a:gd name="csY58" fmla="*/ 215103 h 272791"/>
                    <a:gd name="csX59" fmla="*/ 452007 w 465773"/>
                    <a:gd name="csY59" fmla="*/ 209692 h 272791"/>
                    <a:gd name="csX60" fmla="*/ 444004 w 465773"/>
                    <a:gd name="csY60" fmla="*/ 217664 h 272791"/>
                    <a:gd name="csX61" fmla="*/ 433855 w 465773"/>
                    <a:gd name="csY61" fmla="*/ 215839 h 272791"/>
                    <a:gd name="csX62" fmla="*/ 420089 w 465773"/>
                    <a:gd name="csY62" fmla="*/ 214014 h 272791"/>
                    <a:gd name="csX63" fmla="*/ 378727 w 465773"/>
                    <a:gd name="csY63" fmla="*/ 202073 h 272791"/>
                    <a:gd name="csX64" fmla="*/ 352955 w 465773"/>
                    <a:gd name="csY64" fmla="*/ 209692 h 272791"/>
                    <a:gd name="csX65" fmla="*/ 335540 w 465773"/>
                    <a:gd name="csY65" fmla="*/ 199512 h 272791"/>
                    <a:gd name="csX66" fmla="*/ 325391 w 465773"/>
                    <a:gd name="csY66" fmla="*/ 210781 h 272791"/>
                    <a:gd name="csX67" fmla="*/ 316683 w 465773"/>
                    <a:gd name="csY67" fmla="*/ 210781 h 272791"/>
                    <a:gd name="csX68" fmla="*/ 316683 w 465773"/>
                    <a:gd name="csY68" fmla="*/ 202777 h 272791"/>
                    <a:gd name="csX69" fmla="*/ 312330 w 465773"/>
                    <a:gd name="csY69" fmla="*/ 201336 h 272791"/>
                    <a:gd name="csX70" fmla="*/ 314154 w 465773"/>
                    <a:gd name="csY70" fmla="*/ 190100 h 272791"/>
                    <a:gd name="csX71" fmla="*/ 309800 w 465773"/>
                    <a:gd name="csY71" fmla="*/ 185009 h 272791"/>
                    <a:gd name="csX72" fmla="*/ 301445 w 465773"/>
                    <a:gd name="csY72" fmla="*/ 185009 h 272791"/>
                    <a:gd name="csX73" fmla="*/ 297091 w 465773"/>
                    <a:gd name="csY73" fmla="*/ 166857 h 272791"/>
                    <a:gd name="csX74" fmla="*/ 267702 w 465773"/>
                    <a:gd name="csY74" fmla="*/ 159238 h 272791"/>
                    <a:gd name="csX75" fmla="*/ 265173 w 465773"/>
                    <a:gd name="csY75" fmla="*/ 148001 h 272791"/>
                    <a:gd name="csX76" fmla="*/ 260082 w 465773"/>
                    <a:gd name="csY76" fmla="*/ 143647 h 272791"/>
                    <a:gd name="csX77" fmla="*/ 258994 w 465773"/>
                    <a:gd name="csY77" fmla="*/ 132410 h 272791"/>
                    <a:gd name="csX78" fmla="*/ 251407 w 465773"/>
                    <a:gd name="csY78" fmla="*/ 128793 h 272791"/>
                    <a:gd name="csX79" fmla="*/ 254640 w 465773"/>
                    <a:gd name="csY79" fmla="*/ 122262 h 272791"/>
                    <a:gd name="csX80" fmla="*/ 242699 w 465773"/>
                    <a:gd name="csY80" fmla="*/ 122966 h 272791"/>
                    <a:gd name="csX81" fmla="*/ 229989 w 465773"/>
                    <a:gd name="csY81" fmla="*/ 108464 h 272791"/>
                    <a:gd name="csX82" fmla="*/ 228901 w 465773"/>
                    <a:gd name="csY82" fmla="*/ 72928 h 272791"/>
                    <a:gd name="csX83" fmla="*/ 222018 w 465773"/>
                    <a:gd name="csY83" fmla="*/ 68574 h 272791"/>
                    <a:gd name="csX84" fmla="*/ 210749 w 465773"/>
                    <a:gd name="csY84" fmla="*/ 74017 h 272791"/>
                    <a:gd name="csX85" fmla="*/ 206779 w 465773"/>
                    <a:gd name="csY85" fmla="*/ 72192 h 272791"/>
                    <a:gd name="csX86" fmla="*/ 196246 w 465773"/>
                    <a:gd name="csY86" fmla="*/ 81636 h 272791"/>
                    <a:gd name="csX87" fmla="*/ 174861 w 465773"/>
                    <a:gd name="csY87" fmla="*/ 72928 h 272791"/>
                    <a:gd name="csX88" fmla="*/ 135324 w 465773"/>
                    <a:gd name="csY88" fmla="*/ 74017 h 272791"/>
                    <a:gd name="csX89" fmla="*/ 121526 w 465773"/>
                    <a:gd name="csY89" fmla="*/ 74017 h 272791"/>
                    <a:gd name="csX90" fmla="*/ 105935 w 465773"/>
                    <a:gd name="csY90" fmla="*/ 74017 h 272791"/>
                    <a:gd name="csX91" fmla="*/ 105935 w 465773"/>
                    <a:gd name="csY91" fmla="*/ 55864 h 272791"/>
                    <a:gd name="csX92" fmla="*/ 92137 w 465773"/>
                    <a:gd name="csY92" fmla="*/ 42803 h 272791"/>
                    <a:gd name="csX93" fmla="*/ 83429 w 465773"/>
                    <a:gd name="csY93" fmla="*/ 10148 h 272791"/>
                    <a:gd name="csX94" fmla="*/ 76546 w 465773"/>
                    <a:gd name="csY94" fmla="*/ 10148 h 272791"/>
                    <a:gd name="csX95" fmla="*/ 75809 w 465773"/>
                    <a:gd name="csY95" fmla="*/ 16327 h 272791"/>
                    <a:gd name="csX96" fmla="*/ 68190 w 465773"/>
                    <a:gd name="csY96" fmla="*/ 18856 h 272791"/>
                    <a:gd name="csX97" fmla="*/ 66397 w 465773"/>
                    <a:gd name="csY97" fmla="*/ 40274 h 272791"/>
                    <a:gd name="csX98" fmla="*/ 48982 w 465773"/>
                    <a:gd name="csY98" fmla="*/ 22122 h 2727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</a:cxnLst>
                  <a:rect l="l" t="t" r="r" b="b"/>
                  <a:pathLst>
                    <a:path w="465773" h="272791">
                      <a:moveTo>
                        <a:pt x="48982" y="22122"/>
                      </a:moveTo>
                      <a:lnTo>
                        <a:pt x="35183" y="23210"/>
                      </a:lnTo>
                      <a:lnTo>
                        <a:pt x="31214" y="19593"/>
                      </a:lnTo>
                      <a:lnTo>
                        <a:pt x="30125" y="5795"/>
                      </a:lnTo>
                      <a:lnTo>
                        <a:pt x="25771" y="4354"/>
                      </a:lnTo>
                      <a:lnTo>
                        <a:pt x="15591" y="0"/>
                      </a:lnTo>
                      <a:lnTo>
                        <a:pt x="0" y="3265"/>
                      </a:lnTo>
                      <a:lnTo>
                        <a:pt x="0" y="39537"/>
                      </a:lnTo>
                      <a:lnTo>
                        <a:pt x="7619" y="38449"/>
                      </a:lnTo>
                      <a:lnTo>
                        <a:pt x="18152" y="51511"/>
                      </a:lnTo>
                      <a:lnTo>
                        <a:pt x="20681" y="54040"/>
                      </a:lnTo>
                      <a:lnTo>
                        <a:pt x="39537" y="72192"/>
                      </a:lnTo>
                      <a:lnTo>
                        <a:pt x="38801" y="114258"/>
                      </a:lnTo>
                      <a:lnTo>
                        <a:pt x="48982" y="109904"/>
                      </a:lnTo>
                      <a:lnTo>
                        <a:pt x="64572" y="112466"/>
                      </a:lnTo>
                      <a:lnTo>
                        <a:pt x="68926" y="113554"/>
                      </a:lnTo>
                      <a:lnTo>
                        <a:pt x="69663" y="125527"/>
                      </a:lnTo>
                      <a:lnTo>
                        <a:pt x="74017" y="137500"/>
                      </a:lnTo>
                      <a:lnTo>
                        <a:pt x="71455" y="159238"/>
                      </a:lnTo>
                      <a:lnTo>
                        <a:pt x="76546" y="190100"/>
                      </a:lnTo>
                      <a:lnTo>
                        <a:pt x="105198" y="210781"/>
                      </a:lnTo>
                      <a:lnTo>
                        <a:pt x="115347" y="215103"/>
                      </a:lnTo>
                      <a:lnTo>
                        <a:pt x="117172" y="220193"/>
                      </a:lnTo>
                      <a:lnTo>
                        <a:pt x="126616" y="220929"/>
                      </a:lnTo>
                      <a:lnTo>
                        <a:pt x="141118" y="217664"/>
                      </a:lnTo>
                      <a:lnTo>
                        <a:pt x="159238" y="216575"/>
                      </a:lnTo>
                      <a:lnTo>
                        <a:pt x="166153" y="229637"/>
                      </a:lnTo>
                      <a:lnTo>
                        <a:pt x="173773" y="228901"/>
                      </a:lnTo>
                      <a:lnTo>
                        <a:pt x="182480" y="250318"/>
                      </a:lnTo>
                      <a:lnTo>
                        <a:pt x="191156" y="253583"/>
                      </a:lnTo>
                      <a:lnTo>
                        <a:pt x="196983" y="262259"/>
                      </a:lnTo>
                      <a:lnTo>
                        <a:pt x="205691" y="259730"/>
                      </a:lnTo>
                      <a:lnTo>
                        <a:pt x="213662" y="245964"/>
                      </a:lnTo>
                      <a:lnTo>
                        <a:pt x="227076" y="243403"/>
                      </a:lnTo>
                      <a:lnTo>
                        <a:pt x="236872" y="236520"/>
                      </a:lnTo>
                      <a:lnTo>
                        <a:pt x="247053" y="237256"/>
                      </a:lnTo>
                      <a:lnTo>
                        <a:pt x="268438" y="231430"/>
                      </a:lnTo>
                      <a:lnTo>
                        <a:pt x="266998" y="225283"/>
                      </a:lnTo>
                      <a:lnTo>
                        <a:pt x="280764" y="231430"/>
                      </a:lnTo>
                      <a:lnTo>
                        <a:pt x="284029" y="228901"/>
                      </a:lnTo>
                      <a:lnTo>
                        <a:pt x="297091" y="239785"/>
                      </a:lnTo>
                      <a:lnTo>
                        <a:pt x="301445" y="235784"/>
                      </a:lnTo>
                      <a:lnTo>
                        <a:pt x="309064" y="237256"/>
                      </a:lnTo>
                      <a:lnTo>
                        <a:pt x="305446" y="245228"/>
                      </a:lnTo>
                      <a:lnTo>
                        <a:pt x="308360" y="246669"/>
                      </a:lnTo>
                      <a:lnTo>
                        <a:pt x="319213" y="239049"/>
                      </a:lnTo>
                      <a:lnTo>
                        <a:pt x="327920" y="252111"/>
                      </a:lnTo>
                      <a:lnTo>
                        <a:pt x="333011" y="240874"/>
                      </a:lnTo>
                      <a:lnTo>
                        <a:pt x="340982" y="247757"/>
                      </a:lnTo>
                      <a:lnTo>
                        <a:pt x="382344" y="232903"/>
                      </a:lnTo>
                      <a:lnTo>
                        <a:pt x="398672" y="239049"/>
                      </a:lnTo>
                      <a:lnTo>
                        <a:pt x="403762" y="245228"/>
                      </a:lnTo>
                      <a:lnTo>
                        <a:pt x="410645" y="245228"/>
                      </a:lnTo>
                      <a:lnTo>
                        <a:pt x="417528" y="257201"/>
                      </a:lnTo>
                      <a:lnTo>
                        <a:pt x="410645" y="269174"/>
                      </a:lnTo>
                      <a:lnTo>
                        <a:pt x="416439" y="272792"/>
                      </a:lnTo>
                      <a:lnTo>
                        <a:pt x="428765" y="252847"/>
                      </a:lnTo>
                      <a:lnTo>
                        <a:pt x="458890" y="248493"/>
                      </a:lnTo>
                      <a:lnTo>
                        <a:pt x="465773" y="215103"/>
                      </a:lnTo>
                      <a:lnTo>
                        <a:pt x="452007" y="209692"/>
                      </a:lnTo>
                      <a:lnTo>
                        <a:pt x="444004" y="217664"/>
                      </a:lnTo>
                      <a:lnTo>
                        <a:pt x="433855" y="215839"/>
                      </a:lnTo>
                      <a:lnTo>
                        <a:pt x="420089" y="214014"/>
                      </a:lnTo>
                      <a:lnTo>
                        <a:pt x="378727" y="202073"/>
                      </a:lnTo>
                      <a:lnTo>
                        <a:pt x="352955" y="209692"/>
                      </a:lnTo>
                      <a:lnTo>
                        <a:pt x="335540" y="199512"/>
                      </a:lnTo>
                      <a:lnTo>
                        <a:pt x="325391" y="210781"/>
                      </a:lnTo>
                      <a:lnTo>
                        <a:pt x="316683" y="210781"/>
                      </a:lnTo>
                      <a:lnTo>
                        <a:pt x="316683" y="202777"/>
                      </a:lnTo>
                      <a:lnTo>
                        <a:pt x="312330" y="201336"/>
                      </a:lnTo>
                      <a:lnTo>
                        <a:pt x="314154" y="190100"/>
                      </a:lnTo>
                      <a:lnTo>
                        <a:pt x="309800" y="185009"/>
                      </a:lnTo>
                      <a:lnTo>
                        <a:pt x="301445" y="185009"/>
                      </a:lnTo>
                      <a:lnTo>
                        <a:pt x="297091" y="166857"/>
                      </a:lnTo>
                      <a:lnTo>
                        <a:pt x="267702" y="159238"/>
                      </a:lnTo>
                      <a:lnTo>
                        <a:pt x="265173" y="148001"/>
                      </a:lnTo>
                      <a:lnTo>
                        <a:pt x="260082" y="143647"/>
                      </a:lnTo>
                      <a:lnTo>
                        <a:pt x="258994" y="132410"/>
                      </a:lnTo>
                      <a:lnTo>
                        <a:pt x="251407" y="128793"/>
                      </a:lnTo>
                      <a:lnTo>
                        <a:pt x="254640" y="122262"/>
                      </a:lnTo>
                      <a:lnTo>
                        <a:pt x="242699" y="122966"/>
                      </a:lnTo>
                      <a:lnTo>
                        <a:pt x="229989" y="108464"/>
                      </a:lnTo>
                      <a:lnTo>
                        <a:pt x="228901" y="72928"/>
                      </a:lnTo>
                      <a:lnTo>
                        <a:pt x="222018" y="68574"/>
                      </a:lnTo>
                      <a:lnTo>
                        <a:pt x="210749" y="74017"/>
                      </a:lnTo>
                      <a:lnTo>
                        <a:pt x="206779" y="72192"/>
                      </a:lnTo>
                      <a:lnTo>
                        <a:pt x="196246" y="81636"/>
                      </a:lnTo>
                      <a:lnTo>
                        <a:pt x="174861" y="72928"/>
                      </a:lnTo>
                      <a:lnTo>
                        <a:pt x="135324" y="74017"/>
                      </a:lnTo>
                      <a:lnTo>
                        <a:pt x="121526" y="74017"/>
                      </a:lnTo>
                      <a:lnTo>
                        <a:pt x="105935" y="74017"/>
                      </a:lnTo>
                      <a:lnTo>
                        <a:pt x="105935" y="55864"/>
                      </a:lnTo>
                      <a:lnTo>
                        <a:pt x="92137" y="42803"/>
                      </a:lnTo>
                      <a:lnTo>
                        <a:pt x="83429" y="10148"/>
                      </a:lnTo>
                      <a:lnTo>
                        <a:pt x="76546" y="10148"/>
                      </a:lnTo>
                      <a:lnTo>
                        <a:pt x="75809" y="16327"/>
                      </a:lnTo>
                      <a:lnTo>
                        <a:pt x="68190" y="18856"/>
                      </a:lnTo>
                      <a:lnTo>
                        <a:pt x="66397" y="40274"/>
                      </a:lnTo>
                      <a:lnTo>
                        <a:pt x="48982" y="22122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7" name="Forma Livre: Forma 256">
                  <a:extLst>
                    <a:ext uri="{FF2B5EF4-FFF2-40B4-BE49-F238E27FC236}">
                      <a16:creationId xmlns:a16="http://schemas.microsoft.com/office/drawing/2014/main" id="{D9323E66-951B-A4C3-3A3A-7B1D407529E8}"/>
                    </a:ext>
                  </a:extLst>
                </p:cNvPr>
                <p:cNvSpPr/>
                <p:nvPr/>
              </p:nvSpPr>
              <p:spPr>
                <a:xfrm>
                  <a:off x="3234940" y="3610937"/>
                  <a:ext cx="339189" cy="322157"/>
                </a:xfrm>
                <a:custGeom>
                  <a:avLst/>
                  <a:gdLst>
                    <a:gd name="csX0" fmla="*/ 339189 w 339189"/>
                    <a:gd name="csY0" fmla="*/ 19241 h 322157"/>
                    <a:gd name="csX1" fmla="*/ 334836 w 339189"/>
                    <a:gd name="csY1" fmla="*/ 5442 h 322157"/>
                    <a:gd name="csX2" fmla="*/ 324655 w 339189"/>
                    <a:gd name="csY2" fmla="*/ 0 h 322157"/>
                    <a:gd name="csX3" fmla="*/ 329745 w 339189"/>
                    <a:gd name="csY3" fmla="*/ 6179 h 322157"/>
                    <a:gd name="csX4" fmla="*/ 327216 w 339189"/>
                    <a:gd name="csY4" fmla="*/ 14887 h 322157"/>
                    <a:gd name="csX5" fmla="*/ 317772 w 339189"/>
                    <a:gd name="csY5" fmla="*/ 16711 h 322157"/>
                    <a:gd name="csX6" fmla="*/ 308328 w 339189"/>
                    <a:gd name="csY6" fmla="*/ 29389 h 322157"/>
                    <a:gd name="csX7" fmla="*/ 301445 w 339189"/>
                    <a:gd name="csY7" fmla="*/ 25035 h 322157"/>
                    <a:gd name="csX8" fmla="*/ 286590 w 339189"/>
                    <a:gd name="csY8" fmla="*/ 34479 h 322157"/>
                    <a:gd name="csX9" fmla="*/ 274617 w 339189"/>
                    <a:gd name="csY9" fmla="*/ 37008 h 322157"/>
                    <a:gd name="csX10" fmla="*/ 251375 w 339189"/>
                    <a:gd name="csY10" fmla="*/ 35568 h 322157"/>
                    <a:gd name="csX11" fmla="*/ 228165 w 339189"/>
                    <a:gd name="csY11" fmla="*/ 25035 h 322157"/>
                    <a:gd name="csX12" fmla="*/ 218752 w 339189"/>
                    <a:gd name="csY12" fmla="*/ 35568 h 322157"/>
                    <a:gd name="csX13" fmla="*/ 206779 w 339189"/>
                    <a:gd name="csY13" fmla="*/ 39922 h 322157"/>
                    <a:gd name="csX14" fmla="*/ 193717 w 339189"/>
                    <a:gd name="csY14" fmla="*/ 37008 h 322157"/>
                    <a:gd name="csX15" fmla="*/ 164328 w 339189"/>
                    <a:gd name="csY15" fmla="*/ 43187 h 322157"/>
                    <a:gd name="csX16" fmla="*/ 159975 w 339189"/>
                    <a:gd name="csY16" fmla="*/ 49366 h 322157"/>
                    <a:gd name="csX17" fmla="*/ 151619 w 339189"/>
                    <a:gd name="csY17" fmla="*/ 55160 h 322157"/>
                    <a:gd name="csX18" fmla="*/ 152355 w 339189"/>
                    <a:gd name="csY18" fmla="*/ 86342 h 322157"/>
                    <a:gd name="csX19" fmla="*/ 146561 w 339189"/>
                    <a:gd name="csY19" fmla="*/ 105935 h 322157"/>
                    <a:gd name="csX20" fmla="*/ 140382 w 339189"/>
                    <a:gd name="csY20" fmla="*/ 95786 h 322157"/>
                    <a:gd name="csX21" fmla="*/ 91400 w 339189"/>
                    <a:gd name="csY21" fmla="*/ 76930 h 322157"/>
                    <a:gd name="csX22" fmla="*/ 73280 w 339189"/>
                    <a:gd name="csY22" fmla="*/ 84549 h 322157"/>
                    <a:gd name="csX23" fmla="*/ 61307 w 339189"/>
                    <a:gd name="csY23" fmla="*/ 99052 h 322157"/>
                    <a:gd name="csX24" fmla="*/ 68190 w 339189"/>
                    <a:gd name="csY24" fmla="*/ 116467 h 322157"/>
                    <a:gd name="csX25" fmla="*/ 51863 w 339189"/>
                    <a:gd name="csY25" fmla="*/ 122262 h 322157"/>
                    <a:gd name="csX26" fmla="*/ 48245 w 339189"/>
                    <a:gd name="csY26" fmla="*/ 131706 h 322157"/>
                    <a:gd name="csX27" fmla="*/ 18152 w 339189"/>
                    <a:gd name="csY27" fmla="*/ 146561 h 322157"/>
                    <a:gd name="csX28" fmla="*/ 23210 w 339189"/>
                    <a:gd name="csY28" fmla="*/ 154916 h 322157"/>
                    <a:gd name="csX29" fmla="*/ 10533 w 339189"/>
                    <a:gd name="csY29" fmla="*/ 161799 h 322157"/>
                    <a:gd name="csX30" fmla="*/ 1089 w 339189"/>
                    <a:gd name="csY30" fmla="*/ 174125 h 322157"/>
                    <a:gd name="csX31" fmla="*/ 6883 w 339189"/>
                    <a:gd name="csY31" fmla="*/ 204250 h 322157"/>
                    <a:gd name="csX32" fmla="*/ 0 w 339189"/>
                    <a:gd name="csY32" fmla="*/ 220577 h 322157"/>
                    <a:gd name="csX33" fmla="*/ 1825 w 339189"/>
                    <a:gd name="csY33" fmla="*/ 232550 h 322157"/>
                    <a:gd name="csX34" fmla="*/ 9444 w 339189"/>
                    <a:gd name="csY34" fmla="*/ 240170 h 322157"/>
                    <a:gd name="csX35" fmla="*/ 9444 w 339189"/>
                    <a:gd name="csY35" fmla="*/ 258290 h 322157"/>
                    <a:gd name="csX36" fmla="*/ 26828 w 339189"/>
                    <a:gd name="csY36" fmla="*/ 245228 h 322157"/>
                    <a:gd name="csX37" fmla="*/ 46420 w 339189"/>
                    <a:gd name="csY37" fmla="*/ 265909 h 322157"/>
                    <a:gd name="csX38" fmla="*/ 75073 w 339189"/>
                    <a:gd name="csY38" fmla="*/ 260851 h 322157"/>
                    <a:gd name="csX39" fmla="*/ 76546 w 339189"/>
                    <a:gd name="csY39" fmla="*/ 255024 h 322157"/>
                    <a:gd name="csX40" fmla="*/ 82692 w 339189"/>
                    <a:gd name="csY40" fmla="*/ 253936 h 322157"/>
                    <a:gd name="csX41" fmla="*/ 93961 w 339189"/>
                    <a:gd name="csY41" fmla="*/ 265909 h 322157"/>
                    <a:gd name="csX42" fmla="*/ 102669 w 339189"/>
                    <a:gd name="csY42" fmla="*/ 267734 h 322157"/>
                    <a:gd name="csX43" fmla="*/ 114642 w 339189"/>
                    <a:gd name="csY43" fmla="*/ 271351 h 322157"/>
                    <a:gd name="csX44" fmla="*/ 113554 w 339189"/>
                    <a:gd name="csY44" fmla="*/ 285854 h 322157"/>
                    <a:gd name="csX45" fmla="*/ 105935 w 339189"/>
                    <a:gd name="csY45" fmla="*/ 292769 h 322157"/>
                    <a:gd name="csX46" fmla="*/ 99756 w 339189"/>
                    <a:gd name="csY46" fmla="*/ 309096 h 322157"/>
                    <a:gd name="csX47" fmla="*/ 122262 w 339189"/>
                    <a:gd name="csY47" fmla="*/ 322158 h 322157"/>
                    <a:gd name="csX48" fmla="*/ 148001 w 339189"/>
                    <a:gd name="csY48" fmla="*/ 304006 h 322157"/>
                    <a:gd name="csX49" fmla="*/ 149090 w 339189"/>
                    <a:gd name="csY49" fmla="*/ 299652 h 322157"/>
                    <a:gd name="csX50" fmla="*/ 171212 w 339189"/>
                    <a:gd name="csY50" fmla="*/ 287679 h 322157"/>
                    <a:gd name="csX51" fmla="*/ 173036 w 339189"/>
                    <a:gd name="csY51" fmla="*/ 272824 h 322157"/>
                    <a:gd name="csX52" fmla="*/ 181744 w 339189"/>
                    <a:gd name="csY52" fmla="*/ 273913 h 322157"/>
                    <a:gd name="csX53" fmla="*/ 186802 w 339189"/>
                    <a:gd name="csY53" fmla="*/ 280796 h 322157"/>
                    <a:gd name="csX54" fmla="*/ 204954 w 339189"/>
                    <a:gd name="csY54" fmla="*/ 273913 h 322157"/>
                    <a:gd name="csX55" fmla="*/ 210749 w 339189"/>
                    <a:gd name="csY55" fmla="*/ 262644 h 322157"/>
                    <a:gd name="csX56" fmla="*/ 219457 w 339189"/>
                    <a:gd name="csY56" fmla="*/ 264468 h 322157"/>
                    <a:gd name="csX57" fmla="*/ 224547 w 339189"/>
                    <a:gd name="csY57" fmla="*/ 278971 h 322157"/>
                    <a:gd name="csX58" fmla="*/ 235080 w 339189"/>
                    <a:gd name="csY58" fmla="*/ 278971 h 322157"/>
                    <a:gd name="csX59" fmla="*/ 245228 w 339189"/>
                    <a:gd name="csY59" fmla="*/ 265205 h 322157"/>
                    <a:gd name="csX60" fmla="*/ 239402 w 339189"/>
                    <a:gd name="csY60" fmla="*/ 253232 h 322157"/>
                    <a:gd name="csX61" fmla="*/ 249582 w 339189"/>
                    <a:gd name="csY61" fmla="*/ 236904 h 322157"/>
                    <a:gd name="csX62" fmla="*/ 245228 w 339189"/>
                    <a:gd name="csY62" fmla="*/ 228901 h 322157"/>
                    <a:gd name="csX63" fmla="*/ 253936 w 339189"/>
                    <a:gd name="csY63" fmla="*/ 222018 h 322157"/>
                    <a:gd name="csX64" fmla="*/ 263348 w 339189"/>
                    <a:gd name="csY64" fmla="*/ 209340 h 322157"/>
                    <a:gd name="csX65" fmla="*/ 261555 w 339189"/>
                    <a:gd name="csY65" fmla="*/ 195542 h 322157"/>
                    <a:gd name="csX66" fmla="*/ 265909 w 339189"/>
                    <a:gd name="csY66" fmla="*/ 181744 h 322157"/>
                    <a:gd name="csX67" fmla="*/ 260819 w 339189"/>
                    <a:gd name="csY67" fmla="*/ 179215 h 322157"/>
                    <a:gd name="csX68" fmla="*/ 265909 w 339189"/>
                    <a:gd name="csY68" fmla="*/ 172332 h 322157"/>
                    <a:gd name="csX69" fmla="*/ 271352 w 339189"/>
                    <a:gd name="csY69" fmla="*/ 174861 h 322157"/>
                    <a:gd name="csX70" fmla="*/ 278971 w 339189"/>
                    <a:gd name="csY70" fmla="*/ 168714 h 322157"/>
                    <a:gd name="csX71" fmla="*/ 285854 w 339189"/>
                    <a:gd name="csY71" fmla="*/ 150914 h 322157"/>
                    <a:gd name="csX72" fmla="*/ 275321 w 339189"/>
                    <a:gd name="csY72" fmla="*/ 142943 h 322157"/>
                    <a:gd name="csX73" fmla="*/ 275321 w 339189"/>
                    <a:gd name="csY73" fmla="*/ 132794 h 322157"/>
                    <a:gd name="csX74" fmla="*/ 284029 w 339189"/>
                    <a:gd name="csY74" fmla="*/ 118996 h 322157"/>
                    <a:gd name="csX75" fmla="*/ 285118 w 339189"/>
                    <a:gd name="csY75" fmla="*/ 107760 h 322157"/>
                    <a:gd name="csX76" fmla="*/ 297091 w 339189"/>
                    <a:gd name="csY76" fmla="*/ 103405 h 322157"/>
                    <a:gd name="csX77" fmla="*/ 296002 w 339189"/>
                    <a:gd name="csY77" fmla="*/ 90696 h 322157"/>
                    <a:gd name="csX78" fmla="*/ 278971 w 339189"/>
                    <a:gd name="csY78" fmla="*/ 90696 h 322157"/>
                    <a:gd name="csX79" fmla="*/ 273881 w 339189"/>
                    <a:gd name="csY79" fmla="*/ 79459 h 322157"/>
                    <a:gd name="csX80" fmla="*/ 290208 w 339189"/>
                    <a:gd name="csY80" fmla="*/ 72576 h 322157"/>
                    <a:gd name="csX81" fmla="*/ 308328 w 339189"/>
                    <a:gd name="csY81" fmla="*/ 43891 h 322157"/>
                    <a:gd name="csX82" fmla="*/ 339189 w 339189"/>
                    <a:gd name="csY82" fmla="*/ 19241 h 3221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339189" h="322157">
                      <a:moveTo>
                        <a:pt x="339189" y="19241"/>
                      </a:moveTo>
                      <a:lnTo>
                        <a:pt x="334836" y="5442"/>
                      </a:lnTo>
                      <a:lnTo>
                        <a:pt x="324655" y="0"/>
                      </a:lnTo>
                      <a:lnTo>
                        <a:pt x="329745" y="6179"/>
                      </a:lnTo>
                      <a:lnTo>
                        <a:pt x="327216" y="14887"/>
                      </a:lnTo>
                      <a:lnTo>
                        <a:pt x="317772" y="16711"/>
                      </a:lnTo>
                      <a:lnTo>
                        <a:pt x="308328" y="29389"/>
                      </a:lnTo>
                      <a:lnTo>
                        <a:pt x="301445" y="25035"/>
                      </a:lnTo>
                      <a:lnTo>
                        <a:pt x="286590" y="34479"/>
                      </a:lnTo>
                      <a:lnTo>
                        <a:pt x="274617" y="37008"/>
                      </a:lnTo>
                      <a:lnTo>
                        <a:pt x="251375" y="35568"/>
                      </a:lnTo>
                      <a:lnTo>
                        <a:pt x="228165" y="25035"/>
                      </a:lnTo>
                      <a:lnTo>
                        <a:pt x="218752" y="35568"/>
                      </a:lnTo>
                      <a:lnTo>
                        <a:pt x="206779" y="39922"/>
                      </a:lnTo>
                      <a:lnTo>
                        <a:pt x="193717" y="37008"/>
                      </a:lnTo>
                      <a:lnTo>
                        <a:pt x="164328" y="43187"/>
                      </a:lnTo>
                      <a:lnTo>
                        <a:pt x="159975" y="49366"/>
                      </a:lnTo>
                      <a:lnTo>
                        <a:pt x="151619" y="55160"/>
                      </a:lnTo>
                      <a:lnTo>
                        <a:pt x="152355" y="86342"/>
                      </a:lnTo>
                      <a:lnTo>
                        <a:pt x="146561" y="105935"/>
                      </a:lnTo>
                      <a:lnTo>
                        <a:pt x="140382" y="95786"/>
                      </a:lnTo>
                      <a:lnTo>
                        <a:pt x="91400" y="76930"/>
                      </a:lnTo>
                      <a:lnTo>
                        <a:pt x="73280" y="84549"/>
                      </a:lnTo>
                      <a:lnTo>
                        <a:pt x="61307" y="99052"/>
                      </a:lnTo>
                      <a:lnTo>
                        <a:pt x="68190" y="116467"/>
                      </a:lnTo>
                      <a:lnTo>
                        <a:pt x="51863" y="122262"/>
                      </a:lnTo>
                      <a:lnTo>
                        <a:pt x="48245" y="131706"/>
                      </a:lnTo>
                      <a:lnTo>
                        <a:pt x="18152" y="146561"/>
                      </a:lnTo>
                      <a:lnTo>
                        <a:pt x="23210" y="154916"/>
                      </a:lnTo>
                      <a:lnTo>
                        <a:pt x="10533" y="161799"/>
                      </a:lnTo>
                      <a:lnTo>
                        <a:pt x="1089" y="174125"/>
                      </a:lnTo>
                      <a:lnTo>
                        <a:pt x="6883" y="204250"/>
                      </a:lnTo>
                      <a:lnTo>
                        <a:pt x="0" y="220577"/>
                      </a:lnTo>
                      <a:lnTo>
                        <a:pt x="1825" y="232550"/>
                      </a:lnTo>
                      <a:lnTo>
                        <a:pt x="9444" y="240170"/>
                      </a:lnTo>
                      <a:lnTo>
                        <a:pt x="9444" y="258290"/>
                      </a:lnTo>
                      <a:lnTo>
                        <a:pt x="26828" y="245228"/>
                      </a:lnTo>
                      <a:lnTo>
                        <a:pt x="46420" y="265909"/>
                      </a:lnTo>
                      <a:lnTo>
                        <a:pt x="75073" y="260851"/>
                      </a:lnTo>
                      <a:lnTo>
                        <a:pt x="76546" y="255024"/>
                      </a:lnTo>
                      <a:lnTo>
                        <a:pt x="82692" y="253936"/>
                      </a:lnTo>
                      <a:lnTo>
                        <a:pt x="93961" y="265909"/>
                      </a:lnTo>
                      <a:lnTo>
                        <a:pt x="102669" y="267734"/>
                      </a:lnTo>
                      <a:lnTo>
                        <a:pt x="114642" y="271351"/>
                      </a:lnTo>
                      <a:lnTo>
                        <a:pt x="113554" y="285854"/>
                      </a:lnTo>
                      <a:lnTo>
                        <a:pt x="105935" y="292769"/>
                      </a:lnTo>
                      <a:lnTo>
                        <a:pt x="99756" y="309096"/>
                      </a:lnTo>
                      <a:lnTo>
                        <a:pt x="122262" y="322158"/>
                      </a:lnTo>
                      <a:lnTo>
                        <a:pt x="148001" y="304006"/>
                      </a:lnTo>
                      <a:lnTo>
                        <a:pt x="149090" y="299652"/>
                      </a:lnTo>
                      <a:lnTo>
                        <a:pt x="171212" y="287679"/>
                      </a:lnTo>
                      <a:lnTo>
                        <a:pt x="173036" y="272824"/>
                      </a:lnTo>
                      <a:lnTo>
                        <a:pt x="181744" y="273913"/>
                      </a:lnTo>
                      <a:lnTo>
                        <a:pt x="186802" y="280796"/>
                      </a:lnTo>
                      <a:lnTo>
                        <a:pt x="204954" y="273913"/>
                      </a:lnTo>
                      <a:lnTo>
                        <a:pt x="210749" y="262644"/>
                      </a:lnTo>
                      <a:lnTo>
                        <a:pt x="219457" y="264468"/>
                      </a:lnTo>
                      <a:lnTo>
                        <a:pt x="224547" y="278971"/>
                      </a:lnTo>
                      <a:lnTo>
                        <a:pt x="235080" y="278971"/>
                      </a:lnTo>
                      <a:lnTo>
                        <a:pt x="245228" y="265205"/>
                      </a:lnTo>
                      <a:lnTo>
                        <a:pt x="239402" y="253232"/>
                      </a:lnTo>
                      <a:lnTo>
                        <a:pt x="249582" y="236904"/>
                      </a:lnTo>
                      <a:lnTo>
                        <a:pt x="245228" y="228901"/>
                      </a:lnTo>
                      <a:lnTo>
                        <a:pt x="253936" y="222018"/>
                      </a:lnTo>
                      <a:lnTo>
                        <a:pt x="263348" y="209340"/>
                      </a:lnTo>
                      <a:lnTo>
                        <a:pt x="261555" y="195542"/>
                      </a:lnTo>
                      <a:lnTo>
                        <a:pt x="265909" y="181744"/>
                      </a:lnTo>
                      <a:lnTo>
                        <a:pt x="260819" y="179215"/>
                      </a:lnTo>
                      <a:lnTo>
                        <a:pt x="265909" y="172332"/>
                      </a:lnTo>
                      <a:lnTo>
                        <a:pt x="271352" y="174861"/>
                      </a:lnTo>
                      <a:lnTo>
                        <a:pt x="278971" y="168714"/>
                      </a:lnTo>
                      <a:lnTo>
                        <a:pt x="285854" y="150914"/>
                      </a:lnTo>
                      <a:lnTo>
                        <a:pt x="275321" y="142943"/>
                      </a:lnTo>
                      <a:lnTo>
                        <a:pt x="275321" y="132794"/>
                      </a:lnTo>
                      <a:lnTo>
                        <a:pt x="284029" y="118996"/>
                      </a:lnTo>
                      <a:lnTo>
                        <a:pt x="285118" y="107760"/>
                      </a:lnTo>
                      <a:lnTo>
                        <a:pt x="297091" y="103405"/>
                      </a:lnTo>
                      <a:lnTo>
                        <a:pt x="296002" y="90696"/>
                      </a:lnTo>
                      <a:lnTo>
                        <a:pt x="278971" y="90696"/>
                      </a:lnTo>
                      <a:lnTo>
                        <a:pt x="273881" y="79459"/>
                      </a:lnTo>
                      <a:lnTo>
                        <a:pt x="290208" y="72576"/>
                      </a:lnTo>
                      <a:lnTo>
                        <a:pt x="308328" y="43891"/>
                      </a:lnTo>
                      <a:lnTo>
                        <a:pt x="339189" y="19241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8" name="Forma Livre: Forma 257">
                  <a:extLst>
                    <a:ext uri="{FF2B5EF4-FFF2-40B4-BE49-F238E27FC236}">
                      <a16:creationId xmlns:a16="http://schemas.microsoft.com/office/drawing/2014/main" id="{BCB4B38E-2BDA-036F-2FF2-65876873728D}"/>
                    </a:ext>
                  </a:extLst>
                </p:cNvPr>
                <p:cNvSpPr/>
                <p:nvPr/>
              </p:nvSpPr>
              <p:spPr>
                <a:xfrm>
                  <a:off x="3234940" y="3610937"/>
                  <a:ext cx="339189" cy="322157"/>
                </a:xfrm>
                <a:custGeom>
                  <a:avLst/>
                  <a:gdLst>
                    <a:gd name="csX0" fmla="*/ 339189 w 339189"/>
                    <a:gd name="csY0" fmla="*/ 19241 h 322157"/>
                    <a:gd name="csX1" fmla="*/ 334836 w 339189"/>
                    <a:gd name="csY1" fmla="*/ 5442 h 322157"/>
                    <a:gd name="csX2" fmla="*/ 324655 w 339189"/>
                    <a:gd name="csY2" fmla="*/ 0 h 322157"/>
                    <a:gd name="csX3" fmla="*/ 329745 w 339189"/>
                    <a:gd name="csY3" fmla="*/ 6179 h 322157"/>
                    <a:gd name="csX4" fmla="*/ 327216 w 339189"/>
                    <a:gd name="csY4" fmla="*/ 14887 h 322157"/>
                    <a:gd name="csX5" fmla="*/ 317772 w 339189"/>
                    <a:gd name="csY5" fmla="*/ 16711 h 322157"/>
                    <a:gd name="csX6" fmla="*/ 308328 w 339189"/>
                    <a:gd name="csY6" fmla="*/ 29389 h 322157"/>
                    <a:gd name="csX7" fmla="*/ 301445 w 339189"/>
                    <a:gd name="csY7" fmla="*/ 25035 h 322157"/>
                    <a:gd name="csX8" fmla="*/ 286590 w 339189"/>
                    <a:gd name="csY8" fmla="*/ 34479 h 322157"/>
                    <a:gd name="csX9" fmla="*/ 274617 w 339189"/>
                    <a:gd name="csY9" fmla="*/ 37008 h 322157"/>
                    <a:gd name="csX10" fmla="*/ 251375 w 339189"/>
                    <a:gd name="csY10" fmla="*/ 35568 h 322157"/>
                    <a:gd name="csX11" fmla="*/ 228165 w 339189"/>
                    <a:gd name="csY11" fmla="*/ 25035 h 322157"/>
                    <a:gd name="csX12" fmla="*/ 218752 w 339189"/>
                    <a:gd name="csY12" fmla="*/ 35568 h 322157"/>
                    <a:gd name="csX13" fmla="*/ 206779 w 339189"/>
                    <a:gd name="csY13" fmla="*/ 39922 h 322157"/>
                    <a:gd name="csX14" fmla="*/ 193717 w 339189"/>
                    <a:gd name="csY14" fmla="*/ 37008 h 322157"/>
                    <a:gd name="csX15" fmla="*/ 164328 w 339189"/>
                    <a:gd name="csY15" fmla="*/ 43187 h 322157"/>
                    <a:gd name="csX16" fmla="*/ 159975 w 339189"/>
                    <a:gd name="csY16" fmla="*/ 49366 h 322157"/>
                    <a:gd name="csX17" fmla="*/ 151619 w 339189"/>
                    <a:gd name="csY17" fmla="*/ 55160 h 322157"/>
                    <a:gd name="csX18" fmla="*/ 152355 w 339189"/>
                    <a:gd name="csY18" fmla="*/ 86342 h 322157"/>
                    <a:gd name="csX19" fmla="*/ 146561 w 339189"/>
                    <a:gd name="csY19" fmla="*/ 105935 h 322157"/>
                    <a:gd name="csX20" fmla="*/ 140382 w 339189"/>
                    <a:gd name="csY20" fmla="*/ 95786 h 322157"/>
                    <a:gd name="csX21" fmla="*/ 91400 w 339189"/>
                    <a:gd name="csY21" fmla="*/ 76930 h 322157"/>
                    <a:gd name="csX22" fmla="*/ 73280 w 339189"/>
                    <a:gd name="csY22" fmla="*/ 84549 h 322157"/>
                    <a:gd name="csX23" fmla="*/ 61307 w 339189"/>
                    <a:gd name="csY23" fmla="*/ 99052 h 322157"/>
                    <a:gd name="csX24" fmla="*/ 68190 w 339189"/>
                    <a:gd name="csY24" fmla="*/ 116467 h 322157"/>
                    <a:gd name="csX25" fmla="*/ 51863 w 339189"/>
                    <a:gd name="csY25" fmla="*/ 122262 h 322157"/>
                    <a:gd name="csX26" fmla="*/ 48245 w 339189"/>
                    <a:gd name="csY26" fmla="*/ 131706 h 322157"/>
                    <a:gd name="csX27" fmla="*/ 18152 w 339189"/>
                    <a:gd name="csY27" fmla="*/ 146561 h 322157"/>
                    <a:gd name="csX28" fmla="*/ 23210 w 339189"/>
                    <a:gd name="csY28" fmla="*/ 154916 h 322157"/>
                    <a:gd name="csX29" fmla="*/ 10533 w 339189"/>
                    <a:gd name="csY29" fmla="*/ 161799 h 322157"/>
                    <a:gd name="csX30" fmla="*/ 1089 w 339189"/>
                    <a:gd name="csY30" fmla="*/ 174125 h 322157"/>
                    <a:gd name="csX31" fmla="*/ 6883 w 339189"/>
                    <a:gd name="csY31" fmla="*/ 204250 h 322157"/>
                    <a:gd name="csX32" fmla="*/ 0 w 339189"/>
                    <a:gd name="csY32" fmla="*/ 220577 h 322157"/>
                    <a:gd name="csX33" fmla="*/ 1825 w 339189"/>
                    <a:gd name="csY33" fmla="*/ 232550 h 322157"/>
                    <a:gd name="csX34" fmla="*/ 9444 w 339189"/>
                    <a:gd name="csY34" fmla="*/ 240170 h 322157"/>
                    <a:gd name="csX35" fmla="*/ 9444 w 339189"/>
                    <a:gd name="csY35" fmla="*/ 258290 h 322157"/>
                    <a:gd name="csX36" fmla="*/ 26828 w 339189"/>
                    <a:gd name="csY36" fmla="*/ 245228 h 322157"/>
                    <a:gd name="csX37" fmla="*/ 46420 w 339189"/>
                    <a:gd name="csY37" fmla="*/ 265909 h 322157"/>
                    <a:gd name="csX38" fmla="*/ 75073 w 339189"/>
                    <a:gd name="csY38" fmla="*/ 260851 h 322157"/>
                    <a:gd name="csX39" fmla="*/ 76546 w 339189"/>
                    <a:gd name="csY39" fmla="*/ 255024 h 322157"/>
                    <a:gd name="csX40" fmla="*/ 82692 w 339189"/>
                    <a:gd name="csY40" fmla="*/ 253936 h 322157"/>
                    <a:gd name="csX41" fmla="*/ 93961 w 339189"/>
                    <a:gd name="csY41" fmla="*/ 265909 h 322157"/>
                    <a:gd name="csX42" fmla="*/ 102669 w 339189"/>
                    <a:gd name="csY42" fmla="*/ 267734 h 322157"/>
                    <a:gd name="csX43" fmla="*/ 114642 w 339189"/>
                    <a:gd name="csY43" fmla="*/ 271351 h 322157"/>
                    <a:gd name="csX44" fmla="*/ 113554 w 339189"/>
                    <a:gd name="csY44" fmla="*/ 285854 h 322157"/>
                    <a:gd name="csX45" fmla="*/ 105935 w 339189"/>
                    <a:gd name="csY45" fmla="*/ 292769 h 322157"/>
                    <a:gd name="csX46" fmla="*/ 99756 w 339189"/>
                    <a:gd name="csY46" fmla="*/ 309096 h 322157"/>
                    <a:gd name="csX47" fmla="*/ 122262 w 339189"/>
                    <a:gd name="csY47" fmla="*/ 322158 h 322157"/>
                    <a:gd name="csX48" fmla="*/ 148001 w 339189"/>
                    <a:gd name="csY48" fmla="*/ 304006 h 322157"/>
                    <a:gd name="csX49" fmla="*/ 149090 w 339189"/>
                    <a:gd name="csY49" fmla="*/ 299652 h 322157"/>
                    <a:gd name="csX50" fmla="*/ 171212 w 339189"/>
                    <a:gd name="csY50" fmla="*/ 287679 h 322157"/>
                    <a:gd name="csX51" fmla="*/ 173036 w 339189"/>
                    <a:gd name="csY51" fmla="*/ 272824 h 322157"/>
                    <a:gd name="csX52" fmla="*/ 181744 w 339189"/>
                    <a:gd name="csY52" fmla="*/ 273913 h 322157"/>
                    <a:gd name="csX53" fmla="*/ 186802 w 339189"/>
                    <a:gd name="csY53" fmla="*/ 280796 h 322157"/>
                    <a:gd name="csX54" fmla="*/ 204954 w 339189"/>
                    <a:gd name="csY54" fmla="*/ 273913 h 322157"/>
                    <a:gd name="csX55" fmla="*/ 210749 w 339189"/>
                    <a:gd name="csY55" fmla="*/ 262644 h 322157"/>
                    <a:gd name="csX56" fmla="*/ 219457 w 339189"/>
                    <a:gd name="csY56" fmla="*/ 264468 h 322157"/>
                    <a:gd name="csX57" fmla="*/ 224547 w 339189"/>
                    <a:gd name="csY57" fmla="*/ 278971 h 322157"/>
                    <a:gd name="csX58" fmla="*/ 235080 w 339189"/>
                    <a:gd name="csY58" fmla="*/ 278971 h 322157"/>
                    <a:gd name="csX59" fmla="*/ 245228 w 339189"/>
                    <a:gd name="csY59" fmla="*/ 265205 h 322157"/>
                    <a:gd name="csX60" fmla="*/ 239402 w 339189"/>
                    <a:gd name="csY60" fmla="*/ 253232 h 322157"/>
                    <a:gd name="csX61" fmla="*/ 249582 w 339189"/>
                    <a:gd name="csY61" fmla="*/ 236904 h 322157"/>
                    <a:gd name="csX62" fmla="*/ 245228 w 339189"/>
                    <a:gd name="csY62" fmla="*/ 228901 h 322157"/>
                    <a:gd name="csX63" fmla="*/ 253936 w 339189"/>
                    <a:gd name="csY63" fmla="*/ 222018 h 322157"/>
                    <a:gd name="csX64" fmla="*/ 263348 w 339189"/>
                    <a:gd name="csY64" fmla="*/ 209340 h 322157"/>
                    <a:gd name="csX65" fmla="*/ 261555 w 339189"/>
                    <a:gd name="csY65" fmla="*/ 195542 h 322157"/>
                    <a:gd name="csX66" fmla="*/ 265909 w 339189"/>
                    <a:gd name="csY66" fmla="*/ 181744 h 322157"/>
                    <a:gd name="csX67" fmla="*/ 260819 w 339189"/>
                    <a:gd name="csY67" fmla="*/ 179215 h 322157"/>
                    <a:gd name="csX68" fmla="*/ 265909 w 339189"/>
                    <a:gd name="csY68" fmla="*/ 172332 h 322157"/>
                    <a:gd name="csX69" fmla="*/ 271352 w 339189"/>
                    <a:gd name="csY69" fmla="*/ 174861 h 322157"/>
                    <a:gd name="csX70" fmla="*/ 278971 w 339189"/>
                    <a:gd name="csY70" fmla="*/ 168714 h 322157"/>
                    <a:gd name="csX71" fmla="*/ 285854 w 339189"/>
                    <a:gd name="csY71" fmla="*/ 150914 h 322157"/>
                    <a:gd name="csX72" fmla="*/ 275321 w 339189"/>
                    <a:gd name="csY72" fmla="*/ 142943 h 322157"/>
                    <a:gd name="csX73" fmla="*/ 275321 w 339189"/>
                    <a:gd name="csY73" fmla="*/ 132794 h 322157"/>
                    <a:gd name="csX74" fmla="*/ 284029 w 339189"/>
                    <a:gd name="csY74" fmla="*/ 118996 h 322157"/>
                    <a:gd name="csX75" fmla="*/ 285118 w 339189"/>
                    <a:gd name="csY75" fmla="*/ 107760 h 322157"/>
                    <a:gd name="csX76" fmla="*/ 297091 w 339189"/>
                    <a:gd name="csY76" fmla="*/ 103405 h 322157"/>
                    <a:gd name="csX77" fmla="*/ 296002 w 339189"/>
                    <a:gd name="csY77" fmla="*/ 90696 h 322157"/>
                    <a:gd name="csX78" fmla="*/ 278971 w 339189"/>
                    <a:gd name="csY78" fmla="*/ 90696 h 322157"/>
                    <a:gd name="csX79" fmla="*/ 273881 w 339189"/>
                    <a:gd name="csY79" fmla="*/ 79459 h 322157"/>
                    <a:gd name="csX80" fmla="*/ 290208 w 339189"/>
                    <a:gd name="csY80" fmla="*/ 72576 h 322157"/>
                    <a:gd name="csX81" fmla="*/ 308328 w 339189"/>
                    <a:gd name="csY81" fmla="*/ 43891 h 322157"/>
                    <a:gd name="csX82" fmla="*/ 339189 w 339189"/>
                    <a:gd name="csY82" fmla="*/ 19241 h 3221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339189" h="322157">
                      <a:moveTo>
                        <a:pt x="339189" y="19241"/>
                      </a:moveTo>
                      <a:lnTo>
                        <a:pt x="334836" y="5442"/>
                      </a:lnTo>
                      <a:lnTo>
                        <a:pt x="324655" y="0"/>
                      </a:lnTo>
                      <a:lnTo>
                        <a:pt x="329745" y="6179"/>
                      </a:lnTo>
                      <a:lnTo>
                        <a:pt x="327216" y="14887"/>
                      </a:lnTo>
                      <a:lnTo>
                        <a:pt x="317772" y="16711"/>
                      </a:lnTo>
                      <a:lnTo>
                        <a:pt x="308328" y="29389"/>
                      </a:lnTo>
                      <a:lnTo>
                        <a:pt x="301445" y="25035"/>
                      </a:lnTo>
                      <a:lnTo>
                        <a:pt x="286590" y="34479"/>
                      </a:lnTo>
                      <a:lnTo>
                        <a:pt x="274617" y="37008"/>
                      </a:lnTo>
                      <a:lnTo>
                        <a:pt x="251375" y="35568"/>
                      </a:lnTo>
                      <a:lnTo>
                        <a:pt x="228165" y="25035"/>
                      </a:lnTo>
                      <a:lnTo>
                        <a:pt x="218752" y="35568"/>
                      </a:lnTo>
                      <a:lnTo>
                        <a:pt x="206779" y="39922"/>
                      </a:lnTo>
                      <a:lnTo>
                        <a:pt x="193717" y="37008"/>
                      </a:lnTo>
                      <a:lnTo>
                        <a:pt x="164328" y="43187"/>
                      </a:lnTo>
                      <a:lnTo>
                        <a:pt x="159975" y="49366"/>
                      </a:lnTo>
                      <a:lnTo>
                        <a:pt x="151619" y="55160"/>
                      </a:lnTo>
                      <a:lnTo>
                        <a:pt x="152355" y="86342"/>
                      </a:lnTo>
                      <a:lnTo>
                        <a:pt x="146561" y="105935"/>
                      </a:lnTo>
                      <a:lnTo>
                        <a:pt x="140382" y="95786"/>
                      </a:lnTo>
                      <a:lnTo>
                        <a:pt x="91400" y="76930"/>
                      </a:lnTo>
                      <a:lnTo>
                        <a:pt x="73280" y="84549"/>
                      </a:lnTo>
                      <a:lnTo>
                        <a:pt x="61307" y="99052"/>
                      </a:lnTo>
                      <a:lnTo>
                        <a:pt x="68190" y="116467"/>
                      </a:lnTo>
                      <a:lnTo>
                        <a:pt x="51863" y="122262"/>
                      </a:lnTo>
                      <a:lnTo>
                        <a:pt x="48245" y="131706"/>
                      </a:lnTo>
                      <a:lnTo>
                        <a:pt x="18152" y="146561"/>
                      </a:lnTo>
                      <a:lnTo>
                        <a:pt x="23210" y="154916"/>
                      </a:lnTo>
                      <a:lnTo>
                        <a:pt x="10533" y="161799"/>
                      </a:lnTo>
                      <a:lnTo>
                        <a:pt x="1089" y="174125"/>
                      </a:lnTo>
                      <a:lnTo>
                        <a:pt x="6883" y="204250"/>
                      </a:lnTo>
                      <a:lnTo>
                        <a:pt x="0" y="220577"/>
                      </a:lnTo>
                      <a:lnTo>
                        <a:pt x="1825" y="232550"/>
                      </a:lnTo>
                      <a:lnTo>
                        <a:pt x="9444" y="240170"/>
                      </a:lnTo>
                      <a:lnTo>
                        <a:pt x="9444" y="258290"/>
                      </a:lnTo>
                      <a:lnTo>
                        <a:pt x="26828" y="245228"/>
                      </a:lnTo>
                      <a:lnTo>
                        <a:pt x="46420" y="265909"/>
                      </a:lnTo>
                      <a:lnTo>
                        <a:pt x="75073" y="260851"/>
                      </a:lnTo>
                      <a:lnTo>
                        <a:pt x="76546" y="255024"/>
                      </a:lnTo>
                      <a:lnTo>
                        <a:pt x="82692" y="253936"/>
                      </a:lnTo>
                      <a:lnTo>
                        <a:pt x="93961" y="265909"/>
                      </a:lnTo>
                      <a:lnTo>
                        <a:pt x="102669" y="267734"/>
                      </a:lnTo>
                      <a:lnTo>
                        <a:pt x="114642" y="271351"/>
                      </a:lnTo>
                      <a:lnTo>
                        <a:pt x="113554" y="285854"/>
                      </a:lnTo>
                      <a:lnTo>
                        <a:pt x="105935" y="292769"/>
                      </a:lnTo>
                      <a:lnTo>
                        <a:pt x="99756" y="309096"/>
                      </a:lnTo>
                      <a:lnTo>
                        <a:pt x="122262" y="322158"/>
                      </a:lnTo>
                      <a:lnTo>
                        <a:pt x="148001" y="304006"/>
                      </a:lnTo>
                      <a:lnTo>
                        <a:pt x="149090" y="299652"/>
                      </a:lnTo>
                      <a:lnTo>
                        <a:pt x="171212" y="287679"/>
                      </a:lnTo>
                      <a:lnTo>
                        <a:pt x="173036" y="272824"/>
                      </a:lnTo>
                      <a:lnTo>
                        <a:pt x="181744" y="273913"/>
                      </a:lnTo>
                      <a:lnTo>
                        <a:pt x="186802" y="280796"/>
                      </a:lnTo>
                      <a:lnTo>
                        <a:pt x="204954" y="273913"/>
                      </a:lnTo>
                      <a:lnTo>
                        <a:pt x="210749" y="262644"/>
                      </a:lnTo>
                      <a:lnTo>
                        <a:pt x="219457" y="264468"/>
                      </a:lnTo>
                      <a:lnTo>
                        <a:pt x="224547" y="278971"/>
                      </a:lnTo>
                      <a:lnTo>
                        <a:pt x="235080" y="278971"/>
                      </a:lnTo>
                      <a:lnTo>
                        <a:pt x="245228" y="265205"/>
                      </a:lnTo>
                      <a:lnTo>
                        <a:pt x="239402" y="253232"/>
                      </a:lnTo>
                      <a:lnTo>
                        <a:pt x="249582" y="236904"/>
                      </a:lnTo>
                      <a:lnTo>
                        <a:pt x="245228" y="228901"/>
                      </a:lnTo>
                      <a:lnTo>
                        <a:pt x="253936" y="222018"/>
                      </a:lnTo>
                      <a:lnTo>
                        <a:pt x="263348" y="209340"/>
                      </a:lnTo>
                      <a:lnTo>
                        <a:pt x="261555" y="195542"/>
                      </a:lnTo>
                      <a:lnTo>
                        <a:pt x="265909" y="181744"/>
                      </a:lnTo>
                      <a:lnTo>
                        <a:pt x="260819" y="179215"/>
                      </a:lnTo>
                      <a:lnTo>
                        <a:pt x="265909" y="172332"/>
                      </a:lnTo>
                      <a:lnTo>
                        <a:pt x="271352" y="174861"/>
                      </a:lnTo>
                      <a:lnTo>
                        <a:pt x="278971" y="168714"/>
                      </a:lnTo>
                      <a:lnTo>
                        <a:pt x="285854" y="150914"/>
                      </a:lnTo>
                      <a:lnTo>
                        <a:pt x="275321" y="142943"/>
                      </a:lnTo>
                      <a:lnTo>
                        <a:pt x="275321" y="132794"/>
                      </a:lnTo>
                      <a:lnTo>
                        <a:pt x="284029" y="118996"/>
                      </a:lnTo>
                      <a:lnTo>
                        <a:pt x="285118" y="107760"/>
                      </a:lnTo>
                      <a:lnTo>
                        <a:pt x="297091" y="103405"/>
                      </a:lnTo>
                      <a:lnTo>
                        <a:pt x="296002" y="90696"/>
                      </a:lnTo>
                      <a:lnTo>
                        <a:pt x="278971" y="90696"/>
                      </a:lnTo>
                      <a:lnTo>
                        <a:pt x="273881" y="79459"/>
                      </a:lnTo>
                      <a:lnTo>
                        <a:pt x="290208" y="72576"/>
                      </a:lnTo>
                      <a:lnTo>
                        <a:pt x="308328" y="43891"/>
                      </a:lnTo>
                      <a:lnTo>
                        <a:pt x="339189" y="19241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59" name="Forma Livre: Forma 258">
                  <a:extLst>
                    <a:ext uri="{FF2B5EF4-FFF2-40B4-BE49-F238E27FC236}">
                      <a16:creationId xmlns:a16="http://schemas.microsoft.com/office/drawing/2014/main" id="{B1B37F1E-23A8-53EA-3FAB-EBEA0E804D28}"/>
                    </a:ext>
                  </a:extLst>
                </p:cNvPr>
                <p:cNvSpPr/>
                <p:nvPr/>
              </p:nvSpPr>
              <p:spPr>
                <a:xfrm>
                  <a:off x="3234940" y="3610937"/>
                  <a:ext cx="339189" cy="322157"/>
                </a:xfrm>
                <a:custGeom>
                  <a:avLst/>
                  <a:gdLst>
                    <a:gd name="csX0" fmla="*/ 339189 w 339189"/>
                    <a:gd name="csY0" fmla="*/ 19241 h 322157"/>
                    <a:gd name="csX1" fmla="*/ 334836 w 339189"/>
                    <a:gd name="csY1" fmla="*/ 5442 h 322157"/>
                    <a:gd name="csX2" fmla="*/ 324655 w 339189"/>
                    <a:gd name="csY2" fmla="*/ 0 h 322157"/>
                    <a:gd name="csX3" fmla="*/ 329745 w 339189"/>
                    <a:gd name="csY3" fmla="*/ 6179 h 322157"/>
                    <a:gd name="csX4" fmla="*/ 327216 w 339189"/>
                    <a:gd name="csY4" fmla="*/ 14887 h 322157"/>
                    <a:gd name="csX5" fmla="*/ 317772 w 339189"/>
                    <a:gd name="csY5" fmla="*/ 16711 h 322157"/>
                    <a:gd name="csX6" fmla="*/ 308328 w 339189"/>
                    <a:gd name="csY6" fmla="*/ 29389 h 322157"/>
                    <a:gd name="csX7" fmla="*/ 301445 w 339189"/>
                    <a:gd name="csY7" fmla="*/ 25035 h 322157"/>
                    <a:gd name="csX8" fmla="*/ 286590 w 339189"/>
                    <a:gd name="csY8" fmla="*/ 34479 h 322157"/>
                    <a:gd name="csX9" fmla="*/ 274617 w 339189"/>
                    <a:gd name="csY9" fmla="*/ 37008 h 322157"/>
                    <a:gd name="csX10" fmla="*/ 251375 w 339189"/>
                    <a:gd name="csY10" fmla="*/ 35568 h 322157"/>
                    <a:gd name="csX11" fmla="*/ 228165 w 339189"/>
                    <a:gd name="csY11" fmla="*/ 25035 h 322157"/>
                    <a:gd name="csX12" fmla="*/ 218752 w 339189"/>
                    <a:gd name="csY12" fmla="*/ 35568 h 322157"/>
                    <a:gd name="csX13" fmla="*/ 206779 w 339189"/>
                    <a:gd name="csY13" fmla="*/ 39922 h 322157"/>
                    <a:gd name="csX14" fmla="*/ 193717 w 339189"/>
                    <a:gd name="csY14" fmla="*/ 37008 h 322157"/>
                    <a:gd name="csX15" fmla="*/ 164328 w 339189"/>
                    <a:gd name="csY15" fmla="*/ 43187 h 322157"/>
                    <a:gd name="csX16" fmla="*/ 159975 w 339189"/>
                    <a:gd name="csY16" fmla="*/ 49366 h 322157"/>
                    <a:gd name="csX17" fmla="*/ 151619 w 339189"/>
                    <a:gd name="csY17" fmla="*/ 55160 h 322157"/>
                    <a:gd name="csX18" fmla="*/ 152355 w 339189"/>
                    <a:gd name="csY18" fmla="*/ 86342 h 322157"/>
                    <a:gd name="csX19" fmla="*/ 146561 w 339189"/>
                    <a:gd name="csY19" fmla="*/ 105935 h 322157"/>
                    <a:gd name="csX20" fmla="*/ 140382 w 339189"/>
                    <a:gd name="csY20" fmla="*/ 95786 h 322157"/>
                    <a:gd name="csX21" fmla="*/ 91400 w 339189"/>
                    <a:gd name="csY21" fmla="*/ 76930 h 322157"/>
                    <a:gd name="csX22" fmla="*/ 73280 w 339189"/>
                    <a:gd name="csY22" fmla="*/ 84549 h 322157"/>
                    <a:gd name="csX23" fmla="*/ 61307 w 339189"/>
                    <a:gd name="csY23" fmla="*/ 99052 h 322157"/>
                    <a:gd name="csX24" fmla="*/ 68190 w 339189"/>
                    <a:gd name="csY24" fmla="*/ 116467 h 322157"/>
                    <a:gd name="csX25" fmla="*/ 51863 w 339189"/>
                    <a:gd name="csY25" fmla="*/ 122262 h 322157"/>
                    <a:gd name="csX26" fmla="*/ 48245 w 339189"/>
                    <a:gd name="csY26" fmla="*/ 131706 h 322157"/>
                    <a:gd name="csX27" fmla="*/ 18152 w 339189"/>
                    <a:gd name="csY27" fmla="*/ 146561 h 322157"/>
                    <a:gd name="csX28" fmla="*/ 23210 w 339189"/>
                    <a:gd name="csY28" fmla="*/ 154916 h 322157"/>
                    <a:gd name="csX29" fmla="*/ 10533 w 339189"/>
                    <a:gd name="csY29" fmla="*/ 161799 h 322157"/>
                    <a:gd name="csX30" fmla="*/ 1089 w 339189"/>
                    <a:gd name="csY30" fmla="*/ 174125 h 322157"/>
                    <a:gd name="csX31" fmla="*/ 6883 w 339189"/>
                    <a:gd name="csY31" fmla="*/ 204250 h 322157"/>
                    <a:gd name="csX32" fmla="*/ 0 w 339189"/>
                    <a:gd name="csY32" fmla="*/ 220577 h 322157"/>
                    <a:gd name="csX33" fmla="*/ 1825 w 339189"/>
                    <a:gd name="csY33" fmla="*/ 232550 h 322157"/>
                    <a:gd name="csX34" fmla="*/ 9444 w 339189"/>
                    <a:gd name="csY34" fmla="*/ 240170 h 322157"/>
                    <a:gd name="csX35" fmla="*/ 9444 w 339189"/>
                    <a:gd name="csY35" fmla="*/ 258290 h 322157"/>
                    <a:gd name="csX36" fmla="*/ 26828 w 339189"/>
                    <a:gd name="csY36" fmla="*/ 245228 h 322157"/>
                    <a:gd name="csX37" fmla="*/ 46420 w 339189"/>
                    <a:gd name="csY37" fmla="*/ 265909 h 322157"/>
                    <a:gd name="csX38" fmla="*/ 75073 w 339189"/>
                    <a:gd name="csY38" fmla="*/ 260851 h 322157"/>
                    <a:gd name="csX39" fmla="*/ 76546 w 339189"/>
                    <a:gd name="csY39" fmla="*/ 255024 h 322157"/>
                    <a:gd name="csX40" fmla="*/ 82692 w 339189"/>
                    <a:gd name="csY40" fmla="*/ 253936 h 322157"/>
                    <a:gd name="csX41" fmla="*/ 93961 w 339189"/>
                    <a:gd name="csY41" fmla="*/ 265909 h 322157"/>
                    <a:gd name="csX42" fmla="*/ 102669 w 339189"/>
                    <a:gd name="csY42" fmla="*/ 267734 h 322157"/>
                    <a:gd name="csX43" fmla="*/ 114642 w 339189"/>
                    <a:gd name="csY43" fmla="*/ 271351 h 322157"/>
                    <a:gd name="csX44" fmla="*/ 113554 w 339189"/>
                    <a:gd name="csY44" fmla="*/ 285854 h 322157"/>
                    <a:gd name="csX45" fmla="*/ 105935 w 339189"/>
                    <a:gd name="csY45" fmla="*/ 292769 h 322157"/>
                    <a:gd name="csX46" fmla="*/ 99756 w 339189"/>
                    <a:gd name="csY46" fmla="*/ 309096 h 322157"/>
                    <a:gd name="csX47" fmla="*/ 122262 w 339189"/>
                    <a:gd name="csY47" fmla="*/ 322158 h 322157"/>
                    <a:gd name="csX48" fmla="*/ 148001 w 339189"/>
                    <a:gd name="csY48" fmla="*/ 304006 h 322157"/>
                    <a:gd name="csX49" fmla="*/ 149090 w 339189"/>
                    <a:gd name="csY49" fmla="*/ 299652 h 322157"/>
                    <a:gd name="csX50" fmla="*/ 171212 w 339189"/>
                    <a:gd name="csY50" fmla="*/ 287679 h 322157"/>
                    <a:gd name="csX51" fmla="*/ 173036 w 339189"/>
                    <a:gd name="csY51" fmla="*/ 272824 h 322157"/>
                    <a:gd name="csX52" fmla="*/ 181744 w 339189"/>
                    <a:gd name="csY52" fmla="*/ 273913 h 322157"/>
                    <a:gd name="csX53" fmla="*/ 186802 w 339189"/>
                    <a:gd name="csY53" fmla="*/ 280796 h 322157"/>
                    <a:gd name="csX54" fmla="*/ 204954 w 339189"/>
                    <a:gd name="csY54" fmla="*/ 273913 h 322157"/>
                    <a:gd name="csX55" fmla="*/ 210749 w 339189"/>
                    <a:gd name="csY55" fmla="*/ 262644 h 322157"/>
                    <a:gd name="csX56" fmla="*/ 219457 w 339189"/>
                    <a:gd name="csY56" fmla="*/ 264468 h 322157"/>
                    <a:gd name="csX57" fmla="*/ 224547 w 339189"/>
                    <a:gd name="csY57" fmla="*/ 278971 h 322157"/>
                    <a:gd name="csX58" fmla="*/ 235080 w 339189"/>
                    <a:gd name="csY58" fmla="*/ 278971 h 322157"/>
                    <a:gd name="csX59" fmla="*/ 245228 w 339189"/>
                    <a:gd name="csY59" fmla="*/ 265205 h 322157"/>
                    <a:gd name="csX60" fmla="*/ 239402 w 339189"/>
                    <a:gd name="csY60" fmla="*/ 253232 h 322157"/>
                    <a:gd name="csX61" fmla="*/ 249582 w 339189"/>
                    <a:gd name="csY61" fmla="*/ 236904 h 322157"/>
                    <a:gd name="csX62" fmla="*/ 245228 w 339189"/>
                    <a:gd name="csY62" fmla="*/ 228901 h 322157"/>
                    <a:gd name="csX63" fmla="*/ 253936 w 339189"/>
                    <a:gd name="csY63" fmla="*/ 222018 h 322157"/>
                    <a:gd name="csX64" fmla="*/ 263348 w 339189"/>
                    <a:gd name="csY64" fmla="*/ 209340 h 322157"/>
                    <a:gd name="csX65" fmla="*/ 261555 w 339189"/>
                    <a:gd name="csY65" fmla="*/ 195542 h 322157"/>
                    <a:gd name="csX66" fmla="*/ 265909 w 339189"/>
                    <a:gd name="csY66" fmla="*/ 181744 h 322157"/>
                    <a:gd name="csX67" fmla="*/ 260819 w 339189"/>
                    <a:gd name="csY67" fmla="*/ 179215 h 322157"/>
                    <a:gd name="csX68" fmla="*/ 265909 w 339189"/>
                    <a:gd name="csY68" fmla="*/ 172332 h 322157"/>
                    <a:gd name="csX69" fmla="*/ 271352 w 339189"/>
                    <a:gd name="csY69" fmla="*/ 174861 h 322157"/>
                    <a:gd name="csX70" fmla="*/ 278971 w 339189"/>
                    <a:gd name="csY70" fmla="*/ 168714 h 322157"/>
                    <a:gd name="csX71" fmla="*/ 285854 w 339189"/>
                    <a:gd name="csY71" fmla="*/ 150914 h 322157"/>
                    <a:gd name="csX72" fmla="*/ 275321 w 339189"/>
                    <a:gd name="csY72" fmla="*/ 142943 h 322157"/>
                    <a:gd name="csX73" fmla="*/ 275321 w 339189"/>
                    <a:gd name="csY73" fmla="*/ 132794 h 322157"/>
                    <a:gd name="csX74" fmla="*/ 284029 w 339189"/>
                    <a:gd name="csY74" fmla="*/ 118996 h 322157"/>
                    <a:gd name="csX75" fmla="*/ 285118 w 339189"/>
                    <a:gd name="csY75" fmla="*/ 107760 h 322157"/>
                    <a:gd name="csX76" fmla="*/ 297091 w 339189"/>
                    <a:gd name="csY76" fmla="*/ 103405 h 322157"/>
                    <a:gd name="csX77" fmla="*/ 296002 w 339189"/>
                    <a:gd name="csY77" fmla="*/ 90696 h 322157"/>
                    <a:gd name="csX78" fmla="*/ 278971 w 339189"/>
                    <a:gd name="csY78" fmla="*/ 90696 h 322157"/>
                    <a:gd name="csX79" fmla="*/ 273881 w 339189"/>
                    <a:gd name="csY79" fmla="*/ 79459 h 322157"/>
                    <a:gd name="csX80" fmla="*/ 290208 w 339189"/>
                    <a:gd name="csY80" fmla="*/ 72576 h 322157"/>
                    <a:gd name="csX81" fmla="*/ 308328 w 339189"/>
                    <a:gd name="csY81" fmla="*/ 43891 h 322157"/>
                    <a:gd name="csX82" fmla="*/ 339189 w 339189"/>
                    <a:gd name="csY82" fmla="*/ 19241 h 3221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339189" h="322157">
                      <a:moveTo>
                        <a:pt x="339189" y="19241"/>
                      </a:moveTo>
                      <a:lnTo>
                        <a:pt x="334836" y="5442"/>
                      </a:lnTo>
                      <a:lnTo>
                        <a:pt x="324655" y="0"/>
                      </a:lnTo>
                      <a:lnTo>
                        <a:pt x="329745" y="6179"/>
                      </a:lnTo>
                      <a:lnTo>
                        <a:pt x="327216" y="14887"/>
                      </a:lnTo>
                      <a:lnTo>
                        <a:pt x="317772" y="16711"/>
                      </a:lnTo>
                      <a:lnTo>
                        <a:pt x="308328" y="29389"/>
                      </a:lnTo>
                      <a:lnTo>
                        <a:pt x="301445" y="25035"/>
                      </a:lnTo>
                      <a:lnTo>
                        <a:pt x="286590" y="34479"/>
                      </a:lnTo>
                      <a:lnTo>
                        <a:pt x="274617" y="37008"/>
                      </a:lnTo>
                      <a:lnTo>
                        <a:pt x="251375" y="35568"/>
                      </a:lnTo>
                      <a:lnTo>
                        <a:pt x="228165" y="25035"/>
                      </a:lnTo>
                      <a:lnTo>
                        <a:pt x="218752" y="35568"/>
                      </a:lnTo>
                      <a:lnTo>
                        <a:pt x="206779" y="39922"/>
                      </a:lnTo>
                      <a:lnTo>
                        <a:pt x="193717" y="37008"/>
                      </a:lnTo>
                      <a:lnTo>
                        <a:pt x="164328" y="43187"/>
                      </a:lnTo>
                      <a:lnTo>
                        <a:pt x="159975" y="49366"/>
                      </a:lnTo>
                      <a:lnTo>
                        <a:pt x="151619" y="55160"/>
                      </a:lnTo>
                      <a:lnTo>
                        <a:pt x="152355" y="86342"/>
                      </a:lnTo>
                      <a:lnTo>
                        <a:pt x="146561" y="105935"/>
                      </a:lnTo>
                      <a:lnTo>
                        <a:pt x="140382" y="95786"/>
                      </a:lnTo>
                      <a:lnTo>
                        <a:pt x="91400" y="76930"/>
                      </a:lnTo>
                      <a:lnTo>
                        <a:pt x="73280" y="84549"/>
                      </a:lnTo>
                      <a:lnTo>
                        <a:pt x="61307" y="99052"/>
                      </a:lnTo>
                      <a:lnTo>
                        <a:pt x="68190" y="116467"/>
                      </a:lnTo>
                      <a:lnTo>
                        <a:pt x="51863" y="122262"/>
                      </a:lnTo>
                      <a:lnTo>
                        <a:pt x="48245" y="131706"/>
                      </a:lnTo>
                      <a:lnTo>
                        <a:pt x="18152" y="146561"/>
                      </a:lnTo>
                      <a:lnTo>
                        <a:pt x="23210" y="154916"/>
                      </a:lnTo>
                      <a:lnTo>
                        <a:pt x="10533" y="161799"/>
                      </a:lnTo>
                      <a:lnTo>
                        <a:pt x="1089" y="174125"/>
                      </a:lnTo>
                      <a:lnTo>
                        <a:pt x="6883" y="204250"/>
                      </a:lnTo>
                      <a:lnTo>
                        <a:pt x="0" y="220577"/>
                      </a:lnTo>
                      <a:lnTo>
                        <a:pt x="1825" y="232550"/>
                      </a:lnTo>
                      <a:lnTo>
                        <a:pt x="9444" y="240170"/>
                      </a:lnTo>
                      <a:lnTo>
                        <a:pt x="9444" y="258290"/>
                      </a:lnTo>
                      <a:lnTo>
                        <a:pt x="26828" y="245228"/>
                      </a:lnTo>
                      <a:lnTo>
                        <a:pt x="46420" y="265909"/>
                      </a:lnTo>
                      <a:lnTo>
                        <a:pt x="75073" y="260851"/>
                      </a:lnTo>
                      <a:lnTo>
                        <a:pt x="76546" y="255024"/>
                      </a:lnTo>
                      <a:lnTo>
                        <a:pt x="82692" y="253936"/>
                      </a:lnTo>
                      <a:lnTo>
                        <a:pt x="93961" y="265909"/>
                      </a:lnTo>
                      <a:lnTo>
                        <a:pt x="102669" y="267734"/>
                      </a:lnTo>
                      <a:lnTo>
                        <a:pt x="114642" y="271351"/>
                      </a:lnTo>
                      <a:lnTo>
                        <a:pt x="113554" y="285854"/>
                      </a:lnTo>
                      <a:lnTo>
                        <a:pt x="105935" y="292769"/>
                      </a:lnTo>
                      <a:lnTo>
                        <a:pt x="99756" y="309096"/>
                      </a:lnTo>
                      <a:lnTo>
                        <a:pt x="122262" y="322158"/>
                      </a:lnTo>
                      <a:lnTo>
                        <a:pt x="148001" y="304006"/>
                      </a:lnTo>
                      <a:lnTo>
                        <a:pt x="149090" y="299652"/>
                      </a:lnTo>
                      <a:lnTo>
                        <a:pt x="171212" y="287679"/>
                      </a:lnTo>
                      <a:lnTo>
                        <a:pt x="173036" y="272824"/>
                      </a:lnTo>
                      <a:lnTo>
                        <a:pt x="181744" y="273913"/>
                      </a:lnTo>
                      <a:lnTo>
                        <a:pt x="186802" y="280796"/>
                      </a:lnTo>
                      <a:lnTo>
                        <a:pt x="204954" y="273913"/>
                      </a:lnTo>
                      <a:lnTo>
                        <a:pt x="210749" y="262644"/>
                      </a:lnTo>
                      <a:lnTo>
                        <a:pt x="219457" y="264468"/>
                      </a:lnTo>
                      <a:lnTo>
                        <a:pt x="224547" y="278971"/>
                      </a:lnTo>
                      <a:lnTo>
                        <a:pt x="235080" y="278971"/>
                      </a:lnTo>
                      <a:lnTo>
                        <a:pt x="245228" y="265205"/>
                      </a:lnTo>
                      <a:lnTo>
                        <a:pt x="239402" y="253232"/>
                      </a:lnTo>
                      <a:lnTo>
                        <a:pt x="249582" y="236904"/>
                      </a:lnTo>
                      <a:lnTo>
                        <a:pt x="245228" y="228901"/>
                      </a:lnTo>
                      <a:lnTo>
                        <a:pt x="253936" y="222018"/>
                      </a:lnTo>
                      <a:lnTo>
                        <a:pt x="263348" y="209340"/>
                      </a:lnTo>
                      <a:lnTo>
                        <a:pt x="261555" y="195542"/>
                      </a:lnTo>
                      <a:lnTo>
                        <a:pt x="265909" y="181744"/>
                      </a:lnTo>
                      <a:lnTo>
                        <a:pt x="260819" y="179215"/>
                      </a:lnTo>
                      <a:lnTo>
                        <a:pt x="265909" y="172332"/>
                      </a:lnTo>
                      <a:lnTo>
                        <a:pt x="271352" y="174861"/>
                      </a:lnTo>
                      <a:lnTo>
                        <a:pt x="278971" y="168714"/>
                      </a:lnTo>
                      <a:lnTo>
                        <a:pt x="285854" y="150914"/>
                      </a:lnTo>
                      <a:lnTo>
                        <a:pt x="275321" y="142943"/>
                      </a:lnTo>
                      <a:lnTo>
                        <a:pt x="275321" y="132794"/>
                      </a:lnTo>
                      <a:lnTo>
                        <a:pt x="284029" y="118996"/>
                      </a:lnTo>
                      <a:lnTo>
                        <a:pt x="285118" y="107760"/>
                      </a:lnTo>
                      <a:lnTo>
                        <a:pt x="297091" y="103405"/>
                      </a:lnTo>
                      <a:lnTo>
                        <a:pt x="296002" y="90696"/>
                      </a:lnTo>
                      <a:lnTo>
                        <a:pt x="278971" y="90696"/>
                      </a:lnTo>
                      <a:lnTo>
                        <a:pt x="273881" y="79459"/>
                      </a:lnTo>
                      <a:lnTo>
                        <a:pt x="290208" y="72576"/>
                      </a:lnTo>
                      <a:lnTo>
                        <a:pt x="308328" y="43891"/>
                      </a:lnTo>
                      <a:lnTo>
                        <a:pt x="339189" y="19241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0" name="Forma Livre: Forma 259">
                  <a:extLst>
                    <a:ext uri="{FF2B5EF4-FFF2-40B4-BE49-F238E27FC236}">
                      <a16:creationId xmlns:a16="http://schemas.microsoft.com/office/drawing/2014/main" id="{E2BD266B-AE12-A987-BB43-64E8250AB8D6}"/>
                    </a:ext>
                  </a:extLst>
                </p:cNvPr>
                <p:cNvSpPr/>
                <p:nvPr/>
              </p:nvSpPr>
              <p:spPr>
                <a:xfrm>
                  <a:off x="3234940" y="3610937"/>
                  <a:ext cx="339189" cy="322157"/>
                </a:xfrm>
                <a:custGeom>
                  <a:avLst/>
                  <a:gdLst>
                    <a:gd name="csX0" fmla="*/ 339189 w 339189"/>
                    <a:gd name="csY0" fmla="*/ 19241 h 322157"/>
                    <a:gd name="csX1" fmla="*/ 334836 w 339189"/>
                    <a:gd name="csY1" fmla="*/ 5442 h 322157"/>
                    <a:gd name="csX2" fmla="*/ 324655 w 339189"/>
                    <a:gd name="csY2" fmla="*/ 0 h 322157"/>
                    <a:gd name="csX3" fmla="*/ 329745 w 339189"/>
                    <a:gd name="csY3" fmla="*/ 6179 h 322157"/>
                    <a:gd name="csX4" fmla="*/ 327216 w 339189"/>
                    <a:gd name="csY4" fmla="*/ 14887 h 322157"/>
                    <a:gd name="csX5" fmla="*/ 317772 w 339189"/>
                    <a:gd name="csY5" fmla="*/ 16711 h 322157"/>
                    <a:gd name="csX6" fmla="*/ 308328 w 339189"/>
                    <a:gd name="csY6" fmla="*/ 29389 h 322157"/>
                    <a:gd name="csX7" fmla="*/ 301445 w 339189"/>
                    <a:gd name="csY7" fmla="*/ 25035 h 322157"/>
                    <a:gd name="csX8" fmla="*/ 286590 w 339189"/>
                    <a:gd name="csY8" fmla="*/ 34479 h 322157"/>
                    <a:gd name="csX9" fmla="*/ 274617 w 339189"/>
                    <a:gd name="csY9" fmla="*/ 37008 h 322157"/>
                    <a:gd name="csX10" fmla="*/ 251375 w 339189"/>
                    <a:gd name="csY10" fmla="*/ 35568 h 322157"/>
                    <a:gd name="csX11" fmla="*/ 228165 w 339189"/>
                    <a:gd name="csY11" fmla="*/ 25035 h 322157"/>
                    <a:gd name="csX12" fmla="*/ 218752 w 339189"/>
                    <a:gd name="csY12" fmla="*/ 35568 h 322157"/>
                    <a:gd name="csX13" fmla="*/ 206779 w 339189"/>
                    <a:gd name="csY13" fmla="*/ 39922 h 322157"/>
                    <a:gd name="csX14" fmla="*/ 193717 w 339189"/>
                    <a:gd name="csY14" fmla="*/ 37008 h 322157"/>
                    <a:gd name="csX15" fmla="*/ 164328 w 339189"/>
                    <a:gd name="csY15" fmla="*/ 43187 h 322157"/>
                    <a:gd name="csX16" fmla="*/ 159975 w 339189"/>
                    <a:gd name="csY16" fmla="*/ 49366 h 322157"/>
                    <a:gd name="csX17" fmla="*/ 151619 w 339189"/>
                    <a:gd name="csY17" fmla="*/ 55160 h 322157"/>
                    <a:gd name="csX18" fmla="*/ 152355 w 339189"/>
                    <a:gd name="csY18" fmla="*/ 86342 h 322157"/>
                    <a:gd name="csX19" fmla="*/ 146561 w 339189"/>
                    <a:gd name="csY19" fmla="*/ 105935 h 322157"/>
                    <a:gd name="csX20" fmla="*/ 140382 w 339189"/>
                    <a:gd name="csY20" fmla="*/ 95786 h 322157"/>
                    <a:gd name="csX21" fmla="*/ 91400 w 339189"/>
                    <a:gd name="csY21" fmla="*/ 76930 h 322157"/>
                    <a:gd name="csX22" fmla="*/ 73280 w 339189"/>
                    <a:gd name="csY22" fmla="*/ 84549 h 322157"/>
                    <a:gd name="csX23" fmla="*/ 61307 w 339189"/>
                    <a:gd name="csY23" fmla="*/ 99052 h 322157"/>
                    <a:gd name="csX24" fmla="*/ 68190 w 339189"/>
                    <a:gd name="csY24" fmla="*/ 116467 h 322157"/>
                    <a:gd name="csX25" fmla="*/ 51863 w 339189"/>
                    <a:gd name="csY25" fmla="*/ 122262 h 322157"/>
                    <a:gd name="csX26" fmla="*/ 48245 w 339189"/>
                    <a:gd name="csY26" fmla="*/ 131706 h 322157"/>
                    <a:gd name="csX27" fmla="*/ 18152 w 339189"/>
                    <a:gd name="csY27" fmla="*/ 146561 h 322157"/>
                    <a:gd name="csX28" fmla="*/ 23210 w 339189"/>
                    <a:gd name="csY28" fmla="*/ 154916 h 322157"/>
                    <a:gd name="csX29" fmla="*/ 10533 w 339189"/>
                    <a:gd name="csY29" fmla="*/ 161799 h 322157"/>
                    <a:gd name="csX30" fmla="*/ 1089 w 339189"/>
                    <a:gd name="csY30" fmla="*/ 174125 h 322157"/>
                    <a:gd name="csX31" fmla="*/ 6883 w 339189"/>
                    <a:gd name="csY31" fmla="*/ 204250 h 322157"/>
                    <a:gd name="csX32" fmla="*/ 0 w 339189"/>
                    <a:gd name="csY32" fmla="*/ 220577 h 322157"/>
                    <a:gd name="csX33" fmla="*/ 1825 w 339189"/>
                    <a:gd name="csY33" fmla="*/ 232550 h 322157"/>
                    <a:gd name="csX34" fmla="*/ 9444 w 339189"/>
                    <a:gd name="csY34" fmla="*/ 240170 h 322157"/>
                    <a:gd name="csX35" fmla="*/ 9444 w 339189"/>
                    <a:gd name="csY35" fmla="*/ 258290 h 322157"/>
                    <a:gd name="csX36" fmla="*/ 26828 w 339189"/>
                    <a:gd name="csY36" fmla="*/ 245228 h 322157"/>
                    <a:gd name="csX37" fmla="*/ 46420 w 339189"/>
                    <a:gd name="csY37" fmla="*/ 265909 h 322157"/>
                    <a:gd name="csX38" fmla="*/ 75073 w 339189"/>
                    <a:gd name="csY38" fmla="*/ 260851 h 322157"/>
                    <a:gd name="csX39" fmla="*/ 76546 w 339189"/>
                    <a:gd name="csY39" fmla="*/ 255024 h 322157"/>
                    <a:gd name="csX40" fmla="*/ 82692 w 339189"/>
                    <a:gd name="csY40" fmla="*/ 253936 h 322157"/>
                    <a:gd name="csX41" fmla="*/ 93961 w 339189"/>
                    <a:gd name="csY41" fmla="*/ 265909 h 322157"/>
                    <a:gd name="csX42" fmla="*/ 102669 w 339189"/>
                    <a:gd name="csY42" fmla="*/ 267734 h 322157"/>
                    <a:gd name="csX43" fmla="*/ 114642 w 339189"/>
                    <a:gd name="csY43" fmla="*/ 271351 h 322157"/>
                    <a:gd name="csX44" fmla="*/ 113554 w 339189"/>
                    <a:gd name="csY44" fmla="*/ 285854 h 322157"/>
                    <a:gd name="csX45" fmla="*/ 105935 w 339189"/>
                    <a:gd name="csY45" fmla="*/ 292769 h 322157"/>
                    <a:gd name="csX46" fmla="*/ 99756 w 339189"/>
                    <a:gd name="csY46" fmla="*/ 309096 h 322157"/>
                    <a:gd name="csX47" fmla="*/ 122262 w 339189"/>
                    <a:gd name="csY47" fmla="*/ 322158 h 322157"/>
                    <a:gd name="csX48" fmla="*/ 148001 w 339189"/>
                    <a:gd name="csY48" fmla="*/ 304006 h 322157"/>
                    <a:gd name="csX49" fmla="*/ 149090 w 339189"/>
                    <a:gd name="csY49" fmla="*/ 299652 h 322157"/>
                    <a:gd name="csX50" fmla="*/ 171212 w 339189"/>
                    <a:gd name="csY50" fmla="*/ 287679 h 322157"/>
                    <a:gd name="csX51" fmla="*/ 173036 w 339189"/>
                    <a:gd name="csY51" fmla="*/ 272824 h 322157"/>
                    <a:gd name="csX52" fmla="*/ 181744 w 339189"/>
                    <a:gd name="csY52" fmla="*/ 273913 h 322157"/>
                    <a:gd name="csX53" fmla="*/ 186802 w 339189"/>
                    <a:gd name="csY53" fmla="*/ 280796 h 322157"/>
                    <a:gd name="csX54" fmla="*/ 204954 w 339189"/>
                    <a:gd name="csY54" fmla="*/ 273913 h 322157"/>
                    <a:gd name="csX55" fmla="*/ 210749 w 339189"/>
                    <a:gd name="csY55" fmla="*/ 262644 h 322157"/>
                    <a:gd name="csX56" fmla="*/ 219457 w 339189"/>
                    <a:gd name="csY56" fmla="*/ 264468 h 322157"/>
                    <a:gd name="csX57" fmla="*/ 224547 w 339189"/>
                    <a:gd name="csY57" fmla="*/ 278971 h 322157"/>
                    <a:gd name="csX58" fmla="*/ 235080 w 339189"/>
                    <a:gd name="csY58" fmla="*/ 278971 h 322157"/>
                    <a:gd name="csX59" fmla="*/ 245228 w 339189"/>
                    <a:gd name="csY59" fmla="*/ 265205 h 322157"/>
                    <a:gd name="csX60" fmla="*/ 239402 w 339189"/>
                    <a:gd name="csY60" fmla="*/ 253232 h 322157"/>
                    <a:gd name="csX61" fmla="*/ 249582 w 339189"/>
                    <a:gd name="csY61" fmla="*/ 236904 h 322157"/>
                    <a:gd name="csX62" fmla="*/ 245228 w 339189"/>
                    <a:gd name="csY62" fmla="*/ 228901 h 322157"/>
                    <a:gd name="csX63" fmla="*/ 253936 w 339189"/>
                    <a:gd name="csY63" fmla="*/ 222018 h 322157"/>
                    <a:gd name="csX64" fmla="*/ 263348 w 339189"/>
                    <a:gd name="csY64" fmla="*/ 209340 h 322157"/>
                    <a:gd name="csX65" fmla="*/ 261555 w 339189"/>
                    <a:gd name="csY65" fmla="*/ 195542 h 322157"/>
                    <a:gd name="csX66" fmla="*/ 265909 w 339189"/>
                    <a:gd name="csY66" fmla="*/ 181744 h 322157"/>
                    <a:gd name="csX67" fmla="*/ 260819 w 339189"/>
                    <a:gd name="csY67" fmla="*/ 179215 h 322157"/>
                    <a:gd name="csX68" fmla="*/ 265909 w 339189"/>
                    <a:gd name="csY68" fmla="*/ 172332 h 322157"/>
                    <a:gd name="csX69" fmla="*/ 271352 w 339189"/>
                    <a:gd name="csY69" fmla="*/ 174861 h 322157"/>
                    <a:gd name="csX70" fmla="*/ 278971 w 339189"/>
                    <a:gd name="csY70" fmla="*/ 168714 h 322157"/>
                    <a:gd name="csX71" fmla="*/ 285854 w 339189"/>
                    <a:gd name="csY71" fmla="*/ 150914 h 322157"/>
                    <a:gd name="csX72" fmla="*/ 275321 w 339189"/>
                    <a:gd name="csY72" fmla="*/ 142943 h 322157"/>
                    <a:gd name="csX73" fmla="*/ 275321 w 339189"/>
                    <a:gd name="csY73" fmla="*/ 132794 h 322157"/>
                    <a:gd name="csX74" fmla="*/ 284029 w 339189"/>
                    <a:gd name="csY74" fmla="*/ 118996 h 322157"/>
                    <a:gd name="csX75" fmla="*/ 285118 w 339189"/>
                    <a:gd name="csY75" fmla="*/ 107760 h 322157"/>
                    <a:gd name="csX76" fmla="*/ 297091 w 339189"/>
                    <a:gd name="csY76" fmla="*/ 103405 h 322157"/>
                    <a:gd name="csX77" fmla="*/ 296002 w 339189"/>
                    <a:gd name="csY77" fmla="*/ 90696 h 322157"/>
                    <a:gd name="csX78" fmla="*/ 278971 w 339189"/>
                    <a:gd name="csY78" fmla="*/ 90696 h 322157"/>
                    <a:gd name="csX79" fmla="*/ 273881 w 339189"/>
                    <a:gd name="csY79" fmla="*/ 79459 h 322157"/>
                    <a:gd name="csX80" fmla="*/ 290208 w 339189"/>
                    <a:gd name="csY80" fmla="*/ 72576 h 322157"/>
                    <a:gd name="csX81" fmla="*/ 308328 w 339189"/>
                    <a:gd name="csY81" fmla="*/ 43891 h 322157"/>
                    <a:gd name="csX82" fmla="*/ 339189 w 339189"/>
                    <a:gd name="csY82" fmla="*/ 19241 h 3221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339189" h="322157">
                      <a:moveTo>
                        <a:pt x="339189" y="19241"/>
                      </a:moveTo>
                      <a:lnTo>
                        <a:pt x="334836" y="5442"/>
                      </a:lnTo>
                      <a:lnTo>
                        <a:pt x="324655" y="0"/>
                      </a:lnTo>
                      <a:lnTo>
                        <a:pt x="329745" y="6179"/>
                      </a:lnTo>
                      <a:lnTo>
                        <a:pt x="327216" y="14887"/>
                      </a:lnTo>
                      <a:lnTo>
                        <a:pt x="317772" y="16711"/>
                      </a:lnTo>
                      <a:lnTo>
                        <a:pt x="308328" y="29389"/>
                      </a:lnTo>
                      <a:lnTo>
                        <a:pt x="301445" y="25035"/>
                      </a:lnTo>
                      <a:lnTo>
                        <a:pt x="286590" y="34479"/>
                      </a:lnTo>
                      <a:lnTo>
                        <a:pt x="274617" y="37008"/>
                      </a:lnTo>
                      <a:lnTo>
                        <a:pt x="251375" y="35568"/>
                      </a:lnTo>
                      <a:lnTo>
                        <a:pt x="228165" y="25035"/>
                      </a:lnTo>
                      <a:lnTo>
                        <a:pt x="218752" y="35568"/>
                      </a:lnTo>
                      <a:lnTo>
                        <a:pt x="206779" y="39922"/>
                      </a:lnTo>
                      <a:lnTo>
                        <a:pt x="193717" y="37008"/>
                      </a:lnTo>
                      <a:lnTo>
                        <a:pt x="164328" y="43187"/>
                      </a:lnTo>
                      <a:lnTo>
                        <a:pt x="159975" y="49366"/>
                      </a:lnTo>
                      <a:lnTo>
                        <a:pt x="151619" y="55160"/>
                      </a:lnTo>
                      <a:lnTo>
                        <a:pt x="152355" y="86342"/>
                      </a:lnTo>
                      <a:lnTo>
                        <a:pt x="146561" y="105935"/>
                      </a:lnTo>
                      <a:lnTo>
                        <a:pt x="140382" y="95786"/>
                      </a:lnTo>
                      <a:lnTo>
                        <a:pt x="91400" y="76930"/>
                      </a:lnTo>
                      <a:lnTo>
                        <a:pt x="73280" y="84549"/>
                      </a:lnTo>
                      <a:lnTo>
                        <a:pt x="61307" y="99052"/>
                      </a:lnTo>
                      <a:lnTo>
                        <a:pt x="68190" y="116467"/>
                      </a:lnTo>
                      <a:lnTo>
                        <a:pt x="51863" y="122262"/>
                      </a:lnTo>
                      <a:lnTo>
                        <a:pt x="48245" y="131706"/>
                      </a:lnTo>
                      <a:lnTo>
                        <a:pt x="18152" y="146561"/>
                      </a:lnTo>
                      <a:lnTo>
                        <a:pt x="23210" y="154916"/>
                      </a:lnTo>
                      <a:lnTo>
                        <a:pt x="10533" y="161799"/>
                      </a:lnTo>
                      <a:lnTo>
                        <a:pt x="1089" y="174125"/>
                      </a:lnTo>
                      <a:lnTo>
                        <a:pt x="6883" y="204250"/>
                      </a:lnTo>
                      <a:lnTo>
                        <a:pt x="0" y="220577"/>
                      </a:lnTo>
                      <a:lnTo>
                        <a:pt x="1825" y="232550"/>
                      </a:lnTo>
                      <a:lnTo>
                        <a:pt x="9444" y="240170"/>
                      </a:lnTo>
                      <a:lnTo>
                        <a:pt x="9444" y="258290"/>
                      </a:lnTo>
                      <a:lnTo>
                        <a:pt x="26828" y="245228"/>
                      </a:lnTo>
                      <a:lnTo>
                        <a:pt x="46420" y="265909"/>
                      </a:lnTo>
                      <a:lnTo>
                        <a:pt x="75073" y="260851"/>
                      </a:lnTo>
                      <a:lnTo>
                        <a:pt x="76546" y="255024"/>
                      </a:lnTo>
                      <a:lnTo>
                        <a:pt x="82692" y="253936"/>
                      </a:lnTo>
                      <a:lnTo>
                        <a:pt x="93961" y="265909"/>
                      </a:lnTo>
                      <a:lnTo>
                        <a:pt x="102669" y="267734"/>
                      </a:lnTo>
                      <a:lnTo>
                        <a:pt x="114642" y="271351"/>
                      </a:lnTo>
                      <a:lnTo>
                        <a:pt x="113554" y="285854"/>
                      </a:lnTo>
                      <a:lnTo>
                        <a:pt x="105935" y="292769"/>
                      </a:lnTo>
                      <a:lnTo>
                        <a:pt x="99756" y="309096"/>
                      </a:lnTo>
                      <a:lnTo>
                        <a:pt x="122262" y="322158"/>
                      </a:lnTo>
                      <a:lnTo>
                        <a:pt x="148001" y="304006"/>
                      </a:lnTo>
                      <a:lnTo>
                        <a:pt x="149090" y="299652"/>
                      </a:lnTo>
                      <a:lnTo>
                        <a:pt x="171212" y="287679"/>
                      </a:lnTo>
                      <a:lnTo>
                        <a:pt x="173036" y="272824"/>
                      </a:lnTo>
                      <a:lnTo>
                        <a:pt x="181744" y="273913"/>
                      </a:lnTo>
                      <a:lnTo>
                        <a:pt x="186802" y="280796"/>
                      </a:lnTo>
                      <a:lnTo>
                        <a:pt x="204954" y="273913"/>
                      </a:lnTo>
                      <a:lnTo>
                        <a:pt x="210749" y="262644"/>
                      </a:lnTo>
                      <a:lnTo>
                        <a:pt x="219457" y="264468"/>
                      </a:lnTo>
                      <a:lnTo>
                        <a:pt x="224547" y="278971"/>
                      </a:lnTo>
                      <a:lnTo>
                        <a:pt x="235080" y="278971"/>
                      </a:lnTo>
                      <a:lnTo>
                        <a:pt x="245228" y="265205"/>
                      </a:lnTo>
                      <a:lnTo>
                        <a:pt x="239402" y="253232"/>
                      </a:lnTo>
                      <a:lnTo>
                        <a:pt x="249582" y="236904"/>
                      </a:lnTo>
                      <a:lnTo>
                        <a:pt x="245228" y="228901"/>
                      </a:lnTo>
                      <a:lnTo>
                        <a:pt x="253936" y="222018"/>
                      </a:lnTo>
                      <a:lnTo>
                        <a:pt x="263348" y="209340"/>
                      </a:lnTo>
                      <a:lnTo>
                        <a:pt x="261555" y="195542"/>
                      </a:lnTo>
                      <a:lnTo>
                        <a:pt x="265909" y="181744"/>
                      </a:lnTo>
                      <a:lnTo>
                        <a:pt x="260819" y="179215"/>
                      </a:lnTo>
                      <a:lnTo>
                        <a:pt x="265909" y="172332"/>
                      </a:lnTo>
                      <a:lnTo>
                        <a:pt x="271352" y="174861"/>
                      </a:lnTo>
                      <a:lnTo>
                        <a:pt x="278971" y="168714"/>
                      </a:lnTo>
                      <a:lnTo>
                        <a:pt x="285854" y="150914"/>
                      </a:lnTo>
                      <a:lnTo>
                        <a:pt x="275321" y="142943"/>
                      </a:lnTo>
                      <a:lnTo>
                        <a:pt x="275321" y="132794"/>
                      </a:lnTo>
                      <a:lnTo>
                        <a:pt x="284029" y="118996"/>
                      </a:lnTo>
                      <a:lnTo>
                        <a:pt x="285118" y="107760"/>
                      </a:lnTo>
                      <a:lnTo>
                        <a:pt x="297091" y="103405"/>
                      </a:lnTo>
                      <a:lnTo>
                        <a:pt x="296002" y="90696"/>
                      </a:lnTo>
                      <a:lnTo>
                        <a:pt x="278971" y="90696"/>
                      </a:lnTo>
                      <a:lnTo>
                        <a:pt x="273881" y="79459"/>
                      </a:lnTo>
                      <a:lnTo>
                        <a:pt x="290208" y="72576"/>
                      </a:lnTo>
                      <a:lnTo>
                        <a:pt x="308328" y="43891"/>
                      </a:lnTo>
                      <a:lnTo>
                        <a:pt x="339189" y="19241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1" name="Forma Livre: Forma 260">
                  <a:extLst>
                    <a:ext uri="{FF2B5EF4-FFF2-40B4-BE49-F238E27FC236}">
                      <a16:creationId xmlns:a16="http://schemas.microsoft.com/office/drawing/2014/main" id="{84589B4A-AA47-9311-07D0-F8D2EFF66F90}"/>
                    </a:ext>
                  </a:extLst>
                </p:cNvPr>
                <p:cNvSpPr/>
                <p:nvPr/>
              </p:nvSpPr>
              <p:spPr>
                <a:xfrm>
                  <a:off x="1603982" y="5675046"/>
                  <a:ext cx="336628" cy="406290"/>
                </a:xfrm>
                <a:custGeom>
                  <a:avLst/>
                  <a:gdLst>
                    <a:gd name="csX0" fmla="*/ 146561 w 336628"/>
                    <a:gd name="csY0" fmla="*/ 2529 h 406290"/>
                    <a:gd name="csX1" fmla="*/ 127320 w 336628"/>
                    <a:gd name="csY1" fmla="*/ 1088 h 406290"/>
                    <a:gd name="csX2" fmla="*/ 117172 w 336628"/>
                    <a:gd name="csY2" fmla="*/ 6146 h 406290"/>
                    <a:gd name="csX3" fmla="*/ 110289 w 336628"/>
                    <a:gd name="csY3" fmla="*/ 14854 h 406290"/>
                    <a:gd name="csX4" fmla="*/ 94666 w 336628"/>
                    <a:gd name="csY4" fmla="*/ 13766 h 406290"/>
                    <a:gd name="csX5" fmla="*/ 92137 w 336628"/>
                    <a:gd name="csY5" fmla="*/ 19945 h 406290"/>
                    <a:gd name="csX6" fmla="*/ 103374 w 336628"/>
                    <a:gd name="csY6" fmla="*/ 26828 h 406290"/>
                    <a:gd name="csX7" fmla="*/ 90312 w 336628"/>
                    <a:gd name="csY7" fmla="*/ 37008 h 406290"/>
                    <a:gd name="csX8" fmla="*/ 85254 w 336628"/>
                    <a:gd name="csY8" fmla="*/ 48981 h 406290"/>
                    <a:gd name="csX9" fmla="*/ 73985 w 336628"/>
                    <a:gd name="csY9" fmla="*/ 55864 h 406290"/>
                    <a:gd name="csX10" fmla="*/ 78338 w 336628"/>
                    <a:gd name="csY10" fmla="*/ 67101 h 406290"/>
                    <a:gd name="csX11" fmla="*/ 84517 w 336628"/>
                    <a:gd name="csY11" fmla="*/ 83429 h 406290"/>
                    <a:gd name="csX12" fmla="*/ 83429 w 336628"/>
                    <a:gd name="csY12" fmla="*/ 89607 h 406290"/>
                    <a:gd name="csX13" fmla="*/ 91400 w 336628"/>
                    <a:gd name="csY13" fmla="*/ 92873 h 406290"/>
                    <a:gd name="csX14" fmla="*/ 92873 w 336628"/>
                    <a:gd name="csY14" fmla="*/ 105935 h 406290"/>
                    <a:gd name="csX15" fmla="*/ 70719 w 336628"/>
                    <a:gd name="csY15" fmla="*/ 112818 h 406290"/>
                    <a:gd name="csX16" fmla="*/ 69631 w 336628"/>
                    <a:gd name="csY16" fmla="*/ 126583 h 406290"/>
                    <a:gd name="csX17" fmla="*/ 61307 w 336628"/>
                    <a:gd name="csY17" fmla="*/ 139645 h 406290"/>
                    <a:gd name="csX18" fmla="*/ 50774 w 336628"/>
                    <a:gd name="csY18" fmla="*/ 136028 h 406290"/>
                    <a:gd name="csX19" fmla="*/ 45716 w 336628"/>
                    <a:gd name="csY19" fmla="*/ 127320 h 406290"/>
                    <a:gd name="csX20" fmla="*/ 32654 w 336628"/>
                    <a:gd name="csY20" fmla="*/ 132762 h 406290"/>
                    <a:gd name="csX21" fmla="*/ 31182 w 336628"/>
                    <a:gd name="csY21" fmla="*/ 140382 h 406290"/>
                    <a:gd name="csX22" fmla="*/ 20681 w 336628"/>
                    <a:gd name="csY22" fmla="*/ 145472 h 406290"/>
                    <a:gd name="csX23" fmla="*/ 13766 w 336628"/>
                    <a:gd name="csY23" fmla="*/ 136028 h 406290"/>
                    <a:gd name="csX24" fmla="*/ 0 w 336628"/>
                    <a:gd name="csY24" fmla="*/ 132762 h 406290"/>
                    <a:gd name="csX25" fmla="*/ 0 w 336628"/>
                    <a:gd name="csY25" fmla="*/ 158533 h 406290"/>
                    <a:gd name="csX26" fmla="*/ 15591 w 336628"/>
                    <a:gd name="csY26" fmla="*/ 190068 h 406290"/>
                    <a:gd name="csX27" fmla="*/ 31182 w 336628"/>
                    <a:gd name="csY27" fmla="*/ 200600 h 406290"/>
                    <a:gd name="csX28" fmla="*/ 27564 w 336628"/>
                    <a:gd name="csY28" fmla="*/ 210749 h 406290"/>
                    <a:gd name="csX29" fmla="*/ 43155 w 336628"/>
                    <a:gd name="csY29" fmla="*/ 216927 h 406290"/>
                    <a:gd name="csX30" fmla="*/ 55865 w 336628"/>
                    <a:gd name="csY30" fmla="*/ 212573 h 406290"/>
                    <a:gd name="csX31" fmla="*/ 46420 w 336628"/>
                    <a:gd name="csY31" fmla="*/ 221986 h 406290"/>
                    <a:gd name="csX32" fmla="*/ 63836 w 336628"/>
                    <a:gd name="csY32" fmla="*/ 223074 h 406290"/>
                    <a:gd name="csX33" fmla="*/ 72544 w 336628"/>
                    <a:gd name="csY33" fmla="*/ 214398 h 406290"/>
                    <a:gd name="csX34" fmla="*/ 88871 w 336628"/>
                    <a:gd name="csY34" fmla="*/ 213310 h 406290"/>
                    <a:gd name="csX35" fmla="*/ 98315 w 336628"/>
                    <a:gd name="csY35" fmla="*/ 215102 h 406290"/>
                    <a:gd name="csX36" fmla="*/ 108464 w 336628"/>
                    <a:gd name="csY36" fmla="*/ 218720 h 406290"/>
                    <a:gd name="csX37" fmla="*/ 112818 w 336628"/>
                    <a:gd name="csY37" fmla="*/ 224546 h 406290"/>
                    <a:gd name="csX38" fmla="*/ 124055 w 336628"/>
                    <a:gd name="csY38" fmla="*/ 225635 h 406290"/>
                    <a:gd name="csX39" fmla="*/ 130938 w 336628"/>
                    <a:gd name="csY39" fmla="*/ 239401 h 406290"/>
                    <a:gd name="csX40" fmla="*/ 134203 w 336628"/>
                    <a:gd name="csY40" fmla="*/ 233255 h 406290"/>
                    <a:gd name="csX41" fmla="*/ 143647 w 336628"/>
                    <a:gd name="csY41" fmla="*/ 240137 h 406290"/>
                    <a:gd name="csX42" fmla="*/ 141118 w 336628"/>
                    <a:gd name="csY42" fmla="*/ 249582 h 406290"/>
                    <a:gd name="csX43" fmla="*/ 145472 w 336628"/>
                    <a:gd name="csY43" fmla="*/ 252111 h 406290"/>
                    <a:gd name="csX44" fmla="*/ 143647 w 336628"/>
                    <a:gd name="csY44" fmla="*/ 255729 h 406290"/>
                    <a:gd name="csX45" fmla="*/ 148001 w 336628"/>
                    <a:gd name="csY45" fmla="*/ 264084 h 406290"/>
                    <a:gd name="csX46" fmla="*/ 137853 w 336628"/>
                    <a:gd name="csY46" fmla="*/ 286558 h 406290"/>
                    <a:gd name="csX47" fmla="*/ 140382 w 336628"/>
                    <a:gd name="csY47" fmla="*/ 294177 h 406290"/>
                    <a:gd name="csX48" fmla="*/ 144736 w 336628"/>
                    <a:gd name="csY48" fmla="*/ 302885 h 406290"/>
                    <a:gd name="csX49" fmla="*/ 142207 w 336628"/>
                    <a:gd name="csY49" fmla="*/ 312329 h 406290"/>
                    <a:gd name="csX50" fmla="*/ 159238 w 336628"/>
                    <a:gd name="csY50" fmla="*/ 309064 h 406290"/>
                    <a:gd name="csX51" fmla="*/ 161799 w 336628"/>
                    <a:gd name="csY51" fmla="*/ 301092 h 406290"/>
                    <a:gd name="csX52" fmla="*/ 181744 w 336628"/>
                    <a:gd name="csY52" fmla="*/ 310505 h 406290"/>
                    <a:gd name="csX53" fmla="*/ 173036 w 336628"/>
                    <a:gd name="csY53" fmla="*/ 315947 h 406290"/>
                    <a:gd name="csX54" fmla="*/ 161799 w 336628"/>
                    <a:gd name="csY54" fmla="*/ 339189 h 406290"/>
                    <a:gd name="csX55" fmla="*/ 164328 w 336628"/>
                    <a:gd name="csY55" fmla="*/ 344247 h 406290"/>
                    <a:gd name="csX56" fmla="*/ 172300 w 336628"/>
                    <a:gd name="csY56" fmla="*/ 344247 h 406290"/>
                    <a:gd name="csX57" fmla="*/ 167242 w 336628"/>
                    <a:gd name="csY57" fmla="*/ 378726 h 406290"/>
                    <a:gd name="csX58" fmla="*/ 148001 w 336628"/>
                    <a:gd name="csY58" fmla="*/ 385610 h 406290"/>
                    <a:gd name="csX59" fmla="*/ 148001 w 336628"/>
                    <a:gd name="csY59" fmla="*/ 388875 h 406290"/>
                    <a:gd name="csX60" fmla="*/ 153444 w 336628"/>
                    <a:gd name="csY60" fmla="*/ 406291 h 406290"/>
                    <a:gd name="csX61" fmla="*/ 158534 w 336628"/>
                    <a:gd name="csY61" fmla="*/ 401937 h 406290"/>
                    <a:gd name="csX62" fmla="*/ 167242 w 336628"/>
                    <a:gd name="csY62" fmla="*/ 405202 h 406290"/>
                    <a:gd name="csX63" fmla="*/ 167242 w 336628"/>
                    <a:gd name="csY63" fmla="*/ 395022 h 406290"/>
                    <a:gd name="csX64" fmla="*/ 177390 w 336628"/>
                    <a:gd name="csY64" fmla="*/ 388139 h 406290"/>
                    <a:gd name="csX65" fmla="*/ 179919 w 336628"/>
                    <a:gd name="csY65" fmla="*/ 390668 h 406290"/>
                    <a:gd name="csX66" fmla="*/ 191156 w 336628"/>
                    <a:gd name="csY66" fmla="*/ 376902 h 406290"/>
                    <a:gd name="csX67" fmla="*/ 197335 w 336628"/>
                    <a:gd name="csY67" fmla="*/ 380519 h 406290"/>
                    <a:gd name="csX68" fmla="*/ 202425 w 336628"/>
                    <a:gd name="csY68" fmla="*/ 376166 h 406290"/>
                    <a:gd name="csX69" fmla="*/ 208220 w 336628"/>
                    <a:gd name="csY69" fmla="*/ 377638 h 406290"/>
                    <a:gd name="csX70" fmla="*/ 209308 w 336628"/>
                    <a:gd name="csY70" fmla="*/ 386346 h 406290"/>
                    <a:gd name="csX71" fmla="*/ 213662 w 336628"/>
                    <a:gd name="csY71" fmla="*/ 388139 h 406290"/>
                    <a:gd name="csX72" fmla="*/ 220545 w 336628"/>
                    <a:gd name="csY72" fmla="*/ 361311 h 406290"/>
                    <a:gd name="csX73" fmla="*/ 232518 w 336628"/>
                    <a:gd name="csY73" fmla="*/ 350426 h 406290"/>
                    <a:gd name="csX74" fmla="*/ 238345 w 336628"/>
                    <a:gd name="csY74" fmla="*/ 334835 h 406290"/>
                    <a:gd name="csX75" fmla="*/ 247021 w 336628"/>
                    <a:gd name="csY75" fmla="*/ 333010 h 406290"/>
                    <a:gd name="csX76" fmla="*/ 251375 w 336628"/>
                    <a:gd name="csY76" fmla="*/ 342455 h 406290"/>
                    <a:gd name="csX77" fmla="*/ 260819 w 336628"/>
                    <a:gd name="csY77" fmla="*/ 338101 h 406290"/>
                    <a:gd name="csX78" fmla="*/ 264436 w 336628"/>
                    <a:gd name="csY78" fmla="*/ 318508 h 406290"/>
                    <a:gd name="csX79" fmla="*/ 271351 w 336628"/>
                    <a:gd name="csY79" fmla="*/ 309064 h 406290"/>
                    <a:gd name="csX80" fmla="*/ 271351 w 336628"/>
                    <a:gd name="csY80" fmla="*/ 285854 h 406290"/>
                    <a:gd name="csX81" fmla="*/ 280764 w 336628"/>
                    <a:gd name="csY81" fmla="*/ 283293 h 406290"/>
                    <a:gd name="csX82" fmla="*/ 280764 w 336628"/>
                    <a:gd name="csY82" fmla="*/ 274617 h 406290"/>
                    <a:gd name="csX83" fmla="*/ 292737 w 336628"/>
                    <a:gd name="csY83" fmla="*/ 298531 h 406290"/>
                    <a:gd name="csX84" fmla="*/ 297827 w 336628"/>
                    <a:gd name="csY84" fmla="*/ 292737 h 406290"/>
                    <a:gd name="csX85" fmla="*/ 297091 w 336628"/>
                    <a:gd name="csY85" fmla="*/ 284029 h 406290"/>
                    <a:gd name="csX86" fmla="*/ 306535 w 336628"/>
                    <a:gd name="csY86" fmla="*/ 273880 h 406290"/>
                    <a:gd name="csX87" fmla="*/ 298916 w 336628"/>
                    <a:gd name="csY87" fmla="*/ 244492 h 406290"/>
                    <a:gd name="csX88" fmla="*/ 301445 w 336628"/>
                    <a:gd name="csY88" fmla="*/ 233959 h 406290"/>
                    <a:gd name="csX89" fmla="*/ 310889 w 336628"/>
                    <a:gd name="csY89" fmla="*/ 226339 h 406290"/>
                    <a:gd name="csX90" fmla="*/ 308328 w 336628"/>
                    <a:gd name="csY90" fmla="*/ 218720 h 406290"/>
                    <a:gd name="csX91" fmla="*/ 296002 w 336628"/>
                    <a:gd name="csY91" fmla="*/ 219456 h 406290"/>
                    <a:gd name="csX92" fmla="*/ 299620 w 336628"/>
                    <a:gd name="csY92" fmla="*/ 204954 h 406290"/>
                    <a:gd name="csX93" fmla="*/ 292737 w 336628"/>
                    <a:gd name="csY93" fmla="*/ 192981 h 406290"/>
                    <a:gd name="csX94" fmla="*/ 290208 w 336628"/>
                    <a:gd name="csY94" fmla="*/ 185009 h 406290"/>
                    <a:gd name="csX95" fmla="*/ 300356 w 336628"/>
                    <a:gd name="csY95" fmla="*/ 173036 h 406290"/>
                    <a:gd name="csX96" fmla="*/ 306535 w 336628"/>
                    <a:gd name="csY96" fmla="*/ 166857 h 406290"/>
                    <a:gd name="csX97" fmla="*/ 306535 w 336628"/>
                    <a:gd name="csY97" fmla="*/ 154180 h 406290"/>
                    <a:gd name="csX98" fmla="*/ 316683 w 336628"/>
                    <a:gd name="csY98" fmla="*/ 149826 h 406290"/>
                    <a:gd name="csX99" fmla="*/ 315243 w 336628"/>
                    <a:gd name="csY99" fmla="*/ 144736 h 406290"/>
                    <a:gd name="csX100" fmla="*/ 324655 w 336628"/>
                    <a:gd name="csY100" fmla="*/ 121525 h 406290"/>
                    <a:gd name="csX101" fmla="*/ 336628 w 336628"/>
                    <a:gd name="csY101" fmla="*/ 119700 h 406290"/>
                    <a:gd name="csX102" fmla="*/ 335924 w 336628"/>
                    <a:gd name="csY102" fmla="*/ 109168 h 406290"/>
                    <a:gd name="csX103" fmla="*/ 325391 w 336628"/>
                    <a:gd name="csY103" fmla="*/ 92873 h 406290"/>
                    <a:gd name="csX104" fmla="*/ 314154 w 336628"/>
                    <a:gd name="csY104" fmla="*/ 89607 h 406290"/>
                    <a:gd name="csX105" fmla="*/ 318508 w 336628"/>
                    <a:gd name="csY105" fmla="*/ 67101 h 406290"/>
                    <a:gd name="csX106" fmla="*/ 331570 w 336628"/>
                    <a:gd name="csY106" fmla="*/ 62043 h 406290"/>
                    <a:gd name="csX107" fmla="*/ 335924 w 336628"/>
                    <a:gd name="csY107" fmla="*/ 53335 h 406290"/>
                    <a:gd name="csX108" fmla="*/ 329009 w 336628"/>
                    <a:gd name="csY108" fmla="*/ 47509 h 406290"/>
                    <a:gd name="csX109" fmla="*/ 329745 w 336628"/>
                    <a:gd name="csY109" fmla="*/ 36272 h 406290"/>
                    <a:gd name="csX110" fmla="*/ 326128 w 336628"/>
                    <a:gd name="csY110" fmla="*/ 25035 h 406290"/>
                    <a:gd name="csX111" fmla="*/ 303974 w 336628"/>
                    <a:gd name="csY111" fmla="*/ 11973 h 406290"/>
                    <a:gd name="csX112" fmla="*/ 284029 w 336628"/>
                    <a:gd name="csY112" fmla="*/ 19945 h 406290"/>
                    <a:gd name="csX113" fmla="*/ 278971 w 336628"/>
                    <a:gd name="csY113" fmla="*/ 24299 h 406290"/>
                    <a:gd name="csX114" fmla="*/ 271351 w 336628"/>
                    <a:gd name="csY114" fmla="*/ 21769 h 406290"/>
                    <a:gd name="csX115" fmla="*/ 277146 w 336628"/>
                    <a:gd name="csY115" fmla="*/ 4354 h 406290"/>
                    <a:gd name="csX116" fmla="*/ 267702 w 336628"/>
                    <a:gd name="csY116" fmla="*/ 1793 h 406290"/>
                    <a:gd name="csX117" fmla="*/ 261907 w 336628"/>
                    <a:gd name="csY117" fmla="*/ 6883 h 406290"/>
                    <a:gd name="csX118" fmla="*/ 252111 w 336628"/>
                    <a:gd name="csY118" fmla="*/ 0 h 406290"/>
                    <a:gd name="csX119" fmla="*/ 241963 w 336628"/>
                    <a:gd name="csY119" fmla="*/ 15591 h 406290"/>
                    <a:gd name="csX120" fmla="*/ 248846 w 336628"/>
                    <a:gd name="csY120" fmla="*/ 22474 h 406290"/>
                    <a:gd name="csX121" fmla="*/ 256465 w 336628"/>
                    <a:gd name="csY121" fmla="*/ 17415 h 406290"/>
                    <a:gd name="csX122" fmla="*/ 260083 w 336628"/>
                    <a:gd name="csY122" fmla="*/ 18856 h 406290"/>
                    <a:gd name="csX123" fmla="*/ 253200 w 336628"/>
                    <a:gd name="csY123" fmla="*/ 33743 h 406290"/>
                    <a:gd name="csX124" fmla="*/ 235784 w 336628"/>
                    <a:gd name="csY124" fmla="*/ 41362 h 406290"/>
                    <a:gd name="csX125" fmla="*/ 219457 w 336628"/>
                    <a:gd name="csY125" fmla="*/ 36272 h 406290"/>
                    <a:gd name="csX126" fmla="*/ 219457 w 336628"/>
                    <a:gd name="csY126" fmla="*/ 43155 h 406290"/>
                    <a:gd name="csX127" fmla="*/ 208220 w 336628"/>
                    <a:gd name="csY127" fmla="*/ 41362 h 406290"/>
                    <a:gd name="csX128" fmla="*/ 199864 w 336628"/>
                    <a:gd name="csY128" fmla="*/ 36272 h 406290"/>
                    <a:gd name="csX129" fmla="*/ 187539 w 336628"/>
                    <a:gd name="csY129" fmla="*/ 45716 h 406290"/>
                    <a:gd name="csX130" fmla="*/ 179183 w 336628"/>
                    <a:gd name="csY130" fmla="*/ 28652 h 406290"/>
                    <a:gd name="csX131" fmla="*/ 159238 w 336628"/>
                    <a:gd name="csY131" fmla="*/ 27564 h 406290"/>
                    <a:gd name="csX132" fmla="*/ 158534 w 336628"/>
                    <a:gd name="csY132" fmla="*/ 15591 h 406290"/>
                    <a:gd name="csX133" fmla="*/ 146561 w 336628"/>
                    <a:gd name="csY133" fmla="*/ 2529 h 4062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</a:cxnLst>
                  <a:rect l="l" t="t" r="r" b="b"/>
                  <a:pathLst>
                    <a:path w="336628" h="406290">
                      <a:moveTo>
                        <a:pt x="146561" y="2529"/>
                      </a:moveTo>
                      <a:lnTo>
                        <a:pt x="127320" y="1088"/>
                      </a:lnTo>
                      <a:lnTo>
                        <a:pt x="117172" y="6146"/>
                      </a:lnTo>
                      <a:lnTo>
                        <a:pt x="110289" y="14854"/>
                      </a:lnTo>
                      <a:lnTo>
                        <a:pt x="94666" y="13766"/>
                      </a:lnTo>
                      <a:lnTo>
                        <a:pt x="92137" y="19945"/>
                      </a:lnTo>
                      <a:lnTo>
                        <a:pt x="103374" y="26828"/>
                      </a:lnTo>
                      <a:lnTo>
                        <a:pt x="90312" y="37008"/>
                      </a:lnTo>
                      <a:lnTo>
                        <a:pt x="85254" y="48981"/>
                      </a:lnTo>
                      <a:lnTo>
                        <a:pt x="73985" y="55864"/>
                      </a:lnTo>
                      <a:lnTo>
                        <a:pt x="78338" y="67101"/>
                      </a:lnTo>
                      <a:lnTo>
                        <a:pt x="84517" y="83429"/>
                      </a:lnTo>
                      <a:lnTo>
                        <a:pt x="83429" y="89607"/>
                      </a:lnTo>
                      <a:lnTo>
                        <a:pt x="91400" y="92873"/>
                      </a:lnTo>
                      <a:lnTo>
                        <a:pt x="92873" y="105935"/>
                      </a:lnTo>
                      <a:lnTo>
                        <a:pt x="70719" y="112818"/>
                      </a:lnTo>
                      <a:lnTo>
                        <a:pt x="69631" y="126583"/>
                      </a:lnTo>
                      <a:lnTo>
                        <a:pt x="61307" y="139645"/>
                      </a:lnTo>
                      <a:lnTo>
                        <a:pt x="50774" y="136028"/>
                      </a:lnTo>
                      <a:lnTo>
                        <a:pt x="45716" y="127320"/>
                      </a:lnTo>
                      <a:lnTo>
                        <a:pt x="32654" y="132762"/>
                      </a:lnTo>
                      <a:lnTo>
                        <a:pt x="31182" y="140382"/>
                      </a:lnTo>
                      <a:lnTo>
                        <a:pt x="20681" y="145472"/>
                      </a:lnTo>
                      <a:lnTo>
                        <a:pt x="13766" y="136028"/>
                      </a:lnTo>
                      <a:lnTo>
                        <a:pt x="0" y="132762"/>
                      </a:lnTo>
                      <a:lnTo>
                        <a:pt x="0" y="158533"/>
                      </a:lnTo>
                      <a:lnTo>
                        <a:pt x="15591" y="190068"/>
                      </a:lnTo>
                      <a:lnTo>
                        <a:pt x="31182" y="200600"/>
                      </a:lnTo>
                      <a:lnTo>
                        <a:pt x="27564" y="210749"/>
                      </a:lnTo>
                      <a:lnTo>
                        <a:pt x="43155" y="216927"/>
                      </a:lnTo>
                      <a:lnTo>
                        <a:pt x="55865" y="212573"/>
                      </a:lnTo>
                      <a:lnTo>
                        <a:pt x="46420" y="221986"/>
                      </a:lnTo>
                      <a:lnTo>
                        <a:pt x="63836" y="223074"/>
                      </a:lnTo>
                      <a:lnTo>
                        <a:pt x="72544" y="214398"/>
                      </a:lnTo>
                      <a:lnTo>
                        <a:pt x="88871" y="213310"/>
                      </a:lnTo>
                      <a:lnTo>
                        <a:pt x="98315" y="215102"/>
                      </a:lnTo>
                      <a:lnTo>
                        <a:pt x="108464" y="218720"/>
                      </a:lnTo>
                      <a:lnTo>
                        <a:pt x="112818" y="224546"/>
                      </a:lnTo>
                      <a:lnTo>
                        <a:pt x="124055" y="225635"/>
                      </a:lnTo>
                      <a:lnTo>
                        <a:pt x="130938" y="239401"/>
                      </a:lnTo>
                      <a:lnTo>
                        <a:pt x="134203" y="233255"/>
                      </a:lnTo>
                      <a:lnTo>
                        <a:pt x="143647" y="240137"/>
                      </a:lnTo>
                      <a:lnTo>
                        <a:pt x="141118" y="249582"/>
                      </a:lnTo>
                      <a:lnTo>
                        <a:pt x="145472" y="252111"/>
                      </a:lnTo>
                      <a:lnTo>
                        <a:pt x="143647" y="255729"/>
                      </a:lnTo>
                      <a:lnTo>
                        <a:pt x="148001" y="264084"/>
                      </a:lnTo>
                      <a:lnTo>
                        <a:pt x="137853" y="286558"/>
                      </a:lnTo>
                      <a:lnTo>
                        <a:pt x="140382" y="294177"/>
                      </a:lnTo>
                      <a:lnTo>
                        <a:pt x="144736" y="302885"/>
                      </a:lnTo>
                      <a:lnTo>
                        <a:pt x="142207" y="312329"/>
                      </a:lnTo>
                      <a:lnTo>
                        <a:pt x="159238" y="309064"/>
                      </a:lnTo>
                      <a:lnTo>
                        <a:pt x="161799" y="301092"/>
                      </a:lnTo>
                      <a:lnTo>
                        <a:pt x="181744" y="310505"/>
                      </a:lnTo>
                      <a:lnTo>
                        <a:pt x="173036" y="315947"/>
                      </a:lnTo>
                      <a:lnTo>
                        <a:pt x="161799" y="339189"/>
                      </a:lnTo>
                      <a:lnTo>
                        <a:pt x="164328" y="344247"/>
                      </a:lnTo>
                      <a:lnTo>
                        <a:pt x="172300" y="344247"/>
                      </a:lnTo>
                      <a:lnTo>
                        <a:pt x="167242" y="378726"/>
                      </a:lnTo>
                      <a:lnTo>
                        <a:pt x="148001" y="385610"/>
                      </a:lnTo>
                      <a:lnTo>
                        <a:pt x="148001" y="388875"/>
                      </a:lnTo>
                      <a:lnTo>
                        <a:pt x="153444" y="406291"/>
                      </a:lnTo>
                      <a:lnTo>
                        <a:pt x="158534" y="401937"/>
                      </a:lnTo>
                      <a:lnTo>
                        <a:pt x="167242" y="405202"/>
                      </a:lnTo>
                      <a:lnTo>
                        <a:pt x="167242" y="395022"/>
                      </a:lnTo>
                      <a:lnTo>
                        <a:pt x="177390" y="388139"/>
                      </a:lnTo>
                      <a:lnTo>
                        <a:pt x="179919" y="390668"/>
                      </a:lnTo>
                      <a:lnTo>
                        <a:pt x="191156" y="376902"/>
                      </a:lnTo>
                      <a:lnTo>
                        <a:pt x="197335" y="380519"/>
                      </a:lnTo>
                      <a:lnTo>
                        <a:pt x="202425" y="376166"/>
                      </a:lnTo>
                      <a:lnTo>
                        <a:pt x="208220" y="377638"/>
                      </a:lnTo>
                      <a:lnTo>
                        <a:pt x="209308" y="386346"/>
                      </a:lnTo>
                      <a:lnTo>
                        <a:pt x="213662" y="388139"/>
                      </a:lnTo>
                      <a:lnTo>
                        <a:pt x="220545" y="361311"/>
                      </a:lnTo>
                      <a:lnTo>
                        <a:pt x="232518" y="350426"/>
                      </a:lnTo>
                      <a:lnTo>
                        <a:pt x="238345" y="334835"/>
                      </a:lnTo>
                      <a:lnTo>
                        <a:pt x="247021" y="333010"/>
                      </a:lnTo>
                      <a:lnTo>
                        <a:pt x="251375" y="342455"/>
                      </a:lnTo>
                      <a:lnTo>
                        <a:pt x="260819" y="338101"/>
                      </a:lnTo>
                      <a:lnTo>
                        <a:pt x="264436" y="318508"/>
                      </a:lnTo>
                      <a:lnTo>
                        <a:pt x="271351" y="309064"/>
                      </a:lnTo>
                      <a:lnTo>
                        <a:pt x="271351" y="285854"/>
                      </a:lnTo>
                      <a:lnTo>
                        <a:pt x="280764" y="283293"/>
                      </a:lnTo>
                      <a:lnTo>
                        <a:pt x="280764" y="274617"/>
                      </a:lnTo>
                      <a:lnTo>
                        <a:pt x="292737" y="298531"/>
                      </a:lnTo>
                      <a:lnTo>
                        <a:pt x="297827" y="292737"/>
                      </a:lnTo>
                      <a:lnTo>
                        <a:pt x="297091" y="284029"/>
                      </a:lnTo>
                      <a:lnTo>
                        <a:pt x="306535" y="273880"/>
                      </a:lnTo>
                      <a:lnTo>
                        <a:pt x="298916" y="244492"/>
                      </a:lnTo>
                      <a:lnTo>
                        <a:pt x="301445" y="233959"/>
                      </a:lnTo>
                      <a:lnTo>
                        <a:pt x="310889" y="226339"/>
                      </a:lnTo>
                      <a:lnTo>
                        <a:pt x="308328" y="218720"/>
                      </a:lnTo>
                      <a:lnTo>
                        <a:pt x="296002" y="219456"/>
                      </a:lnTo>
                      <a:lnTo>
                        <a:pt x="299620" y="204954"/>
                      </a:lnTo>
                      <a:lnTo>
                        <a:pt x="292737" y="192981"/>
                      </a:lnTo>
                      <a:lnTo>
                        <a:pt x="290208" y="185009"/>
                      </a:lnTo>
                      <a:lnTo>
                        <a:pt x="300356" y="173036"/>
                      </a:lnTo>
                      <a:lnTo>
                        <a:pt x="306535" y="166857"/>
                      </a:lnTo>
                      <a:lnTo>
                        <a:pt x="306535" y="154180"/>
                      </a:lnTo>
                      <a:lnTo>
                        <a:pt x="316683" y="149826"/>
                      </a:lnTo>
                      <a:lnTo>
                        <a:pt x="315243" y="144736"/>
                      </a:lnTo>
                      <a:lnTo>
                        <a:pt x="324655" y="121525"/>
                      </a:lnTo>
                      <a:lnTo>
                        <a:pt x="336628" y="119700"/>
                      </a:lnTo>
                      <a:lnTo>
                        <a:pt x="335924" y="109168"/>
                      </a:lnTo>
                      <a:lnTo>
                        <a:pt x="325391" y="92873"/>
                      </a:lnTo>
                      <a:lnTo>
                        <a:pt x="314154" y="89607"/>
                      </a:lnTo>
                      <a:lnTo>
                        <a:pt x="318508" y="67101"/>
                      </a:lnTo>
                      <a:lnTo>
                        <a:pt x="331570" y="62043"/>
                      </a:lnTo>
                      <a:lnTo>
                        <a:pt x="335924" y="53335"/>
                      </a:lnTo>
                      <a:lnTo>
                        <a:pt x="329009" y="47509"/>
                      </a:lnTo>
                      <a:lnTo>
                        <a:pt x="329745" y="36272"/>
                      </a:lnTo>
                      <a:lnTo>
                        <a:pt x="326128" y="25035"/>
                      </a:lnTo>
                      <a:lnTo>
                        <a:pt x="303974" y="11973"/>
                      </a:lnTo>
                      <a:lnTo>
                        <a:pt x="284029" y="19945"/>
                      </a:lnTo>
                      <a:lnTo>
                        <a:pt x="278971" y="24299"/>
                      </a:lnTo>
                      <a:lnTo>
                        <a:pt x="271351" y="21769"/>
                      </a:lnTo>
                      <a:lnTo>
                        <a:pt x="277146" y="4354"/>
                      </a:lnTo>
                      <a:lnTo>
                        <a:pt x="267702" y="1793"/>
                      </a:lnTo>
                      <a:lnTo>
                        <a:pt x="261907" y="6883"/>
                      </a:lnTo>
                      <a:lnTo>
                        <a:pt x="252111" y="0"/>
                      </a:lnTo>
                      <a:lnTo>
                        <a:pt x="241963" y="15591"/>
                      </a:lnTo>
                      <a:lnTo>
                        <a:pt x="248846" y="22474"/>
                      </a:lnTo>
                      <a:lnTo>
                        <a:pt x="256465" y="17415"/>
                      </a:lnTo>
                      <a:lnTo>
                        <a:pt x="260083" y="18856"/>
                      </a:lnTo>
                      <a:lnTo>
                        <a:pt x="253200" y="33743"/>
                      </a:lnTo>
                      <a:lnTo>
                        <a:pt x="235784" y="41362"/>
                      </a:lnTo>
                      <a:lnTo>
                        <a:pt x="219457" y="36272"/>
                      </a:lnTo>
                      <a:lnTo>
                        <a:pt x="219457" y="43155"/>
                      </a:lnTo>
                      <a:lnTo>
                        <a:pt x="208220" y="41362"/>
                      </a:lnTo>
                      <a:lnTo>
                        <a:pt x="199864" y="36272"/>
                      </a:lnTo>
                      <a:lnTo>
                        <a:pt x="187539" y="45716"/>
                      </a:lnTo>
                      <a:lnTo>
                        <a:pt x="179183" y="28652"/>
                      </a:lnTo>
                      <a:lnTo>
                        <a:pt x="159238" y="27564"/>
                      </a:lnTo>
                      <a:lnTo>
                        <a:pt x="158534" y="15591"/>
                      </a:lnTo>
                      <a:lnTo>
                        <a:pt x="146561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2" name="Forma Livre: Forma 261">
                  <a:extLst>
                    <a:ext uri="{FF2B5EF4-FFF2-40B4-BE49-F238E27FC236}">
                      <a16:creationId xmlns:a16="http://schemas.microsoft.com/office/drawing/2014/main" id="{2F27004B-E67C-6AF9-BCF4-3784ECB5F157}"/>
                    </a:ext>
                  </a:extLst>
                </p:cNvPr>
                <p:cNvSpPr/>
                <p:nvPr/>
              </p:nvSpPr>
              <p:spPr>
                <a:xfrm>
                  <a:off x="1603982" y="5675046"/>
                  <a:ext cx="336628" cy="406290"/>
                </a:xfrm>
                <a:custGeom>
                  <a:avLst/>
                  <a:gdLst>
                    <a:gd name="csX0" fmla="*/ 146561 w 336628"/>
                    <a:gd name="csY0" fmla="*/ 2529 h 406290"/>
                    <a:gd name="csX1" fmla="*/ 127320 w 336628"/>
                    <a:gd name="csY1" fmla="*/ 1088 h 406290"/>
                    <a:gd name="csX2" fmla="*/ 117172 w 336628"/>
                    <a:gd name="csY2" fmla="*/ 6146 h 406290"/>
                    <a:gd name="csX3" fmla="*/ 110289 w 336628"/>
                    <a:gd name="csY3" fmla="*/ 14854 h 406290"/>
                    <a:gd name="csX4" fmla="*/ 94666 w 336628"/>
                    <a:gd name="csY4" fmla="*/ 13766 h 406290"/>
                    <a:gd name="csX5" fmla="*/ 92137 w 336628"/>
                    <a:gd name="csY5" fmla="*/ 19945 h 406290"/>
                    <a:gd name="csX6" fmla="*/ 103374 w 336628"/>
                    <a:gd name="csY6" fmla="*/ 26828 h 406290"/>
                    <a:gd name="csX7" fmla="*/ 90312 w 336628"/>
                    <a:gd name="csY7" fmla="*/ 37008 h 406290"/>
                    <a:gd name="csX8" fmla="*/ 85254 w 336628"/>
                    <a:gd name="csY8" fmla="*/ 48981 h 406290"/>
                    <a:gd name="csX9" fmla="*/ 73985 w 336628"/>
                    <a:gd name="csY9" fmla="*/ 55864 h 406290"/>
                    <a:gd name="csX10" fmla="*/ 78338 w 336628"/>
                    <a:gd name="csY10" fmla="*/ 67101 h 406290"/>
                    <a:gd name="csX11" fmla="*/ 84517 w 336628"/>
                    <a:gd name="csY11" fmla="*/ 83429 h 406290"/>
                    <a:gd name="csX12" fmla="*/ 83429 w 336628"/>
                    <a:gd name="csY12" fmla="*/ 89607 h 406290"/>
                    <a:gd name="csX13" fmla="*/ 91400 w 336628"/>
                    <a:gd name="csY13" fmla="*/ 92873 h 406290"/>
                    <a:gd name="csX14" fmla="*/ 92873 w 336628"/>
                    <a:gd name="csY14" fmla="*/ 105935 h 406290"/>
                    <a:gd name="csX15" fmla="*/ 70719 w 336628"/>
                    <a:gd name="csY15" fmla="*/ 112818 h 406290"/>
                    <a:gd name="csX16" fmla="*/ 69631 w 336628"/>
                    <a:gd name="csY16" fmla="*/ 126583 h 406290"/>
                    <a:gd name="csX17" fmla="*/ 61307 w 336628"/>
                    <a:gd name="csY17" fmla="*/ 139645 h 406290"/>
                    <a:gd name="csX18" fmla="*/ 50774 w 336628"/>
                    <a:gd name="csY18" fmla="*/ 136028 h 406290"/>
                    <a:gd name="csX19" fmla="*/ 45716 w 336628"/>
                    <a:gd name="csY19" fmla="*/ 127320 h 406290"/>
                    <a:gd name="csX20" fmla="*/ 32654 w 336628"/>
                    <a:gd name="csY20" fmla="*/ 132762 h 406290"/>
                    <a:gd name="csX21" fmla="*/ 31182 w 336628"/>
                    <a:gd name="csY21" fmla="*/ 140382 h 406290"/>
                    <a:gd name="csX22" fmla="*/ 20681 w 336628"/>
                    <a:gd name="csY22" fmla="*/ 145472 h 406290"/>
                    <a:gd name="csX23" fmla="*/ 13766 w 336628"/>
                    <a:gd name="csY23" fmla="*/ 136028 h 406290"/>
                    <a:gd name="csX24" fmla="*/ 0 w 336628"/>
                    <a:gd name="csY24" fmla="*/ 132762 h 406290"/>
                    <a:gd name="csX25" fmla="*/ 0 w 336628"/>
                    <a:gd name="csY25" fmla="*/ 158533 h 406290"/>
                    <a:gd name="csX26" fmla="*/ 15591 w 336628"/>
                    <a:gd name="csY26" fmla="*/ 190068 h 406290"/>
                    <a:gd name="csX27" fmla="*/ 31182 w 336628"/>
                    <a:gd name="csY27" fmla="*/ 200600 h 406290"/>
                    <a:gd name="csX28" fmla="*/ 27564 w 336628"/>
                    <a:gd name="csY28" fmla="*/ 210749 h 406290"/>
                    <a:gd name="csX29" fmla="*/ 43155 w 336628"/>
                    <a:gd name="csY29" fmla="*/ 216927 h 406290"/>
                    <a:gd name="csX30" fmla="*/ 55865 w 336628"/>
                    <a:gd name="csY30" fmla="*/ 212573 h 406290"/>
                    <a:gd name="csX31" fmla="*/ 46420 w 336628"/>
                    <a:gd name="csY31" fmla="*/ 221986 h 406290"/>
                    <a:gd name="csX32" fmla="*/ 63836 w 336628"/>
                    <a:gd name="csY32" fmla="*/ 223074 h 406290"/>
                    <a:gd name="csX33" fmla="*/ 72544 w 336628"/>
                    <a:gd name="csY33" fmla="*/ 214398 h 406290"/>
                    <a:gd name="csX34" fmla="*/ 88871 w 336628"/>
                    <a:gd name="csY34" fmla="*/ 213310 h 406290"/>
                    <a:gd name="csX35" fmla="*/ 98315 w 336628"/>
                    <a:gd name="csY35" fmla="*/ 215102 h 406290"/>
                    <a:gd name="csX36" fmla="*/ 108464 w 336628"/>
                    <a:gd name="csY36" fmla="*/ 218720 h 406290"/>
                    <a:gd name="csX37" fmla="*/ 112818 w 336628"/>
                    <a:gd name="csY37" fmla="*/ 224546 h 406290"/>
                    <a:gd name="csX38" fmla="*/ 124055 w 336628"/>
                    <a:gd name="csY38" fmla="*/ 225635 h 406290"/>
                    <a:gd name="csX39" fmla="*/ 130938 w 336628"/>
                    <a:gd name="csY39" fmla="*/ 239401 h 406290"/>
                    <a:gd name="csX40" fmla="*/ 134203 w 336628"/>
                    <a:gd name="csY40" fmla="*/ 233255 h 406290"/>
                    <a:gd name="csX41" fmla="*/ 143647 w 336628"/>
                    <a:gd name="csY41" fmla="*/ 240137 h 406290"/>
                    <a:gd name="csX42" fmla="*/ 141118 w 336628"/>
                    <a:gd name="csY42" fmla="*/ 249582 h 406290"/>
                    <a:gd name="csX43" fmla="*/ 145472 w 336628"/>
                    <a:gd name="csY43" fmla="*/ 252111 h 406290"/>
                    <a:gd name="csX44" fmla="*/ 143647 w 336628"/>
                    <a:gd name="csY44" fmla="*/ 255729 h 406290"/>
                    <a:gd name="csX45" fmla="*/ 148001 w 336628"/>
                    <a:gd name="csY45" fmla="*/ 264084 h 406290"/>
                    <a:gd name="csX46" fmla="*/ 137853 w 336628"/>
                    <a:gd name="csY46" fmla="*/ 286558 h 406290"/>
                    <a:gd name="csX47" fmla="*/ 140382 w 336628"/>
                    <a:gd name="csY47" fmla="*/ 294177 h 406290"/>
                    <a:gd name="csX48" fmla="*/ 144736 w 336628"/>
                    <a:gd name="csY48" fmla="*/ 302885 h 406290"/>
                    <a:gd name="csX49" fmla="*/ 142207 w 336628"/>
                    <a:gd name="csY49" fmla="*/ 312329 h 406290"/>
                    <a:gd name="csX50" fmla="*/ 159238 w 336628"/>
                    <a:gd name="csY50" fmla="*/ 309064 h 406290"/>
                    <a:gd name="csX51" fmla="*/ 161799 w 336628"/>
                    <a:gd name="csY51" fmla="*/ 301092 h 406290"/>
                    <a:gd name="csX52" fmla="*/ 181744 w 336628"/>
                    <a:gd name="csY52" fmla="*/ 310505 h 406290"/>
                    <a:gd name="csX53" fmla="*/ 173036 w 336628"/>
                    <a:gd name="csY53" fmla="*/ 315947 h 406290"/>
                    <a:gd name="csX54" fmla="*/ 161799 w 336628"/>
                    <a:gd name="csY54" fmla="*/ 339189 h 406290"/>
                    <a:gd name="csX55" fmla="*/ 164328 w 336628"/>
                    <a:gd name="csY55" fmla="*/ 344247 h 406290"/>
                    <a:gd name="csX56" fmla="*/ 172300 w 336628"/>
                    <a:gd name="csY56" fmla="*/ 344247 h 406290"/>
                    <a:gd name="csX57" fmla="*/ 167242 w 336628"/>
                    <a:gd name="csY57" fmla="*/ 378726 h 406290"/>
                    <a:gd name="csX58" fmla="*/ 148001 w 336628"/>
                    <a:gd name="csY58" fmla="*/ 385610 h 406290"/>
                    <a:gd name="csX59" fmla="*/ 148001 w 336628"/>
                    <a:gd name="csY59" fmla="*/ 388875 h 406290"/>
                    <a:gd name="csX60" fmla="*/ 153444 w 336628"/>
                    <a:gd name="csY60" fmla="*/ 406291 h 406290"/>
                    <a:gd name="csX61" fmla="*/ 158534 w 336628"/>
                    <a:gd name="csY61" fmla="*/ 401937 h 406290"/>
                    <a:gd name="csX62" fmla="*/ 167242 w 336628"/>
                    <a:gd name="csY62" fmla="*/ 405202 h 406290"/>
                    <a:gd name="csX63" fmla="*/ 167242 w 336628"/>
                    <a:gd name="csY63" fmla="*/ 395022 h 406290"/>
                    <a:gd name="csX64" fmla="*/ 177390 w 336628"/>
                    <a:gd name="csY64" fmla="*/ 388139 h 406290"/>
                    <a:gd name="csX65" fmla="*/ 179919 w 336628"/>
                    <a:gd name="csY65" fmla="*/ 390668 h 406290"/>
                    <a:gd name="csX66" fmla="*/ 191156 w 336628"/>
                    <a:gd name="csY66" fmla="*/ 376902 h 406290"/>
                    <a:gd name="csX67" fmla="*/ 197335 w 336628"/>
                    <a:gd name="csY67" fmla="*/ 380519 h 406290"/>
                    <a:gd name="csX68" fmla="*/ 202425 w 336628"/>
                    <a:gd name="csY68" fmla="*/ 376166 h 406290"/>
                    <a:gd name="csX69" fmla="*/ 208220 w 336628"/>
                    <a:gd name="csY69" fmla="*/ 377638 h 406290"/>
                    <a:gd name="csX70" fmla="*/ 209308 w 336628"/>
                    <a:gd name="csY70" fmla="*/ 386346 h 406290"/>
                    <a:gd name="csX71" fmla="*/ 213662 w 336628"/>
                    <a:gd name="csY71" fmla="*/ 388139 h 406290"/>
                    <a:gd name="csX72" fmla="*/ 220545 w 336628"/>
                    <a:gd name="csY72" fmla="*/ 361311 h 406290"/>
                    <a:gd name="csX73" fmla="*/ 232518 w 336628"/>
                    <a:gd name="csY73" fmla="*/ 350426 h 406290"/>
                    <a:gd name="csX74" fmla="*/ 238345 w 336628"/>
                    <a:gd name="csY74" fmla="*/ 334835 h 406290"/>
                    <a:gd name="csX75" fmla="*/ 247021 w 336628"/>
                    <a:gd name="csY75" fmla="*/ 333010 h 406290"/>
                    <a:gd name="csX76" fmla="*/ 251375 w 336628"/>
                    <a:gd name="csY76" fmla="*/ 342455 h 406290"/>
                    <a:gd name="csX77" fmla="*/ 260819 w 336628"/>
                    <a:gd name="csY77" fmla="*/ 338101 h 406290"/>
                    <a:gd name="csX78" fmla="*/ 264436 w 336628"/>
                    <a:gd name="csY78" fmla="*/ 318508 h 406290"/>
                    <a:gd name="csX79" fmla="*/ 271351 w 336628"/>
                    <a:gd name="csY79" fmla="*/ 309064 h 406290"/>
                    <a:gd name="csX80" fmla="*/ 271351 w 336628"/>
                    <a:gd name="csY80" fmla="*/ 285854 h 406290"/>
                    <a:gd name="csX81" fmla="*/ 280764 w 336628"/>
                    <a:gd name="csY81" fmla="*/ 283293 h 406290"/>
                    <a:gd name="csX82" fmla="*/ 280764 w 336628"/>
                    <a:gd name="csY82" fmla="*/ 274617 h 406290"/>
                    <a:gd name="csX83" fmla="*/ 292737 w 336628"/>
                    <a:gd name="csY83" fmla="*/ 298531 h 406290"/>
                    <a:gd name="csX84" fmla="*/ 297827 w 336628"/>
                    <a:gd name="csY84" fmla="*/ 292737 h 406290"/>
                    <a:gd name="csX85" fmla="*/ 297091 w 336628"/>
                    <a:gd name="csY85" fmla="*/ 284029 h 406290"/>
                    <a:gd name="csX86" fmla="*/ 306535 w 336628"/>
                    <a:gd name="csY86" fmla="*/ 273880 h 406290"/>
                    <a:gd name="csX87" fmla="*/ 298916 w 336628"/>
                    <a:gd name="csY87" fmla="*/ 244492 h 406290"/>
                    <a:gd name="csX88" fmla="*/ 301445 w 336628"/>
                    <a:gd name="csY88" fmla="*/ 233959 h 406290"/>
                    <a:gd name="csX89" fmla="*/ 310889 w 336628"/>
                    <a:gd name="csY89" fmla="*/ 226339 h 406290"/>
                    <a:gd name="csX90" fmla="*/ 308328 w 336628"/>
                    <a:gd name="csY90" fmla="*/ 218720 h 406290"/>
                    <a:gd name="csX91" fmla="*/ 296002 w 336628"/>
                    <a:gd name="csY91" fmla="*/ 219456 h 406290"/>
                    <a:gd name="csX92" fmla="*/ 299620 w 336628"/>
                    <a:gd name="csY92" fmla="*/ 204954 h 406290"/>
                    <a:gd name="csX93" fmla="*/ 292737 w 336628"/>
                    <a:gd name="csY93" fmla="*/ 192981 h 406290"/>
                    <a:gd name="csX94" fmla="*/ 290208 w 336628"/>
                    <a:gd name="csY94" fmla="*/ 185009 h 406290"/>
                    <a:gd name="csX95" fmla="*/ 300356 w 336628"/>
                    <a:gd name="csY95" fmla="*/ 173036 h 406290"/>
                    <a:gd name="csX96" fmla="*/ 306535 w 336628"/>
                    <a:gd name="csY96" fmla="*/ 166857 h 406290"/>
                    <a:gd name="csX97" fmla="*/ 306535 w 336628"/>
                    <a:gd name="csY97" fmla="*/ 154180 h 406290"/>
                    <a:gd name="csX98" fmla="*/ 316683 w 336628"/>
                    <a:gd name="csY98" fmla="*/ 149826 h 406290"/>
                    <a:gd name="csX99" fmla="*/ 315243 w 336628"/>
                    <a:gd name="csY99" fmla="*/ 144736 h 406290"/>
                    <a:gd name="csX100" fmla="*/ 324655 w 336628"/>
                    <a:gd name="csY100" fmla="*/ 121525 h 406290"/>
                    <a:gd name="csX101" fmla="*/ 336628 w 336628"/>
                    <a:gd name="csY101" fmla="*/ 119700 h 406290"/>
                    <a:gd name="csX102" fmla="*/ 335924 w 336628"/>
                    <a:gd name="csY102" fmla="*/ 109168 h 406290"/>
                    <a:gd name="csX103" fmla="*/ 325391 w 336628"/>
                    <a:gd name="csY103" fmla="*/ 92873 h 406290"/>
                    <a:gd name="csX104" fmla="*/ 314154 w 336628"/>
                    <a:gd name="csY104" fmla="*/ 89607 h 406290"/>
                    <a:gd name="csX105" fmla="*/ 318508 w 336628"/>
                    <a:gd name="csY105" fmla="*/ 67101 h 406290"/>
                    <a:gd name="csX106" fmla="*/ 331570 w 336628"/>
                    <a:gd name="csY106" fmla="*/ 62043 h 406290"/>
                    <a:gd name="csX107" fmla="*/ 335924 w 336628"/>
                    <a:gd name="csY107" fmla="*/ 53335 h 406290"/>
                    <a:gd name="csX108" fmla="*/ 329009 w 336628"/>
                    <a:gd name="csY108" fmla="*/ 47509 h 406290"/>
                    <a:gd name="csX109" fmla="*/ 329745 w 336628"/>
                    <a:gd name="csY109" fmla="*/ 36272 h 406290"/>
                    <a:gd name="csX110" fmla="*/ 326128 w 336628"/>
                    <a:gd name="csY110" fmla="*/ 25035 h 406290"/>
                    <a:gd name="csX111" fmla="*/ 303974 w 336628"/>
                    <a:gd name="csY111" fmla="*/ 11973 h 406290"/>
                    <a:gd name="csX112" fmla="*/ 284029 w 336628"/>
                    <a:gd name="csY112" fmla="*/ 19945 h 406290"/>
                    <a:gd name="csX113" fmla="*/ 278971 w 336628"/>
                    <a:gd name="csY113" fmla="*/ 24299 h 406290"/>
                    <a:gd name="csX114" fmla="*/ 271351 w 336628"/>
                    <a:gd name="csY114" fmla="*/ 21769 h 406290"/>
                    <a:gd name="csX115" fmla="*/ 277146 w 336628"/>
                    <a:gd name="csY115" fmla="*/ 4354 h 406290"/>
                    <a:gd name="csX116" fmla="*/ 267702 w 336628"/>
                    <a:gd name="csY116" fmla="*/ 1793 h 406290"/>
                    <a:gd name="csX117" fmla="*/ 261907 w 336628"/>
                    <a:gd name="csY117" fmla="*/ 6883 h 406290"/>
                    <a:gd name="csX118" fmla="*/ 252111 w 336628"/>
                    <a:gd name="csY118" fmla="*/ 0 h 406290"/>
                    <a:gd name="csX119" fmla="*/ 241963 w 336628"/>
                    <a:gd name="csY119" fmla="*/ 15591 h 406290"/>
                    <a:gd name="csX120" fmla="*/ 248846 w 336628"/>
                    <a:gd name="csY120" fmla="*/ 22474 h 406290"/>
                    <a:gd name="csX121" fmla="*/ 256465 w 336628"/>
                    <a:gd name="csY121" fmla="*/ 17415 h 406290"/>
                    <a:gd name="csX122" fmla="*/ 260083 w 336628"/>
                    <a:gd name="csY122" fmla="*/ 18856 h 406290"/>
                    <a:gd name="csX123" fmla="*/ 253200 w 336628"/>
                    <a:gd name="csY123" fmla="*/ 33743 h 406290"/>
                    <a:gd name="csX124" fmla="*/ 235784 w 336628"/>
                    <a:gd name="csY124" fmla="*/ 41362 h 406290"/>
                    <a:gd name="csX125" fmla="*/ 219457 w 336628"/>
                    <a:gd name="csY125" fmla="*/ 36272 h 406290"/>
                    <a:gd name="csX126" fmla="*/ 219457 w 336628"/>
                    <a:gd name="csY126" fmla="*/ 43155 h 406290"/>
                    <a:gd name="csX127" fmla="*/ 208220 w 336628"/>
                    <a:gd name="csY127" fmla="*/ 41362 h 406290"/>
                    <a:gd name="csX128" fmla="*/ 199864 w 336628"/>
                    <a:gd name="csY128" fmla="*/ 36272 h 406290"/>
                    <a:gd name="csX129" fmla="*/ 187539 w 336628"/>
                    <a:gd name="csY129" fmla="*/ 45716 h 406290"/>
                    <a:gd name="csX130" fmla="*/ 179183 w 336628"/>
                    <a:gd name="csY130" fmla="*/ 28652 h 406290"/>
                    <a:gd name="csX131" fmla="*/ 159238 w 336628"/>
                    <a:gd name="csY131" fmla="*/ 27564 h 406290"/>
                    <a:gd name="csX132" fmla="*/ 158534 w 336628"/>
                    <a:gd name="csY132" fmla="*/ 15591 h 406290"/>
                    <a:gd name="csX133" fmla="*/ 146561 w 336628"/>
                    <a:gd name="csY133" fmla="*/ 2529 h 4062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</a:cxnLst>
                  <a:rect l="l" t="t" r="r" b="b"/>
                  <a:pathLst>
                    <a:path w="336628" h="406290">
                      <a:moveTo>
                        <a:pt x="146561" y="2529"/>
                      </a:moveTo>
                      <a:lnTo>
                        <a:pt x="127320" y="1088"/>
                      </a:lnTo>
                      <a:lnTo>
                        <a:pt x="117172" y="6146"/>
                      </a:lnTo>
                      <a:lnTo>
                        <a:pt x="110289" y="14854"/>
                      </a:lnTo>
                      <a:lnTo>
                        <a:pt x="94666" y="13766"/>
                      </a:lnTo>
                      <a:lnTo>
                        <a:pt x="92137" y="19945"/>
                      </a:lnTo>
                      <a:lnTo>
                        <a:pt x="103374" y="26828"/>
                      </a:lnTo>
                      <a:lnTo>
                        <a:pt x="90312" y="37008"/>
                      </a:lnTo>
                      <a:lnTo>
                        <a:pt x="85254" y="48981"/>
                      </a:lnTo>
                      <a:lnTo>
                        <a:pt x="73985" y="55864"/>
                      </a:lnTo>
                      <a:lnTo>
                        <a:pt x="78338" y="67101"/>
                      </a:lnTo>
                      <a:lnTo>
                        <a:pt x="84517" y="83429"/>
                      </a:lnTo>
                      <a:lnTo>
                        <a:pt x="83429" y="89607"/>
                      </a:lnTo>
                      <a:lnTo>
                        <a:pt x="91400" y="92873"/>
                      </a:lnTo>
                      <a:lnTo>
                        <a:pt x="92873" y="105935"/>
                      </a:lnTo>
                      <a:lnTo>
                        <a:pt x="70719" y="112818"/>
                      </a:lnTo>
                      <a:lnTo>
                        <a:pt x="69631" y="126583"/>
                      </a:lnTo>
                      <a:lnTo>
                        <a:pt x="61307" y="139645"/>
                      </a:lnTo>
                      <a:lnTo>
                        <a:pt x="50774" y="136028"/>
                      </a:lnTo>
                      <a:lnTo>
                        <a:pt x="45716" y="127320"/>
                      </a:lnTo>
                      <a:lnTo>
                        <a:pt x="32654" y="132762"/>
                      </a:lnTo>
                      <a:lnTo>
                        <a:pt x="31182" y="140382"/>
                      </a:lnTo>
                      <a:lnTo>
                        <a:pt x="20681" y="145472"/>
                      </a:lnTo>
                      <a:lnTo>
                        <a:pt x="13766" y="136028"/>
                      </a:lnTo>
                      <a:lnTo>
                        <a:pt x="0" y="132762"/>
                      </a:lnTo>
                      <a:lnTo>
                        <a:pt x="0" y="158533"/>
                      </a:lnTo>
                      <a:lnTo>
                        <a:pt x="15591" y="190068"/>
                      </a:lnTo>
                      <a:lnTo>
                        <a:pt x="31182" y="200600"/>
                      </a:lnTo>
                      <a:lnTo>
                        <a:pt x="27564" y="210749"/>
                      </a:lnTo>
                      <a:lnTo>
                        <a:pt x="43155" y="216927"/>
                      </a:lnTo>
                      <a:lnTo>
                        <a:pt x="55865" y="212573"/>
                      </a:lnTo>
                      <a:lnTo>
                        <a:pt x="46420" y="221986"/>
                      </a:lnTo>
                      <a:lnTo>
                        <a:pt x="63836" y="223074"/>
                      </a:lnTo>
                      <a:lnTo>
                        <a:pt x="72544" y="214398"/>
                      </a:lnTo>
                      <a:lnTo>
                        <a:pt x="88871" y="213310"/>
                      </a:lnTo>
                      <a:lnTo>
                        <a:pt x="98315" y="215102"/>
                      </a:lnTo>
                      <a:lnTo>
                        <a:pt x="108464" y="218720"/>
                      </a:lnTo>
                      <a:lnTo>
                        <a:pt x="112818" y="224546"/>
                      </a:lnTo>
                      <a:lnTo>
                        <a:pt x="124055" y="225635"/>
                      </a:lnTo>
                      <a:lnTo>
                        <a:pt x="130938" y="239401"/>
                      </a:lnTo>
                      <a:lnTo>
                        <a:pt x="134203" y="233255"/>
                      </a:lnTo>
                      <a:lnTo>
                        <a:pt x="143647" y="240137"/>
                      </a:lnTo>
                      <a:lnTo>
                        <a:pt x="141118" y="249582"/>
                      </a:lnTo>
                      <a:lnTo>
                        <a:pt x="145472" y="252111"/>
                      </a:lnTo>
                      <a:lnTo>
                        <a:pt x="143647" y="255729"/>
                      </a:lnTo>
                      <a:lnTo>
                        <a:pt x="148001" y="264084"/>
                      </a:lnTo>
                      <a:lnTo>
                        <a:pt x="137853" y="286558"/>
                      </a:lnTo>
                      <a:lnTo>
                        <a:pt x="140382" y="294177"/>
                      </a:lnTo>
                      <a:lnTo>
                        <a:pt x="144736" y="302885"/>
                      </a:lnTo>
                      <a:lnTo>
                        <a:pt x="142207" y="312329"/>
                      </a:lnTo>
                      <a:lnTo>
                        <a:pt x="159238" y="309064"/>
                      </a:lnTo>
                      <a:lnTo>
                        <a:pt x="161799" y="301092"/>
                      </a:lnTo>
                      <a:lnTo>
                        <a:pt x="181744" y="310505"/>
                      </a:lnTo>
                      <a:lnTo>
                        <a:pt x="173036" y="315947"/>
                      </a:lnTo>
                      <a:lnTo>
                        <a:pt x="161799" y="339189"/>
                      </a:lnTo>
                      <a:lnTo>
                        <a:pt x="164328" y="344247"/>
                      </a:lnTo>
                      <a:lnTo>
                        <a:pt x="172300" y="344247"/>
                      </a:lnTo>
                      <a:lnTo>
                        <a:pt x="167242" y="378726"/>
                      </a:lnTo>
                      <a:lnTo>
                        <a:pt x="148001" y="385610"/>
                      </a:lnTo>
                      <a:lnTo>
                        <a:pt x="148001" y="388875"/>
                      </a:lnTo>
                      <a:lnTo>
                        <a:pt x="153444" y="406291"/>
                      </a:lnTo>
                      <a:lnTo>
                        <a:pt x="158534" y="401937"/>
                      </a:lnTo>
                      <a:lnTo>
                        <a:pt x="167242" y="405202"/>
                      </a:lnTo>
                      <a:lnTo>
                        <a:pt x="167242" y="395022"/>
                      </a:lnTo>
                      <a:lnTo>
                        <a:pt x="177390" y="388139"/>
                      </a:lnTo>
                      <a:lnTo>
                        <a:pt x="179919" y="390668"/>
                      </a:lnTo>
                      <a:lnTo>
                        <a:pt x="191156" y="376902"/>
                      </a:lnTo>
                      <a:lnTo>
                        <a:pt x="197335" y="380519"/>
                      </a:lnTo>
                      <a:lnTo>
                        <a:pt x="202425" y="376166"/>
                      </a:lnTo>
                      <a:lnTo>
                        <a:pt x="208220" y="377638"/>
                      </a:lnTo>
                      <a:lnTo>
                        <a:pt x="209308" y="386346"/>
                      </a:lnTo>
                      <a:lnTo>
                        <a:pt x="213662" y="388139"/>
                      </a:lnTo>
                      <a:lnTo>
                        <a:pt x="220545" y="361311"/>
                      </a:lnTo>
                      <a:lnTo>
                        <a:pt x="232518" y="350426"/>
                      </a:lnTo>
                      <a:lnTo>
                        <a:pt x="238345" y="334835"/>
                      </a:lnTo>
                      <a:lnTo>
                        <a:pt x="247021" y="333010"/>
                      </a:lnTo>
                      <a:lnTo>
                        <a:pt x="251375" y="342455"/>
                      </a:lnTo>
                      <a:lnTo>
                        <a:pt x="260819" y="338101"/>
                      </a:lnTo>
                      <a:lnTo>
                        <a:pt x="264436" y="318508"/>
                      </a:lnTo>
                      <a:lnTo>
                        <a:pt x="271351" y="309064"/>
                      </a:lnTo>
                      <a:lnTo>
                        <a:pt x="271351" y="285854"/>
                      </a:lnTo>
                      <a:lnTo>
                        <a:pt x="280764" y="283293"/>
                      </a:lnTo>
                      <a:lnTo>
                        <a:pt x="280764" y="274617"/>
                      </a:lnTo>
                      <a:lnTo>
                        <a:pt x="292737" y="298531"/>
                      </a:lnTo>
                      <a:lnTo>
                        <a:pt x="297827" y="292737"/>
                      </a:lnTo>
                      <a:lnTo>
                        <a:pt x="297091" y="284029"/>
                      </a:lnTo>
                      <a:lnTo>
                        <a:pt x="306535" y="273880"/>
                      </a:lnTo>
                      <a:lnTo>
                        <a:pt x="298916" y="244492"/>
                      </a:lnTo>
                      <a:lnTo>
                        <a:pt x="301445" y="233959"/>
                      </a:lnTo>
                      <a:lnTo>
                        <a:pt x="310889" y="226339"/>
                      </a:lnTo>
                      <a:lnTo>
                        <a:pt x="308328" y="218720"/>
                      </a:lnTo>
                      <a:lnTo>
                        <a:pt x="296002" y="219456"/>
                      </a:lnTo>
                      <a:lnTo>
                        <a:pt x="299620" y="204954"/>
                      </a:lnTo>
                      <a:lnTo>
                        <a:pt x="292737" y="192981"/>
                      </a:lnTo>
                      <a:lnTo>
                        <a:pt x="290208" y="185009"/>
                      </a:lnTo>
                      <a:lnTo>
                        <a:pt x="300356" y="173036"/>
                      </a:lnTo>
                      <a:lnTo>
                        <a:pt x="306535" y="166857"/>
                      </a:lnTo>
                      <a:lnTo>
                        <a:pt x="306535" y="154180"/>
                      </a:lnTo>
                      <a:lnTo>
                        <a:pt x="316683" y="149826"/>
                      </a:lnTo>
                      <a:lnTo>
                        <a:pt x="315243" y="144736"/>
                      </a:lnTo>
                      <a:lnTo>
                        <a:pt x="324655" y="121525"/>
                      </a:lnTo>
                      <a:lnTo>
                        <a:pt x="336628" y="119700"/>
                      </a:lnTo>
                      <a:lnTo>
                        <a:pt x="335924" y="109168"/>
                      </a:lnTo>
                      <a:lnTo>
                        <a:pt x="325391" y="92873"/>
                      </a:lnTo>
                      <a:lnTo>
                        <a:pt x="314154" y="89607"/>
                      </a:lnTo>
                      <a:lnTo>
                        <a:pt x="318508" y="67101"/>
                      </a:lnTo>
                      <a:lnTo>
                        <a:pt x="331570" y="62043"/>
                      </a:lnTo>
                      <a:lnTo>
                        <a:pt x="335924" y="53335"/>
                      </a:lnTo>
                      <a:lnTo>
                        <a:pt x="329009" y="47509"/>
                      </a:lnTo>
                      <a:lnTo>
                        <a:pt x="329745" y="36272"/>
                      </a:lnTo>
                      <a:lnTo>
                        <a:pt x="326128" y="25035"/>
                      </a:lnTo>
                      <a:lnTo>
                        <a:pt x="303974" y="11973"/>
                      </a:lnTo>
                      <a:lnTo>
                        <a:pt x="284029" y="19945"/>
                      </a:lnTo>
                      <a:lnTo>
                        <a:pt x="278971" y="24299"/>
                      </a:lnTo>
                      <a:lnTo>
                        <a:pt x="271351" y="21769"/>
                      </a:lnTo>
                      <a:lnTo>
                        <a:pt x="277146" y="4354"/>
                      </a:lnTo>
                      <a:lnTo>
                        <a:pt x="267702" y="1793"/>
                      </a:lnTo>
                      <a:lnTo>
                        <a:pt x="261907" y="6883"/>
                      </a:lnTo>
                      <a:lnTo>
                        <a:pt x="252111" y="0"/>
                      </a:lnTo>
                      <a:lnTo>
                        <a:pt x="241963" y="15591"/>
                      </a:lnTo>
                      <a:lnTo>
                        <a:pt x="248846" y="22474"/>
                      </a:lnTo>
                      <a:lnTo>
                        <a:pt x="256465" y="17415"/>
                      </a:lnTo>
                      <a:lnTo>
                        <a:pt x="260083" y="18856"/>
                      </a:lnTo>
                      <a:lnTo>
                        <a:pt x="253200" y="33743"/>
                      </a:lnTo>
                      <a:lnTo>
                        <a:pt x="235784" y="41362"/>
                      </a:lnTo>
                      <a:lnTo>
                        <a:pt x="219457" y="36272"/>
                      </a:lnTo>
                      <a:lnTo>
                        <a:pt x="219457" y="43155"/>
                      </a:lnTo>
                      <a:lnTo>
                        <a:pt x="208220" y="41362"/>
                      </a:lnTo>
                      <a:lnTo>
                        <a:pt x="199864" y="36272"/>
                      </a:lnTo>
                      <a:lnTo>
                        <a:pt x="187539" y="45716"/>
                      </a:lnTo>
                      <a:lnTo>
                        <a:pt x="179183" y="28652"/>
                      </a:lnTo>
                      <a:lnTo>
                        <a:pt x="159238" y="27564"/>
                      </a:lnTo>
                      <a:lnTo>
                        <a:pt x="158534" y="15591"/>
                      </a:lnTo>
                      <a:lnTo>
                        <a:pt x="146561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3" name="Forma Livre: Forma 262">
                  <a:extLst>
                    <a:ext uri="{FF2B5EF4-FFF2-40B4-BE49-F238E27FC236}">
                      <a16:creationId xmlns:a16="http://schemas.microsoft.com/office/drawing/2014/main" id="{2F98BADD-21A0-0AEF-E4D0-64ED8898B21F}"/>
                    </a:ext>
                  </a:extLst>
                </p:cNvPr>
                <p:cNvSpPr/>
                <p:nvPr/>
              </p:nvSpPr>
              <p:spPr>
                <a:xfrm>
                  <a:off x="1603982" y="5675046"/>
                  <a:ext cx="336628" cy="406290"/>
                </a:xfrm>
                <a:custGeom>
                  <a:avLst/>
                  <a:gdLst>
                    <a:gd name="csX0" fmla="*/ 146561 w 336628"/>
                    <a:gd name="csY0" fmla="*/ 2529 h 406290"/>
                    <a:gd name="csX1" fmla="*/ 127320 w 336628"/>
                    <a:gd name="csY1" fmla="*/ 1088 h 406290"/>
                    <a:gd name="csX2" fmla="*/ 117172 w 336628"/>
                    <a:gd name="csY2" fmla="*/ 6146 h 406290"/>
                    <a:gd name="csX3" fmla="*/ 110289 w 336628"/>
                    <a:gd name="csY3" fmla="*/ 14854 h 406290"/>
                    <a:gd name="csX4" fmla="*/ 94666 w 336628"/>
                    <a:gd name="csY4" fmla="*/ 13766 h 406290"/>
                    <a:gd name="csX5" fmla="*/ 92137 w 336628"/>
                    <a:gd name="csY5" fmla="*/ 19945 h 406290"/>
                    <a:gd name="csX6" fmla="*/ 103374 w 336628"/>
                    <a:gd name="csY6" fmla="*/ 26828 h 406290"/>
                    <a:gd name="csX7" fmla="*/ 90312 w 336628"/>
                    <a:gd name="csY7" fmla="*/ 37008 h 406290"/>
                    <a:gd name="csX8" fmla="*/ 85254 w 336628"/>
                    <a:gd name="csY8" fmla="*/ 48981 h 406290"/>
                    <a:gd name="csX9" fmla="*/ 73985 w 336628"/>
                    <a:gd name="csY9" fmla="*/ 55864 h 406290"/>
                    <a:gd name="csX10" fmla="*/ 78338 w 336628"/>
                    <a:gd name="csY10" fmla="*/ 67101 h 406290"/>
                    <a:gd name="csX11" fmla="*/ 84517 w 336628"/>
                    <a:gd name="csY11" fmla="*/ 83429 h 406290"/>
                    <a:gd name="csX12" fmla="*/ 83429 w 336628"/>
                    <a:gd name="csY12" fmla="*/ 89607 h 406290"/>
                    <a:gd name="csX13" fmla="*/ 91400 w 336628"/>
                    <a:gd name="csY13" fmla="*/ 92873 h 406290"/>
                    <a:gd name="csX14" fmla="*/ 92873 w 336628"/>
                    <a:gd name="csY14" fmla="*/ 105935 h 406290"/>
                    <a:gd name="csX15" fmla="*/ 70719 w 336628"/>
                    <a:gd name="csY15" fmla="*/ 112818 h 406290"/>
                    <a:gd name="csX16" fmla="*/ 69631 w 336628"/>
                    <a:gd name="csY16" fmla="*/ 126583 h 406290"/>
                    <a:gd name="csX17" fmla="*/ 61307 w 336628"/>
                    <a:gd name="csY17" fmla="*/ 139645 h 406290"/>
                    <a:gd name="csX18" fmla="*/ 50774 w 336628"/>
                    <a:gd name="csY18" fmla="*/ 136028 h 406290"/>
                    <a:gd name="csX19" fmla="*/ 45716 w 336628"/>
                    <a:gd name="csY19" fmla="*/ 127320 h 406290"/>
                    <a:gd name="csX20" fmla="*/ 32654 w 336628"/>
                    <a:gd name="csY20" fmla="*/ 132762 h 406290"/>
                    <a:gd name="csX21" fmla="*/ 31182 w 336628"/>
                    <a:gd name="csY21" fmla="*/ 140382 h 406290"/>
                    <a:gd name="csX22" fmla="*/ 20681 w 336628"/>
                    <a:gd name="csY22" fmla="*/ 145472 h 406290"/>
                    <a:gd name="csX23" fmla="*/ 13766 w 336628"/>
                    <a:gd name="csY23" fmla="*/ 136028 h 406290"/>
                    <a:gd name="csX24" fmla="*/ 0 w 336628"/>
                    <a:gd name="csY24" fmla="*/ 132762 h 406290"/>
                    <a:gd name="csX25" fmla="*/ 0 w 336628"/>
                    <a:gd name="csY25" fmla="*/ 158533 h 406290"/>
                    <a:gd name="csX26" fmla="*/ 15591 w 336628"/>
                    <a:gd name="csY26" fmla="*/ 190068 h 406290"/>
                    <a:gd name="csX27" fmla="*/ 31182 w 336628"/>
                    <a:gd name="csY27" fmla="*/ 200600 h 406290"/>
                    <a:gd name="csX28" fmla="*/ 27564 w 336628"/>
                    <a:gd name="csY28" fmla="*/ 210749 h 406290"/>
                    <a:gd name="csX29" fmla="*/ 43155 w 336628"/>
                    <a:gd name="csY29" fmla="*/ 216927 h 406290"/>
                    <a:gd name="csX30" fmla="*/ 55865 w 336628"/>
                    <a:gd name="csY30" fmla="*/ 212573 h 406290"/>
                    <a:gd name="csX31" fmla="*/ 46420 w 336628"/>
                    <a:gd name="csY31" fmla="*/ 221986 h 406290"/>
                    <a:gd name="csX32" fmla="*/ 63836 w 336628"/>
                    <a:gd name="csY32" fmla="*/ 223074 h 406290"/>
                    <a:gd name="csX33" fmla="*/ 72544 w 336628"/>
                    <a:gd name="csY33" fmla="*/ 214398 h 406290"/>
                    <a:gd name="csX34" fmla="*/ 88871 w 336628"/>
                    <a:gd name="csY34" fmla="*/ 213310 h 406290"/>
                    <a:gd name="csX35" fmla="*/ 98315 w 336628"/>
                    <a:gd name="csY35" fmla="*/ 215102 h 406290"/>
                    <a:gd name="csX36" fmla="*/ 108464 w 336628"/>
                    <a:gd name="csY36" fmla="*/ 218720 h 406290"/>
                    <a:gd name="csX37" fmla="*/ 112818 w 336628"/>
                    <a:gd name="csY37" fmla="*/ 224546 h 406290"/>
                    <a:gd name="csX38" fmla="*/ 124055 w 336628"/>
                    <a:gd name="csY38" fmla="*/ 225635 h 406290"/>
                    <a:gd name="csX39" fmla="*/ 130938 w 336628"/>
                    <a:gd name="csY39" fmla="*/ 239401 h 406290"/>
                    <a:gd name="csX40" fmla="*/ 134203 w 336628"/>
                    <a:gd name="csY40" fmla="*/ 233255 h 406290"/>
                    <a:gd name="csX41" fmla="*/ 143647 w 336628"/>
                    <a:gd name="csY41" fmla="*/ 240137 h 406290"/>
                    <a:gd name="csX42" fmla="*/ 141118 w 336628"/>
                    <a:gd name="csY42" fmla="*/ 249582 h 406290"/>
                    <a:gd name="csX43" fmla="*/ 145472 w 336628"/>
                    <a:gd name="csY43" fmla="*/ 252111 h 406290"/>
                    <a:gd name="csX44" fmla="*/ 143647 w 336628"/>
                    <a:gd name="csY44" fmla="*/ 255729 h 406290"/>
                    <a:gd name="csX45" fmla="*/ 148001 w 336628"/>
                    <a:gd name="csY45" fmla="*/ 264084 h 406290"/>
                    <a:gd name="csX46" fmla="*/ 137853 w 336628"/>
                    <a:gd name="csY46" fmla="*/ 286558 h 406290"/>
                    <a:gd name="csX47" fmla="*/ 140382 w 336628"/>
                    <a:gd name="csY47" fmla="*/ 294177 h 406290"/>
                    <a:gd name="csX48" fmla="*/ 144736 w 336628"/>
                    <a:gd name="csY48" fmla="*/ 302885 h 406290"/>
                    <a:gd name="csX49" fmla="*/ 142207 w 336628"/>
                    <a:gd name="csY49" fmla="*/ 312329 h 406290"/>
                    <a:gd name="csX50" fmla="*/ 159238 w 336628"/>
                    <a:gd name="csY50" fmla="*/ 309064 h 406290"/>
                    <a:gd name="csX51" fmla="*/ 161799 w 336628"/>
                    <a:gd name="csY51" fmla="*/ 301092 h 406290"/>
                    <a:gd name="csX52" fmla="*/ 181744 w 336628"/>
                    <a:gd name="csY52" fmla="*/ 310505 h 406290"/>
                    <a:gd name="csX53" fmla="*/ 173036 w 336628"/>
                    <a:gd name="csY53" fmla="*/ 315947 h 406290"/>
                    <a:gd name="csX54" fmla="*/ 161799 w 336628"/>
                    <a:gd name="csY54" fmla="*/ 339189 h 406290"/>
                    <a:gd name="csX55" fmla="*/ 164328 w 336628"/>
                    <a:gd name="csY55" fmla="*/ 344247 h 406290"/>
                    <a:gd name="csX56" fmla="*/ 172300 w 336628"/>
                    <a:gd name="csY56" fmla="*/ 344247 h 406290"/>
                    <a:gd name="csX57" fmla="*/ 167242 w 336628"/>
                    <a:gd name="csY57" fmla="*/ 378726 h 406290"/>
                    <a:gd name="csX58" fmla="*/ 148001 w 336628"/>
                    <a:gd name="csY58" fmla="*/ 385610 h 406290"/>
                    <a:gd name="csX59" fmla="*/ 148001 w 336628"/>
                    <a:gd name="csY59" fmla="*/ 388875 h 406290"/>
                    <a:gd name="csX60" fmla="*/ 153444 w 336628"/>
                    <a:gd name="csY60" fmla="*/ 406291 h 406290"/>
                    <a:gd name="csX61" fmla="*/ 158534 w 336628"/>
                    <a:gd name="csY61" fmla="*/ 401937 h 406290"/>
                    <a:gd name="csX62" fmla="*/ 167242 w 336628"/>
                    <a:gd name="csY62" fmla="*/ 405202 h 406290"/>
                    <a:gd name="csX63" fmla="*/ 167242 w 336628"/>
                    <a:gd name="csY63" fmla="*/ 395022 h 406290"/>
                    <a:gd name="csX64" fmla="*/ 177390 w 336628"/>
                    <a:gd name="csY64" fmla="*/ 388139 h 406290"/>
                    <a:gd name="csX65" fmla="*/ 179919 w 336628"/>
                    <a:gd name="csY65" fmla="*/ 390668 h 406290"/>
                    <a:gd name="csX66" fmla="*/ 191156 w 336628"/>
                    <a:gd name="csY66" fmla="*/ 376902 h 406290"/>
                    <a:gd name="csX67" fmla="*/ 197335 w 336628"/>
                    <a:gd name="csY67" fmla="*/ 380519 h 406290"/>
                    <a:gd name="csX68" fmla="*/ 202425 w 336628"/>
                    <a:gd name="csY68" fmla="*/ 376166 h 406290"/>
                    <a:gd name="csX69" fmla="*/ 208220 w 336628"/>
                    <a:gd name="csY69" fmla="*/ 377638 h 406290"/>
                    <a:gd name="csX70" fmla="*/ 209308 w 336628"/>
                    <a:gd name="csY70" fmla="*/ 386346 h 406290"/>
                    <a:gd name="csX71" fmla="*/ 213662 w 336628"/>
                    <a:gd name="csY71" fmla="*/ 388139 h 406290"/>
                    <a:gd name="csX72" fmla="*/ 220545 w 336628"/>
                    <a:gd name="csY72" fmla="*/ 361311 h 406290"/>
                    <a:gd name="csX73" fmla="*/ 232518 w 336628"/>
                    <a:gd name="csY73" fmla="*/ 350426 h 406290"/>
                    <a:gd name="csX74" fmla="*/ 238345 w 336628"/>
                    <a:gd name="csY74" fmla="*/ 334835 h 406290"/>
                    <a:gd name="csX75" fmla="*/ 247021 w 336628"/>
                    <a:gd name="csY75" fmla="*/ 333010 h 406290"/>
                    <a:gd name="csX76" fmla="*/ 251375 w 336628"/>
                    <a:gd name="csY76" fmla="*/ 342455 h 406290"/>
                    <a:gd name="csX77" fmla="*/ 260819 w 336628"/>
                    <a:gd name="csY77" fmla="*/ 338101 h 406290"/>
                    <a:gd name="csX78" fmla="*/ 264436 w 336628"/>
                    <a:gd name="csY78" fmla="*/ 318508 h 406290"/>
                    <a:gd name="csX79" fmla="*/ 271351 w 336628"/>
                    <a:gd name="csY79" fmla="*/ 309064 h 406290"/>
                    <a:gd name="csX80" fmla="*/ 271351 w 336628"/>
                    <a:gd name="csY80" fmla="*/ 285854 h 406290"/>
                    <a:gd name="csX81" fmla="*/ 280764 w 336628"/>
                    <a:gd name="csY81" fmla="*/ 283293 h 406290"/>
                    <a:gd name="csX82" fmla="*/ 280764 w 336628"/>
                    <a:gd name="csY82" fmla="*/ 274617 h 406290"/>
                    <a:gd name="csX83" fmla="*/ 292737 w 336628"/>
                    <a:gd name="csY83" fmla="*/ 298531 h 406290"/>
                    <a:gd name="csX84" fmla="*/ 297827 w 336628"/>
                    <a:gd name="csY84" fmla="*/ 292737 h 406290"/>
                    <a:gd name="csX85" fmla="*/ 297091 w 336628"/>
                    <a:gd name="csY85" fmla="*/ 284029 h 406290"/>
                    <a:gd name="csX86" fmla="*/ 306535 w 336628"/>
                    <a:gd name="csY86" fmla="*/ 273880 h 406290"/>
                    <a:gd name="csX87" fmla="*/ 298916 w 336628"/>
                    <a:gd name="csY87" fmla="*/ 244492 h 406290"/>
                    <a:gd name="csX88" fmla="*/ 301445 w 336628"/>
                    <a:gd name="csY88" fmla="*/ 233959 h 406290"/>
                    <a:gd name="csX89" fmla="*/ 310889 w 336628"/>
                    <a:gd name="csY89" fmla="*/ 226339 h 406290"/>
                    <a:gd name="csX90" fmla="*/ 308328 w 336628"/>
                    <a:gd name="csY90" fmla="*/ 218720 h 406290"/>
                    <a:gd name="csX91" fmla="*/ 296002 w 336628"/>
                    <a:gd name="csY91" fmla="*/ 219456 h 406290"/>
                    <a:gd name="csX92" fmla="*/ 299620 w 336628"/>
                    <a:gd name="csY92" fmla="*/ 204954 h 406290"/>
                    <a:gd name="csX93" fmla="*/ 292737 w 336628"/>
                    <a:gd name="csY93" fmla="*/ 192981 h 406290"/>
                    <a:gd name="csX94" fmla="*/ 290208 w 336628"/>
                    <a:gd name="csY94" fmla="*/ 185009 h 406290"/>
                    <a:gd name="csX95" fmla="*/ 300356 w 336628"/>
                    <a:gd name="csY95" fmla="*/ 173036 h 406290"/>
                    <a:gd name="csX96" fmla="*/ 306535 w 336628"/>
                    <a:gd name="csY96" fmla="*/ 166857 h 406290"/>
                    <a:gd name="csX97" fmla="*/ 306535 w 336628"/>
                    <a:gd name="csY97" fmla="*/ 154180 h 406290"/>
                    <a:gd name="csX98" fmla="*/ 316683 w 336628"/>
                    <a:gd name="csY98" fmla="*/ 149826 h 406290"/>
                    <a:gd name="csX99" fmla="*/ 315243 w 336628"/>
                    <a:gd name="csY99" fmla="*/ 144736 h 406290"/>
                    <a:gd name="csX100" fmla="*/ 324655 w 336628"/>
                    <a:gd name="csY100" fmla="*/ 121525 h 406290"/>
                    <a:gd name="csX101" fmla="*/ 336628 w 336628"/>
                    <a:gd name="csY101" fmla="*/ 119700 h 406290"/>
                    <a:gd name="csX102" fmla="*/ 335924 w 336628"/>
                    <a:gd name="csY102" fmla="*/ 109168 h 406290"/>
                    <a:gd name="csX103" fmla="*/ 325391 w 336628"/>
                    <a:gd name="csY103" fmla="*/ 92873 h 406290"/>
                    <a:gd name="csX104" fmla="*/ 314154 w 336628"/>
                    <a:gd name="csY104" fmla="*/ 89607 h 406290"/>
                    <a:gd name="csX105" fmla="*/ 318508 w 336628"/>
                    <a:gd name="csY105" fmla="*/ 67101 h 406290"/>
                    <a:gd name="csX106" fmla="*/ 331570 w 336628"/>
                    <a:gd name="csY106" fmla="*/ 62043 h 406290"/>
                    <a:gd name="csX107" fmla="*/ 335924 w 336628"/>
                    <a:gd name="csY107" fmla="*/ 53335 h 406290"/>
                    <a:gd name="csX108" fmla="*/ 329009 w 336628"/>
                    <a:gd name="csY108" fmla="*/ 47509 h 406290"/>
                    <a:gd name="csX109" fmla="*/ 329745 w 336628"/>
                    <a:gd name="csY109" fmla="*/ 36272 h 406290"/>
                    <a:gd name="csX110" fmla="*/ 326128 w 336628"/>
                    <a:gd name="csY110" fmla="*/ 25035 h 406290"/>
                    <a:gd name="csX111" fmla="*/ 303974 w 336628"/>
                    <a:gd name="csY111" fmla="*/ 11973 h 406290"/>
                    <a:gd name="csX112" fmla="*/ 284029 w 336628"/>
                    <a:gd name="csY112" fmla="*/ 19945 h 406290"/>
                    <a:gd name="csX113" fmla="*/ 278971 w 336628"/>
                    <a:gd name="csY113" fmla="*/ 24299 h 406290"/>
                    <a:gd name="csX114" fmla="*/ 271351 w 336628"/>
                    <a:gd name="csY114" fmla="*/ 21769 h 406290"/>
                    <a:gd name="csX115" fmla="*/ 277146 w 336628"/>
                    <a:gd name="csY115" fmla="*/ 4354 h 406290"/>
                    <a:gd name="csX116" fmla="*/ 267702 w 336628"/>
                    <a:gd name="csY116" fmla="*/ 1793 h 406290"/>
                    <a:gd name="csX117" fmla="*/ 261907 w 336628"/>
                    <a:gd name="csY117" fmla="*/ 6883 h 406290"/>
                    <a:gd name="csX118" fmla="*/ 252111 w 336628"/>
                    <a:gd name="csY118" fmla="*/ 0 h 406290"/>
                    <a:gd name="csX119" fmla="*/ 241963 w 336628"/>
                    <a:gd name="csY119" fmla="*/ 15591 h 406290"/>
                    <a:gd name="csX120" fmla="*/ 248846 w 336628"/>
                    <a:gd name="csY120" fmla="*/ 22474 h 406290"/>
                    <a:gd name="csX121" fmla="*/ 256465 w 336628"/>
                    <a:gd name="csY121" fmla="*/ 17415 h 406290"/>
                    <a:gd name="csX122" fmla="*/ 260083 w 336628"/>
                    <a:gd name="csY122" fmla="*/ 18856 h 406290"/>
                    <a:gd name="csX123" fmla="*/ 253200 w 336628"/>
                    <a:gd name="csY123" fmla="*/ 33743 h 406290"/>
                    <a:gd name="csX124" fmla="*/ 235784 w 336628"/>
                    <a:gd name="csY124" fmla="*/ 41362 h 406290"/>
                    <a:gd name="csX125" fmla="*/ 219457 w 336628"/>
                    <a:gd name="csY125" fmla="*/ 36272 h 406290"/>
                    <a:gd name="csX126" fmla="*/ 219457 w 336628"/>
                    <a:gd name="csY126" fmla="*/ 43155 h 406290"/>
                    <a:gd name="csX127" fmla="*/ 208220 w 336628"/>
                    <a:gd name="csY127" fmla="*/ 41362 h 406290"/>
                    <a:gd name="csX128" fmla="*/ 199864 w 336628"/>
                    <a:gd name="csY128" fmla="*/ 36272 h 406290"/>
                    <a:gd name="csX129" fmla="*/ 187539 w 336628"/>
                    <a:gd name="csY129" fmla="*/ 45716 h 406290"/>
                    <a:gd name="csX130" fmla="*/ 179183 w 336628"/>
                    <a:gd name="csY130" fmla="*/ 28652 h 406290"/>
                    <a:gd name="csX131" fmla="*/ 159238 w 336628"/>
                    <a:gd name="csY131" fmla="*/ 27564 h 406290"/>
                    <a:gd name="csX132" fmla="*/ 158534 w 336628"/>
                    <a:gd name="csY132" fmla="*/ 15591 h 406290"/>
                    <a:gd name="csX133" fmla="*/ 146561 w 336628"/>
                    <a:gd name="csY133" fmla="*/ 2529 h 4062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</a:cxnLst>
                  <a:rect l="l" t="t" r="r" b="b"/>
                  <a:pathLst>
                    <a:path w="336628" h="406290">
                      <a:moveTo>
                        <a:pt x="146561" y="2529"/>
                      </a:moveTo>
                      <a:lnTo>
                        <a:pt x="127320" y="1088"/>
                      </a:lnTo>
                      <a:lnTo>
                        <a:pt x="117172" y="6146"/>
                      </a:lnTo>
                      <a:lnTo>
                        <a:pt x="110289" y="14854"/>
                      </a:lnTo>
                      <a:lnTo>
                        <a:pt x="94666" y="13766"/>
                      </a:lnTo>
                      <a:lnTo>
                        <a:pt x="92137" y="19945"/>
                      </a:lnTo>
                      <a:lnTo>
                        <a:pt x="103374" y="26828"/>
                      </a:lnTo>
                      <a:lnTo>
                        <a:pt x="90312" y="37008"/>
                      </a:lnTo>
                      <a:lnTo>
                        <a:pt x="85254" y="48981"/>
                      </a:lnTo>
                      <a:lnTo>
                        <a:pt x="73985" y="55864"/>
                      </a:lnTo>
                      <a:lnTo>
                        <a:pt x="78338" y="67101"/>
                      </a:lnTo>
                      <a:lnTo>
                        <a:pt x="84517" y="83429"/>
                      </a:lnTo>
                      <a:lnTo>
                        <a:pt x="83429" y="89607"/>
                      </a:lnTo>
                      <a:lnTo>
                        <a:pt x="91400" y="92873"/>
                      </a:lnTo>
                      <a:lnTo>
                        <a:pt x="92873" y="105935"/>
                      </a:lnTo>
                      <a:lnTo>
                        <a:pt x="70719" y="112818"/>
                      </a:lnTo>
                      <a:lnTo>
                        <a:pt x="69631" y="126583"/>
                      </a:lnTo>
                      <a:lnTo>
                        <a:pt x="61307" y="139645"/>
                      </a:lnTo>
                      <a:lnTo>
                        <a:pt x="50774" y="136028"/>
                      </a:lnTo>
                      <a:lnTo>
                        <a:pt x="45716" y="127320"/>
                      </a:lnTo>
                      <a:lnTo>
                        <a:pt x="32654" y="132762"/>
                      </a:lnTo>
                      <a:lnTo>
                        <a:pt x="31182" y="140382"/>
                      </a:lnTo>
                      <a:lnTo>
                        <a:pt x="20681" y="145472"/>
                      </a:lnTo>
                      <a:lnTo>
                        <a:pt x="13766" y="136028"/>
                      </a:lnTo>
                      <a:lnTo>
                        <a:pt x="0" y="132762"/>
                      </a:lnTo>
                      <a:lnTo>
                        <a:pt x="0" y="158533"/>
                      </a:lnTo>
                      <a:lnTo>
                        <a:pt x="15591" y="190068"/>
                      </a:lnTo>
                      <a:lnTo>
                        <a:pt x="31182" y="200600"/>
                      </a:lnTo>
                      <a:lnTo>
                        <a:pt x="27564" y="210749"/>
                      </a:lnTo>
                      <a:lnTo>
                        <a:pt x="43155" y="216927"/>
                      </a:lnTo>
                      <a:lnTo>
                        <a:pt x="55865" y="212573"/>
                      </a:lnTo>
                      <a:lnTo>
                        <a:pt x="46420" y="221986"/>
                      </a:lnTo>
                      <a:lnTo>
                        <a:pt x="63836" y="223074"/>
                      </a:lnTo>
                      <a:lnTo>
                        <a:pt x="72544" y="214398"/>
                      </a:lnTo>
                      <a:lnTo>
                        <a:pt x="88871" y="213310"/>
                      </a:lnTo>
                      <a:lnTo>
                        <a:pt x="98315" y="215102"/>
                      </a:lnTo>
                      <a:lnTo>
                        <a:pt x="108464" y="218720"/>
                      </a:lnTo>
                      <a:lnTo>
                        <a:pt x="112818" y="224546"/>
                      </a:lnTo>
                      <a:lnTo>
                        <a:pt x="124055" y="225635"/>
                      </a:lnTo>
                      <a:lnTo>
                        <a:pt x="130938" y="239401"/>
                      </a:lnTo>
                      <a:lnTo>
                        <a:pt x="134203" y="233255"/>
                      </a:lnTo>
                      <a:lnTo>
                        <a:pt x="143647" y="240137"/>
                      </a:lnTo>
                      <a:lnTo>
                        <a:pt x="141118" y="249582"/>
                      </a:lnTo>
                      <a:lnTo>
                        <a:pt x="145472" y="252111"/>
                      </a:lnTo>
                      <a:lnTo>
                        <a:pt x="143647" y="255729"/>
                      </a:lnTo>
                      <a:lnTo>
                        <a:pt x="148001" y="264084"/>
                      </a:lnTo>
                      <a:lnTo>
                        <a:pt x="137853" y="286558"/>
                      </a:lnTo>
                      <a:lnTo>
                        <a:pt x="140382" y="294177"/>
                      </a:lnTo>
                      <a:lnTo>
                        <a:pt x="144736" y="302885"/>
                      </a:lnTo>
                      <a:lnTo>
                        <a:pt x="142207" y="312329"/>
                      </a:lnTo>
                      <a:lnTo>
                        <a:pt x="159238" y="309064"/>
                      </a:lnTo>
                      <a:lnTo>
                        <a:pt x="161799" y="301092"/>
                      </a:lnTo>
                      <a:lnTo>
                        <a:pt x="181744" y="310505"/>
                      </a:lnTo>
                      <a:lnTo>
                        <a:pt x="173036" y="315947"/>
                      </a:lnTo>
                      <a:lnTo>
                        <a:pt x="161799" y="339189"/>
                      </a:lnTo>
                      <a:lnTo>
                        <a:pt x="164328" y="344247"/>
                      </a:lnTo>
                      <a:lnTo>
                        <a:pt x="172300" y="344247"/>
                      </a:lnTo>
                      <a:lnTo>
                        <a:pt x="167242" y="378726"/>
                      </a:lnTo>
                      <a:lnTo>
                        <a:pt x="148001" y="385610"/>
                      </a:lnTo>
                      <a:lnTo>
                        <a:pt x="148001" y="388875"/>
                      </a:lnTo>
                      <a:lnTo>
                        <a:pt x="153444" y="406291"/>
                      </a:lnTo>
                      <a:lnTo>
                        <a:pt x="158534" y="401937"/>
                      </a:lnTo>
                      <a:lnTo>
                        <a:pt x="167242" y="405202"/>
                      </a:lnTo>
                      <a:lnTo>
                        <a:pt x="167242" y="395022"/>
                      </a:lnTo>
                      <a:lnTo>
                        <a:pt x="177390" y="388139"/>
                      </a:lnTo>
                      <a:lnTo>
                        <a:pt x="179919" y="390668"/>
                      </a:lnTo>
                      <a:lnTo>
                        <a:pt x="191156" y="376902"/>
                      </a:lnTo>
                      <a:lnTo>
                        <a:pt x="197335" y="380519"/>
                      </a:lnTo>
                      <a:lnTo>
                        <a:pt x="202425" y="376166"/>
                      </a:lnTo>
                      <a:lnTo>
                        <a:pt x="208220" y="377638"/>
                      </a:lnTo>
                      <a:lnTo>
                        <a:pt x="209308" y="386346"/>
                      </a:lnTo>
                      <a:lnTo>
                        <a:pt x="213662" y="388139"/>
                      </a:lnTo>
                      <a:lnTo>
                        <a:pt x="220545" y="361311"/>
                      </a:lnTo>
                      <a:lnTo>
                        <a:pt x="232518" y="350426"/>
                      </a:lnTo>
                      <a:lnTo>
                        <a:pt x="238345" y="334835"/>
                      </a:lnTo>
                      <a:lnTo>
                        <a:pt x="247021" y="333010"/>
                      </a:lnTo>
                      <a:lnTo>
                        <a:pt x="251375" y="342455"/>
                      </a:lnTo>
                      <a:lnTo>
                        <a:pt x="260819" y="338101"/>
                      </a:lnTo>
                      <a:lnTo>
                        <a:pt x="264436" y="318508"/>
                      </a:lnTo>
                      <a:lnTo>
                        <a:pt x="271351" y="309064"/>
                      </a:lnTo>
                      <a:lnTo>
                        <a:pt x="271351" y="285854"/>
                      </a:lnTo>
                      <a:lnTo>
                        <a:pt x="280764" y="283293"/>
                      </a:lnTo>
                      <a:lnTo>
                        <a:pt x="280764" y="274617"/>
                      </a:lnTo>
                      <a:lnTo>
                        <a:pt x="292737" y="298531"/>
                      </a:lnTo>
                      <a:lnTo>
                        <a:pt x="297827" y="292737"/>
                      </a:lnTo>
                      <a:lnTo>
                        <a:pt x="297091" y="284029"/>
                      </a:lnTo>
                      <a:lnTo>
                        <a:pt x="306535" y="273880"/>
                      </a:lnTo>
                      <a:lnTo>
                        <a:pt x="298916" y="244492"/>
                      </a:lnTo>
                      <a:lnTo>
                        <a:pt x="301445" y="233959"/>
                      </a:lnTo>
                      <a:lnTo>
                        <a:pt x="310889" y="226339"/>
                      </a:lnTo>
                      <a:lnTo>
                        <a:pt x="308328" y="218720"/>
                      </a:lnTo>
                      <a:lnTo>
                        <a:pt x="296002" y="219456"/>
                      </a:lnTo>
                      <a:lnTo>
                        <a:pt x="299620" y="204954"/>
                      </a:lnTo>
                      <a:lnTo>
                        <a:pt x="292737" y="192981"/>
                      </a:lnTo>
                      <a:lnTo>
                        <a:pt x="290208" y="185009"/>
                      </a:lnTo>
                      <a:lnTo>
                        <a:pt x="300356" y="173036"/>
                      </a:lnTo>
                      <a:lnTo>
                        <a:pt x="306535" y="166857"/>
                      </a:lnTo>
                      <a:lnTo>
                        <a:pt x="306535" y="154180"/>
                      </a:lnTo>
                      <a:lnTo>
                        <a:pt x="316683" y="149826"/>
                      </a:lnTo>
                      <a:lnTo>
                        <a:pt x="315243" y="144736"/>
                      </a:lnTo>
                      <a:lnTo>
                        <a:pt x="324655" y="121525"/>
                      </a:lnTo>
                      <a:lnTo>
                        <a:pt x="336628" y="119700"/>
                      </a:lnTo>
                      <a:lnTo>
                        <a:pt x="335924" y="109168"/>
                      </a:lnTo>
                      <a:lnTo>
                        <a:pt x="325391" y="92873"/>
                      </a:lnTo>
                      <a:lnTo>
                        <a:pt x="314154" y="89607"/>
                      </a:lnTo>
                      <a:lnTo>
                        <a:pt x="318508" y="67101"/>
                      </a:lnTo>
                      <a:lnTo>
                        <a:pt x="331570" y="62043"/>
                      </a:lnTo>
                      <a:lnTo>
                        <a:pt x="335924" y="53335"/>
                      </a:lnTo>
                      <a:lnTo>
                        <a:pt x="329009" y="47509"/>
                      </a:lnTo>
                      <a:lnTo>
                        <a:pt x="329745" y="36272"/>
                      </a:lnTo>
                      <a:lnTo>
                        <a:pt x="326128" y="25035"/>
                      </a:lnTo>
                      <a:lnTo>
                        <a:pt x="303974" y="11973"/>
                      </a:lnTo>
                      <a:lnTo>
                        <a:pt x="284029" y="19945"/>
                      </a:lnTo>
                      <a:lnTo>
                        <a:pt x="278971" y="24299"/>
                      </a:lnTo>
                      <a:lnTo>
                        <a:pt x="271351" y="21769"/>
                      </a:lnTo>
                      <a:lnTo>
                        <a:pt x="277146" y="4354"/>
                      </a:lnTo>
                      <a:lnTo>
                        <a:pt x="267702" y="1793"/>
                      </a:lnTo>
                      <a:lnTo>
                        <a:pt x="261907" y="6883"/>
                      </a:lnTo>
                      <a:lnTo>
                        <a:pt x="252111" y="0"/>
                      </a:lnTo>
                      <a:lnTo>
                        <a:pt x="241963" y="15591"/>
                      </a:lnTo>
                      <a:lnTo>
                        <a:pt x="248846" y="22474"/>
                      </a:lnTo>
                      <a:lnTo>
                        <a:pt x="256465" y="17415"/>
                      </a:lnTo>
                      <a:lnTo>
                        <a:pt x="260083" y="18856"/>
                      </a:lnTo>
                      <a:lnTo>
                        <a:pt x="253200" y="33743"/>
                      </a:lnTo>
                      <a:lnTo>
                        <a:pt x="235784" y="41362"/>
                      </a:lnTo>
                      <a:lnTo>
                        <a:pt x="219457" y="36272"/>
                      </a:lnTo>
                      <a:lnTo>
                        <a:pt x="219457" y="43155"/>
                      </a:lnTo>
                      <a:lnTo>
                        <a:pt x="208220" y="41362"/>
                      </a:lnTo>
                      <a:lnTo>
                        <a:pt x="199864" y="36272"/>
                      </a:lnTo>
                      <a:lnTo>
                        <a:pt x="187539" y="45716"/>
                      </a:lnTo>
                      <a:lnTo>
                        <a:pt x="179183" y="28652"/>
                      </a:lnTo>
                      <a:lnTo>
                        <a:pt x="159238" y="27564"/>
                      </a:lnTo>
                      <a:lnTo>
                        <a:pt x="158534" y="15591"/>
                      </a:lnTo>
                      <a:lnTo>
                        <a:pt x="146561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4" name="Forma Livre: Forma 263">
                  <a:extLst>
                    <a:ext uri="{FF2B5EF4-FFF2-40B4-BE49-F238E27FC236}">
                      <a16:creationId xmlns:a16="http://schemas.microsoft.com/office/drawing/2014/main" id="{9BA38230-2019-C2CC-16D9-278717A3350F}"/>
                    </a:ext>
                  </a:extLst>
                </p:cNvPr>
                <p:cNvSpPr/>
                <p:nvPr/>
              </p:nvSpPr>
              <p:spPr>
                <a:xfrm>
                  <a:off x="1603982" y="5675046"/>
                  <a:ext cx="336628" cy="406290"/>
                </a:xfrm>
                <a:custGeom>
                  <a:avLst/>
                  <a:gdLst>
                    <a:gd name="csX0" fmla="*/ 146561 w 336628"/>
                    <a:gd name="csY0" fmla="*/ 2529 h 406290"/>
                    <a:gd name="csX1" fmla="*/ 127320 w 336628"/>
                    <a:gd name="csY1" fmla="*/ 1088 h 406290"/>
                    <a:gd name="csX2" fmla="*/ 117172 w 336628"/>
                    <a:gd name="csY2" fmla="*/ 6146 h 406290"/>
                    <a:gd name="csX3" fmla="*/ 110289 w 336628"/>
                    <a:gd name="csY3" fmla="*/ 14854 h 406290"/>
                    <a:gd name="csX4" fmla="*/ 94666 w 336628"/>
                    <a:gd name="csY4" fmla="*/ 13766 h 406290"/>
                    <a:gd name="csX5" fmla="*/ 92137 w 336628"/>
                    <a:gd name="csY5" fmla="*/ 19945 h 406290"/>
                    <a:gd name="csX6" fmla="*/ 103374 w 336628"/>
                    <a:gd name="csY6" fmla="*/ 26828 h 406290"/>
                    <a:gd name="csX7" fmla="*/ 90312 w 336628"/>
                    <a:gd name="csY7" fmla="*/ 37008 h 406290"/>
                    <a:gd name="csX8" fmla="*/ 85254 w 336628"/>
                    <a:gd name="csY8" fmla="*/ 48981 h 406290"/>
                    <a:gd name="csX9" fmla="*/ 73985 w 336628"/>
                    <a:gd name="csY9" fmla="*/ 55864 h 406290"/>
                    <a:gd name="csX10" fmla="*/ 78338 w 336628"/>
                    <a:gd name="csY10" fmla="*/ 67101 h 406290"/>
                    <a:gd name="csX11" fmla="*/ 84517 w 336628"/>
                    <a:gd name="csY11" fmla="*/ 83429 h 406290"/>
                    <a:gd name="csX12" fmla="*/ 83429 w 336628"/>
                    <a:gd name="csY12" fmla="*/ 89607 h 406290"/>
                    <a:gd name="csX13" fmla="*/ 91400 w 336628"/>
                    <a:gd name="csY13" fmla="*/ 92873 h 406290"/>
                    <a:gd name="csX14" fmla="*/ 92873 w 336628"/>
                    <a:gd name="csY14" fmla="*/ 105935 h 406290"/>
                    <a:gd name="csX15" fmla="*/ 70719 w 336628"/>
                    <a:gd name="csY15" fmla="*/ 112818 h 406290"/>
                    <a:gd name="csX16" fmla="*/ 69631 w 336628"/>
                    <a:gd name="csY16" fmla="*/ 126583 h 406290"/>
                    <a:gd name="csX17" fmla="*/ 61307 w 336628"/>
                    <a:gd name="csY17" fmla="*/ 139645 h 406290"/>
                    <a:gd name="csX18" fmla="*/ 50774 w 336628"/>
                    <a:gd name="csY18" fmla="*/ 136028 h 406290"/>
                    <a:gd name="csX19" fmla="*/ 45716 w 336628"/>
                    <a:gd name="csY19" fmla="*/ 127320 h 406290"/>
                    <a:gd name="csX20" fmla="*/ 32654 w 336628"/>
                    <a:gd name="csY20" fmla="*/ 132762 h 406290"/>
                    <a:gd name="csX21" fmla="*/ 31182 w 336628"/>
                    <a:gd name="csY21" fmla="*/ 140382 h 406290"/>
                    <a:gd name="csX22" fmla="*/ 20681 w 336628"/>
                    <a:gd name="csY22" fmla="*/ 145472 h 406290"/>
                    <a:gd name="csX23" fmla="*/ 13766 w 336628"/>
                    <a:gd name="csY23" fmla="*/ 136028 h 406290"/>
                    <a:gd name="csX24" fmla="*/ 0 w 336628"/>
                    <a:gd name="csY24" fmla="*/ 132762 h 406290"/>
                    <a:gd name="csX25" fmla="*/ 0 w 336628"/>
                    <a:gd name="csY25" fmla="*/ 158533 h 406290"/>
                    <a:gd name="csX26" fmla="*/ 15591 w 336628"/>
                    <a:gd name="csY26" fmla="*/ 190068 h 406290"/>
                    <a:gd name="csX27" fmla="*/ 31182 w 336628"/>
                    <a:gd name="csY27" fmla="*/ 200600 h 406290"/>
                    <a:gd name="csX28" fmla="*/ 27564 w 336628"/>
                    <a:gd name="csY28" fmla="*/ 210749 h 406290"/>
                    <a:gd name="csX29" fmla="*/ 43155 w 336628"/>
                    <a:gd name="csY29" fmla="*/ 216927 h 406290"/>
                    <a:gd name="csX30" fmla="*/ 55865 w 336628"/>
                    <a:gd name="csY30" fmla="*/ 212573 h 406290"/>
                    <a:gd name="csX31" fmla="*/ 46420 w 336628"/>
                    <a:gd name="csY31" fmla="*/ 221986 h 406290"/>
                    <a:gd name="csX32" fmla="*/ 63836 w 336628"/>
                    <a:gd name="csY32" fmla="*/ 223074 h 406290"/>
                    <a:gd name="csX33" fmla="*/ 72544 w 336628"/>
                    <a:gd name="csY33" fmla="*/ 214398 h 406290"/>
                    <a:gd name="csX34" fmla="*/ 88871 w 336628"/>
                    <a:gd name="csY34" fmla="*/ 213310 h 406290"/>
                    <a:gd name="csX35" fmla="*/ 98315 w 336628"/>
                    <a:gd name="csY35" fmla="*/ 215102 h 406290"/>
                    <a:gd name="csX36" fmla="*/ 108464 w 336628"/>
                    <a:gd name="csY36" fmla="*/ 218720 h 406290"/>
                    <a:gd name="csX37" fmla="*/ 112818 w 336628"/>
                    <a:gd name="csY37" fmla="*/ 224546 h 406290"/>
                    <a:gd name="csX38" fmla="*/ 124055 w 336628"/>
                    <a:gd name="csY38" fmla="*/ 225635 h 406290"/>
                    <a:gd name="csX39" fmla="*/ 130938 w 336628"/>
                    <a:gd name="csY39" fmla="*/ 239401 h 406290"/>
                    <a:gd name="csX40" fmla="*/ 134203 w 336628"/>
                    <a:gd name="csY40" fmla="*/ 233255 h 406290"/>
                    <a:gd name="csX41" fmla="*/ 143647 w 336628"/>
                    <a:gd name="csY41" fmla="*/ 240137 h 406290"/>
                    <a:gd name="csX42" fmla="*/ 141118 w 336628"/>
                    <a:gd name="csY42" fmla="*/ 249582 h 406290"/>
                    <a:gd name="csX43" fmla="*/ 145472 w 336628"/>
                    <a:gd name="csY43" fmla="*/ 252111 h 406290"/>
                    <a:gd name="csX44" fmla="*/ 143647 w 336628"/>
                    <a:gd name="csY44" fmla="*/ 255729 h 406290"/>
                    <a:gd name="csX45" fmla="*/ 148001 w 336628"/>
                    <a:gd name="csY45" fmla="*/ 264084 h 406290"/>
                    <a:gd name="csX46" fmla="*/ 137853 w 336628"/>
                    <a:gd name="csY46" fmla="*/ 286558 h 406290"/>
                    <a:gd name="csX47" fmla="*/ 140382 w 336628"/>
                    <a:gd name="csY47" fmla="*/ 294177 h 406290"/>
                    <a:gd name="csX48" fmla="*/ 144736 w 336628"/>
                    <a:gd name="csY48" fmla="*/ 302885 h 406290"/>
                    <a:gd name="csX49" fmla="*/ 142207 w 336628"/>
                    <a:gd name="csY49" fmla="*/ 312329 h 406290"/>
                    <a:gd name="csX50" fmla="*/ 159238 w 336628"/>
                    <a:gd name="csY50" fmla="*/ 309064 h 406290"/>
                    <a:gd name="csX51" fmla="*/ 161799 w 336628"/>
                    <a:gd name="csY51" fmla="*/ 301092 h 406290"/>
                    <a:gd name="csX52" fmla="*/ 181744 w 336628"/>
                    <a:gd name="csY52" fmla="*/ 310505 h 406290"/>
                    <a:gd name="csX53" fmla="*/ 173036 w 336628"/>
                    <a:gd name="csY53" fmla="*/ 315947 h 406290"/>
                    <a:gd name="csX54" fmla="*/ 161799 w 336628"/>
                    <a:gd name="csY54" fmla="*/ 339189 h 406290"/>
                    <a:gd name="csX55" fmla="*/ 164328 w 336628"/>
                    <a:gd name="csY55" fmla="*/ 344247 h 406290"/>
                    <a:gd name="csX56" fmla="*/ 172300 w 336628"/>
                    <a:gd name="csY56" fmla="*/ 344247 h 406290"/>
                    <a:gd name="csX57" fmla="*/ 167242 w 336628"/>
                    <a:gd name="csY57" fmla="*/ 378726 h 406290"/>
                    <a:gd name="csX58" fmla="*/ 148001 w 336628"/>
                    <a:gd name="csY58" fmla="*/ 385610 h 406290"/>
                    <a:gd name="csX59" fmla="*/ 148001 w 336628"/>
                    <a:gd name="csY59" fmla="*/ 388875 h 406290"/>
                    <a:gd name="csX60" fmla="*/ 153444 w 336628"/>
                    <a:gd name="csY60" fmla="*/ 406291 h 406290"/>
                    <a:gd name="csX61" fmla="*/ 158534 w 336628"/>
                    <a:gd name="csY61" fmla="*/ 401937 h 406290"/>
                    <a:gd name="csX62" fmla="*/ 167242 w 336628"/>
                    <a:gd name="csY62" fmla="*/ 405202 h 406290"/>
                    <a:gd name="csX63" fmla="*/ 167242 w 336628"/>
                    <a:gd name="csY63" fmla="*/ 395022 h 406290"/>
                    <a:gd name="csX64" fmla="*/ 177390 w 336628"/>
                    <a:gd name="csY64" fmla="*/ 388139 h 406290"/>
                    <a:gd name="csX65" fmla="*/ 179919 w 336628"/>
                    <a:gd name="csY65" fmla="*/ 390668 h 406290"/>
                    <a:gd name="csX66" fmla="*/ 191156 w 336628"/>
                    <a:gd name="csY66" fmla="*/ 376902 h 406290"/>
                    <a:gd name="csX67" fmla="*/ 197335 w 336628"/>
                    <a:gd name="csY67" fmla="*/ 380519 h 406290"/>
                    <a:gd name="csX68" fmla="*/ 202425 w 336628"/>
                    <a:gd name="csY68" fmla="*/ 376166 h 406290"/>
                    <a:gd name="csX69" fmla="*/ 208220 w 336628"/>
                    <a:gd name="csY69" fmla="*/ 377638 h 406290"/>
                    <a:gd name="csX70" fmla="*/ 209308 w 336628"/>
                    <a:gd name="csY70" fmla="*/ 386346 h 406290"/>
                    <a:gd name="csX71" fmla="*/ 213662 w 336628"/>
                    <a:gd name="csY71" fmla="*/ 388139 h 406290"/>
                    <a:gd name="csX72" fmla="*/ 220545 w 336628"/>
                    <a:gd name="csY72" fmla="*/ 361311 h 406290"/>
                    <a:gd name="csX73" fmla="*/ 232518 w 336628"/>
                    <a:gd name="csY73" fmla="*/ 350426 h 406290"/>
                    <a:gd name="csX74" fmla="*/ 238345 w 336628"/>
                    <a:gd name="csY74" fmla="*/ 334835 h 406290"/>
                    <a:gd name="csX75" fmla="*/ 247021 w 336628"/>
                    <a:gd name="csY75" fmla="*/ 333010 h 406290"/>
                    <a:gd name="csX76" fmla="*/ 251375 w 336628"/>
                    <a:gd name="csY76" fmla="*/ 342455 h 406290"/>
                    <a:gd name="csX77" fmla="*/ 260819 w 336628"/>
                    <a:gd name="csY77" fmla="*/ 338101 h 406290"/>
                    <a:gd name="csX78" fmla="*/ 264436 w 336628"/>
                    <a:gd name="csY78" fmla="*/ 318508 h 406290"/>
                    <a:gd name="csX79" fmla="*/ 271351 w 336628"/>
                    <a:gd name="csY79" fmla="*/ 309064 h 406290"/>
                    <a:gd name="csX80" fmla="*/ 271351 w 336628"/>
                    <a:gd name="csY80" fmla="*/ 285854 h 406290"/>
                    <a:gd name="csX81" fmla="*/ 280764 w 336628"/>
                    <a:gd name="csY81" fmla="*/ 283293 h 406290"/>
                    <a:gd name="csX82" fmla="*/ 280764 w 336628"/>
                    <a:gd name="csY82" fmla="*/ 274617 h 406290"/>
                    <a:gd name="csX83" fmla="*/ 292737 w 336628"/>
                    <a:gd name="csY83" fmla="*/ 298531 h 406290"/>
                    <a:gd name="csX84" fmla="*/ 297827 w 336628"/>
                    <a:gd name="csY84" fmla="*/ 292737 h 406290"/>
                    <a:gd name="csX85" fmla="*/ 297091 w 336628"/>
                    <a:gd name="csY85" fmla="*/ 284029 h 406290"/>
                    <a:gd name="csX86" fmla="*/ 306535 w 336628"/>
                    <a:gd name="csY86" fmla="*/ 273880 h 406290"/>
                    <a:gd name="csX87" fmla="*/ 298916 w 336628"/>
                    <a:gd name="csY87" fmla="*/ 244492 h 406290"/>
                    <a:gd name="csX88" fmla="*/ 301445 w 336628"/>
                    <a:gd name="csY88" fmla="*/ 233959 h 406290"/>
                    <a:gd name="csX89" fmla="*/ 310889 w 336628"/>
                    <a:gd name="csY89" fmla="*/ 226339 h 406290"/>
                    <a:gd name="csX90" fmla="*/ 308328 w 336628"/>
                    <a:gd name="csY90" fmla="*/ 218720 h 406290"/>
                    <a:gd name="csX91" fmla="*/ 296002 w 336628"/>
                    <a:gd name="csY91" fmla="*/ 219456 h 406290"/>
                    <a:gd name="csX92" fmla="*/ 299620 w 336628"/>
                    <a:gd name="csY92" fmla="*/ 204954 h 406290"/>
                    <a:gd name="csX93" fmla="*/ 292737 w 336628"/>
                    <a:gd name="csY93" fmla="*/ 192981 h 406290"/>
                    <a:gd name="csX94" fmla="*/ 290208 w 336628"/>
                    <a:gd name="csY94" fmla="*/ 185009 h 406290"/>
                    <a:gd name="csX95" fmla="*/ 300356 w 336628"/>
                    <a:gd name="csY95" fmla="*/ 173036 h 406290"/>
                    <a:gd name="csX96" fmla="*/ 306535 w 336628"/>
                    <a:gd name="csY96" fmla="*/ 166857 h 406290"/>
                    <a:gd name="csX97" fmla="*/ 306535 w 336628"/>
                    <a:gd name="csY97" fmla="*/ 154180 h 406290"/>
                    <a:gd name="csX98" fmla="*/ 316683 w 336628"/>
                    <a:gd name="csY98" fmla="*/ 149826 h 406290"/>
                    <a:gd name="csX99" fmla="*/ 315243 w 336628"/>
                    <a:gd name="csY99" fmla="*/ 144736 h 406290"/>
                    <a:gd name="csX100" fmla="*/ 324655 w 336628"/>
                    <a:gd name="csY100" fmla="*/ 121525 h 406290"/>
                    <a:gd name="csX101" fmla="*/ 336628 w 336628"/>
                    <a:gd name="csY101" fmla="*/ 119700 h 406290"/>
                    <a:gd name="csX102" fmla="*/ 335924 w 336628"/>
                    <a:gd name="csY102" fmla="*/ 109168 h 406290"/>
                    <a:gd name="csX103" fmla="*/ 325391 w 336628"/>
                    <a:gd name="csY103" fmla="*/ 92873 h 406290"/>
                    <a:gd name="csX104" fmla="*/ 314154 w 336628"/>
                    <a:gd name="csY104" fmla="*/ 89607 h 406290"/>
                    <a:gd name="csX105" fmla="*/ 318508 w 336628"/>
                    <a:gd name="csY105" fmla="*/ 67101 h 406290"/>
                    <a:gd name="csX106" fmla="*/ 331570 w 336628"/>
                    <a:gd name="csY106" fmla="*/ 62043 h 406290"/>
                    <a:gd name="csX107" fmla="*/ 335924 w 336628"/>
                    <a:gd name="csY107" fmla="*/ 53335 h 406290"/>
                    <a:gd name="csX108" fmla="*/ 329009 w 336628"/>
                    <a:gd name="csY108" fmla="*/ 47509 h 406290"/>
                    <a:gd name="csX109" fmla="*/ 329745 w 336628"/>
                    <a:gd name="csY109" fmla="*/ 36272 h 406290"/>
                    <a:gd name="csX110" fmla="*/ 326128 w 336628"/>
                    <a:gd name="csY110" fmla="*/ 25035 h 406290"/>
                    <a:gd name="csX111" fmla="*/ 303974 w 336628"/>
                    <a:gd name="csY111" fmla="*/ 11973 h 406290"/>
                    <a:gd name="csX112" fmla="*/ 284029 w 336628"/>
                    <a:gd name="csY112" fmla="*/ 19945 h 406290"/>
                    <a:gd name="csX113" fmla="*/ 278971 w 336628"/>
                    <a:gd name="csY113" fmla="*/ 24299 h 406290"/>
                    <a:gd name="csX114" fmla="*/ 271351 w 336628"/>
                    <a:gd name="csY114" fmla="*/ 21769 h 406290"/>
                    <a:gd name="csX115" fmla="*/ 277146 w 336628"/>
                    <a:gd name="csY115" fmla="*/ 4354 h 406290"/>
                    <a:gd name="csX116" fmla="*/ 267702 w 336628"/>
                    <a:gd name="csY116" fmla="*/ 1793 h 406290"/>
                    <a:gd name="csX117" fmla="*/ 261907 w 336628"/>
                    <a:gd name="csY117" fmla="*/ 6883 h 406290"/>
                    <a:gd name="csX118" fmla="*/ 252111 w 336628"/>
                    <a:gd name="csY118" fmla="*/ 0 h 406290"/>
                    <a:gd name="csX119" fmla="*/ 241963 w 336628"/>
                    <a:gd name="csY119" fmla="*/ 15591 h 406290"/>
                    <a:gd name="csX120" fmla="*/ 248846 w 336628"/>
                    <a:gd name="csY120" fmla="*/ 22474 h 406290"/>
                    <a:gd name="csX121" fmla="*/ 256465 w 336628"/>
                    <a:gd name="csY121" fmla="*/ 17415 h 406290"/>
                    <a:gd name="csX122" fmla="*/ 260083 w 336628"/>
                    <a:gd name="csY122" fmla="*/ 18856 h 406290"/>
                    <a:gd name="csX123" fmla="*/ 253200 w 336628"/>
                    <a:gd name="csY123" fmla="*/ 33743 h 406290"/>
                    <a:gd name="csX124" fmla="*/ 235784 w 336628"/>
                    <a:gd name="csY124" fmla="*/ 41362 h 406290"/>
                    <a:gd name="csX125" fmla="*/ 219457 w 336628"/>
                    <a:gd name="csY125" fmla="*/ 36272 h 406290"/>
                    <a:gd name="csX126" fmla="*/ 219457 w 336628"/>
                    <a:gd name="csY126" fmla="*/ 43155 h 406290"/>
                    <a:gd name="csX127" fmla="*/ 208220 w 336628"/>
                    <a:gd name="csY127" fmla="*/ 41362 h 406290"/>
                    <a:gd name="csX128" fmla="*/ 199864 w 336628"/>
                    <a:gd name="csY128" fmla="*/ 36272 h 406290"/>
                    <a:gd name="csX129" fmla="*/ 187539 w 336628"/>
                    <a:gd name="csY129" fmla="*/ 45716 h 406290"/>
                    <a:gd name="csX130" fmla="*/ 179183 w 336628"/>
                    <a:gd name="csY130" fmla="*/ 28652 h 406290"/>
                    <a:gd name="csX131" fmla="*/ 159238 w 336628"/>
                    <a:gd name="csY131" fmla="*/ 27564 h 406290"/>
                    <a:gd name="csX132" fmla="*/ 158534 w 336628"/>
                    <a:gd name="csY132" fmla="*/ 15591 h 406290"/>
                    <a:gd name="csX133" fmla="*/ 146561 w 336628"/>
                    <a:gd name="csY133" fmla="*/ 2529 h 4062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</a:cxnLst>
                  <a:rect l="l" t="t" r="r" b="b"/>
                  <a:pathLst>
                    <a:path w="336628" h="406290">
                      <a:moveTo>
                        <a:pt x="146561" y="2529"/>
                      </a:moveTo>
                      <a:lnTo>
                        <a:pt x="127320" y="1088"/>
                      </a:lnTo>
                      <a:lnTo>
                        <a:pt x="117172" y="6146"/>
                      </a:lnTo>
                      <a:lnTo>
                        <a:pt x="110289" y="14854"/>
                      </a:lnTo>
                      <a:lnTo>
                        <a:pt x="94666" y="13766"/>
                      </a:lnTo>
                      <a:lnTo>
                        <a:pt x="92137" y="19945"/>
                      </a:lnTo>
                      <a:lnTo>
                        <a:pt x="103374" y="26828"/>
                      </a:lnTo>
                      <a:lnTo>
                        <a:pt x="90312" y="37008"/>
                      </a:lnTo>
                      <a:lnTo>
                        <a:pt x="85254" y="48981"/>
                      </a:lnTo>
                      <a:lnTo>
                        <a:pt x="73985" y="55864"/>
                      </a:lnTo>
                      <a:lnTo>
                        <a:pt x="78338" y="67101"/>
                      </a:lnTo>
                      <a:lnTo>
                        <a:pt x="84517" y="83429"/>
                      </a:lnTo>
                      <a:lnTo>
                        <a:pt x="83429" y="89607"/>
                      </a:lnTo>
                      <a:lnTo>
                        <a:pt x="91400" y="92873"/>
                      </a:lnTo>
                      <a:lnTo>
                        <a:pt x="92873" y="105935"/>
                      </a:lnTo>
                      <a:lnTo>
                        <a:pt x="70719" y="112818"/>
                      </a:lnTo>
                      <a:lnTo>
                        <a:pt x="69631" y="126583"/>
                      </a:lnTo>
                      <a:lnTo>
                        <a:pt x="61307" y="139645"/>
                      </a:lnTo>
                      <a:lnTo>
                        <a:pt x="50774" y="136028"/>
                      </a:lnTo>
                      <a:lnTo>
                        <a:pt x="45716" y="127320"/>
                      </a:lnTo>
                      <a:lnTo>
                        <a:pt x="32654" y="132762"/>
                      </a:lnTo>
                      <a:lnTo>
                        <a:pt x="31182" y="140382"/>
                      </a:lnTo>
                      <a:lnTo>
                        <a:pt x="20681" y="145472"/>
                      </a:lnTo>
                      <a:lnTo>
                        <a:pt x="13766" y="136028"/>
                      </a:lnTo>
                      <a:lnTo>
                        <a:pt x="0" y="132762"/>
                      </a:lnTo>
                      <a:lnTo>
                        <a:pt x="0" y="158533"/>
                      </a:lnTo>
                      <a:lnTo>
                        <a:pt x="15591" y="190068"/>
                      </a:lnTo>
                      <a:lnTo>
                        <a:pt x="31182" y="200600"/>
                      </a:lnTo>
                      <a:lnTo>
                        <a:pt x="27564" y="210749"/>
                      </a:lnTo>
                      <a:lnTo>
                        <a:pt x="43155" y="216927"/>
                      </a:lnTo>
                      <a:lnTo>
                        <a:pt x="55865" y="212573"/>
                      </a:lnTo>
                      <a:lnTo>
                        <a:pt x="46420" y="221986"/>
                      </a:lnTo>
                      <a:lnTo>
                        <a:pt x="63836" y="223074"/>
                      </a:lnTo>
                      <a:lnTo>
                        <a:pt x="72544" y="214398"/>
                      </a:lnTo>
                      <a:lnTo>
                        <a:pt x="88871" y="213310"/>
                      </a:lnTo>
                      <a:lnTo>
                        <a:pt x="98315" y="215102"/>
                      </a:lnTo>
                      <a:lnTo>
                        <a:pt x="108464" y="218720"/>
                      </a:lnTo>
                      <a:lnTo>
                        <a:pt x="112818" y="224546"/>
                      </a:lnTo>
                      <a:lnTo>
                        <a:pt x="124055" y="225635"/>
                      </a:lnTo>
                      <a:lnTo>
                        <a:pt x="130938" y="239401"/>
                      </a:lnTo>
                      <a:lnTo>
                        <a:pt x="134203" y="233255"/>
                      </a:lnTo>
                      <a:lnTo>
                        <a:pt x="143647" y="240137"/>
                      </a:lnTo>
                      <a:lnTo>
                        <a:pt x="141118" y="249582"/>
                      </a:lnTo>
                      <a:lnTo>
                        <a:pt x="145472" y="252111"/>
                      </a:lnTo>
                      <a:lnTo>
                        <a:pt x="143647" y="255729"/>
                      </a:lnTo>
                      <a:lnTo>
                        <a:pt x="148001" y="264084"/>
                      </a:lnTo>
                      <a:lnTo>
                        <a:pt x="137853" y="286558"/>
                      </a:lnTo>
                      <a:lnTo>
                        <a:pt x="140382" y="294177"/>
                      </a:lnTo>
                      <a:lnTo>
                        <a:pt x="144736" y="302885"/>
                      </a:lnTo>
                      <a:lnTo>
                        <a:pt x="142207" y="312329"/>
                      </a:lnTo>
                      <a:lnTo>
                        <a:pt x="159238" y="309064"/>
                      </a:lnTo>
                      <a:lnTo>
                        <a:pt x="161799" y="301092"/>
                      </a:lnTo>
                      <a:lnTo>
                        <a:pt x="181744" y="310505"/>
                      </a:lnTo>
                      <a:lnTo>
                        <a:pt x="173036" y="315947"/>
                      </a:lnTo>
                      <a:lnTo>
                        <a:pt x="161799" y="339189"/>
                      </a:lnTo>
                      <a:lnTo>
                        <a:pt x="164328" y="344247"/>
                      </a:lnTo>
                      <a:lnTo>
                        <a:pt x="172300" y="344247"/>
                      </a:lnTo>
                      <a:lnTo>
                        <a:pt x="167242" y="378726"/>
                      </a:lnTo>
                      <a:lnTo>
                        <a:pt x="148001" y="385610"/>
                      </a:lnTo>
                      <a:lnTo>
                        <a:pt x="148001" y="388875"/>
                      </a:lnTo>
                      <a:lnTo>
                        <a:pt x="153444" y="406291"/>
                      </a:lnTo>
                      <a:lnTo>
                        <a:pt x="158534" y="401937"/>
                      </a:lnTo>
                      <a:lnTo>
                        <a:pt x="167242" y="405202"/>
                      </a:lnTo>
                      <a:lnTo>
                        <a:pt x="167242" y="395022"/>
                      </a:lnTo>
                      <a:lnTo>
                        <a:pt x="177390" y="388139"/>
                      </a:lnTo>
                      <a:lnTo>
                        <a:pt x="179919" y="390668"/>
                      </a:lnTo>
                      <a:lnTo>
                        <a:pt x="191156" y="376902"/>
                      </a:lnTo>
                      <a:lnTo>
                        <a:pt x="197335" y="380519"/>
                      </a:lnTo>
                      <a:lnTo>
                        <a:pt x="202425" y="376166"/>
                      </a:lnTo>
                      <a:lnTo>
                        <a:pt x="208220" y="377638"/>
                      </a:lnTo>
                      <a:lnTo>
                        <a:pt x="209308" y="386346"/>
                      </a:lnTo>
                      <a:lnTo>
                        <a:pt x="213662" y="388139"/>
                      </a:lnTo>
                      <a:lnTo>
                        <a:pt x="220545" y="361311"/>
                      </a:lnTo>
                      <a:lnTo>
                        <a:pt x="232518" y="350426"/>
                      </a:lnTo>
                      <a:lnTo>
                        <a:pt x="238345" y="334835"/>
                      </a:lnTo>
                      <a:lnTo>
                        <a:pt x="247021" y="333010"/>
                      </a:lnTo>
                      <a:lnTo>
                        <a:pt x="251375" y="342455"/>
                      </a:lnTo>
                      <a:lnTo>
                        <a:pt x="260819" y="338101"/>
                      </a:lnTo>
                      <a:lnTo>
                        <a:pt x="264436" y="318508"/>
                      </a:lnTo>
                      <a:lnTo>
                        <a:pt x="271351" y="309064"/>
                      </a:lnTo>
                      <a:lnTo>
                        <a:pt x="271351" y="285854"/>
                      </a:lnTo>
                      <a:lnTo>
                        <a:pt x="280764" y="283293"/>
                      </a:lnTo>
                      <a:lnTo>
                        <a:pt x="280764" y="274617"/>
                      </a:lnTo>
                      <a:lnTo>
                        <a:pt x="292737" y="298531"/>
                      </a:lnTo>
                      <a:lnTo>
                        <a:pt x="297827" y="292737"/>
                      </a:lnTo>
                      <a:lnTo>
                        <a:pt x="297091" y="284029"/>
                      </a:lnTo>
                      <a:lnTo>
                        <a:pt x="306535" y="273880"/>
                      </a:lnTo>
                      <a:lnTo>
                        <a:pt x="298916" y="244492"/>
                      </a:lnTo>
                      <a:lnTo>
                        <a:pt x="301445" y="233959"/>
                      </a:lnTo>
                      <a:lnTo>
                        <a:pt x="310889" y="226339"/>
                      </a:lnTo>
                      <a:lnTo>
                        <a:pt x="308328" y="218720"/>
                      </a:lnTo>
                      <a:lnTo>
                        <a:pt x="296002" y="219456"/>
                      </a:lnTo>
                      <a:lnTo>
                        <a:pt x="299620" y="204954"/>
                      </a:lnTo>
                      <a:lnTo>
                        <a:pt x="292737" y="192981"/>
                      </a:lnTo>
                      <a:lnTo>
                        <a:pt x="290208" y="185009"/>
                      </a:lnTo>
                      <a:lnTo>
                        <a:pt x="300356" y="173036"/>
                      </a:lnTo>
                      <a:lnTo>
                        <a:pt x="306535" y="166857"/>
                      </a:lnTo>
                      <a:lnTo>
                        <a:pt x="306535" y="154180"/>
                      </a:lnTo>
                      <a:lnTo>
                        <a:pt x="316683" y="149826"/>
                      </a:lnTo>
                      <a:lnTo>
                        <a:pt x="315243" y="144736"/>
                      </a:lnTo>
                      <a:lnTo>
                        <a:pt x="324655" y="121525"/>
                      </a:lnTo>
                      <a:lnTo>
                        <a:pt x="336628" y="119700"/>
                      </a:lnTo>
                      <a:lnTo>
                        <a:pt x="335924" y="109168"/>
                      </a:lnTo>
                      <a:lnTo>
                        <a:pt x="325391" y="92873"/>
                      </a:lnTo>
                      <a:lnTo>
                        <a:pt x="314154" y="89607"/>
                      </a:lnTo>
                      <a:lnTo>
                        <a:pt x="318508" y="67101"/>
                      </a:lnTo>
                      <a:lnTo>
                        <a:pt x="331570" y="62043"/>
                      </a:lnTo>
                      <a:lnTo>
                        <a:pt x="335924" y="53335"/>
                      </a:lnTo>
                      <a:lnTo>
                        <a:pt x="329009" y="47509"/>
                      </a:lnTo>
                      <a:lnTo>
                        <a:pt x="329745" y="36272"/>
                      </a:lnTo>
                      <a:lnTo>
                        <a:pt x="326128" y="25035"/>
                      </a:lnTo>
                      <a:lnTo>
                        <a:pt x="303974" y="11973"/>
                      </a:lnTo>
                      <a:lnTo>
                        <a:pt x="284029" y="19945"/>
                      </a:lnTo>
                      <a:lnTo>
                        <a:pt x="278971" y="24299"/>
                      </a:lnTo>
                      <a:lnTo>
                        <a:pt x="271351" y="21769"/>
                      </a:lnTo>
                      <a:lnTo>
                        <a:pt x="277146" y="4354"/>
                      </a:lnTo>
                      <a:lnTo>
                        <a:pt x="267702" y="1793"/>
                      </a:lnTo>
                      <a:lnTo>
                        <a:pt x="261907" y="6883"/>
                      </a:lnTo>
                      <a:lnTo>
                        <a:pt x="252111" y="0"/>
                      </a:lnTo>
                      <a:lnTo>
                        <a:pt x="241963" y="15591"/>
                      </a:lnTo>
                      <a:lnTo>
                        <a:pt x="248846" y="22474"/>
                      </a:lnTo>
                      <a:lnTo>
                        <a:pt x="256465" y="17415"/>
                      </a:lnTo>
                      <a:lnTo>
                        <a:pt x="260083" y="18856"/>
                      </a:lnTo>
                      <a:lnTo>
                        <a:pt x="253200" y="33743"/>
                      </a:lnTo>
                      <a:lnTo>
                        <a:pt x="235784" y="41362"/>
                      </a:lnTo>
                      <a:lnTo>
                        <a:pt x="219457" y="36272"/>
                      </a:lnTo>
                      <a:lnTo>
                        <a:pt x="219457" y="43155"/>
                      </a:lnTo>
                      <a:lnTo>
                        <a:pt x="208220" y="41362"/>
                      </a:lnTo>
                      <a:lnTo>
                        <a:pt x="199864" y="36272"/>
                      </a:lnTo>
                      <a:lnTo>
                        <a:pt x="187539" y="45716"/>
                      </a:lnTo>
                      <a:lnTo>
                        <a:pt x="179183" y="28652"/>
                      </a:lnTo>
                      <a:lnTo>
                        <a:pt x="159238" y="27564"/>
                      </a:lnTo>
                      <a:lnTo>
                        <a:pt x="158534" y="15591"/>
                      </a:lnTo>
                      <a:lnTo>
                        <a:pt x="146561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5" name="Forma Livre: Forma 264">
                  <a:extLst>
                    <a:ext uri="{FF2B5EF4-FFF2-40B4-BE49-F238E27FC236}">
                      <a16:creationId xmlns:a16="http://schemas.microsoft.com/office/drawing/2014/main" id="{8FA382E4-7AC5-EFE0-9A32-A2F53DEDFF40}"/>
                    </a:ext>
                  </a:extLst>
                </p:cNvPr>
                <p:cNvSpPr/>
                <p:nvPr/>
              </p:nvSpPr>
              <p:spPr>
                <a:xfrm>
                  <a:off x="3125100" y="5438526"/>
                  <a:ext cx="437760" cy="407859"/>
                </a:xfrm>
                <a:custGeom>
                  <a:avLst/>
                  <a:gdLst>
                    <a:gd name="csX0" fmla="*/ 68478 w 437760"/>
                    <a:gd name="csY0" fmla="*/ 0 h 407859"/>
                    <a:gd name="csX1" fmla="*/ 77186 w 437760"/>
                    <a:gd name="csY1" fmla="*/ 10532 h 407859"/>
                    <a:gd name="csX2" fmla="*/ 89159 w 437760"/>
                    <a:gd name="csY2" fmla="*/ 11973 h 407859"/>
                    <a:gd name="csX3" fmla="*/ 90984 w 437760"/>
                    <a:gd name="csY3" fmla="*/ 17063 h 407859"/>
                    <a:gd name="csX4" fmla="*/ 101133 w 437760"/>
                    <a:gd name="csY4" fmla="*/ 11973 h 407859"/>
                    <a:gd name="csX5" fmla="*/ 129785 w 437760"/>
                    <a:gd name="csY5" fmla="*/ 37744 h 407859"/>
                    <a:gd name="csX6" fmla="*/ 136668 w 437760"/>
                    <a:gd name="csY6" fmla="*/ 30861 h 407859"/>
                    <a:gd name="csX7" fmla="*/ 147905 w 437760"/>
                    <a:gd name="csY7" fmla="*/ 31950 h 407859"/>
                    <a:gd name="csX8" fmla="*/ 160615 w 437760"/>
                    <a:gd name="csY8" fmla="*/ 23979 h 407859"/>
                    <a:gd name="csX9" fmla="*/ 169323 w 437760"/>
                    <a:gd name="csY9" fmla="*/ 26892 h 407859"/>
                    <a:gd name="csX10" fmla="*/ 199416 w 437760"/>
                    <a:gd name="csY10" fmla="*/ 20009 h 407859"/>
                    <a:gd name="csX11" fmla="*/ 206299 w 437760"/>
                    <a:gd name="csY11" fmla="*/ 23274 h 407859"/>
                    <a:gd name="csX12" fmla="*/ 218272 w 437760"/>
                    <a:gd name="csY12" fmla="*/ 18184 h 407859"/>
                    <a:gd name="csX13" fmla="*/ 289023 w 437760"/>
                    <a:gd name="csY13" fmla="*/ 62075 h 407859"/>
                    <a:gd name="csX14" fmla="*/ 301733 w 437760"/>
                    <a:gd name="csY14" fmla="*/ 63900 h 407859"/>
                    <a:gd name="csX15" fmla="*/ 327472 w 437760"/>
                    <a:gd name="csY15" fmla="*/ 67166 h 407859"/>
                    <a:gd name="csX16" fmla="*/ 413814 w 437760"/>
                    <a:gd name="csY16" fmla="*/ 78402 h 407859"/>
                    <a:gd name="csX17" fmla="*/ 427612 w 437760"/>
                    <a:gd name="csY17" fmla="*/ 80227 h 407859"/>
                    <a:gd name="csX18" fmla="*/ 429053 w 437760"/>
                    <a:gd name="csY18" fmla="*/ 88583 h 407859"/>
                    <a:gd name="csX19" fmla="*/ 434495 w 437760"/>
                    <a:gd name="csY19" fmla="*/ 92937 h 407859"/>
                    <a:gd name="csX20" fmla="*/ 432671 w 437760"/>
                    <a:gd name="csY20" fmla="*/ 103469 h 407859"/>
                    <a:gd name="csX21" fmla="*/ 400753 w 437760"/>
                    <a:gd name="csY21" fmla="*/ 155716 h 407859"/>
                    <a:gd name="csX22" fmla="*/ 396398 w 437760"/>
                    <a:gd name="csY22" fmla="*/ 185810 h 407859"/>
                    <a:gd name="csX23" fmla="*/ 374277 w 437760"/>
                    <a:gd name="csY23" fmla="*/ 215903 h 407859"/>
                    <a:gd name="csX24" fmla="*/ 366305 w 437760"/>
                    <a:gd name="csY24" fmla="*/ 232230 h 407859"/>
                    <a:gd name="csX25" fmla="*/ 371395 w 437760"/>
                    <a:gd name="csY25" fmla="*/ 234055 h 407859"/>
                    <a:gd name="csX26" fmla="*/ 368866 w 437760"/>
                    <a:gd name="csY26" fmla="*/ 237673 h 407859"/>
                    <a:gd name="csX27" fmla="*/ 363776 w 437760"/>
                    <a:gd name="csY27" fmla="*/ 234055 h 407859"/>
                    <a:gd name="csX28" fmla="*/ 357597 w 437760"/>
                    <a:gd name="csY28" fmla="*/ 243499 h 407859"/>
                    <a:gd name="csX29" fmla="*/ 351067 w 437760"/>
                    <a:gd name="csY29" fmla="*/ 232262 h 407859"/>
                    <a:gd name="csX30" fmla="*/ 335476 w 437760"/>
                    <a:gd name="csY30" fmla="*/ 237705 h 407859"/>
                    <a:gd name="csX31" fmla="*/ 341270 w 437760"/>
                    <a:gd name="csY31" fmla="*/ 228997 h 407859"/>
                    <a:gd name="csX32" fmla="*/ 337269 w 437760"/>
                    <a:gd name="csY32" fmla="*/ 222818 h 407859"/>
                    <a:gd name="csX33" fmla="*/ 316587 w 437760"/>
                    <a:gd name="csY33" fmla="*/ 219553 h 407859"/>
                    <a:gd name="csX34" fmla="*/ 315499 w 437760"/>
                    <a:gd name="csY34" fmla="*/ 228260 h 407859"/>
                    <a:gd name="csX35" fmla="*/ 308616 w 437760"/>
                    <a:gd name="csY35" fmla="*/ 232262 h 407859"/>
                    <a:gd name="csX36" fmla="*/ 313706 w 437760"/>
                    <a:gd name="csY36" fmla="*/ 235175 h 407859"/>
                    <a:gd name="csX37" fmla="*/ 308616 w 437760"/>
                    <a:gd name="csY37" fmla="*/ 238441 h 407859"/>
                    <a:gd name="csX38" fmla="*/ 316587 w 437760"/>
                    <a:gd name="csY38" fmla="*/ 248589 h 407859"/>
                    <a:gd name="csX39" fmla="*/ 311145 w 437760"/>
                    <a:gd name="csY39" fmla="*/ 247853 h 407859"/>
                    <a:gd name="csX40" fmla="*/ 305350 w 437760"/>
                    <a:gd name="csY40" fmla="*/ 254736 h 407859"/>
                    <a:gd name="csX41" fmla="*/ 306087 w 437760"/>
                    <a:gd name="csY41" fmla="*/ 258354 h 407859"/>
                    <a:gd name="csX42" fmla="*/ 314795 w 437760"/>
                    <a:gd name="csY42" fmla="*/ 256529 h 407859"/>
                    <a:gd name="csX43" fmla="*/ 311177 w 437760"/>
                    <a:gd name="csY43" fmla="*/ 266677 h 407859"/>
                    <a:gd name="csX44" fmla="*/ 301029 w 437760"/>
                    <a:gd name="csY44" fmla="*/ 268502 h 407859"/>
                    <a:gd name="csX45" fmla="*/ 303558 w 437760"/>
                    <a:gd name="csY45" fmla="*/ 260883 h 407859"/>
                    <a:gd name="csX46" fmla="*/ 290496 w 437760"/>
                    <a:gd name="csY46" fmla="*/ 258354 h 407859"/>
                    <a:gd name="csX47" fmla="*/ 275994 w 437760"/>
                    <a:gd name="csY47" fmla="*/ 267798 h 407859"/>
                    <a:gd name="csX48" fmla="*/ 272728 w 437760"/>
                    <a:gd name="csY48" fmla="*/ 275417 h 407859"/>
                    <a:gd name="csX49" fmla="*/ 264757 w 437760"/>
                    <a:gd name="csY49" fmla="*/ 276154 h 407859"/>
                    <a:gd name="csX50" fmla="*/ 262227 w 437760"/>
                    <a:gd name="csY50" fmla="*/ 277978 h 407859"/>
                    <a:gd name="csX51" fmla="*/ 261491 w 437760"/>
                    <a:gd name="csY51" fmla="*/ 276154 h 407859"/>
                    <a:gd name="csX52" fmla="*/ 262227 w 437760"/>
                    <a:gd name="csY52" fmla="*/ 275417 h 407859"/>
                    <a:gd name="csX53" fmla="*/ 241546 w 437760"/>
                    <a:gd name="csY53" fmla="*/ 270327 h 407859"/>
                    <a:gd name="csX54" fmla="*/ 235752 w 437760"/>
                    <a:gd name="csY54" fmla="*/ 272152 h 407859"/>
                    <a:gd name="csX55" fmla="*/ 232839 w 437760"/>
                    <a:gd name="csY55" fmla="*/ 260915 h 407859"/>
                    <a:gd name="csX56" fmla="*/ 229573 w 437760"/>
                    <a:gd name="csY56" fmla="*/ 289215 h 407859"/>
                    <a:gd name="csX57" fmla="*/ 220129 w 437760"/>
                    <a:gd name="csY57" fmla="*/ 285598 h 407859"/>
                    <a:gd name="csX58" fmla="*/ 215775 w 437760"/>
                    <a:gd name="csY58" fmla="*/ 289215 h 407859"/>
                    <a:gd name="csX59" fmla="*/ 213950 w 437760"/>
                    <a:gd name="csY59" fmla="*/ 284125 h 407859"/>
                    <a:gd name="csX60" fmla="*/ 209596 w 437760"/>
                    <a:gd name="csY60" fmla="*/ 284861 h 407859"/>
                    <a:gd name="csX61" fmla="*/ 216479 w 437760"/>
                    <a:gd name="csY61" fmla="*/ 291040 h 407859"/>
                    <a:gd name="csX62" fmla="*/ 221922 w 437760"/>
                    <a:gd name="csY62" fmla="*/ 288511 h 407859"/>
                    <a:gd name="csX63" fmla="*/ 229541 w 437760"/>
                    <a:gd name="csY63" fmla="*/ 291040 h 407859"/>
                    <a:gd name="csX64" fmla="*/ 219393 w 437760"/>
                    <a:gd name="csY64" fmla="*/ 300484 h 407859"/>
                    <a:gd name="csX65" fmla="*/ 238985 w 437760"/>
                    <a:gd name="csY65" fmla="*/ 308104 h 407859"/>
                    <a:gd name="csX66" fmla="*/ 246605 w 437760"/>
                    <a:gd name="csY66" fmla="*/ 300484 h 407859"/>
                    <a:gd name="csX67" fmla="*/ 227748 w 437760"/>
                    <a:gd name="csY67" fmla="*/ 299395 h 407859"/>
                    <a:gd name="csX68" fmla="*/ 232102 w 437760"/>
                    <a:gd name="csY68" fmla="*/ 292513 h 407859"/>
                    <a:gd name="csX69" fmla="*/ 232102 w 437760"/>
                    <a:gd name="csY69" fmla="*/ 279099 h 407859"/>
                    <a:gd name="csX70" fmla="*/ 238281 w 437760"/>
                    <a:gd name="csY70" fmla="*/ 277274 h 407859"/>
                    <a:gd name="csX71" fmla="*/ 232839 w 437760"/>
                    <a:gd name="csY71" fmla="*/ 276185 h 407859"/>
                    <a:gd name="csX72" fmla="*/ 245164 w 437760"/>
                    <a:gd name="csY72" fmla="*/ 273656 h 407859"/>
                    <a:gd name="csX73" fmla="*/ 262227 w 437760"/>
                    <a:gd name="csY73" fmla="*/ 281628 h 407859"/>
                    <a:gd name="csX74" fmla="*/ 277818 w 437760"/>
                    <a:gd name="csY74" fmla="*/ 272920 h 407859"/>
                    <a:gd name="csX75" fmla="*/ 280347 w 437760"/>
                    <a:gd name="csY75" fmla="*/ 277274 h 407859"/>
                    <a:gd name="csX76" fmla="*/ 273464 w 437760"/>
                    <a:gd name="csY76" fmla="*/ 282364 h 407859"/>
                    <a:gd name="csX77" fmla="*/ 274201 w 437760"/>
                    <a:gd name="csY77" fmla="*/ 289247 h 407859"/>
                    <a:gd name="csX78" fmla="*/ 266581 w 437760"/>
                    <a:gd name="csY78" fmla="*/ 289247 h 407859"/>
                    <a:gd name="csX79" fmla="*/ 253520 w 437760"/>
                    <a:gd name="csY79" fmla="*/ 310632 h 407859"/>
                    <a:gd name="csX80" fmla="*/ 237192 w 437760"/>
                    <a:gd name="csY80" fmla="*/ 351259 h 407859"/>
                    <a:gd name="csX81" fmla="*/ 240810 w 437760"/>
                    <a:gd name="csY81" fmla="*/ 360703 h 407859"/>
                    <a:gd name="csX82" fmla="*/ 232839 w 437760"/>
                    <a:gd name="csY82" fmla="*/ 358174 h 407859"/>
                    <a:gd name="csX83" fmla="*/ 234663 w 437760"/>
                    <a:gd name="csY83" fmla="*/ 365793 h 407859"/>
                    <a:gd name="csX84" fmla="*/ 223426 w 437760"/>
                    <a:gd name="csY84" fmla="*/ 367618 h 407859"/>
                    <a:gd name="csX85" fmla="*/ 225251 w 437760"/>
                    <a:gd name="csY85" fmla="*/ 373412 h 407859"/>
                    <a:gd name="csX86" fmla="*/ 219457 w 437760"/>
                    <a:gd name="csY86" fmla="*/ 379591 h 407859"/>
                    <a:gd name="csX87" fmla="*/ 219457 w 437760"/>
                    <a:gd name="csY87" fmla="*/ 371972 h 407859"/>
                    <a:gd name="csX88" fmla="*/ 202777 w 437760"/>
                    <a:gd name="csY88" fmla="*/ 374501 h 407859"/>
                    <a:gd name="csX89" fmla="*/ 174477 w 437760"/>
                    <a:gd name="csY89" fmla="*/ 407859 h 407859"/>
                    <a:gd name="csX90" fmla="*/ 167594 w 437760"/>
                    <a:gd name="csY90" fmla="*/ 395886 h 407859"/>
                    <a:gd name="csX91" fmla="*/ 156357 w 437760"/>
                    <a:gd name="csY91" fmla="*/ 375205 h 407859"/>
                    <a:gd name="csX92" fmla="*/ 88519 w 437760"/>
                    <a:gd name="csY92" fmla="*/ 254768 h 407859"/>
                    <a:gd name="csX93" fmla="*/ 72928 w 437760"/>
                    <a:gd name="csY93" fmla="*/ 224675 h 407859"/>
                    <a:gd name="csX94" fmla="*/ 72928 w 437760"/>
                    <a:gd name="csY94" fmla="*/ 210172 h 407859"/>
                    <a:gd name="csX95" fmla="*/ 76546 w 437760"/>
                    <a:gd name="csY95" fmla="*/ 168810 h 407859"/>
                    <a:gd name="csX96" fmla="*/ 76546 w 437760"/>
                    <a:gd name="csY96" fmla="*/ 168074 h 407859"/>
                    <a:gd name="csX97" fmla="*/ 79075 w 437760"/>
                    <a:gd name="csY97" fmla="*/ 132538 h 407859"/>
                    <a:gd name="csX98" fmla="*/ 85958 w 437760"/>
                    <a:gd name="csY98" fmla="*/ 122390 h 407859"/>
                    <a:gd name="csX99" fmla="*/ 83429 w 437760"/>
                    <a:gd name="csY99" fmla="*/ 117299 h 407859"/>
                    <a:gd name="csX100" fmla="*/ 72896 w 437760"/>
                    <a:gd name="csY100" fmla="*/ 116211 h 407859"/>
                    <a:gd name="csX101" fmla="*/ 47157 w 437760"/>
                    <a:gd name="csY101" fmla="*/ 131802 h 407859"/>
                    <a:gd name="csX102" fmla="*/ 33359 w 437760"/>
                    <a:gd name="csY102" fmla="*/ 143039 h 407859"/>
                    <a:gd name="csX103" fmla="*/ 39537 w 437760"/>
                    <a:gd name="csY103" fmla="*/ 153187 h 407859"/>
                    <a:gd name="csX104" fmla="*/ 27212 w 437760"/>
                    <a:gd name="csY104" fmla="*/ 159366 h 407859"/>
                    <a:gd name="csX105" fmla="*/ 23946 w 437760"/>
                    <a:gd name="csY105" fmla="*/ 143039 h 407859"/>
                    <a:gd name="csX106" fmla="*/ 28300 w 437760"/>
                    <a:gd name="csY106" fmla="*/ 129977 h 407859"/>
                    <a:gd name="csX107" fmla="*/ 35183 w 437760"/>
                    <a:gd name="csY107" fmla="*/ 126712 h 407859"/>
                    <a:gd name="csX108" fmla="*/ 38449 w 437760"/>
                    <a:gd name="csY108" fmla="*/ 131066 h 407859"/>
                    <a:gd name="csX109" fmla="*/ 42066 w 437760"/>
                    <a:gd name="csY109" fmla="*/ 123094 h 407859"/>
                    <a:gd name="csX110" fmla="*/ 39537 w 437760"/>
                    <a:gd name="csY110" fmla="*/ 113650 h 407859"/>
                    <a:gd name="csX111" fmla="*/ 0 w 437760"/>
                    <a:gd name="csY111" fmla="*/ 103501 h 407859"/>
                    <a:gd name="csX112" fmla="*/ 1441 w 437760"/>
                    <a:gd name="csY112" fmla="*/ 88615 h 407859"/>
                    <a:gd name="csX113" fmla="*/ 14502 w 437760"/>
                    <a:gd name="csY113" fmla="*/ 87879 h 407859"/>
                    <a:gd name="csX114" fmla="*/ 8324 w 437760"/>
                    <a:gd name="csY114" fmla="*/ 81700 h 407859"/>
                    <a:gd name="csX115" fmla="*/ 12678 w 437760"/>
                    <a:gd name="csY115" fmla="*/ 70815 h 407859"/>
                    <a:gd name="csX116" fmla="*/ 9412 w 437760"/>
                    <a:gd name="csY116" fmla="*/ 61019 h 407859"/>
                    <a:gd name="csX117" fmla="*/ 14502 w 437760"/>
                    <a:gd name="csY117" fmla="*/ 53399 h 407859"/>
                    <a:gd name="csX118" fmla="*/ 23210 w 437760"/>
                    <a:gd name="csY118" fmla="*/ 54136 h 407859"/>
                    <a:gd name="csX119" fmla="*/ 26476 w 437760"/>
                    <a:gd name="csY119" fmla="*/ 38897 h 407859"/>
                    <a:gd name="csX120" fmla="*/ 33359 w 437760"/>
                    <a:gd name="csY120" fmla="*/ 40722 h 407859"/>
                    <a:gd name="csX121" fmla="*/ 34095 w 437760"/>
                    <a:gd name="csY121" fmla="*/ 34543 h 407859"/>
                    <a:gd name="csX122" fmla="*/ 32654 w 437760"/>
                    <a:gd name="csY122" fmla="*/ 30925 h 407859"/>
                    <a:gd name="csX123" fmla="*/ 37745 w 437760"/>
                    <a:gd name="csY123" fmla="*/ 28396 h 407859"/>
                    <a:gd name="csX124" fmla="*/ 30125 w 437760"/>
                    <a:gd name="csY124" fmla="*/ 20777 h 407859"/>
                    <a:gd name="csX125" fmla="*/ 35920 w 437760"/>
                    <a:gd name="csY125" fmla="*/ 8804 h 407859"/>
                    <a:gd name="csX126" fmla="*/ 43891 w 437760"/>
                    <a:gd name="csY126" fmla="*/ 10629 h 407859"/>
                    <a:gd name="csX127" fmla="*/ 51511 w 437760"/>
                    <a:gd name="csY127" fmla="*/ 5186 h 407859"/>
                    <a:gd name="csX128" fmla="*/ 58394 w 437760"/>
                    <a:gd name="csY128" fmla="*/ 8804 h 407859"/>
                    <a:gd name="csX129" fmla="*/ 59130 w 437760"/>
                    <a:gd name="csY129" fmla="*/ 1921 h 407859"/>
                    <a:gd name="csX130" fmla="*/ 68574 w 437760"/>
                    <a:gd name="csY130" fmla="*/ 96 h 407859"/>
                    <a:gd name="csX131" fmla="*/ 413814 w 437760"/>
                    <a:gd name="csY131" fmla="*/ 185009 h 407859"/>
                    <a:gd name="csX132" fmla="*/ 411989 w 437760"/>
                    <a:gd name="csY132" fmla="*/ 185009 h 407859"/>
                    <a:gd name="csX133" fmla="*/ 411989 w 437760"/>
                    <a:gd name="csY133" fmla="*/ 183185 h 407859"/>
                    <a:gd name="csX134" fmla="*/ 413814 w 437760"/>
                    <a:gd name="csY134" fmla="*/ 183185 h 407859"/>
                    <a:gd name="csX135" fmla="*/ 413814 w 437760"/>
                    <a:gd name="csY135" fmla="*/ 185009 h 407859"/>
                    <a:gd name="csX136" fmla="*/ 435968 w 437760"/>
                    <a:gd name="csY136" fmla="*/ 198775 h 407859"/>
                    <a:gd name="csX137" fmla="*/ 437056 w 437760"/>
                    <a:gd name="csY137" fmla="*/ 202041 h 407859"/>
                    <a:gd name="csX138" fmla="*/ 433439 w 437760"/>
                    <a:gd name="csY138" fmla="*/ 201305 h 407859"/>
                    <a:gd name="csX139" fmla="*/ 435968 w 437760"/>
                    <a:gd name="csY139" fmla="*/ 198775 h 407859"/>
                    <a:gd name="csX140" fmla="*/ 418168 w 437760"/>
                    <a:gd name="csY140" fmla="*/ 201336 h 407859"/>
                    <a:gd name="csX141" fmla="*/ 416343 w 437760"/>
                    <a:gd name="csY141" fmla="*/ 201336 h 407859"/>
                    <a:gd name="csX142" fmla="*/ 416343 w 437760"/>
                    <a:gd name="csY142" fmla="*/ 200600 h 407859"/>
                    <a:gd name="csX143" fmla="*/ 418168 w 437760"/>
                    <a:gd name="csY143" fmla="*/ 200600 h 407859"/>
                    <a:gd name="csX144" fmla="*/ 418168 w 437760"/>
                    <a:gd name="csY144" fmla="*/ 201336 h 407859"/>
                    <a:gd name="csX145" fmla="*/ 427612 w 437760"/>
                    <a:gd name="csY145" fmla="*/ 203866 h 407859"/>
                    <a:gd name="csX146" fmla="*/ 425083 w 437760"/>
                    <a:gd name="csY146" fmla="*/ 203866 h 407859"/>
                    <a:gd name="csX147" fmla="*/ 423995 w 437760"/>
                    <a:gd name="csY147" fmla="*/ 203129 h 407859"/>
                    <a:gd name="csX148" fmla="*/ 426524 w 437760"/>
                    <a:gd name="csY148" fmla="*/ 202041 h 407859"/>
                    <a:gd name="csX149" fmla="*/ 427612 w 437760"/>
                    <a:gd name="csY149" fmla="*/ 203866 h 407859"/>
                    <a:gd name="csX150" fmla="*/ 437761 w 437760"/>
                    <a:gd name="csY150" fmla="*/ 204954 h 407859"/>
                    <a:gd name="csX151" fmla="*/ 435232 w 437760"/>
                    <a:gd name="csY151" fmla="*/ 204954 h 407859"/>
                    <a:gd name="csX152" fmla="*/ 434495 w 437760"/>
                    <a:gd name="csY152" fmla="*/ 203129 h 407859"/>
                    <a:gd name="csX153" fmla="*/ 437761 w 437760"/>
                    <a:gd name="csY153" fmla="*/ 203129 h 407859"/>
                    <a:gd name="csX154" fmla="*/ 437761 w 437760"/>
                    <a:gd name="csY154" fmla="*/ 204954 h 407859"/>
                    <a:gd name="csX155" fmla="*/ 434495 w 437760"/>
                    <a:gd name="csY155" fmla="*/ 205691 h 407859"/>
                    <a:gd name="csX156" fmla="*/ 430878 w 437760"/>
                    <a:gd name="csY156" fmla="*/ 205691 h 407859"/>
                    <a:gd name="csX157" fmla="*/ 430878 w 437760"/>
                    <a:gd name="csY157" fmla="*/ 203161 h 407859"/>
                    <a:gd name="csX158" fmla="*/ 433407 w 437760"/>
                    <a:gd name="csY158" fmla="*/ 203161 h 407859"/>
                    <a:gd name="csX159" fmla="*/ 434495 w 437760"/>
                    <a:gd name="csY159" fmla="*/ 205691 h 407859"/>
                    <a:gd name="csX160" fmla="*/ 428349 w 437760"/>
                    <a:gd name="csY160" fmla="*/ 206395 h 407859"/>
                    <a:gd name="csX161" fmla="*/ 423995 w 437760"/>
                    <a:gd name="csY161" fmla="*/ 207483 h 407859"/>
                    <a:gd name="csX162" fmla="*/ 423995 w 437760"/>
                    <a:gd name="csY162" fmla="*/ 204954 h 407859"/>
                    <a:gd name="csX163" fmla="*/ 427612 w 437760"/>
                    <a:gd name="csY163" fmla="*/ 204954 h 407859"/>
                    <a:gd name="csX164" fmla="*/ 428349 w 437760"/>
                    <a:gd name="csY164" fmla="*/ 206395 h 407859"/>
                    <a:gd name="csX165" fmla="*/ 406931 w 437760"/>
                    <a:gd name="csY165" fmla="*/ 215839 h 407859"/>
                    <a:gd name="csX166" fmla="*/ 405843 w 437760"/>
                    <a:gd name="csY166" fmla="*/ 215839 h 407859"/>
                    <a:gd name="csX167" fmla="*/ 405843 w 437760"/>
                    <a:gd name="csY167" fmla="*/ 216928 h 407859"/>
                    <a:gd name="csX168" fmla="*/ 407668 w 437760"/>
                    <a:gd name="csY168" fmla="*/ 215839 h 407859"/>
                    <a:gd name="csX169" fmla="*/ 406931 w 437760"/>
                    <a:gd name="csY169" fmla="*/ 215839 h 40785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</a:cxnLst>
                  <a:rect l="l" t="t" r="r" b="b"/>
                  <a:pathLst>
                    <a:path w="437760" h="407859">
                      <a:moveTo>
                        <a:pt x="68478" y="0"/>
                      </a:moveTo>
                      <a:lnTo>
                        <a:pt x="77186" y="10532"/>
                      </a:lnTo>
                      <a:lnTo>
                        <a:pt x="89159" y="11973"/>
                      </a:lnTo>
                      <a:lnTo>
                        <a:pt x="90984" y="17063"/>
                      </a:lnTo>
                      <a:lnTo>
                        <a:pt x="101133" y="11973"/>
                      </a:lnTo>
                      <a:lnTo>
                        <a:pt x="129785" y="37744"/>
                      </a:lnTo>
                      <a:lnTo>
                        <a:pt x="136668" y="30861"/>
                      </a:lnTo>
                      <a:lnTo>
                        <a:pt x="147905" y="31950"/>
                      </a:lnTo>
                      <a:lnTo>
                        <a:pt x="160615" y="23979"/>
                      </a:lnTo>
                      <a:lnTo>
                        <a:pt x="169323" y="26892"/>
                      </a:lnTo>
                      <a:lnTo>
                        <a:pt x="199416" y="20009"/>
                      </a:lnTo>
                      <a:lnTo>
                        <a:pt x="206299" y="23274"/>
                      </a:lnTo>
                      <a:lnTo>
                        <a:pt x="218272" y="18184"/>
                      </a:lnTo>
                      <a:lnTo>
                        <a:pt x="289023" y="62075"/>
                      </a:lnTo>
                      <a:lnTo>
                        <a:pt x="301733" y="63900"/>
                      </a:lnTo>
                      <a:lnTo>
                        <a:pt x="327472" y="67166"/>
                      </a:lnTo>
                      <a:lnTo>
                        <a:pt x="413814" y="78402"/>
                      </a:lnTo>
                      <a:lnTo>
                        <a:pt x="427612" y="80227"/>
                      </a:lnTo>
                      <a:lnTo>
                        <a:pt x="429053" y="88583"/>
                      </a:lnTo>
                      <a:lnTo>
                        <a:pt x="434495" y="92937"/>
                      </a:lnTo>
                      <a:lnTo>
                        <a:pt x="432671" y="103469"/>
                      </a:lnTo>
                      <a:lnTo>
                        <a:pt x="400753" y="155716"/>
                      </a:lnTo>
                      <a:lnTo>
                        <a:pt x="396398" y="185810"/>
                      </a:lnTo>
                      <a:lnTo>
                        <a:pt x="374277" y="215903"/>
                      </a:lnTo>
                      <a:lnTo>
                        <a:pt x="366305" y="232230"/>
                      </a:lnTo>
                      <a:lnTo>
                        <a:pt x="371395" y="234055"/>
                      </a:lnTo>
                      <a:lnTo>
                        <a:pt x="368866" y="237673"/>
                      </a:lnTo>
                      <a:lnTo>
                        <a:pt x="363776" y="234055"/>
                      </a:lnTo>
                      <a:lnTo>
                        <a:pt x="357597" y="243499"/>
                      </a:lnTo>
                      <a:lnTo>
                        <a:pt x="351067" y="232262"/>
                      </a:lnTo>
                      <a:lnTo>
                        <a:pt x="335476" y="237705"/>
                      </a:lnTo>
                      <a:lnTo>
                        <a:pt x="341270" y="228997"/>
                      </a:lnTo>
                      <a:lnTo>
                        <a:pt x="337269" y="222818"/>
                      </a:lnTo>
                      <a:lnTo>
                        <a:pt x="316587" y="219553"/>
                      </a:lnTo>
                      <a:lnTo>
                        <a:pt x="315499" y="228260"/>
                      </a:lnTo>
                      <a:lnTo>
                        <a:pt x="308616" y="232262"/>
                      </a:lnTo>
                      <a:lnTo>
                        <a:pt x="313706" y="235175"/>
                      </a:lnTo>
                      <a:lnTo>
                        <a:pt x="308616" y="238441"/>
                      </a:lnTo>
                      <a:lnTo>
                        <a:pt x="316587" y="248589"/>
                      </a:lnTo>
                      <a:lnTo>
                        <a:pt x="311145" y="247853"/>
                      </a:lnTo>
                      <a:lnTo>
                        <a:pt x="305350" y="254736"/>
                      </a:lnTo>
                      <a:lnTo>
                        <a:pt x="306087" y="258354"/>
                      </a:lnTo>
                      <a:lnTo>
                        <a:pt x="314795" y="256529"/>
                      </a:lnTo>
                      <a:lnTo>
                        <a:pt x="311177" y="266677"/>
                      </a:lnTo>
                      <a:lnTo>
                        <a:pt x="301029" y="268502"/>
                      </a:lnTo>
                      <a:lnTo>
                        <a:pt x="303558" y="260883"/>
                      </a:lnTo>
                      <a:lnTo>
                        <a:pt x="290496" y="258354"/>
                      </a:lnTo>
                      <a:lnTo>
                        <a:pt x="275994" y="267798"/>
                      </a:lnTo>
                      <a:lnTo>
                        <a:pt x="272728" y="275417"/>
                      </a:lnTo>
                      <a:lnTo>
                        <a:pt x="264757" y="276154"/>
                      </a:lnTo>
                      <a:lnTo>
                        <a:pt x="262227" y="277978"/>
                      </a:lnTo>
                      <a:lnTo>
                        <a:pt x="261491" y="276154"/>
                      </a:lnTo>
                      <a:lnTo>
                        <a:pt x="262227" y="275417"/>
                      </a:lnTo>
                      <a:lnTo>
                        <a:pt x="241546" y="270327"/>
                      </a:lnTo>
                      <a:lnTo>
                        <a:pt x="235752" y="272152"/>
                      </a:lnTo>
                      <a:lnTo>
                        <a:pt x="232839" y="260915"/>
                      </a:lnTo>
                      <a:lnTo>
                        <a:pt x="229573" y="289215"/>
                      </a:lnTo>
                      <a:lnTo>
                        <a:pt x="220129" y="285598"/>
                      </a:lnTo>
                      <a:lnTo>
                        <a:pt x="215775" y="289215"/>
                      </a:lnTo>
                      <a:lnTo>
                        <a:pt x="213950" y="284125"/>
                      </a:lnTo>
                      <a:lnTo>
                        <a:pt x="209596" y="284861"/>
                      </a:lnTo>
                      <a:lnTo>
                        <a:pt x="216479" y="291040"/>
                      </a:lnTo>
                      <a:lnTo>
                        <a:pt x="221922" y="288511"/>
                      </a:lnTo>
                      <a:lnTo>
                        <a:pt x="229541" y="291040"/>
                      </a:lnTo>
                      <a:lnTo>
                        <a:pt x="219393" y="300484"/>
                      </a:lnTo>
                      <a:lnTo>
                        <a:pt x="238985" y="308104"/>
                      </a:lnTo>
                      <a:lnTo>
                        <a:pt x="246605" y="300484"/>
                      </a:lnTo>
                      <a:lnTo>
                        <a:pt x="227748" y="299395"/>
                      </a:lnTo>
                      <a:lnTo>
                        <a:pt x="232102" y="292513"/>
                      </a:lnTo>
                      <a:lnTo>
                        <a:pt x="232102" y="279099"/>
                      </a:lnTo>
                      <a:lnTo>
                        <a:pt x="238281" y="277274"/>
                      </a:lnTo>
                      <a:lnTo>
                        <a:pt x="232839" y="276185"/>
                      </a:lnTo>
                      <a:lnTo>
                        <a:pt x="245164" y="273656"/>
                      </a:lnTo>
                      <a:lnTo>
                        <a:pt x="262227" y="281628"/>
                      </a:lnTo>
                      <a:lnTo>
                        <a:pt x="277818" y="272920"/>
                      </a:lnTo>
                      <a:lnTo>
                        <a:pt x="280347" y="277274"/>
                      </a:lnTo>
                      <a:lnTo>
                        <a:pt x="273464" y="282364"/>
                      </a:lnTo>
                      <a:lnTo>
                        <a:pt x="274201" y="289247"/>
                      </a:lnTo>
                      <a:lnTo>
                        <a:pt x="266581" y="289247"/>
                      </a:lnTo>
                      <a:lnTo>
                        <a:pt x="253520" y="310632"/>
                      </a:lnTo>
                      <a:lnTo>
                        <a:pt x="237192" y="351259"/>
                      </a:lnTo>
                      <a:lnTo>
                        <a:pt x="240810" y="360703"/>
                      </a:lnTo>
                      <a:lnTo>
                        <a:pt x="232839" y="358174"/>
                      </a:lnTo>
                      <a:lnTo>
                        <a:pt x="234663" y="365793"/>
                      </a:lnTo>
                      <a:lnTo>
                        <a:pt x="223426" y="367618"/>
                      </a:lnTo>
                      <a:lnTo>
                        <a:pt x="225251" y="373412"/>
                      </a:lnTo>
                      <a:lnTo>
                        <a:pt x="219457" y="379591"/>
                      </a:lnTo>
                      <a:lnTo>
                        <a:pt x="219457" y="371972"/>
                      </a:lnTo>
                      <a:lnTo>
                        <a:pt x="202777" y="374501"/>
                      </a:lnTo>
                      <a:lnTo>
                        <a:pt x="174477" y="407859"/>
                      </a:lnTo>
                      <a:lnTo>
                        <a:pt x="167594" y="395886"/>
                      </a:lnTo>
                      <a:lnTo>
                        <a:pt x="156357" y="375205"/>
                      </a:lnTo>
                      <a:lnTo>
                        <a:pt x="88519" y="254768"/>
                      </a:lnTo>
                      <a:lnTo>
                        <a:pt x="72928" y="224675"/>
                      </a:lnTo>
                      <a:lnTo>
                        <a:pt x="72928" y="210172"/>
                      </a:lnTo>
                      <a:lnTo>
                        <a:pt x="76546" y="168810"/>
                      </a:lnTo>
                      <a:lnTo>
                        <a:pt x="76546" y="168074"/>
                      </a:lnTo>
                      <a:lnTo>
                        <a:pt x="79075" y="132538"/>
                      </a:lnTo>
                      <a:lnTo>
                        <a:pt x="85958" y="122390"/>
                      </a:lnTo>
                      <a:lnTo>
                        <a:pt x="83429" y="117299"/>
                      </a:lnTo>
                      <a:lnTo>
                        <a:pt x="72896" y="116211"/>
                      </a:lnTo>
                      <a:lnTo>
                        <a:pt x="47157" y="131802"/>
                      </a:lnTo>
                      <a:lnTo>
                        <a:pt x="33359" y="143039"/>
                      </a:lnTo>
                      <a:lnTo>
                        <a:pt x="39537" y="153187"/>
                      </a:lnTo>
                      <a:lnTo>
                        <a:pt x="27212" y="159366"/>
                      </a:lnTo>
                      <a:lnTo>
                        <a:pt x="23946" y="143039"/>
                      </a:lnTo>
                      <a:lnTo>
                        <a:pt x="28300" y="129977"/>
                      </a:lnTo>
                      <a:lnTo>
                        <a:pt x="35183" y="126712"/>
                      </a:lnTo>
                      <a:lnTo>
                        <a:pt x="38449" y="131066"/>
                      </a:lnTo>
                      <a:lnTo>
                        <a:pt x="42066" y="123094"/>
                      </a:lnTo>
                      <a:lnTo>
                        <a:pt x="39537" y="113650"/>
                      </a:lnTo>
                      <a:lnTo>
                        <a:pt x="0" y="103501"/>
                      </a:lnTo>
                      <a:lnTo>
                        <a:pt x="1441" y="88615"/>
                      </a:lnTo>
                      <a:lnTo>
                        <a:pt x="14502" y="87879"/>
                      </a:lnTo>
                      <a:lnTo>
                        <a:pt x="8324" y="81700"/>
                      </a:lnTo>
                      <a:lnTo>
                        <a:pt x="12678" y="70815"/>
                      </a:lnTo>
                      <a:lnTo>
                        <a:pt x="9412" y="61019"/>
                      </a:lnTo>
                      <a:lnTo>
                        <a:pt x="14502" y="53399"/>
                      </a:lnTo>
                      <a:lnTo>
                        <a:pt x="23210" y="54136"/>
                      </a:lnTo>
                      <a:lnTo>
                        <a:pt x="26476" y="38897"/>
                      </a:lnTo>
                      <a:lnTo>
                        <a:pt x="33359" y="40722"/>
                      </a:lnTo>
                      <a:lnTo>
                        <a:pt x="34095" y="34543"/>
                      </a:lnTo>
                      <a:lnTo>
                        <a:pt x="32654" y="30925"/>
                      </a:lnTo>
                      <a:lnTo>
                        <a:pt x="37745" y="28396"/>
                      </a:lnTo>
                      <a:lnTo>
                        <a:pt x="30125" y="20777"/>
                      </a:lnTo>
                      <a:lnTo>
                        <a:pt x="35920" y="8804"/>
                      </a:lnTo>
                      <a:lnTo>
                        <a:pt x="43891" y="10629"/>
                      </a:lnTo>
                      <a:lnTo>
                        <a:pt x="51511" y="5186"/>
                      </a:lnTo>
                      <a:lnTo>
                        <a:pt x="58394" y="8804"/>
                      </a:lnTo>
                      <a:lnTo>
                        <a:pt x="59130" y="1921"/>
                      </a:lnTo>
                      <a:lnTo>
                        <a:pt x="68574" y="96"/>
                      </a:lnTo>
                      <a:close/>
                      <a:moveTo>
                        <a:pt x="413814" y="185009"/>
                      </a:moveTo>
                      <a:lnTo>
                        <a:pt x="411989" y="185009"/>
                      </a:lnTo>
                      <a:lnTo>
                        <a:pt x="411989" y="183185"/>
                      </a:lnTo>
                      <a:lnTo>
                        <a:pt x="413814" y="183185"/>
                      </a:lnTo>
                      <a:lnTo>
                        <a:pt x="413814" y="185009"/>
                      </a:lnTo>
                      <a:close/>
                      <a:moveTo>
                        <a:pt x="435968" y="198775"/>
                      </a:moveTo>
                      <a:lnTo>
                        <a:pt x="437056" y="202041"/>
                      </a:lnTo>
                      <a:lnTo>
                        <a:pt x="433439" y="201305"/>
                      </a:lnTo>
                      <a:lnTo>
                        <a:pt x="435968" y="198775"/>
                      </a:lnTo>
                      <a:close/>
                      <a:moveTo>
                        <a:pt x="418168" y="201336"/>
                      </a:moveTo>
                      <a:lnTo>
                        <a:pt x="416343" y="201336"/>
                      </a:lnTo>
                      <a:lnTo>
                        <a:pt x="416343" y="200600"/>
                      </a:lnTo>
                      <a:lnTo>
                        <a:pt x="418168" y="200600"/>
                      </a:lnTo>
                      <a:lnTo>
                        <a:pt x="418168" y="201336"/>
                      </a:lnTo>
                      <a:close/>
                      <a:moveTo>
                        <a:pt x="427612" y="203866"/>
                      </a:moveTo>
                      <a:lnTo>
                        <a:pt x="425083" y="203866"/>
                      </a:lnTo>
                      <a:lnTo>
                        <a:pt x="423995" y="203129"/>
                      </a:lnTo>
                      <a:lnTo>
                        <a:pt x="426524" y="202041"/>
                      </a:lnTo>
                      <a:lnTo>
                        <a:pt x="427612" y="203866"/>
                      </a:lnTo>
                      <a:close/>
                      <a:moveTo>
                        <a:pt x="437761" y="204954"/>
                      </a:moveTo>
                      <a:lnTo>
                        <a:pt x="435232" y="204954"/>
                      </a:lnTo>
                      <a:lnTo>
                        <a:pt x="434495" y="203129"/>
                      </a:lnTo>
                      <a:lnTo>
                        <a:pt x="437761" y="203129"/>
                      </a:lnTo>
                      <a:lnTo>
                        <a:pt x="437761" y="204954"/>
                      </a:lnTo>
                      <a:close/>
                      <a:moveTo>
                        <a:pt x="434495" y="205691"/>
                      </a:moveTo>
                      <a:lnTo>
                        <a:pt x="430878" y="205691"/>
                      </a:lnTo>
                      <a:lnTo>
                        <a:pt x="430878" y="203161"/>
                      </a:lnTo>
                      <a:lnTo>
                        <a:pt x="433407" y="203161"/>
                      </a:lnTo>
                      <a:lnTo>
                        <a:pt x="434495" y="205691"/>
                      </a:lnTo>
                      <a:close/>
                      <a:moveTo>
                        <a:pt x="428349" y="206395"/>
                      </a:moveTo>
                      <a:lnTo>
                        <a:pt x="423995" y="207483"/>
                      </a:lnTo>
                      <a:lnTo>
                        <a:pt x="423995" y="204954"/>
                      </a:lnTo>
                      <a:lnTo>
                        <a:pt x="427612" y="204954"/>
                      </a:lnTo>
                      <a:lnTo>
                        <a:pt x="428349" y="206395"/>
                      </a:lnTo>
                      <a:close/>
                      <a:moveTo>
                        <a:pt x="406931" y="215839"/>
                      </a:moveTo>
                      <a:lnTo>
                        <a:pt x="405843" y="215839"/>
                      </a:lnTo>
                      <a:lnTo>
                        <a:pt x="405843" y="216928"/>
                      </a:lnTo>
                      <a:lnTo>
                        <a:pt x="407668" y="215839"/>
                      </a:lnTo>
                      <a:lnTo>
                        <a:pt x="406931" y="21583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6" name="Forma Livre: Forma 265">
                  <a:extLst>
                    <a:ext uri="{FF2B5EF4-FFF2-40B4-BE49-F238E27FC236}">
                      <a16:creationId xmlns:a16="http://schemas.microsoft.com/office/drawing/2014/main" id="{230DCAB0-C73F-BFF8-7987-6E9B83C1C0B2}"/>
                    </a:ext>
                  </a:extLst>
                </p:cNvPr>
                <p:cNvSpPr/>
                <p:nvPr/>
              </p:nvSpPr>
              <p:spPr>
                <a:xfrm>
                  <a:off x="1814026" y="5103690"/>
                  <a:ext cx="371811" cy="174124"/>
                </a:xfrm>
                <a:custGeom>
                  <a:avLst/>
                  <a:gdLst>
                    <a:gd name="csX0" fmla="*/ 368546 w 371811"/>
                    <a:gd name="csY0" fmla="*/ 35568 h 174124"/>
                    <a:gd name="csX1" fmla="*/ 371812 w 371811"/>
                    <a:gd name="csY1" fmla="*/ 31918 h 174124"/>
                    <a:gd name="csX2" fmla="*/ 364192 w 371811"/>
                    <a:gd name="csY2" fmla="*/ 13798 h 174124"/>
                    <a:gd name="csX3" fmla="*/ 365633 w 371811"/>
                    <a:gd name="csY3" fmla="*/ 2913 h 174124"/>
                    <a:gd name="csX4" fmla="*/ 371075 w 371811"/>
                    <a:gd name="csY4" fmla="*/ 1088 h 174124"/>
                    <a:gd name="csX5" fmla="*/ 317772 w 371811"/>
                    <a:gd name="csY5" fmla="*/ 1088 h 174124"/>
                    <a:gd name="csX6" fmla="*/ 290208 w 371811"/>
                    <a:gd name="csY6" fmla="*/ 1088 h 174124"/>
                    <a:gd name="csX7" fmla="*/ 210012 w 371811"/>
                    <a:gd name="csY7" fmla="*/ 1088 h 174124"/>
                    <a:gd name="csX8" fmla="*/ 150530 w 371811"/>
                    <a:gd name="csY8" fmla="*/ 0 h 174124"/>
                    <a:gd name="csX9" fmla="*/ 125879 w 371811"/>
                    <a:gd name="csY9" fmla="*/ 0 h 174124"/>
                    <a:gd name="csX10" fmla="*/ 124791 w 371811"/>
                    <a:gd name="csY10" fmla="*/ 0 h 174124"/>
                    <a:gd name="csX11" fmla="*/ 117876 w 371811"/>
                    <a:gd name="csY11" fmla="*/ 0 h 174124"/>
                    <a:gd name="csX12" fmla="*/ 40626 w 371811"/>
                    <a:gd name="csY12" fmla="*/ 0 h 174124"/>
                    <a:gd name="csX13" fmla="*/ 32622 w 371811"/>
                    <a:gd name="csY13" fmla="*/ 0 h 174124"/>
                    <a:gd name="csX14" fmla="*/ 25003 w 371811"/>
                    <a:gd name="csY14" fmla="*/ 15623 h 174124"/>
                    <a:gd name="csX15" fmla="*/ 30093 w 371811"/>
                    <a:gd name="csY15" fmla="*/ 29389 h 174124"/>
                    <a:gd name="csX16" fmla="*/ 19945 w 371811"/>
                    <a:gd name="csY16" fmla="*/ 47541 h 174124"/>
                    <a:gd name="csX17" fmla="*/ 21385 w 371811"/>
                    <a:gd name="csY17" fmla="*/ 60218 h 174124"/>
                    <a:gd name="csX18" fmla="*/ 11973 w 371811"/>
                    <a:gd name="csY18" fmla="*/ 66397 h 174124"/>
                    <a:gd name="csX19" fmla="*/ 8708 w 371811"/>
                    <a:gd name="csY19" fmla="*/ 77634 h 174124"/>
                    <a:gd name="csX20" fmla="*/ 18120 w 371811"/>
                    <a:gd name="csY20" fmla="*/ 76898 h 174124"/>
                    <a:gd name="csX21" fmla="*/ 31918 w 371811"/>
                    <a:gd name="csY21" fmla="*/ 68926 h 174124"/>
                    <a:gd name="csX22" fmla="*/ 17384 w 371811"/>
                    <a:gd name="csY22" fmla="*/ 97227 h 174124"/>
                    <a:gd name="csX23" fmla="*/ 22474 w 371811"/>
                    <a:gd name="csY23" fmla="*/ 105198 h 174124"/>
                    <a:gd name="csX24" fmla="*/ 8708 w 371811"/>
                    <a:gd name="csY24" fmla="*/ 109552 h 174124"/>
                    <a:gd name="csX25" fmla="*/ 6147 w 371811"/>
                    <a:gd name="csY25" fmla="*/ 120437 h 174124"/>
                    <a:gd name="csX26" fmla="*/ 7972 w 371811"/>
                    <a:gd name="csY26" fmla="*/ 126616 h 174124"/>
                    <a:gd name="csX27" fmla="*/ 13766 w 371811"/>
                    <a:gd name="csY27" fmla="*/ 125879 h 174124"/>
                    <a:gd name="csX28" fmla="*/ 17384 w 371811"/>
                    <a:gd name="csY28" fmla="*/ 135323 h 174124"/>
                    <a:gd name="csX29" fmla="*/ 13062 w 371811"/>
                    <a:gd name="csY29" fmla="*/ 150914 h 174124"/>
                    <a:gd name="csX30" fmla="*/ 0 w 371811"/>
                    <a:gd name="csY30" fmla="*/ 158534 h 174124"/>
                    <a:gd name="csX31" fmla="*/ 5058 w 371811"/>
                    <a:gd name="csY31" fmla="*/ 161799 h 174124"/>
                    <a:gd name="csX32" fmla="*/ 4354 w 371811"/>
                    <a:gd name="csY32" fmla="*/ 174124 h 174124"/>
                    <a:gd name="csX33" fmla="*/ 13766 w 371811"/>
                    <a:gd name="csY33" fmla="*/ 154180 h 174124"/>
                    <a:gd name="csX34" fmla="*/ 42067 w 371811"/>
                    <a:gd name="csY34" fmla="*/ 144031 h 174124"/>
                    <a:gd name="csX35" fmla="*/ 70719 w 371811"/>
                    <a:gd name="csY35" fmla="*/ 115379 h 174124"/>
                    <a:gd name="csX36" fmla="*/ 81956 w 371811"/>
                    <a:gd name="csY36" fmla="*/ 110288 h 174124"/>
                    <a:gd name="csX37" fmla="*/ 92137 w 371811"/>
                    <a:gd name="csY37" fmla="*/ 86342 h 174124"/>
                    <a:gd name="csX38" fmla="*/ 98283 w 371811"/>
                    <a:gd name="csY38" fmla="*/ 81988 h 174124"/>
                    <a:gd name="csX39" fmla="*/ 110257 w 371811"/>
                    <a:gd name="csY39" fmla="*/ 84517 h 174124"/>
                    <a:gd name="csX40" fmla="*/ 124055 w 371811"/>
                    <a:gd name="csY40" fmla="*/ 77634 h 174124"/>
                    <a:gd name="csX41" fmla="*/ 127320 w 371811"/>
                    <a:gd name="csY41" fmla="*/ 80899 h 174124"/>
                    <a:gd name="csX42" fmla="*/ 161063 w 371811"/>
                    <a:gd name="csY42" fmla="*/ 76898 h 174124"/>
                    <a:gd name="csX43" fmla="*/ 166857 w 371811"/>
                    <a:gd name="csY43" fmla="*/ 87783 h 174124"/>
                    <a:gd name="csX44" fmla="*/ 166857 w 371811"/>
                    <a:gd name="csY44" fmla="*/ 91432 h 174124"/>
                    <a:gd name="csX45" fmla="*/ 174829 w 371811"/>
                    <a:gd name="csY45" fmla="*/ 100140 h 174124"/>
                    <a:gd name="csX46" fmla="*/ 181744 w 371811"/>
                    <a:gd name="csY46" fmla="*/ 122262 h 174124"/>
                    <a:gd name="csX47" fmla="*/ 201305 w 371811"/>
                    <a:gd name="csY47" fmla="*/ 111025 h 174124"/>
                    <a:gd name="csX48" fmla="*/ 203129 w 371811"/>
                    <a:gd name="csY48" fmla="*/ 105935 h 174124"/>
                    <a:gd name="csX49" fmla="*/ 215103 w 371811"/>
                    <a:gd name="csY49" fmla="*/ 107759 h 174124"/>
                    <a:gd name="csX50" fmla="*/ 223074 w 371811"/>
                    <a:gd name="csY50" fmla="*/ 117171 h 174124"/>
                    <a:gd name="csX51" fmla="*/ 233959 w 371811"/>
                    <a:gd name="csY51" fmla="*/ 102669 h 174124"/>
                    <a:gd name="csX52" fmla="*/ 247757 w 371811"/>
                    <a:gd name="csY52" fmla="*/ 94698 h 174124"/>
                    <a:gd name="csX53" fmla="*/ 258258 w 371811"/>
                    <a:gd name="csY53" fmla="*/ 97227 h 174124"/>
                    <a:gd name="csX54" fmla="*/ 265173 w 371811"/>
                    <a:gd name="csY54" fmla="*/ 110288 h 174124"/>
                    <a:gd name="csX55" fmla="*/ 266966 w 371811"/>
                    <a:gd name="csY55" fmla="*/ 125879 h 174124"/>
                    <a:gd name="csX56" fmla="*/ 281500 w 371811"/>
                    <a:gd name="csY56" fmla="*/ 142943 h 174124"/>
                    <a:gd name="csX57" fmla="*/ 276410 w 371811"/>
                    <a:gd name="csY57" fmla="*/ 154916 h 174124"/>
                    <a:gd name="csX58" fmla="*/ 284765 w 371811"/>
                    <a:gd name="csY58" fmla="*/ 160358 h 174124"/>
                    <a:gd name="csX59" fmla="*/ 309064 w 371811"/>
                    <a:gd name="csY59" fmla="*/ 134235 h 174124"/>
                    <a:gd name="csX60" fmla="*/ 315947 w 371811"/>
                    <a:gd name="csY60" fmla="*/ 132762 h 174124"/>
                    <a:gd name="csX61" fmla="*/ 327920 w 371811"/>
                    <a:gd name="csY61" fmla="*/ 119733 h 174124"/>
                    <a:gd name="csX62" fmla="*/ 332274 w 371811"/>
                    <a:gd name="csY62" fmla="*/ 105198 h 174124"/>
                    <a:gd name="csX63" fmla="*/ 333011 w 371811"/>
                    <a:gd name="csY63" fmla="*/ 100844 h 174124"/>
                    <a:gd name="csX64" fmla="*/ 321037 w 371811"/>
                    <a:gd name="csY64" fmla="*/ 92136 h 174124"/>
                    <a:gd name="csX65" fmla="*/ 327184 w 371811"/>
                    <a:gd name="csY65" fmla="*/ 78370 h 174124"/>
                    <a:gd name="csX66" fmla="*/ 343511 w 371811"/>
                    <a:gd name="csY66" fmla="*/ 57689 h 174124"/>
                    <a:gd name="csX67" fmla="*/ 352955 w 371811"/>
                    <a:gd name="csY67" fmla="*/ 53335 h 174124"/>
                    <a:gd name="csX68" fmla="*/ 356221 w 371811"/>
                    <a:gd name="csY68" fmla="*/ 43187 h 174124"/>
                    <a:gd name="csX69" fmla="*/ 364192 w 371811"/>
                    <a:gd name="csY69" fmla="*/ 43891 h 174124"/>
                    <a:gd name="csX70" fmla="*/ 368546 w 371811"/>
                    <a:gd name="csY70" fmla="*/ 35568 h 17412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71811" h="174124">
                      <a:moveTo>
                        <a:pt x="368546" y="35568"/>
                      </a:moveTo>
                      <a:lnTo>
                        <a:pt x="371812" y="31918"/>
                      </a:lnTo>
                      <a:lnTo>
                        <a:pt x="364192" y="13798"/>
                      </a:lnTo>
                      <a:lnTo>
                        <a:pt x="365633" y="2913"/>
                      </a:lnTo>
                      <a:lnTo>
                        <a:pt x="371075" y="1088"/>
                      </a:lnTo>
                      <a:lnTo>
                        <a:pt x="317772" y="1088"/>
                      </a:lnTo>
                      <a:lnTo>
                        <a:pt x="290208" y="1088"/>
                      </a:lnTo>
                      <a:lnTo>
                        <a:pt x="210012" y="1088"/>
                      </a:lnTo>
                      <a:lnTo>
                        <a:pt x="150530" y="0"/>
                      </a:lnTo>
                      <a:lnTo>
                        <a:pt x="125879" y="0"/>
                      </a:lnTo>
                      <a:lnTo>
                        <a:pt x="124791" y="0"/>
                      </a:lnTo>
                      <a:lnTo>
                        <a:pt x="117876" y="0"/>
                      </a:lnTo>
                      <a:lnTo>
                        <a:pt x="40626" y="0"/>
                      </a:lnTo>
                      <a:lnTo>
                        <a:pt x="32622" y="0"/>
                      </a:lnTo>
                      <a:lnTo>
                        <a:pt x="25003" y="15623"/>
                      </a:lnTo>
                      <a:lnTo>
                        <a:pt x="30093" y="29389"/>
                      </a:lnTo>
                      <a:lnTo>
                        <a:pt x="19945" y="47541"/>
                      </a:lnTo>
                      <a:lnTo>
                        <a:pt x="21385" y="60218"/>
                      </a:lnTo>
                      <a:lnTo>
                        <a:pt x="11973" y="66397"/>
                      </a:lnTo>
                      <a:lnTo>
                        <a:pt x="8708" y="77634"/>
                      </a:lnTo>
                      <a:lnTo>
                        <a:pt x="18120" y="76898"/>
                      </a:lnTo>
                      <a:lnTo>
                        <a:pt x="31918" y="68926"/>
                      </a:lnTo>
                      <a:lnTo>
                        <a:pt x="17384" y="97227"/>
                      </a:lnTo>
                      <a:lnTo>
                        <a:pt x="22474" y="105198"/>
                      </a:lnTo>
                      <a:lnTo>
                        <a:pt x="8708" y="109552"/>
                      </a:lnTo>
                      <a:lnTo>
                        <a:pt x="6147" y="120437"/>
                      </a:lnTo>
                      <a:lnTo>
                        <a:pt x="7972" y="126616"/>
                      </a:lnTo>
                      <a:lnTo>
                        <a:pt x="13766" y="125879"/>
                      </a:lnTo>
                      <a:lnTo>
                        <a:pt x="17384" y="135323"/>
                      </a:lnTo>
                      <a:lnTo>
                        <a:pt x="13062" y="150914"/>
                      </a:lnTo>
                      <a:lnTo>
                        <a:pt x="0" y="158534"/>
                      </a:lnTo>
                      <a:lnTo>
                        <a:pt x="5058" y="161799"/>
                      </a:lnTo>
                      <a:lnTo>
                        <a:pt x="4354" y="174124"/>
                      </a:lnTo>
                      <a:lnTo>
                        <a:pt x="13766" y="154180"/>
                      </a:lnTo>
                      <a:lnTo>
                        <a:pt x="42067" y="144031"/>
                      </a:lnTo>
                      <a:lnTo>
                        <a:pt x="70719" y="115379"/>
                      </a:lnTo>
                      <a:lnTo>
                        <a:pt x="81956" y="110288"/>
                      </a:lnTo>
                      <a:lnTo>
                        <a:pt x="92137" y="86342"/>
                      </a:lnTo>
                      <a:lnTo>
                        <a:pt x="98283" y="81988"/>
                      </a:lnTo>
                      <a:lnTo>
                        <a:pt x="110257" y="84517"/>
                      </a:lnTo>
                      <a:lnTo>
                        <a:pt x="124055" y="77634"/>
                      </a:lnTo>
                      <a:lnTo>
                        <a:pt x="127320" y="80899"/>
                      </a:lnTo>
                      <a:lnTo>
                        <a:pt x="161063" y="76898"/>
                      </a:lnTo>
                      <a:lnTo>
                        <a:pt x="166857" y="87783"/>
                      </a:lnTo>
                      <a:lnTo>
                        <a:pt x="166857" y="91432"/>
                      </a:lnTo>
                      <a:lnTo>
                        <a:pt x="174829" y="100140"/>
                      </a:lnTo>
                      <a:lnTo>
                        <a:pt x="181744" y="122262"/>
                      </a:lnTo>
                      <a:lnTo>
                        <a:pt x="201305" y="111025"/>
                      </a:lnTo>
                      <a:lnTo>
                        <a:pt x="203129" y="105935"/>
                      </a:lnTo>
                      <a:lnTo>
                        <a:pt x="215103" y="107759"/>
                      </a:lnTo>
                      <a:lnTo>
                        <a:pt x="223074" y="117171"/>
                      </a:lnTo>
                      <a:lnTo>
                        <a:pt x="233959" y="102669"/>
                      </a:lnTo>
                      <a:lnTo>
                        <a:pt x="247757" y="94698"/>
                      </a:lnTo>
                      <a:lnTo>
                        <a:pt x="258258" y="97227"/>
                      </a:lnTo>
                      <a:lnTo>
                        <a:pt x="265173" y="110288"/>
                      </a:lnTo>
                      <a:lnTo>
                        <a:pt x="266966" y="125879"/>
                      </a:lnTo>
                      <a:lnTo>
                        <a:pt x="281500" y="142943"/>
                      </a:lnTo>
                      <a:lnTo>
                        <a:pt x="276410" y="154916"/>
                      </a:lnTo>
                      <a:lnTo>
                        <a:pt x="284765" y="160358"/>
                      </a:lnTo>
                      <a:lnTo>
                        <a:pt x="309064" y="134235"/>
                      </a:lnTo>
                      <a:lnTo>
                        <a:pt x="315947" y="132762"/>
                      </a:lnTo>
                      <a:lnTo>
                        <a:pt x="327920" y="119733"/>
                      </a:lnTo>
                      <a:lnTo>
                        <a:pt x="332274" y="105198"/>
                      </a:lnTo>
                      <a:lnTo>
                        <a:pt x="333011" y="100844"/>
                      </a:lnTo>
                      <a:lnTo>
                        <a:pt x="321037" y="92136"/>
                      </a:lnTo>
                      <a:lnTo>
                        <a:pt x="327184" y="78370"/>
                      </a:lnTo>
                      <a:lnTo>
                        <a:pt x="343511" y="57689"/>
                      </a:lnTo>
                      <a:lnTo>
                        <a:pt x="352955" y="53335"/>
                      </a:lnTo>
                      <a:lnTo>
                        <a:pt x="356221" y="43187"/>
                      </a:lnTo>
                      <a:lnTo>
                        <a:pt x="364192" y="43891"/>
                      </a:lnTo>
                      <a:lnTo>
                        <a:pt x="368546" y="3556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7" name="Forma Livre: Forma 266">
                  <a:extLst>
                    <a:ext uri="{FF2B5EF4-FFF2-40B4-BE49-F238E27FC236}">
                      <a16:creationId xmlns:a16="http://schemas.microsoft.com/office/drawing/2014/main" id="{90C4BD3A-D66E-56D6-AA52-37F6E361CE23}"/>
                    </a:ext>
                  </a:extLst>
                </p:cNvPr>
                <p:cNvSpPr/>
                <p:nvPr/>
              </p:nvSpPr>
              <p:spPr>
                <a:xfrm>
                  <a:off x="1814026" y="5103690"/>
                  <a:ext cx="371811" cy="174124"/>
                </a:xfrm>
                <a:custGeom>
                  <a:avLst/>
                  <a:gdLst>
                    <a:gd name="csX0" fmla="*/ 368546 w 371811"/>
                    <a:gd name="csY0" fmla="*/ 35568 h 174124"/>
                    <a:gd name="csX1" fmla="*/ 371812 w 371811"/>
                    <a:gd name="csY1" fmla="*/ 31918 h 174124"/>
                    <a:gd name="csX2" fmla="*/ 364192 w 371811"/>
                    <a:gd name="csY2" fmla="*/ 13798 h 174124"/>
                    <a:gd name="csX3" fmla="*/ 365633 w 371811"/>
                    <a:gd name="csY3" fmla="*/ 2913 h 174124"/>
                    <a:gd name="csX4" fmla="*/ 371075 w 371811"/>
                    <a:gd name="csY4" fmla="*/ 1088 h 174124"/>
                    <a:gd name="csX5" fmla="*/ 317772 w 371811"/>
                    <a:gd name="csY5" fmla="*/ 1088 h 174124"/>
                    <a:gd name="csX6" fmla="*/ 290208 w 371811"/>
                    <a:gd name="csY6" fmla="*/ 1088 h 174124"/>
                    <a:gd name="csX7" fmla="*/ 210012 w 371811"/>
                    <a:gd name="csY7" fmla="*/ 1088 h 174124"/>
                    <a:gd name="csX8" fmla="*/ 150530 w 371811"/>
                    <a:gd name="csY8" fmla="*/ 0 h 174124"/>
                    <a:gd name="csX9" fmla="*/ 125879 w 371811"/>
                    <a:gd name="csY9" fmla="*/ 0 h 174124"/>
                    <a:gd name="csX10" fmla="*/ 124791 w 371811"/>
                    <a:gd name="csY10" fmla="*/ 0 h 174124"/>
                    <a:gd name="csX11" fmla="*/ 117876 w 371811"/>
                    <a:gd name="csY11" fmla="*/ 0 h 174124"/>
                    <a:gd name="csX12" fmla="*/ 40626 w 371811"/>
                    <a:gd name="csY12" fmla="*/ 0 h 174124"/>
                    <a:gd name="csX13" fmla="*/ 32622 w 371811"/>
                    <a:gd name="csY13" fmla="*/ 0 h 174124"/>
                    <a:gd name="csX14" fmla="*/ 25003 w 371811"/>
                    <a:gd name="csY14" fmla="*/ 15623 h 174124"/>
                    <a:gd name="csX15" fmla="*/ 30093 w 371811"/>
                    <a:gd name="csY15" fmla="*/ 29389 h 174124"/>
                    <a:gd name="csX16" fmla="*/ 19945 w 371811"/>
                    <a:gd name="csY16" fmla="*/ 47541 h 174124"/>
                    <a:gd name="csX17" fmla="*/ 21385 w 371811"/>
                    <a:gd name="csY17" fmla="*/ 60218 h 174124"/>
                    <a:gd name="csX18" fmla="*/ 11973 w 371811"/>
                    <a:gd name="csY18" fmla="*/ 66397 h 174124"/>
                    <a:gd name="csX19" fmla="*/ 8708 w 371811"/>
                    <a:gd name="csY19" fmla="*/ 77634 h 174124"/>
                    <a:gd name="csX20" fmla="*/ 18120 w 371811"/>
                    <a:gd name="csY20" fmla="*/ 76898 h 174124"/>
                    <a:gd name="csX21" fmla="*/ 31918 w 371811"/>
                    <a:gd name="csY21" fmla="*/ 68926 h 174124"/>
                    <a:gd name="csX22" fmla="*/ 17384 w 371811"/>
                    <a:gd name="csY22" fmla="*/ 97227 h 174124"/>
                    <a:gd name="csX23" fmla="*/ 22474 w 371811"/>
                    <a:gd name="csY23" fmla="*/ 105198 h 174124"/>
                    <a:gd name="csX24" fmla="*/ 8708 w 371811"/>
                    <a:gd name="csY24" fmla="*/ 109552 h 174124"/>
                    <a:gd name="csX25" fmla="*/ 6147 w 371811"/>
                    <a:gd name="csY25" fmla="*/ 120437 h 174124"/>
                    <a:gd name="csX26" fmla="*/ 7972 w 371811"/>
                    <a:gd name="csY26" fmla="*/ 126616 h 174124"/>
                    <a:gd name="csX27" fmla="*/ 13766 w 371811"/>
                    <a:gd name="csY27" fmla="*/ 125879 h 174124"/>
                    <a:gd name="csX28" fmla="*/ 17384 w 371811"/>
                    <a:gd name="csY28" fmla="*/ 135323 h 174124"/>
                    <a:gd name="csX29" fmla="*/ 13062 w 371811"/>
                    <a:gd name="csY29" fmla="*/ 150914 h 174124"/>
                    <a:gd name="csX30" fmla="*/ 0 w 371811"/>
                    <a:gd name="csY30" fmla="*/ 158534 h 174124"/>
                    <a:gd name="csX31" fmla="*/ 5058 w 371811"/>
                    <a:gd name="csY31" fmla="*/ 161799 h 174124"/>
                    <a:gd name="csX32" fmla="*/ 4354 w 371811"/>
                    <a:gd name="csY32" fmla="*/ 174124 h 174124"/>
                    <a:gd name="csX33" fmla="*/ 13766 w 371811"/>
                    <a:gd name="csY33" fmla="*/ 154180 h 174124"/>
                    <a:gd name="csX34" fmla="*/ 42067 w 371811"/>
                    <a:gd name="csY34" fmla="*/ 144031 h 174124"/>
                    <a:gd name="csX35" fmla="*/ 70719 w 371811"/>
                    <a:gd name="csY35" fmla="*/ 115379 h 174124"/>
                    <a:gd name="csX36" fmla="*/ 81956 w 371811"/>
                    <a:gd name="csY36" fmla="*/ 110288 h 174124"/>
                    <a:gd name="csX37" fmla="*/ 92137 w 371811"/>
                    <a:gd name="csY37" fmla="*/ 86342 h 174124"/>
                    <a:gd name="csX38" fmla="*/ 98283 w 371811"/>
                    <a:gd name="csY38" fmla="*/ 81988 h 174124"/>
                    <a:gd name="csX39" fmla="*/ 110257 w 371811"/>
                    <a:gd name="csY39" fmla="*/ 84517 h 174124"/>
                    <a:gd name="csX40" fmla="*/ 124055 w 371811"/>
                    <a:gd name="csY40" fmla="*/ 77634 h 174124"/>
                    <a:gd name="csX41" fmla="*/ 127320 w 371811"/>
                    <a:gd name="csY41" fmla="*/ 80899 h 174124"/>
                    <a:gd name="csX42" fmla="*/ 161063 w 371811"/>
                    <a:gd name="csY42" fmla="*/ 76898 h 174124"/>
                    <a:gd name="csX43" fmla="*/ 166857 w 371811"/>
                    <a:gd name="csY43" fmla="*/ 87783 h 174124"/>
                    <a:gd name="csX44" fmla="*/ 166857 w 371811"/>
                    <a:gd name="csY44" fmla="*/ 91432 h 174124"/>
                    <a:gd name="csX45" fmla="*/ 174829 w 371811"/>
                    <a:gd name="csY45" fmla="*/ 100140 h 174124"/>
                    <a:gd name="csX46" fmla="*/ 181744 w 371811"/>
                    <a:gd name="csY46" fmla="*/ 122262 h 174124"/>
                    <a:gd name="csX47" fmla="*/ 201305 w 371811"/>
                    <a:gd name="csY47" fmla="*/ 111025 h 174124"/>
                    <a:gd name="csX48" fmla="*/ 203129 w 371811"/>
                    <a:gd name="csY48" fmla="*/ 105935 h 174124"/>
                    <a:gd name="csX49" fmla="*/ 215103 w 371811"/>
                    <a:gd name="csY49" fmla="*/ 107759 h 174124"/>
                    <a:gd name="csX50" fmla="*/ 223074 w 371811"/>
                    <a:gd name="csY50" fmla="*/ 117171 h 174124"/>
                    <a:gd name="csX51" fmla="*/ 233959 w 371811"/>
                    <a:gd name="csY51" fmla="*/ 102669 h 174124"/>
                    <a:gd name="csX52" fmla="*/ 247757 w 371811"/>
                    <a:gd name="csY52" fmla="*/ 94698 h 174124"/>
                    <a:gd name="csX53" fmla="*/ 258258 w 371811"/>
                    <a:gd name="csY53" fmla="*/ 97227 h 174124"/>
                    <a:gd name="csX54" fmla="*/ 265173 w 371811"/>
                    <a:gd name="csY54" fmla="*/ 110288 h 174124"/>
                    <a:gd name="csX55" fmla="*/ 266966 w 371811"/>
                    <a:gd name="csY55" fmla="*/ 125879 h 174124"/>
                    <a:gd name="csX56" fmla="*/ 281500 w 371811"/>
                    <a:gd name="csY56" fmla="*/ 142943 h 174124"/>
                    <a:gd name="csX57" fmla="*/ 276410 w 371811"/>
                    <a:gd name="csY57" fmla="*/ 154916 h 174124"/>
                    <a:gd name="csX58" fmla="*/ 284765 w 371811"/>
                    <a:gd name="csY58" fmla="*/ 160358 h 174124"/>
                    <a:gd name="csX59" fmla="*/ 309064 w 371811"/>
                    <a:gd name="csY59" fmla="*/ 134235 h 174124"/>
                    <a:gd name="csX60" fmla="*/ 315947 w 371811"/>
                    <a:gd name="csY60" fmla="*/ 132762 h 174124"/>
                    <a:gd name="csX61" fmla="*/ 327920 w 371811"/>
                    <a:gd name="csY61" fmla="*/ 119733 h 174124"/>
                    <a:gd name="csX62" fmla="*/ 332274 w 371811"/>
                    <a:gd name="csY62" fmla="*/ 105198 h 174124"/>
                    <a:gd name="csX63" fmla="*/ 333011 w 371811"/>
                    <a:gd name="csY63" fmla="*/ 100844 h 174124"/>
                    <a:gd name="csX64" fmla="*/ 321037 w 371811"/>
                    <a:gd name="csY64" fmla="*/ 92136 h 174124"/>
                    <a:gd name="csX65" fmla="*/ 327184 w 371811"/>
                    <a:gd name="csY65" fmla="*/ 78370 h 174124"/>
                    <a:gd name="csX66" fmla="*/ 343511 w 371811"/>
                    <a:gd name="csY66" fmla="*/ 57689 h 174124"/>
                    <a:gd name="csX67" fmla="*/ 352955 w 371811"/>
                    <a:gd name="csY67" fmla="*/ 53335 h 174124"/>
                    <a:gd name="csX68" fmla="*/ 356221 w 371811"/>
                    <a:gd name="csY68" fmla="*/ 43187 h 174124"/>
                    <a:gd name="csX69" fmla="*/ 364192 w 371811"/>
                    <a:gd name="csY69" fmla="*/ 43891 h 174124"/>
                    <a:gd name="csX70" fmla="*/ 368546 w 371811"/>
                    <a:gd name="csY70" fmla="*/ 35568 h 17412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71811" h="174124">
                      <a:moveTo>
                        <a:pt x="368546" y="35568"/>
                      </a:moveTo>
                      <a:lnTo>
                        <a:pt x="371812" y="31918"/>
                      </a:lnTo>
                      <a:lnTo>
                        <a:pt x="364192" y="13798"/>
                      </a:lnTo>
                      <a:lnTo>
                        <a:pt x="365633" y="2913"/>
                      </a:lnTo>
                      <a:lnTo>
                        <a:pt x="371075" y="1088"/>
                      </a:lnTo>
                      <a:lnTo>
                        <a:pt x="317772" y="1088"/>
                      </a:lnTo>
                      <a:lnTo>
                        <a:pt x="290208" y="1088"/>
                      </a:lnTo>
                      <a:lnTo>
                        <a:pt x="210012" y="1088"/>
                      </a:lnTo>
                      <a:lnTo>
                        <a:pt x="150530" y="0"/>
                      </a:lnTo>
                      <a:lnTo>
                        <a:pt x="125879" y="0"/>
                      </a:lnTo>
                      <a:lnTo>
                        <a:pt x="124791" y="0"/>
                      </a:lnTo>
                      <a:lnTo>
                        <a:pt x="117876" y="0"/>
                      </a:lnTo>
                      <a:lnTo>
                        <a:pt x="40626" y="0"/>
                      </a:lnTo>
                      <a:lnTo>
                        <a:pt x="32622" y="0"/>
                      </a:lnTo>
                      <a:lnTo>
                        <a:pt x="25003" y="15623"/>
                      </a:lnTo>
                      <a:lnTo>
                        <a:pt x="30093" y="29389"/>
                      </a:lnTo>
                      <a:lnTo>
                        <a:pt x="19945" y="47541"/>
                      </a:lnTo>
                      <a:lnTo>
                        <a:pt x="21385" y="60218"/>
                      </a:lnTo>
                      <a:lnTo>
                        <a:pt x="11973" y="66397"/>
                      </a:lnTo>
                      <a:lnTo>
                        <a:pt x="8708" y="77634"/>
                      </a:lnTo>
                      <a:lnTo>
                        <a:pt x="18120" y="76898"/>
                      </a:lnTo>
                      <a:lnTo>
                        <a:pt x="31918" y="68926"/>
                      </a:lnTo>
                      <a:lnTo>
                        <a:pt x="17384" y="97227"/>
                      </a:lnTo>
                      <a:lnTo>
                        <a:pt x="22474" y="105198"/>
                      </a:lnTo>
                      <a:lnTo>
                        <a:pt x="8708" y="109552"/>
                      </a:lnTo>
                      <a:lnTo>
                        <a:pt x="6147" y="120437"/>
                      </a:lnTo>
                      <a:lnTo>
                        <a:pt x="7972" y="126616"/>
                      </a:lnTo>
                      <a:lnTo>
                        <a:pt x="13766" y="125879"/>
                      </a:lnTo>
                      <a:lnTo>
                        <a:pt x="17384" y="135323"/>
                      </a:lnTo>
                      <a:lnTo>
                        <a:pt x="13062" y="150914"/>
                      </a:lnTo>
                      <a:lnTo>
                        <a:pt x="0" y="158534"/>
                      </a:lnTo>
                      <a:lnTo>
                        <a:pt x="5058" y="161799"/>
                      </a:lnTo>
                      <a:lnTo>
                        <a:pt x="4354" y="174124"/>
                      </a:lnTo>
                      <a:lnTo>
                        <a:pt x="13766" y="154180"/>
                      </a:lnTo>
                      <a:lnTo>
                        <a:pt x="42067" y="144031"/>
                      </a:lnTo>
                      <a:lnTo>
                        <a:pt x="70719" y="115379"/>
                      </a:lnTo>
                      <a:lnTo>
                        <a:pt x="81956" y="110288"/>
                      </a:lnTo>
                      <a:lnTo>
                        <a:pt x="92137" y="86342"/>
                      </a:lnTo>
                      <a:lnTo>
                        <a:pt x="98283" y="81988"/>
                      </a:lnTo>
                      <a:lnTo>
                        <a:pt x="110257" y="84517"/>
                      </a:lnTo>
                      <a:lnTo>
                        <a:pt x="124055" y="77634"/>
                      </a:lnTo>
                      <a:lnTo>
                        <a:pt x="127320" y="80899"/>
                      </a:lnTo>
                      <a:lnTo>
                        <a:pt x="161063" y="76898"/>
                      </a:lnTo>
                      <a:lnTo>
                        <a:pt x="166857" y="87783"/>
                      </a:lnTo>
                      <a:lnTo>
                        <a:pt x="166857" y="91432"/>
                      </a:lnTo>
                      <a:lnTo>
                        <a:pt x="174829" y="100140"/>
                      </a:lnTo>
                      <a:lnTo>
                        <a:pt x="181744" y="122262"/>
                      </a:lnTo>
                      <a:lnTo>
                        <a:pt x="201305" y="111025"/>
                      </a:lnTo>
                      <a:lnTo>
                        <a:pt x="203129" y="105935"/>
                      </a:lnTo>
                      <a:lnTo>
                        <a:pt x="215103" y="107759"/>
                      </a:lnTo>
                      <a:lnTo>
                        <a:pt x="223074" y="117171"/>
                      </a:lnTo>
                      <a:lnTo>
                        <a:pt x="233959" y="102669"/>
                      </a:lnTo>
                      <a:lnTo>
                        <a:pt x="247757" y="94698"/>
                      </a:lnTo>
                      <a:lnTo>
                        <a:pt x="258258" y="97227"/>
                      </a:lnTo>
                      <a:lnTo>
                        <a:pt x="265173" y="110288"/>
                      </a:lnTo>
                      <a:lnTo>
                        <a:pt x="266966" y="125879"/>
                      </a:lnTo>
                      <a:lnTo>
                        <a:pt x="281500" y="142943"/>
                      </a:lnTo>
                      <a:lnTo>
                        <a:pt x="276410" y="154916"/>
                      </a:lnTo>
                      <a:lnTo>
                        <a:pt x="284765" y="160358"/>
                      </a:lnTo>
                      <a:lnTo>
                        <a:pt x="309064" y="134235"/>
                      </a:lnTo>
                      <a:lnTo>
                        <a:pt x="315947" y="132762"/>
                      </a:lnTo>
                      <a:lnTo>
                        <a:pt x="327920" y="119733"/>
                      </a:lnTo>
                      <a:lnTo>
                        <a:pt x="332274" y="105198"/>
                      </a:lnTo>
                      <a:lnTo>
                        <a:pt x="333011" y="100844"/>
                      </a:lnTo>
                      <a:lnTo>
                        <a:pt x="321037" y="92136"/>
                      </a:lnTo>
                      <a:lnTo>
                        <a:pt x="327184" y="78370"/>
                      </a:lnTo>
                      <a:lnTo>
                        <a:pt x="343511" y="57689"/>
                      </a:lnTo>
                      <a:lnTo>
                        <a:pt x="352955" y="53335"/>
                      </a:lnTo>
                      <a:lnTo>
                        <a:pt x="356221" y="43187"/>
                      </a:lnTo>
                      <a:lnTo>
                        <a:pt x="364192" y="43891"/>
                      </a:lnTo>
                      <a:lnTo>
                        <a:pt x="368546" y="3556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8" name="Forma Livre: Forma 267">
                  <a:extLst>
                    <a:ext uri="{FF2B5EF4-FFF2-40B4-BE49-F238E27FC236}">
                      <a16:creationId xmlns:a16="http://schemas.microsoft.com/office/drawing/2014/main" id="{48054F30-FC84-BAC1-AC5A-62A38579A565}"/>
                    </a:ext>
                  </a:extLst>
                </p:cNvPr>
                <p:cNvSpPr/>
                <p:nvPr/>
              </p:nvSpPr>
              <p:spPr>
                <a:xfrm>
                  <a:off x="1814026" y="5103690"/>
                  <a:ext cx="371811" cy="174124"/>
                </a:xfrm>
                <a:custGeom>
                  <a:avLst/>
                  <a:gdLst>
                    <a:gd name="csX0" fmla="*/ 368546 w 371811"/>
                    <a:gd name="csY0" fmla="*/ 35568 h 174124"/>
                    <a:gd name="csX1" fmla="*/ 371812 w 371811"/>
                    <a:gd name="csY1" fmla="*/ 31918 h 174124"/>
                    <a:gd name="csX2" fmla="*/ 364192 w 371811"/>
                    <a:gd name="csY2" fmla="*/ 13798 h 174124"/>
                    <a:gd name="csX3" fmla="*/ 365633 w 371811"/>
                    <a:gd name="csY3" fmla="*/ 2913 h 174124"/>
                    <a:gd name="csX4" fmla="*/ 371075 w 371811"/>
                    <a:gd name="csY4" fmla="*/ 1088 h 174124"/>
                    <a:gd name="csX5" fmla="*/ 317772 w 371811"/>
                    <a:gd name="csY5" fmla="*/ 1088 h 174124"/>
                    <a:gd name="csX6" fmla="*/ 290208 w 371811"/>
                    <a:gd name="csY6" fmla="*/ 1088 h 174124"/>
                    <a:gd name="csX7" fmla="*/ 210012 w 371811"/>
                    <a:gd name="csY7" fmla="*/ 1088 h 174124"/>
                    <a:gd name="csX8" fmla="*/ 150530 w 371811"/>
                    <a:gd name="csY8" fmla="*/ 0 h 174124"/>
                    <a:gd name="csX9" fmla="*/ 125879 w 371811"/>
                    <a:gd name="csY9" fmla="*/ 0 h 174124"/>
                    <a:gd name="csX10" fmla="*/ 124791 w 371811"/>
                    <a:gd name="csY10" fmla="*/ 0 h 174124"/>
                    <a:gd name="csX11" fmla="*/ 117876 w 371811"/>
                    <a:gd name="csY11" fmla="*/ 0 h 174124"/>
                    <a:gd name="csX12" fmla="*/ 40626 w 371811"/>
                    <a:gd name="csY12" fmla="*/ 0 h 174124"/>
                    <a:gd name="csX13" fmla="*/ 32622 w 371811"/>
                    <a:gd name="csY13" fmla="*/ 0 h 174124"/>
                    <a:gd name="csX14" fmla="*/ 25003 w 371811"/>
                    <a:gd name="csY14" fmla="*/ 15623 h 174124"/>
                    <a:gd name="csX15" fmla="*/ 30093 w 371811"/>
                    <a:gd name="csY15" fmla="*/ 29389 h 174124"/>
                    <a:gd name="csX16" fmla="*/ 19945 w 371811"/>
                    <a:gd name="csY16" fmla="*/ 47541 h 174124"/>
                    <a:gd name="csX17" fmla="*/ 21385 w 371811"/>
                    <a:gd name="csY17" fmla="*/ 60218 h 174124"/>
                    <a:gd name="csX18" fmla="*/ 11973 w 371811"/>
                    <a:gd name="csY18" fmla="*/ 66397 h 174124"/>
                    <a:gd name="csX19" fmla="*/ 8708 w 371811"/>
                    <a:gd name="csY19" fmla="*/ 77634 h 174124"/>
                    <a:gd name="csX20" fmla="*/ 18120 w 371811"/>
                    <a:gd name="csY20" fmla="*/ 76898 h 174124"/>
                    <a:gd name="csX21" fmla="*/ 31918 w 371811"/>
                    <a:gd name="csY21" fmla="*/ 68926 h 174124"/>
                    <a:gd name="csX22" fmla="*/ 17384 w 371811"/>
                    <a:gd name="csY22" fmla="*/ 97227 h 174124"/>
                    <a:gd name="csX23" fmla="*/ 22474 w 371811"/>
                    <a:gd name="csY23" fmla="*/ 105198 h 174124"/>
                    <a:gd name="csX24" fmla="*/ 8708 w 371811"/>
                    <a:gd name="csY24" fmla="*/ 109552 h 174124"/>
                    <a:gd name="csX25" fmla="*/ 6147 w 371811"/>
                    <a:gd name="csY25" fmla="*/ 120437 h 174124"/>
                    <a:gd name="csX26" fmla="*/ 7972 w 371811"/>
                    <a:gd name="csY26" fmla="*/ 126616 h 174124"/>
                    <a:gd name="csX27" fmla="*/ 13766 w 371811"/>
                    <a:gd name="csY27" fmla="*/ 125879 h 174124"/>
                    <a:gd name="csX28" fmla="*/ 17384 w 371811"/>
                    <a:gd name="csY28" fmla="*/ 135323 h 174124"/>
                    <a:gd name="csX29" fmla="*/ 13062 w 371811"/>
                    <a:gd name="csY29" fmla="*/ 150914 h 174124"/>
                    <a:gd name="csX30" fmla="*/ 0 w 371811"/>
                    <a:gd name="csY30" fmla="*/ 158534 h 174124"/>
                    <a:gd name="csX31" fmla="*/ 5058 w 371811"/>
                    <a:gd name="csY31" fmla="*/ 161799 h 174124"/>
                    <a:gd name="csX32" fmla="*/ 4354 w 371811"/>
                    <a:gd name="csY32" fmla="*/ 174124 h 174124"/>
                    <a:gd name="csX33" fmla="*/ 13766 w 371811"/>
                    <a:gd name="csY33" fmla="*/ 154180 h 174124"/>
                    <a:gd name="csX34" fmla="*/ 42067 w 371811"/>
                    <a:gd name="csY34" fmla="*/ 144031 h 174124"/>
                    <a:gd name="csX35" fmla="*/ 70719 w 371811"/>
                    <a:gd name="csY35" fmla="*/ 115379 h 174124"/>
                    <a:gd name="csX36" fmla="*/ 81956 w 371811"/>
                    <a:gd name="csY36" fmla="*/ 110288 h 174124"/>
                    <a:gd name="csX37" fmla="*/ 92137 w 371811"/>
                    <a:gd name="csY37" fmla="*/ 86342 h 174124"/>
                    <a:gd name="csX38" fmla="*/ 98283 w 371811"/>
                    <a:gd name="csY38" fmla="*/ 81988 h 174124"/>
                    <a:gd name="csX39" fmla="*/ 110257 w 371811"/>
                    <a:gd name="csY39" fmla="*/ 84517 h 174124"/>
                    <a:gd name="csX40" fmla="*/ 124055 w 371811"/>
                    <a:gd name="csY40" fmla="*/ 77634 h 174124"/>
                    <a:gd name="csX41" fmla="*/ 127320 w 371811"/>
                    <a:gd name="csY41" fmla="*/ 80899 h 174124"/>
                    <a:gd name="csX42" fmla="*/ 161063 w 371811"/>
                    <a:gd name="csY42" fmla="*/ 76898 h 174124"/>
                    <a:gd name="csX43" fmla="*/ 166857 w 371811"/>
                    <a:gd name="csY43" fmla="*/ 87783 h 174124"/>
                    <a:gd name="csX44" fmla="*/ 166857 w 371811"/>
                    <a:gd name="csY44" fmla="*/ 91432 h 174124"/>
                    <a:gd name="csX45" fmla="*/ 174829 w 371811"/>
                    <a:gd name="csY45" fmla="*/ 100140 h 174124"/>
                    <a:gd name="csX46" fmla="*/ 181744 w 371811"/>
                    <a:gd name="csY46" fmla="*/ 122262 h 174124"/>
                    <a:gd name="csX47" fmla="*/ 201305 w 371811"/>
                    <a:gd name="csY47" fmla="*/ 111025 h 174124"/>
                    <a:gd name="csX48" fmla="*/ 203129 w 371811"/>
                    <a:gd name="csY48" fmla="*/ 105935 h 174124"/>
                    <a:gd name="csX49" fmla="*/ 215103 w 371811"/>
                    <a:gd name="csY49" fmla="*/ 107759 h 174124"/>
                    <a:gd name="csX50" fmla="*/ 223074 w 371811"/>
                    <a:gd name="csY50" fmla="*/ 117171 h 174124"/>
                    <a:gd name="csX51" fmla="*/ 233959 w 371811"/>
                    <a:gd name="csY51" fmla="*/ 102669 h 174124"/>
                    <a:gd name="csX52" fmla="*/ 247757 w 371811"/>
                    <a:gd name="csY52" fmla="*/ 94698 h 174124"/>
                    <a:gd name="csX53" fmla="*/ 258258 w 371811"/>
                    <a:gd name="csY53" fmla="*/ 97227 h 174124"/>
                    <a:gd name="csX54" fmla="*/ 265173 w 371811"/>
                    <a:gd name="csY54" fmla="*/ 110288 h 174124"/>
                    <a:gd name="csX55" fmla="*/ 266966 w 371811"/>
                    <a:gd name="csY55" fmla="*/ 125879 h 174124"/>
                    <a:gd name="csX56" fmla="*/ 281500 w 371811"/>
                    <a:gd name="csY56" fmla="*/ 142943 h 174124"/>
                    <a:gd name="csX57" fmla="*/ 276410 w 371811"/>
                    <a:gd name="csY57" fmla="*/ 154916 h 174124"/>
                    <a:gd name="csX58" fmla="*/ 284765 w 371811"/>
                    <a:gd name="csY58" fmla="*/ 160358 h 174124"/>
                    <a:gd name="csX59" fmla="*/ 309064 w 371811"/>
                    <a:gd name="csY59" fmla="*/ 134235 h 174124"/>
                    <a:gd name="csX60" fmla="*/ 315947 w 371811"/>
                    <a:gd name="csY60" fmla="*/ 132762 h 174124"/>
                    <a:gd name="csX61" fmla="*/ 327920 w 371811"/>
                    <a:gd name="csY61" fmla="*/ 119733 h 174124"/>
                    <a:gd name="csX62" fmla="*/ 332274 w 371811"/>
                    <a:gd name="csY62" fmla="*/ 105198 h 174124"/>
                    <a:gd name="csX63" fmla="*/ 333011 w 371811"/>
                    <a:gd name="csY63" fmla="*/ 100844 h 174124"/>
                    <a:gd name="csX64" fmla="*/ 321037 w 371811"/>
                    <a:gd name="csY64" fmla="*/ 92136 h 174124"/>
                    <a:gd name="csX65" fmla="*/ 327184 w 371811"/>
                    <a:gd name="csY65" fmla="*/ 78370 h 174124"/>
                    <a:gd name="csX66" fmla="*/ 343511 w 371811"/>
                    <a:gd name="csY66" fmla="*/ 57689 h 174124"/>
                    <a:gd name="csX67" fmla="*/ 352955 w 371811"/>
                    <a:gd name="csY67" fmla="*/ 53335 h 174124"/>
                    <a:gd name="csX68" fmla="*/ 356221 w 371811"/>
                    <a:gd name="csY68" fmla="*/ 43187 h 174124"/>
                    <a:gd name="csX69" fmla="*/ 364192 w 371811"/>
                    <a:gd name="csY69" fmla="*/ 43891 h 174124"/>
                    <a:gd name="csX70" fmla="*/ 368546 w 371811"/>
                    <a:gd name="csY70" fmla="*/ 35568 h 17412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71811" h="174124">
                      <a:moveTo>
                        <a:pt x="368546" y="35568"/>
                      </a:moveTo>
                      <a:lnTo>
                        <a:pt x="371812" y="31918"/>
                      </a:lnTo>
                      <a:lnTo>
                        <a:pt x="364192" y="13798"/>
                      </a:lnTo>
                      <a:lnTo>
                        <a:pt x="365633" y="2913"/>
                      </a:lnTo>
                      <a:lnTo>
                        <a:pt x="371075" y="1088"/>
                      </a:lnTo>
                      <a:lnTo>
                        <a:pt x="317772" y="1088"/>
                      </a:lnTo>
                      <a:lnTo>
                        <a:pt x="290208" y="1088"/>
                      </a:lnTo>
                      <a:lnTo>
                        <a:pt x="210012" y="1088"/>
                      </a:lnTo>
                      <a:lnTo>
                        <a:pt x="150530" y="0"/>
                      </a:lnTo>
                      <a:lnTo>
                        <a:pt x="125879" y="0"/>
                      </a:lnTo>
                      <a:lnTo>
                        <a:pt x="124791" y="0"/>
                      </a:lnTo>
                      <a:lnTo>
                        <a:pt x="117876" y="0"/>
                      </a:lnTo>
                      <a:lnTo>
                        <a:pt x="40626" y="0"/>
                      </a:lnTo>
                      <a:lnTo>
                        <a:pt x="32622" y="0"/>
                      </a:lnTo>
                      <a:lnTo>
                        <a:pt x="25003" y="15623"/>
                      </a:lnTo>
                      <a:lnTo>
                        <a:pt x="30093" y="29389"/>
                      </a:lnTo>
                      <a:lnTo>
                        <a:pt x="19945" y="47541"/>
                      </a:lnTo>
                      <a:lnTo>
                        <a:pt x="21385" y="60218"/>
                      </a:lnTo>
                      <a:lnTo>
                        <a:pt x="11973" y="66397"/>
                      </a:lnTo>
                      <a:lnTo>
                        <a:pt x="8708" y="77634"/>
                      </a:lnTo>
                      <a:lnTo>
                        <a:pt x="18120" y="76898"/>
                      </a:lnTo>
                      <a:lnTo>
                        <a:pt x="31918" y="68926"/>
                      </a:lnTo>
                      <a:lnTo>
                        <a:pt x="17384" y="97227"/>
                      </a:lnTo>
                      <a:lnTo>
                        <a:pt x="22474" y="105198"/>
                      </a:lnTo>
                      <a:lnTo>
                        <a:pt x="8708" y="109552"/>
                      </a:lnTo>
                      <a:lnTo>
                        <a:pt x="6147" y="120437"/>
                      </a:lnTo>
                      <a:lnTo>
                        <a:pt x="7972" y="126616"/>
                      </a:lnTo>
                      <a:lnTo>
                        <a:pt x="13766" y="125879"/>
                      </a:lnTo>
                      <a:lnTo>
                        <a:pt x="17384" y="135323"/>
                      </a:lnTo>
                      <a:lnTo>
                        <a:pt x="13062" y="150914"/>
                      </a:lnTo>
                      <a:lnTo>
                        <a:pt x="0" y="158534"/>
                      </a:lnTo>
                      <a:lnTo>
                        <a:pt x="5058" y="161799"/>
                      </a:lnTo>
                      <a:lnTo>
                        <a:pt x="4354" y="174124"/>
                      </a:lnTo>
                      <a:lnTo>
                        <a:pt x="13766" y="154180"/>
                      </a:lnTo>
                      <a:lnTo>
                        <a:pt x="42067" y="144031"/>
                      </a:lnTo>
                      <a:lnTo>
                        <a:pt x="70719" y="115379"/>
                      </a:lnTo>
                      <a:lnTo>
                        <a:pt x="81956" y="110288"/>
                      </a:lnTo>
                      <a:lnTo>
                        <a:pt x="92137" y="86342"/>
                      </a:lnTo>
                      <a:lnTo>
                        <a:pt x="98283" y="81988"/>
                      </a:lnTo>
                      <a:lnTo>
                        <a:pt x="110257" y="84517"/>
                      </a:lnTo>
                      <a:lnTo>
                        <a:pt x="124055" y="77634"/>
                      </a:lnTo>
                      <a:lnTo>
                        <a:pt x="127320" y="80899"/>
                      </a:lnTo>
                      <a:lnTo>
                        <a:pt x="161063" y="76898"/>
                      </a:lnTo>
                      <a:lnTo>
                        <a:pt x="166857" y="87783"/>
                      </a:lnTo>
                      <a:lnTo>
                        <a:pt x="166857" y="91432"/>
                      </a:lnTo>
                      <a:lnTo>
                        <a:pt x="174829" y="100140"/>
                      </a:lnTo>
                      <a:lnTo>
                        <a:pt x="181744" y="122262"/>
                      </a:lnTo>
                      <a:lnTo>
                        <a:pt x="201305" y="111025"/>
                      </a:lnTo>
                      <a:lnTo>
                        <a:pt x="203129" y="105935"/>
                      </a:lnTo>
                      <a:lnTo>
                        <a:pt x="215103" y="107759"/>
                      </a:lnTo>
                      <a:lnTo>
                        <a:pt x="223074" y="117171"/>
                      </a:lnTo>
                      <a:lnTo>
                        <a:pt x="233959" y="102669"/>
                      </a:lnTo>
                      <a:lnTo>
                        <a:pt x="247757" y="94698"/>
                      </a:lnTo>
                      <a:lnTo>
                        <a:pt x="258258" y="97227"/>
                      </a:lnTo>
                      <a:lnTo>
                        <a:pt x="265173" y="110288"/>
                      </a:lnTo>
                      <a:lnTo>
                        <a:pt x="266966" y="125879"/>
                      </a:lnTo>
                      <a:lnTo>
                        <a:pt x="281500" y="142943"/>
                      </a:lnTo>
                      <a:lnTo>
                        <a:pt x="276410" y="154916"/>
                      </a:lnTo>
                      <a:lnTo>
                        <a:pt x="284765" y="160358"/>
                      </a:lnTo>
                      <a:lnTo>
                        <a:pt x="309064" y="134235"/>
                      </a:lnTo>
                      <a:lnTo>
                        <a:pt x="315947" y="132762"/>
                      </a:lnTo>
                      <a:lnTo>
                        <a:pt x="327920" y="119733"/>
                      </a:lnTo>
                      <a:lnTo>
                        <a:pt x="332274" y="105198"/>
                      </a:lnTo>
                      <a:lnTo>
                        <a:pt x="333011" y="100844"/>
                      </a:lnTo>
                      <a:lnTo>
                        <a:pt x="321037" y="92136"/>
                      </a:lnTo>
                      <a:lnTo>
                        <a:pt x="327184" y="78370"/>
                      </a:lnTo>
                      <a:lnTo>
                        <a:pt x="343511" y="57689"/>
                      </a:lnTo>
                      <a:lnTo>
                        <a:pt x="352955" y="53335"/>
                      </a:lnTo>
                      <a:lnTo>
                        <a:pt x="356221" y="43187"/>
                      </a:lnTo>
                      <a:lnTo>
                        <a:pt x="364192" y="43891"/>
                      </a:lnTo>
                      <a:lnTo>
                        <a:pt x="368546" y="3556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69" name="Forma Livre: Forma 268">
                  <a:extLst>
                    <a:ext uri="{FF2B5EF4-FFF2-40B4-BE49-F238E27FC236}">
                      <a16:creationId xmlns:a16="http://schemas.microsoft.com/office/drawing/2014/main" id="{932AD297-F47C-934F-D488-05CF81C6DE04}"/>
                    </a:ext>
                  </a:extLst>
                </p:cNvPr>
                <p:cNvSpPr/>
                <p:nvPr/>
              </p:nvSpPr>
              <p:spPr>
                <a:xfrm>
                  <a:off x="1814026" y="5103690"/>
                  <a:ext cx="371811" cy="174124"/>
                </a:xfrm>
                <a:custGeom>
                  <a:avLst/>
                  <a:gdLst>
                    <a:gd name="csX0" fmla="*/ 368546 w 371811"/>
                    <a:gd name="csY0" fmla="*/ 35568 h 174124"/>
                    <a:gd name="csX1" fmla="*/ 371812 w 371811"/>
                    <a:gd name="csY1" fmla="*/ 31918 h 174124"/>
                    <a:gd name="csX2" fmla="*/ 364192 w 371811"/>
                    <a:gd name="csY2" fmla="*/ 13798 h 174124"/>
                    <a:gd name="csX3" fmla="*/ 365633 w 371811"/>
                    <a:gd name="csY3" fmla="*/ 2913 h 174124"/>
                    <a:gd name="csX4" fmla="*/ 371075 w 371811"/>
                    <a:gd name="csY4" fmla="*/ 1088 h 174124"/>
                    <a:gd name="csX5" fmla="*/ 317772 w 371811"/>
                    <a:gd name="csY5" fmla="*/ 1088 h 174124"/>
                    <a:gd name="csX6" fmla="*/ 290208 w 371811"/>
                    <a:gd name="csY6" fmla="*/ 1088 h 174124"/>
                    <a:gd name="csX7" fmla="*/ 210012 w 371811"/>
                    <a:gd name="csY7" fmla="*/ 1088 h 174124"/>
                    <a:gd name="csX8" fmla="*/ 150530 w 371811"/>
                    <a:gd name="csY8" fmla="*/ 0 h 174124"/>
                    <a:gd name="csX9" fmla="*/ 125879 w 371811"/>
                    <a:gd name="csY9" fmla="*/ 0 h 174124"/>
                    <a:gd name="csX10" fmla="*/ 124791 w 371811"/>
                    <a:gd name="csY10" fmla="*/ 0 h 174124"/>
                    <a:gd name="csX11" fmla="*/ 117876 w 371811"/>
                    <a:gd name="csY11" fmla="*/ 0 h 174124"/>
                    <a:gd name="csX12" fmla="*/ 40626 w 371811"/>
                    <a:gd name="csY12" fmla="*/ 0 h 174124"/>
                    <a:gd name="csX13" fmla="*/ 32622 w 371811"/>
                    <a:gd name="csY13" fmla="*/ 0 h 174124"/>
                    <a:gd name="csX14" fmla="*/ 25003 w 371811"/>
                    <a:gd name="csY14" fmla="*/ 15623 h 174124"/>
                    <a:gd name="csX15" fmla="*/ 30093 w 371811"/>
                    <a:gd name="csY15" fmla="*/ 29389 h 174124"/>
                    <a:gd name="csX16" fmla="*/ 19945 w 371811"/>
                    <a:gd name="csY16" fmla="*/ 47541 h 174124"/>
                    <a:gd name="csX17" fmla="*/ 21385 w 371811"/>
                    <a:gd name="csY17" fmla="*/ 60218 h 174124"/>
                    <a:gd name="csX18" fmla="*/ 11973 w 371811"/>
                    <a:gd name="csY18" fmla="*/ 66397 h 174124"/>
                    <a:gd name="csX19" fmla="*/ 8708 w 371811"/>
                    <a:gd name="csY19" fmla="*/ 77634 h 174124"/>
                    <a:gd name="csX20" fmla="*/ 18120 w 371811"/>
                    <a:gd name="csY20" fmla="*/ 76898 h 174124"/>
                    <a:gd name="csX21" fmla="*/ 31918 w 371811"/>
                    <a:gd name="csY21" fmla="*/ 68926 h 174124"/>
                    <a:gd name="csX22" fmla="*/ 17384 w 371811"/>
                    <a:gd name="csY22" fmla="*/ 97227 h 174124"/>
                    <a:gd name="csX23" fmla="*/ 22474 w 371811"/>
                    <a:gd name="csY23" fmla="*/ 105198 h 174124"/>
                    <a:gd name="csX24" fmla="*/ 8708 w 371811"/>
                    <a:gd name="csY24" fmla="*/ 109552 h 174124"/>
                    <a:gd name="csX25" fmla="*/ 6147 w 371811"/>
                    <a:gd name="csY25" fmla="*/ 120437 h 174124"/>
                    <a:gd name="csX26" fmla="*/ 7972 w 371811"/>
                    <a:gd name="csY26" fmla="*/ 126616 h 174124"/>
                    <a:gd name="csX27" fmla="*/ 13766 w 371811"/>
                    <a:gd name="csY27" fmla="*/ 125879 h 174124"/>
                    <a:gd name="csX28" fmla="*/ 17384 w 371811"/>
                    <a:gd name="csY28" fmla="*/ 135323 h 174124"/>
                    <a:gd name="csX29" fmla="*/ 13062 w 371811"/>
                    <a:gd name="csY29" fmla="*/ 150914 h 174124"/>
                    <a:gd name="csX30" fmla="*/ 0 w 371811"/>
                    <a:gd name="csY30" fmla="*/ 158534 h 174124"/>
                    <a:gd name="csX31" fmla="*/ 5058 w 371811"/>
                    <a:gd name="csY31" fmla="*/ 161799 h 174124"/>
                    <a:gd name="csX32" fmla="*/ 4354 w 371811"/>
                    <a:gd name="csY32" fmla="*/ 174124 h 174124"/>
                    <a:gd name="csX33" fmla="*/ 13766 w 371811"/>
                    <a:gd name="csY33" fmla="*/ 154180 h 174124"/>
                    <a:gd name="csX34" fmla="*/ 42067 w 371811"/>
                    <a:gd name="csY34" fmla="*/ 144031 h 174124"/>
                    <a:gd name="csX35" fmla="*/ 70719 w 371811"/>
                    <a:gd name="csY35" fmla="*/ 115379 h 174124"/>
                    <a:gd name="csX36" fmla="*/ 81956 w 371811"/>
                    <a:gd name="csY36" fmla="*/ 110288 h 174124"/>
                    <a:gd name="csX37" fmla="*/ 92137 w 371811"/>
                    <a:gd name="csY37" fmla="*/ 86342 h 174124"/>
                    <a:gd name="csX38" fmla="*/ 98283 w 371811"/>
                    <a:gd name="csY38" fmla="*/ 81988 h 174124"/>
                    <a:gd name="csX39" fmla="*/ 110257 w 371811"/>
                    <a:gd name="csY39" fmla="*/ 84517 h 174124"/>
                    <a:gd name="csX40" fmla="*/ 124055 w 371811"/>
                    <a:gd name="csY40" fmla="*/ 77634 h 174124"/>
                    <a:gd name="csX41" fmla="*/ 127320 w 371811"/>
                    <a:gd name="csY41" fmla="*/ 80899 h 174124"/>
                    <a:gd name="csX42" fmla="*/ 161063 w 371811"/>
                    <a:gd name="csY42" fmla="*/ 76898 h 174124"/>
                    <a:gd name="csX43" fmla="*/ 166857 w 371811"/>
                    <a:gd name="csY43" fmla="*/ 87783 h 174124"/>
                    <a:gd name="csX44" fmla="*/ 166857 w 371811"/>
                    <a:gd name="csY44" fmla="*/ 91432 h 174124"/>
                    <a:gd name="csX45" fmla="*/ 174829 w 371811"/>
                    <a:gd name="csY45" fmla="*/ 100140 h 174124"/>
                    <a:gd name="csX46" fmla="*/ 181744 w 371811"/>
                    <a:gd name="csY46" fmla="*/ 122262 h 174124"/>
                    <a:gd name="csX47" fmla="*/ 201305 w 371811"/>
                    <a:gd name="csY47" fmla="*/ 111025 h 174124"/>
                    <a:gd name="csX48" fmla="*/ 203129 w 371811"/>
                    <a:gd name="csY48" fmla="*/ 105935 h 174124"/>
                    <a:gd name="csX49" fmla="*/ 215103 w 371811"/>
                    <a:gd name="csY49" fmla="*/ 107759 h 174124"/>
                    <a:gd name="csX50" fmla="*/ 223074 w 371811"/>
                    <a:gd name="csY50" fmla="*/ 117171 h 174124"/>
                    <a:gd name="csX51" fmla="*/ 233959 w 371811"/>
                    <a:gd name="csY51" fmla="*/ 102669 h 174124"/>
                    <a:gd name="csX52" fmla="*/ 247757 w 371811"/>
                    <a:gd name="csY52" fmla="*/ 94698 h 174124"/>
                    <a:gd name="csX53" fmla="*/ 258258 w 371811"/>
                    <a:gd name="csY53" fmla="*/ 97227 h 174124"/>
                    <a:gd name="csX54" fmla="*/ 265173 w 371811"/>
                    <a:gd name="csY54" fmla="*/ 110288 h 174124"/>
                    <a:gd name="csX55" fmla="*/ 266966 w 371811"/>
                    <a:gd name="csY55" fmla="*/ 125879 h 174124"/>
                    <a:gd name="csX56" fmla="*/ 281500 w 371811"/>
                    <a:gd name="csY56" fmla="*/ 142943 h 174124"/>
                    <a:gd name="csX57" fmla="*/ 276410 w 371811"/>
                    <a:gd name="csY57" fmla="*/ 154916 h 174124"/>
                    <a:gd name="csX58" fmla="*/ 284765 w 371811"/>
                    <a:gd name="csY58" fmla="*/ 160358 h 174124"/>
                    <a:gd name="csX59" fmla="*/ 309064 w 371811"/>
                    <a:gd name="csY59" fmla="*/ 134235 h 174124"/>
                    <a:gd name="csX60" fmla="*/ 315947 w 371811"/>
                    <a:gd name="csY60" fmla="*/ 132762 h 174124"/>
                    <a:gd name="csX61" fmla="*/ 327920 w 371811"/>
                    <a:gd name="csY61" fmla="*/ 119733 h 174124"/>
                    <a:gd name="csX62" fmla="*/ 332274 w 371811"/>
                    <a:gd name="csY62" fmla="*/ 105198 h 174124"/>
                    <a:gd name="csX63" fmla="*/ 333011 w 371811"/>
                    <a:gd name="csY63" fmla="*/ 100844 h 174124"/>
                    <a:gd name="csX64" fmla="*/ 321037 w 371811"/>
                    <a:gd name="csY64" fmla="*/ 92136 h 174124"/>
                    <a:gd name="csX65" fmla="*/ 327184 w 371811"/>
                    <a:gd name="csY65" fmla="*/ 78370 h 174124"/>
                    <a:gd name="csX66" fmla="*/ 343511 w 371811"/>
                    <a:gd name="csY66" fmla="*/ 57689 h 174124"/>
                    <a:gd name="csX67" fmla="*/ 352955 w 371811"/>
                    <a:gd name="csY67" fmla="*/ 53335 h 174124"/>
                    <a:gd name="csX68" fmla="*/ 356221 w 371811"/>
                    <a:gd name="csY68" fmla="*/ 43187 h 174124"/>
                    <a:gd name="csX69" fmla="*/ 364192 w 371811"/>
                    <a:gd name="csY69" fmla="*/ 43891 h 174124"/>
                    <a:gd name="csX70" fmla="*/ 368546 w 371811"/>
                    <a:gd name="csY70" fmla="*/ 35568 h 17412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71811" h="174124">
                      <a:moveTo>
                        <a:pt x="368546" y="35568"/>
                      </a:moveTo>
                      <a:lnTo>
                        <a:pt x="371812" y="31918"/>
                      </a:lnTo>
                      <a:lnTo>
                        <a:pt x="364192" y="13798"/>
                      </a:lnTo>
                      <a:lnTo>
                        <a:pt x="365633" y="2913"/>
                      </a:lnTo>
                      <a:lnTo>
                        <a:pt x="371075" y="1088"/>
                      </a:lnTo>
                      <a:lnTo>
                        <a:pt x="317772" y="1088"/>
                      </a:lnTo>
                      <a:lnTo>
                        <a:pt x="290208" y="1088"/>
                      </a:lnTo>
                      <a:lnTo>
                        <a:pt x="210012" y="1088"/>
                      </a:lnTo>
                      <a:lnTo>
                        <a:pt x="150530" y="0"/>
                      </a:lnTo>
                      <a:lnTo>
                        <a:pt x="125879" y="0"/>
                      </a:lnTo>
                      <a:lnTo>
                        <a:pt x="124791" y="0"/>
                      </a:lnTo>
                      <a:lnTo>
                        <a:pt x="117876" y="0"/>
                      </a:lnTo>
                      <a:lnTo>
                        <a:pt x="40626" y="0"/>
                      </a:lnTo>
                      <a:lnTo>
                        <a:pt x="32622" y="0"/>
                      </a:lnTo>
                      <a:lnTo>
                        <a:pt x="25003" y="15623"/>
                      </a:lnTo>
                      <a:lnTo>
                        <a:pt x="30093" y="29389"/>
                      </a:lnTo>
                      <a:lnTo>
                        <a:pt x="19945" y="47541"/>
                      </a:lnTo>
                      <a:lnTo>
                        <a:pt x="21385" y="60218"/>
                      </a:lnTo>
                      <a:lnTo>
                        <a:pt x="11973" y="66397"/>
                      </a:lnTo>
                      <a:lnTo>
                        <a:pt x="8708" y="77634"/>
                      </a:lnTo>
                      <a:lnTo>
                        <a:pt x="18120" y="76898"/>
                      </a:lnTo>
                      <a:lnTo>
                        <a:pt x="31918" y="68926"/>
                      </a:lnTo>
                      <a:lnTo>
                        <a:pt x="17384" y="97227"/>
                      </a:lnTo>
                      <a:lnTo>
                        <a:pt x="22474" y="105198"/>
                      </a:lnTo>
                      <a:lnTo>
                        <a:pt x="8708" y="109552"/>
                      </a:lnTo>
                      <a:lnTo>
                        <a:pt x="6147" y="120437"/>
                      </a:lnTo>
                      <a:lnTo>
                        <a:pt x="7972" y="126616"/>
                      </a:lnTo>
                      <a:lnTo>
                        <a:pt x="13766" y="125879"/>
                      </a:lnTo>
                      <a:lnTo>
                        <a:pt x="17384" y="135323"/>
                      </a:lnTo>
                      <a:lnTo>
                        <a:pt x="13062" y="150914"/>
                      </a:lnTo>
                      <a:lnTo>
                        <a:pt x="0" y="158534"/>
                      </a:lnTo>
                      <a:lnTo>
                        <a:pt x="5058" y="161799"/>
                      </a:lnTo>
                      <a:lnTo>
                        <a:pt x="4354" y="174124"/>
                      </a:lnTo>
                      <a:lnTo>
                        <a:pt x="13766" y="154180"/>
                      </a:lnTo>
                      <a:lnTo>
                        <a:pt x="42067" y="144031"/>
                      </a:lnTo>
                      <a:lnTo>
                        <a:pt x="70719" y="115379"/>
                      </a:lnTo>
                      <a:lnTo>
                        <a:pt x="81956" y="110288"/>
                      </a:lnTo>
                      <a:lnTo>
                        <a:pt x="92137" y="86342"/>
                      </a:lnTo>
                      <a:lnTo>
                        <a:pt x="98283" y="81988"/>
                      </a:lnTo>
                      <a:lnTo>
                        <a:pt x="110257" y="84517"/>
                      </a:lnTo>
                      <a:lnTo>
                        <a:pt x="124055" y="77634"/>
                      </a:lnTo>
                      <a:lnTo>
                        <a:pt x="127320" y="80899"/>
                      </a:lnTo>
                      <a:lnTo>
                        <a:pt x="161063" y="76898"/>
                      </a:lnTo>
                      <a:lnTo>
                        <a:pt x="166857" y="87783"/>
                      </a:lnTo>
                      <a:lnTo>
                        <a:pt x="166857" y="91432"/>
                      </a:lnTo>
                      <a:lnTo>
                        <a:pt x="174829" y="100140"/>
                      </a:lnTo>
                      <a:lnTo>
                        <a:pt x="181744" y="122262"/>
                      </a:lnTo>
                      <a:lnTo>
                        <a:pt x="201305" y="111025"/>
                      </a:lnTo>
                      <a:lnTo>
                        <a:pt x="203129" y="105935"/>
                      </a:lnTo>
                      <a:lnTo>
                        <a:pt x="215103" y="107759"/>
                      </a:lnTo>
                      <a:lnTo>
                        <a:pt x="223074" y="117171"/>
                      </a:lnTo>
                      <a:lnTo>
                        <a:pt x="233959" y="102669"/>
                      </a:lnTo>
                      <a:lnTo>
                        <a:pt x="247757" y="94698"/>
                      </a:lnTo>
                      <a:lnTo>
                        <a:pt x="258258" y="97227"/>
                      </a:lnTo>
                      <a:lnTo>
                        <a:pt x="265173" y="110288"/>
                      </a:lnTo>
                      <a:lnTo>
                        <a:pt x="266966" y="125879"/>
                      </a:lnTo>
                      <a:lnTo>
                        <a:pt x="281500" y="142943"/>
                      </a:lnTo>
                      <a:lnTo>
                        <a:pt x="276410" y="154916"/>
                      </a:lnTo>
                      <a:lnTo>
                        <a:pt x="284765" y="160358"/>
                      </a:lnTo>
                      <a:lnTo>
                        <a:pt x="309064" y="134235"/>
                      </a:lnTo>
                      <a:lnTo>
                        <a:pt x="315947" y="132762"/>
                      </a:lnTo>
                      <a:lnTo>
                        <a:pt x="327920" y="119733"/>
                      </a:lnTo>
                      <a:lnTo>
                        <a:pt x="332274" y="105198"/>
                      </a:lnTo>
                      <a:lnTo>
                        <a:pt x="333011" y="100844"/>
                      </a:lnTo>
                      <a:lnTo>
                        <a:pt x="321037" y="92136"/>
                      </a:lnTo>
                      <a:lnTo>
                        <a:pt x="327184" y="78370"/>
                      </a:lnTo>
                      <a:lnTo>
                        <a:pt x="343511" y="57689"/>
                      </a:lnTo>
                      <a:lnTo>
                        <a:pt x="352955" y="53335"/>
                      </a:lnTo>
                      <a:lnTo>
                        <a:pt x="356221" y="43187"/>
                      </a:lnTo>
                      <a:lnTo>
                        <a:pt x="364192" y="43891"/>
                      </a:lnTo>
                      <a:lnTo>
                        <a:pt x="368546" y="3556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0" name="Forma Livre: Forma 269">
                  <a:extLst>
                    <a:ext uri="{FF2B5EF4-FFF2-40B4-BE49-F238E27FC236}">
                      <a16:creationId xmlns:a16="http://schemas.microsoft.com/office/drawing/2014/main" id="{4E5288CA-6043-FC94-2F2B-EE93D1C384B4}"/>
                    </a:ext>
                  </a:extLst>
                </p:cNvPr>
                <p:cNvSpPr/>
                <p:nvPr/>
              </p:nvSpPr>
              <p:spPr>
                <a:xfrm>
                  <a:off x="3376058" y="4492093"/>
                  <a:ext cx="222081" cy="221985"/>
                </a:xfrm>
                <a:custGeom>
                  <a:avLst/>
                  <a:gdLst>
                    <a:gd name="csX0" fmla="*/ 109552 w 222081"/>
                    <a:gd name="csY0" fmla="*/ 55128 h 221985"/>
                    <a:gd name="csX1" fmla="*/ 110993 w 222081"/>
                    <a:gd name="csY1" fmla="*/ 66365 h 221985"/>
                    <a:gd name="csX2" fmla="*/ 129145 w 222081"/>
                    <a:gd name="csY2" fmla="*/ 63836 h 221985"/>
                    <a:gd name="csX3" fmla="*/ 134235 w 222081"/>
                    <a:gd name="csY3" fmla="*/ 53304 h 221985"/>
                    <a:gd name="csX4" fmla="*/ 142207 w 222081"/>
                    <a:gd name="csY4" fmla="*/ 50038 h 221985"/>
                    <a:gd name="csX5" fmla="*/ 165417 w 222081"/>
                    <a:gd name="csY5" fmla="*/ 56921 h 221985"/>
                    <a:gd name="csX6" fmla="*/ 178126 w 222081"/>
                    <a:gd name="csY6" fmla="*/ 52567 h 221985"/>
                    <a:gd name="csX7" fmla="*/ 190452 w 222081"/>
                    <a:gd name="csY7" fmla="*/ 54392 h 221985"/>
                    <a:gd name="csX8" fmla="*/ 191188 w 222081"/>
                    <a:gd name="csY8" fmla="*/ 31886 h 221985"/>
                    <a:gd name="csX9" fmla="*/ 181040 w 222081"/>
                    <a:gd name="csY9" fmla="*/ 18824 h 221985"/>
                    <a:gd name="csX10" fmla="*/ 190484 w 222081"/>
                    <a:gd name="csY10" fmla="*/ 24267 h 221985"/>
                    <a:gd name="csX11" fmla="*/ 199928 w 222081"/>
                    <a:gd name="csY11" fmla="*/ 25003 h 221985"/>
                    <a:gd name="csX12" fmla="*/ 198840 w 222081"/>
                    <a:gd name="csY12" fmla="*/ 31886 h 221985"/>
                    <a:gd name="csX13" fmla="*/ 202457 w 222081"/>
                    <a:gd name="csY13" fmla="*/ 30061 h 221985"/>
                    <a:gd name="csX14" fmla="*/ 204282 w 222081"/>
                    <a:gd name="csY14" fmla="*/ 40594 h 221985"/>
                    <a:gd name="csX15" fmla="*/ 219521 w 222081"/>
                    <a:gd name="csY15" fmla="*/ 45684 h 221985"/>
                    <a:gd name="csX16" fmla="*/ 220609 w 222081"/>
                    <a:gd name="csY16" fmla="*/ 50038 h 221985"/>
                    <a:gd name="csX17" fmla="*/ 220609 w 222081"/>
                    <a:gd name="csY17" fmla="*/ 99020 h 221985"/>
                    <a:gd name="csX18" fmla="*/ 221346 w 222081"/>
                    <a:gd name="csY18" fmla="*/ 141822 h 221985"/>
                    <a:gd name="csX19" fmla="*/ 222082 w 222081"/>
                    <a:gd name="csY19" fmla="*/ 214366 h 221985"/>
                    <a:gd name="csX20" fmla="*/ 218080 w 222081"/>
                    <a:gd name="csY20" fmla="*/ 212542 h 221985"/>
                    <a:gd name="csX21" fmla="*/ 207547 w 222081"/>
                    <a:gd name="csY21" fmla="*/ 221986 h 221985"/>
                    <a:gd name="csX22" fmla="*/ 186130 w 222081"/>
                    <a:gd name="csY22" fmla="*/ 213278 h 221985"/>
                    <a:gd name="csX23" fmla="*/ 146593 w 222081"/>
                    <a:gd name="csY23" fmla="*/ 214366 h 221985"/>
                    <a:gd name="csX24" fmla="*/ 117204 w 222081"/>
                    <a:gd name="csY24" fmla="*/ 214366 h 221985"/>
                    <a:gd name="csX25" fmla="*/ 117204 w 222081"/>
                    <a:gd name="csY25" fmla="*/ 196246 h 221985"/>
                    <a:gd name="csX26" fmla="*/ 103405 w 222081"/>
                    <a:gd name="csY26" fmla="*/ 183185 h 221985"/>
                    <a:gd name="csX27" fmla="*/ 94698 w 222081"/>
                    <a:gd name="csY27" fmla="*/ 150530 h 221985"/>
                    <a:gd name="csX28" fmla="*/ 87815 w 222081"/>
                    <a:gd name="csY28" fmla="*/ 150530 h 221985"/>
                    <a:gd name="csX29" fmla="*/ 87078 w 222081"/>
                    <a:gd name="csY29" fmla="*/ 156709 h 221985"/>
                    <a:gd name="csX30" fmla="*/ 79459 w 222081"/>
                    <a:gd name="csY30" fmla="*/ 159238 h 221985"/>
                    <a:gd name="csX31" fmla="*/ 77634 w 222081"/>
                    <a:gd name="csY31" fmla="*/ 180624 h 221985"/>
                    <a:gd name="csX32" fmla="*/ 60219 w 222081"/>
                    <a:gd name="csY32" fmla="*/ 162504 h 221985"/>
                    <a:gd name="csX33" fmla="*/ 46420 w 222081"/>
                    <a:gd name="csY33" fmla="*/ 163592 h 221985"/>
                    <a:gd name="csX34" fmla="*/ 42419 w 222081"/>
                    <a:gd name="csY34" fmla="*/ 159975 h 221985"/>
                    <a:gd name="csX35" fmla="*/ 41330 w 222081"/>
                    <a:gd name="csY35" fmla="*/ 146176 h 221985"/>
                    <a:gd name="csX36" fmla="*/ 36976 w 222081"/>
                    <a:gd name="csY36" fmla="*/ 144736 h 221985"/>
                    <a:gd name="csX37" fmla="*/ 26828 w 222081"/>
                    <a:gd name="csY37" fmla="*/ 140382 h 221985"/>
                    <a:gd name="csX38" fmla="*/ 11237 w 222081"/>
                    <a:gd name="csY38" fmla="*/ 143647 h 221985"/>
                    <a:gd name="csX39" fmla="*/ 1089 w 222081"/>
                    <a:gd name="csY39" fmla="*/ 122966 h 221985"/>
                    <a:gd name="csX40" fmla="*/ 0 w 222081"/>
                    <a:gd name="csY40" fmla="*/ 107727 h 221985"/>
                    <a:gd name="csX41" fmla="*/ 12326 w 222081"/>
                    <a:gd name="csY41" fmla="*/ 74721 h 221985"/>
                    <a:gd name="csX42" fmla="*/ 30093 w 222081"/>
                    <a:gd name="csY42" fmla="*/ 67102 h 221985"/>
                    <a:gd name="csX43" fmla="*/ 36976 w 222081"/>
                    <a:gd name="csY43" fmla="*/ 57657 h 221985"/>
                    <a:gd name="csX44" fmla="*/ 36240 w 222081"/>
                    <a:gd name="csY44" fmla="*/ 42067 h 221985"/>
                    <a:gd name="csX45" fmla="*/ 49302 w 222081"/>
                    <a:gd name="csY45" fmla="*/ 37713 h 221985"/>
                    <a:gd name="csX46" fmla="*/ 79395 w 222081"/>
                    <a:gd name="csY46" fmla="*/ 0 h 221985"/>
                    <a:gd name="csX47" fmla="*/ 86278 w 222081"/>
                    <a:gd name="csY47" fmla="*/ 24299 h 221985"/>
                    <a:gd name="csX48" fmla="*/ 96426 w 222081"/>
                    <a:gd name="csY48" fmla="*/ 40626 h 221985"/>
                    <a:gd name="csX49" fmla="*/ 98251 w 222081"/>
                    <a:gd name="csY49" fmla="*/ 53336 h 221985"/>
                    <a:gd name="csX50" fmla="*/ 109488 w 222081"/>
                    <a:gd name="csY50" fmla="*/ 55160 h 221985"/>
                    <a:gd name="csX51" fmla="*/ 186802 w 222081"/>
                    <a:gd name="csY51" fmla="*/ 19945 h 221985"/>
                    <a:gd name="csX52" fmla="*/ 184978 w 222081"/>
                    <a:gd name="csY52" fmla="*/ 19945 h 221985"/>
                    <a:gd name="csX53" fmla="*/ 186802 w 222081"/>
                    <a:gd name="csY53" fmla="*/ 19945 h 22198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</a:cxnLst>
                  <a:rect l="l" t="t" r="r" b="b"/>
                  <a:pathLst>
                    <a:path w="222081" h="221985">
                      <a:moveTo>
                        <a:pt x="109552" y="55128"/>
                      </a:moveTo>
                      <a:lnTo>
                        <a:pt x="110993" y="66365"/>
                      </a:lnTo>
                      <a:lnTo>
                        <a:pt x="129145" y="63836"/>
                      </a:lnTo>
                      <a:lnTo>
                        <a:pt x="134235" y="53304"/>
                      </a:lnTo>
                      <a:lnTo>
                        <a:pt x="142207" y="50038"/>
                      </a:lnTo>
                      <a:lnTo>
                        <a:pt x="165417" y="56921"/>
                      </a:lnTo>
                      <a:lnTo>
                        <a:pt x="178126" y="52567"/>
                      </a:lnTo>
                      <a:lnTo>
                        <a:pt x="190452" y="54392"/>
                      </a:lnTo>
                      <a:lnTo>
                        <a:pt x="191188" y="31886"/>
                      </a:lnTo>
                      <a:lnTo>
                        <a:pt x="181040" y="18824"/>
                      </a:lnTo>
                      <a:lnTo>
                        <a:pt x="190484" y="24267"/>
                      </a:lnTo>
                      <a:lnTo>
                        <a:pt x="199928" y="25003"/>
                      </a:lnTo>
                      <a:lnTo>
                        <a:pt x="198840" y="31886"/>
                      </a:lnTo>
                      <a:lnTo>
                        <a:pt x="202457" y="30061"/>
                      </a:lnTo>
                      <a:lnTo>
                        <a:pt x="204282" y="40594"/>
                      </a:lnTo>
                      <a:lnTo>
                        <a:pt x="219521" y="45684"/>
                      </a:lnTo>
                      <a:lnTo>
                        <a:pt x="220609" y="50038"/>
                      </a:lnTo>
                      <a:lnTo>
                        <a:pt x="220609" y="99020"/>
                      </a:lnTo>
                      <a:lnTo>
                        <a:pt x="221346" y="141822"/>
                      </a:lnTo>
                      <a:lnTo>
                        <a:pt x="222082" y="214366"/>
                      </a:lnTo>
                      <a:lnTo>
                        <a:pt x="218080" y="212542"/>
                      </a:lnTo>
                      <a:lnTo>
                        <a:pt x="207547" y="221986"/>
                      </a:lnTo>
                      <a:lnTo>
                        <a:pt x="186130" y="213278"/>
                      </a:lnTo>
                      <a:lnTo>
                        <a:pt x="146593" y="214366"/>
                      </a:lnTo>
                      <a:lnTo>
                        <a:pt x="117204" y="214366"/>
                      </a:lnTo>
                      <a:lnTo>
                        <a:pt x="117204" y="196246"/>
                      </a:lnTo>
                      <a:lnTo>
                        <a:pt x="103405" y="183185"/>
                      </a:lnTo>
                      <a:lnTo>
                        <a:pt x="94698" y="150530"/>
                      </a:lnTo>
                      <a:lnTo>
                        <a:pt x="87815" y="150530"/>
                      </a:lnTo>
                      <a:lnTo>
                        <a:pt x="87078" y="156709"/>
                      </a:lnTo>
                      <a:lnTo>
                        <a:pt x="79459" y="159238"/>
                      </a:lnTo>
                      <a:lnTo>
                        <a:pt x="77634" y="180624"/>
                      </a:lnTo>
                      <a:lnTo>
                        <a:pt x="60219" y="162504"/>
                      </a:lnTo>
                      <a:lnTo>
                        <a:pt x="46420" y="163592"/>
                      </a:lnTo>
                      <a:lnTo>
                        <a:pt x="42419" y="159975"/>
                      </a:lnTo>
                      <a:lnTo>
                        <a:pt x="41330" y="146176"/>
                      </a:lnTo>
                      <a:lnTo>
                        <a:pt x="36976" y="144736"/>
                      </a:lnTo>
                      <a:lnTo>
                        <a:pt x="26828" y="140382"/>
                      </a:lnTo>
                      <a:lnTo>
                        <a:pt x="11237" y="143647"/>
                      </a:lnTo>
                      <a:lnTo>
                        <a:pt x="1089" y="122966"/>
                      </a:lnTo>
                      <a:lnTo>
                        <a:pt x="0" y="107727"/>
                      </a:lnTo>
                      <a:lnTo>
                        <a:pt x="12326" y="74721"/>
                      </a:lnTo>
                      <a:lnTo>
                        <a:pt x="30093" y="67102"/>
                      </a:lnTo>
                      <a:lnTo>
                        <a:pt x="36976" y="57657"/>
                      </a:lnTo>
                      <a:lnTo>
                        <a:pt x="36240" y="42067"/>
                      </a:lnTo>
                      <a:lnTo>
                        <a:pt x="49302" y="37713"/>
                      </a:lnTo>
                      <a:lnTo>
                        <a:pt x="79395" y="0"/>
                      </a:lnTo>
                      <a:lnTo>
                        <a:pt x="86278" y="24299"/>
                      </a:lnTo>
                      <a:lnTo>
                        <a:pt x="96426" y="40626"/>
                      </a:lnTo>
                      <a:lnTo>
                        <a:pt x="98251" y="53336"/>
                      </a:lnTo>
                      <a:lnTo>
                        <a:pt x="109488" y="55160"/>
                      </a:lnTo>
                      <a:close/>
                      <a:moveTo>
                        <a:pt x="186802" y="19945"/>
                      </a:moveTo>
                      <a:lnTo>
                        <a:pt x="184978" y="19945"/>
                      </a:lnTo>
                      <a:lnTo>
                        <a:pt x="186802" y="1994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1" name="Forma Livre: Forma 270">
                  <a:extLst>
                    <a:ext uri="{FF2B5EF4-FFF2-40B4-BE49-F238E27FC236}">
                      <a16:creationId xmlns:a16="http://schemas.microsoft.com/office/drawing/2014/main" id="{C76E425A-E649-098C-D543-DA813E4A5A55}"/>
                    </a:ext>
                  </a:extLst>
                </p:cNvPr>
                <p:cNvSpPr/>
                <p:nvPr/>
              </p:nvSpPr>
              <p:spPr>
                <a:xfrm>
                  <a:off x="3376058" y="4492093"/>
                  <a:ext cx="222081" cy="221985"/>
                </a:xfrm>
                <a:custGeom>
                  <a:avLst/>
                  <a:gdLst>
                    <a:gd name="csX0" fmla="*/ 109552 w 222081"/>
                    <a:gd name="csY0" fmla="*/ 55128 h 221985"/>
                    <a:gd name="csX1" fmla="*/ 110993 w 222081"/>
                    <a:gd name="csY1" fmla="*/ 66365 h 221985"/>
                    <a:gd name="csX2" fmla="*/ 129145 w 222081"/>
                    <a:gd name="csY2" fmla="*/ 63836 h 221985"/>
                    <a:gd name="csX3" fmla="*/ 134235 w 222081"/>
                    <a:gd name="csY3" fmla="*/ 53304 h 221985"/>
                    <a:gd name="csX4" fmla="*/ 142207 w 222081"/>
                    <a:gd name="csY4" fmla="*/ 50038 h 221985"/>
                    <a:gd name="csX5" fmla="*/ 165417 w 222081"/>
                    <a:gd name="csY5" fmla="*/ 56921 h 221985"/>
                    <a:gd name="csX6" fmla="*/ 178126 w 222081"/>
                    <a:gd name="csY6" fmla="*/ 52567 h 221985"/>
                    <a:gd name="csX7" fmla="*/ 190452 w 222081"/>
                    <a:gd name="csY7" fmla="*/ 54392 h 221985"/>
                    <a:gd name="csX8" fmla="*/ 191188 w 222081"/>
                    <a:gd name="csY8" fmla="*/ 31886 h 221985"/>
                    <a:gd name="csX9" fmla="*/ 181040 w 222081"/>
                    <a:gd name="csY9" fmla="*/ 18824 h 221985"/>
                    <a:gd name="csX10" fmla="*/ 190484 w 222081"/>
                    <a:gd name="csY10" fmla="*/ 24267 h 221985"/>
                    <a:gd name="csX11" fmla="*/ 199928 w 222081"/>
                    <a:gd name="csY11" fmla="*/ 25003 h 221985"/>
                    <a:gd name="csX12" fmla="*/ 198840 w 222081"/>
                    <a:gd name="csY12" fmla="*/ 31886 h 221985"/>
                    <a:gd name="csX13" fmla="*/ 202457 w 222081"/>
                    <a:gd name="csY13" fmla="*/ 30061 h 221985"/>
                    <a:gd name="csX14" fmla="*/ 204282 w 222081"/>
                    <a:gd name="csY14" fmla="*/ 40594 h 221985"/>
                    <a:gd name="csX15" fmla="*/ 219521 w 222081"/>
                    <a:gd name="csY15" fmla="*/ 45684 h 221985"/>
                    <a:gd name="csX16" fmla="*/ 220609 w 222081"/>
                    <a:gd name="csY16" fmla="*/ 50038 h 221985"/>
                    <a:gd name="csX17" fmla="*/ 220609 w 222081"/>
                    <a:gd name="csY17" fmla="*/ 99020 h 221985"/>
                    <a:gd name="csX18" fmla="*/ 221346 w 222081"/>
                    <a:gd name="csY18" fmla="*/ 141822 h 221985"/>
                    <a:gd name="csX19" fmla="*/ 222082 w 222081"/>
                    <a:gd name="csY19" fmla="*/ 214366 h 221985"/>
                    <a:gd name="csX20" fmla="*/ 218080 w 222081"/>
                    <a:gd name="csY20" fmla="*/ 212542 h 221985"/>
                    <a:gd name="csX21" fmla="*/ 207547 w 222081"/>
                    <a:gd name="csY21" fmla="*/ 221986 h 221985"/>
                    <a:gd name="csX22" fmla="*/ 186130 w 222081"/>
                    <a:gd name="csY22" fmla="*/ 213278 h 221985"/>
                    <a:gd name="csX23" fmla="*/ 146593 w 222081"/>
                    <a:gd name="csY23" fmla="*/ 214366 h 221985"/>
                    <a:gd name="csX24" fmla="*/ 117204 w 222081"/>
                    <a:gd name="csY24" fmla="*/ 214366 h 221985"/>
                    <a:gd name="csX25" fmla="*/ 117204 w 222081"/>
                    <a:gd name="csY25" fmla="*/ 196246 h 221985"/>
                    <a:gd name="csX26" fmla="*/ 103405 w 222081"/>
                    <a:gd name="csY26" fmla="*/ 183185 h 221985"/>
                    <a:gd name="csX27" fmla="*/ 94698 w 222081"/>
                    <a:gd name="csY27" fmla="*/ 150530 h 221985"/>
                    <a:gd name="csX28" fmla="*/ 87815 w 222081"/>
                    <a:gd name="csY28" fmla="*/ 150530 h 221985"/>
                    <a:gd name="csX29" fmla="*/ 87078 w 222081"/>
                    <a:gd name="csY29" fmla="*/ 156709 h 221985"/>
                    <a:gd name="csX30" fmla="*/ 79459 w 222081"/>
                    <a:gd name="csY30" fmla="*/ 159238 h 221985"/>
                    <a:gd name="csX31" fmla="*/ 77634 w 222081"/>
                    <a:gd name="csY31" fmla="*/ 180624 h 221985"/>
                    <a:gd name="csX32" fmla="*/ 60219 w 222081"/>
                    <a:gd name="csY32" fmla="*/ 162504 h 221985"/>
                    <a:gd name="csX33" fmla="*/ 46420 w 222081"/>
                    <a:gd name="csY33" fmla="*/ 163592 h 221985"/>
                    <a:gd name="csX34" fmla="*/ 42419 w 222081"/>
                    <a:gd name="csY34" fmla="*/ 159975 h 221985"/>
                    <a:gd name="csX35" fmla="*/ 41330 w 222081"/>
                    <a:gd name="csY35" fmla="*/ 146176 h 221985"/>
                    <a:gd name="csX36" fmla="*/ 36976 w 222081"/>
                    <a:gd name="csY36" fmla="*/ 144736 h 221985"/>
                    <a:gd name="csX37" fmla="*/ 26828 w 222081"/>
                    <a:gd name="csY37" fmla="*/ 140382 h 221985"/>
                    <a:gd name="csX38" fmla="*/ 11237 w 222081"/>
                    <a:gd name="csY38" fmla="*/ 143647 h 221985"/>
                    <a:gd name="csX39" fmla="*/ 1089 w 222081"/>
                    <a:gd name="csY39" fmla="*/ 122966 h 221985"/>
                    <a:gd name="csX40" fmla="*/ 0 w 222081"/>
                    <a:gd name="csY40" fmla="*/ 107727 h 221985"/>
                    <a:gd name="csX41" fmla="*/ 12326 w 222081"/>
                    <a:gd name="csY41" fmla="*/ 74721 h 221985"/>
                    <a:gd name="csX42" fmla="*/ 30093 w 222081"/>
                    <a:gd name="csY42" fmla="*/ 67102 h 221985"/>
                    <a:gd name="csX43" fmla="*/ 36976 w 222081"/>
                    <a:gd name="csY43" fmla="*/ 57657 h 221985"/>
                    <a:gd name="csX44" fmla="*/ 36240 w 222081"/>
                    <a:gd name="csY44" fmla="*/ 42067 h 221985"/>
                    <a:gd name="csX45" fmla="*/ 49302 w 222081"/>
                    <a:gd name="csY45" fmla="*/ 37713 h 221985"/>
                    <a:gd name="csX46" fmla="*/ 79395 w 222081"/>
                    <a:gd name="csY46" fmla="*/ 0 h 221985"/>
                    <a:gd name="csX47" fmla="*/ 86278 w 222081"/>
                    <a:gd name="csY47" fmla="*/ 24299 h 221985"/>
                    <a:gd name="csX48" fmla="*/ 96426 w 222081"/>
                    <a:gd name="csY48" fmla="*/ 40626 h 221985"/>
                    <a:gd name="csX49" fmla="*/ 98251 w 222081"/>
                    <a:gd name="csY49" fmla="*/ 53336 h 221985"/>
                    <a:gd name="csX50" fmla="*/ 109488 w 222081"/>
                    <a:gd name="csY50" fmla="*/ 55160 h 221985"/>
                    <a:gd name="csX51" fmla="*/ 186802 w 222081"/>
                    <a:gd name="csY51" fmla="*/ 19945 h 221985"/>
                    <a:gd name="csX52" fmla="*/ 184978 w 222081"/>
                    <a:gd name="csY52" fmla="*/ 19945 h 221985"/>
                    <a:gd name="csX53" fmla="*/ 186802 w 222081"/>
                    <a:gd name="csY53" fmla="*/ 19945 h 22198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</a:cxnLst>
                  <a:rect l="l" t="t" r="r" b="b"/>
                  <a:pathLst>
                    <a:path w="222081" h="221985">
                      <a:moveTo>
                        <a:pt x="109552" y="55128"/>
                      </a:moveTo>
                      <a:lnTo>
                        <a:pt x="110993" y="66365"/>
                      </a:lnTo>
                      <a:lnTo>
                        <a:pt x="129145" y="63836"/>
                      </a:lnTo>
                      <a:lnTo>
                        <a:pt x="134235" y="53304"/>
                      </a:lnTo>
                      <a:lnTo>
                        <a:pt x="142207" y="50038"/>
                      </a:lnTo>
                      <a:lnTo>
                        <a:pt x="165417" y="56921"/>
                      </a:lnTo>
                      <a:lnTo>
                        <a:pt x="178126" y="52567"/>
                      </a:lnTo>
                      <a:lnTo>
                        <a:pt x="190452" y="54392"/>
                      </a:lnTo>
                      <a:lnTo>
                        <a:pt x="191188" y="31886"/>
                      </a:lnTo>
                      <a:lnTo>
                        <a:pt x="181040" y="18824"/>
                      </a:lnTo>
                      <a:lnTo>
                        <a:pt x="190484" y="24267"/>
                      </a:lnTo>
                      <a:lnTo>
                        <a:pt x="199928" y="25003"/>
                      </a:lnTo>
                      <a:lnTo>
                        <a:pt x="198840" y="31886"/>
                      </a:lnTo>
                      <a:lnTo>
                        <a:pt x="202457" y="30061"/>
                      </a:lnTo>
                      <a:lnTo>
                        <a:pt x="204282" y="40594"/>
                      </a:lnTo>
                      <a:lnTo>
                        <a:pt x="219521" y="45684"/>
                      </a:lnTo>
                      <a:lnTo>
                        <a:pt x="220609" y="50038"/>
                      </a:lnTo>
                      <a:lnTo>
                        <a:pt x="220609" y="99020"/>
                      </a:lnTo>
                      <a:lnTo>
                        <a:pt x="221346" y="141822"/>
                      </a:lnTo>
                      <a:lnTo>
                        <a:pt x="222082" y="214366"/>
                      </a:lnTo>
                      <a:lnTo>
                        <a:pt x="218080" y="212542"/>
                      </a:lnTo>
                      <a:lnTo>
                        <a:pt x="207547" y="221986"/>
                      </a:lnTo>
                      <a:lnTo>
                        <a:pt x="186130" y="213278"/>
                      </a:lnTo>
                      <a:lnTo>
                        <a:pt x="146593" y="214366"/>
                      </a:lnTo>
                      <a:lnTo>
                        <a:pt x="117204" y="214366"/>
                      </a:lnTo>
                      <a:lnTo>
                        <a:pt x="117204" y="196246"/>
                      </a:lnTo>
                      <a:lnTo>
                        <a:pt x="103405" y="183185"/>
                      </a:lnTo>
                      <a:lnTo>
                        <a:pt x="94698" y="150530"/>
                      </a:lnTo>
                      <a:lnTo>
                        <a:pt x="87815" y="150530"/>
                      </a:lnTo>
                      <a:lnTo>
                        <a:pt x="87078" y="156709"/>
                      </a:lnTo>
                      <a:lnTo>
                        <a:pt x="79459" y="159238"/>
                      </a:lnTo>
                      <a:lnTo>
                        <a:pt x="77634" y="180624"/>
                      </a:lnTo>
                      <a:lnTo>
                        <a:pt x="60219" y="162504"/>
                      </a:lnTo>
                      <a:lnTo>
                        <a:pt x="46420" y="163592"/>
                      </a:lnTo>
                      <a:lnTo>
                        <a:pt x="42419" y="159975"/>
                      </a:lnTo>
                      <a:lnTo>
                        <a:pt x="41330" y="146176"/>
                      </a:lnTo>
                      <a:lnTo>
                        <a:pt x="36976" y="144736"/>
                      </a:lnTo>
                      <a:lnTo>
                        <a:pt x="26828" y="140382"/>
                      </a:lnTo>
                      <a:lnTo>
                        <a:pt x="11237" y="143647"/>
                      </a:lnTo>
                      <a:lnTo>
                        <a:pt x="1089" y="122966"/>
                      </a:lnTo>
                      <a:lnTo>
                        <a:pt x="0" y="107727"/>
                      </a:lnTo>
                      <a:lnTo>
                        <a:pt x="12326" y="74721"/>
                      </a:lnTo>
                      <a:lnTo>
                        <a:pt x="30093" y="67102"/>
                      </a:lnTo>
                      <a:lnTo>
                        <a:pt x="36976" y="57657"/>
                      </a:lnTo>
                      <a:lnTo>
                        <a:pt x="36240" y="42067"/>
                      </a:lnTo>
                      <a:lnTo>
                        <a:pt x="49302" y="37713"/>
                      </a:lnTo>
                      <a:lnTo>
                        <a:pt x="79395" y="0"/>
                      </a:lnTo>
                      <a:lnTo>
                        <a:pt x="86278" y="24299"/>
                      </a:lnTo>
                      <a:lnTo>
                        <a:pt x="96426" y="40626"/>
                      </a:lnTo>
                      <a:lnTo>
                        <a:pt x="98251" y="53336"/>
                      </a:lnTo>
                      <a:lnTo>
                        <a:pt x="109488" y="55160"/>
                      </a:lnTo>
                      <a:close/>
                      <a:moveTo>
                        <a:pt x="186802" y="19945"/>
                      </a:moveTo>
                      <a:lnTo>
                        <a:pt x="184978" y="19945"/>
                      </a:lnTo>
                      <a:lnTo>
                        <a:pt x="186802" y="1994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2" name="Forma Livre: Forma 271">
                  <a:extLst>
                    <a:ext uri="{FF2B5EF4-FFF2-40B4-BE49-F238E27FC236}">
                      <a16:creationId xmlns:a16="http://schemas.microsoft.com/office/drawing/2014/main" id="{563AA1DD-042B-7A19-296A-27286BED95FA}"/>
                    </a:ext>
                  </a:extLst>
                </p:cNvPr>
                <p:cNvSpPr/>
                <p:nvPr/>
              </p:nvSpPr>
              <p:spPr>
                <a:xfrm>
                  <a:off x="3376058" y="4492093"/>
                  <a:ext cx="222081" cy="221985"/>
                </a:xfrm>
                <a:custGeom>
                  <a:avLst/>
                  <a:gdLst>
                    <a:gd name="csX0" fmla="*/ 109552 w 222081"/>
                    <a:gd name="csY0" fmla="*/ 55128 h 221985"/>
                    <a:gd name="csX1" fmla="*/ 110993 w 222081"/>
                    <a:gd name="csY1" fmla="*/ 66365 h 221985"/>
                    <a:gd name="csX2" fmla="*/ 129145 w 222081"/>
                    <a:gd name="csY2" fmla="*/ 63836 h 221985"/>
                    <a:gd name="csX3" fmla="*/ 134235 w 222081"/>
                    <a:gd name="csY3" fmla="*/ 53304 h 221985"/>
                    <a:gd name="csX4" fmla="*/ 142207 w 222081"/>
                    <a:gd name="csY4" fmla="*/ 50038 h 221985"/>
                    <a:gd name="csX5" fmla="*/ 165417 w 222081"/>
                    <a:gd name="csY5" fmla="*/ 56921 h 221985"/>
                    <a:gd name="csX6" fmla="*/ 178126 w 222081"/>
                    <a:gd name="csY6" fmla="*/ 52567 h 221985"/>
                    <a:gd name="csX7" fmla="*/ 190452 w 222081"/>
                    <a:gd name="csY7" fmla="*/ 54392 h 221985"/>
                    <a:gd name="csX8" fmla="*/ 191188 w 222081"/>
                    <a:gd name="csY8" fmla="*/ 31886 h 221985"/>
                    <a:gd name="csX9" fmla="*/ 181040 w 222081"/>
                    <a:gd name="csY9" fmla="*/ 18824 h 221985"/>
                    <a:gd name="csX10" fmla="*/ 190484 w 222081"/>
                    <a:gd name="csY10" fmla="*/ 24267 h 221985"/>
                    <a:gd name="csX11" fmla="*/ 199928 w 222081"/>
                    <a:gd name="csY11" fmla="*/ 25003 h 221985"/>
                    <a:gd name="csX12" fmla="*/ 198840 w 222081"/>
                    <a:gd name="csY12" fmla="*/ 31886 h 221985"/>
                    <a:gd name="csX13" fmla="*/ 202457 w 222081"/>
                    <a:gd name="csY13" fmla="*/ 30061 h 221985"/>
                    <a:gd name="csX14" fmla="*/ 204282 w 222081"/>
                    <a:gd name="csY14" fmla="*/ 40594 h 221985"/>
                    <a:gd name="csX15" fmla="*/ 219521 w 222081"/>
                    <a:gd name="csY15" fmla="*/ 45684 h 221985"/>
                    <a:gd name="csX16" fmla="*/ 220609 w 222081"/>
                    <a:gd name="csY16" fmla="*/ 50038 h 221985"/>
                    <a:gd name="csX17" fmla="*/ 220609 w 222081"/>
                    <a:gd name="csY17" fmla="*/ 99020 h 221985"/>
                    <a:gd name="csX18" fmla="*/ 221346 w 222081"/>
                    <a:gd name="csY18" fmla="*/ 141822 h 221985"/>
                    <a:gd name="csX19" fmla="*/ 222082 w 222081"/>
                    <a:gd name="csY19" fmla="*/ 214366 h 221985"/>
                    <a:gd name="csX20" fmla="*/ 218080 w 222081"/>
                    <a:gd name="csY20" fmla="*/ 212542 h 221985"/>
                    <a:gd name="csX21" fmla="*/ 207547 w 222081"/>
                    <a:gd name="csY21" fmla="*/ 221986 h 221985"/>
                    <a:gd name="csX22" fmla="*/ 186130 w 222081"/>
                    <a:gd name="csY22" fmla="*/ 213278 h 221985"/>
                    <a:gd name="csX23" fmla="*/ 146593 w 222081"/>
                    <a:gd name="csY23" fmla="*/ 214366 h 221985"/>
                    <a:gd name="csX24" fmla="*/ 117204 w 222081"/>
                    <a:gd name="csY24" fmla="*/ 214366 h 221985"/>
                    <a:gd name="csX25" fmla="*/ 117204 w 222081"/>
                    <a:gd name="csY25" fmla="*/ 196246 h 221985"/>
                    <a:gd name="csX26" fmla="*/ 103405 w 222081"/>
                    <a:gd name="csY26" fmla="*/ 183185 h 221985"/>
                    <a:gd name="csX27" fmla="*/ 94698 w 222081"/>
                    <a:gd name="csY27" fmla="*/ 150530 h 221985"/>
                    <a:gd name="csX28" fmla="*/ 87815 w 222081"/>
                    <a:gd name="csY28" fmla="*/ 150530 h 221985"/>
                    <a:gd name="csX29" fmla="*/ 87078 w 222081"/>
                    <a:gd name="csY29" fmla="*/ 156709 h 221985"/>
                    <a:gd name="csX30" fmla="*/ 79459 w 222081"/>
                    <a:gd name="csY30" fmla="*/ 159238 h 221985"/>
                    <a:gd name="csX31" fmla="*/ 77634 w 222081"/>
                    <a:gd name="csY31" fmla="*/ 180624 h 221985"/>
                    <a:gd name="csX32" fmla="*/ 60219 w 222081"/>
                    <a:gd name="csY32" fmla="*/ 162504 h 221985"/>
                    <a:gd name="csX33" fmla="*/ 46420 w 222081"/>
                    <a:gd name="csY33" fmla="*/ 163592 h 221985"/>
                    <a:gd name="csX34" fmla="*/ 42419 w 222081"/>
                    <a:gd name="csY34" fmla="*/ 159975 h 221985"/>
                    <a:gd name="csX35" fmla="*/ 41330 w 222081"/>
                    <a:gd name="csY35" fmla="*/ 146176 h 221985"/>
                    <a:gd name="csX36" fmla="*/ 36976 w 222081"/>
                    <a:gd name="csY36" fmla="*/ 144736 h 221985"/>
                    <a:gd name="csX37" fmla="*/ 26828 w 222081"/>
                    <a:gd name="csY37" fmla="*/ 140382 h 221985"/>
                    <a:gd name="csX38" fmla="*/ 11237 w 222081"/>
                    <a:gd name="csY38" fmla="*/ 143647 h 221985"/>
                    <a:gd name="csX39" fmla="*/ 1089 w 222081"/>
                    <a:gd name="csY39" fmla="*/ 122966 h 221985"/>
                    <a:gd name="csX40" fmla="*/ 0 w 222081"/>
                    <a:gd name="csY40" fmla="*/ 107727 h 221985"/>
                    <a:gd name="csX41" fmla="*/ 12326 w 222081"/>
                    <a:gd name="csY41" fmla="*/ 74721 h 221985"/>
                    <a:gd name="csX42" fmla="*/ 30093 w 222081"/>
                    <a:gd name="csY42" fmla="*/ 67102 h 221985"/>
                    <a:gd name="csX43" fmla="*/ 36976 w 222081"/>
                    <a:gd name="csY43" fmla="*/ 57657 h 221985"/>
                    <a:gd name="csX44" fmla="*/ 36240 w 222081"/>
                    <a:gd name="csY44" fmla="*/ 42067 h 221985"/>
                    <a:gd name="csX45" fmla="*/ 49302 w 222081"/>
                    <a:gd name="csY45" fmla="*/ 37713 h 221985"/>
                    <a:gd name="csX46" fmla="*/ 79395 w 222081"/>
                    <a:gd name="csY46" fmla="*/ 0 h 221985"/>
                    <a:gd name="csX47" fmla="*/ 86278 w 222081"/>
                    <a:gd name="csY47" fmla="*/ 24299 h 221985"/>
                    <a:gd name="csX48" fmla="*/ 96426 w 222081"/>
                    <a:gd name="csY48" fmla="*/ 40626 h 221985"/>
                    <a:gd name="csX49" fmla="*/ 98251 w 222081"/>
                    <a:gd name="csY49" fmla="*/ 53336 h 221985"/>
                    <a:gd name="csX50" fmla="*/ 109488 w 222081"/>
                    <a:gd name="csY50" fmla="*/ 55160 h 221985"/>
                    <a:gd name="csX51" fmla="*/ 186802 w 222081"/>
                    <a:gd name="csY51" fmla="*/ 19945 h 221985"/>
                    <a:gd name="csX52" fmla="*/ 184978 w 222081"/>
                    <a:gd name="csY52" fmla="*/ 19945 h 221985"/>
                    <a:gd name="csX53" fmla="*/ 186802 w 222081"/>
                    <a:gd name="csY53" fmla="*/ 19945 h 22198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</a:cxnLst>
                  <a:rect l="l" t="t" r="r" b="b"/>
                  <a:pathLst>
                    <a:path w="222081" h="221985">
                      <a:moveTo>
                        <a:pt x="109552" y="55128"/>
                      </a:moveTo>
                      <a:lnTo>
                        <a:pt x="110993" y="66365"/>
                      </a:lnTo>
                      <a:lnTo>
                        <a:pt x="129145" y="63836"/>
                      </a:lnTo>
                      <a:lnTo>
                        <a:pt x="134235" y="53304"/>
                      </a:lnTo>
                      <a:lnTo>
                        <a:pt x="142207" y="50038"/>
                      </a:lnTo>
                      <a:lnTo>
                        <a:pt x="165417" y="56921"/>
                      </a:lnTo>
                      <a:lnTo>
                        <a:pt x="178126" y="52567"/>
                      </a:lnTo>
                      <a:lnTo>
                        <a:pt x="190452" y="54392"/>
                      </a:lnTo>
                      <a:lnTo>
                        <a:pt x="191188" y="31886"/>
                      </a:lnTo>
                      <a:lnTo>
                        <a:pt x="181040" y="18824"/>
                      </a:lnTo>
                      <a:lnTo>
                        <a:pt x="190484" y="24267"/>
                      </a:lnTo>
                      <a:lnTo>
                        <a:pt x="199928" y="25003"/>
                      </a:lnTo>
                      <a:lnTo>
                        <a:pt x="198840" y="31886"/>
                      </a:lnTo>
                      <a:lnTo>
                        <a:pt x="202457" y="30061"/>
                      </a:lnTo>
                      <a:lnTo>
                        <a:pt x="204282" y="40594"/>
                      </a:lnTo>
                      <a:lnTo>
                        <a:pt x="219521" y="45684"/>
                      </a:lnTo>
                      <a:lnTo>
                        <a:pt x="220609" y="50038"/>
                      </a:lnTo>
                      <a:lnTo>
                        <a:pt x="220609" y="99020"/>
                      </a:lnTo>
                      <a:lnTo>
                        <a:pt x="221346" y="141822"/>
                      </a:lnTo>
                      <a:lnTo>
                        <a:pt x="222082" y="214366"/>
                      </a:lnTo>
                      <a:lnTo>
                        <a:pt x="218080" y="212542"/>
                      </a:lnTo>
                      <a:lnTo>
                        <a:pt x="207547" y="221986"/>
                      </a:lnTo>
                      <a:lnTo>
                        <a:pt x="186130" y="213278"/>
                      </a:lnTo>
                      <a:lnTo>
                        <a:pt x="146593" y="214366"/>
                      </a:lnTo>
                      <a:lnTo>
                        <a:pt x="117204" y="214366"/>
                      </a:lnTo>
                      <a:lnTo>
                        <a:pt x="117204" y="196246"/>
                      </a:lnTo>
                      <a:lnTo>
                        <a:pt x="103405" y="183185"/>
                      </a:lnTo>
                      <a:lnTo>
                        <a:pt x="94698" y="150530"/>
                      </a:lnTo>
                      <a:lnTo>
                        <a:pt x="87815" y="150530"/>
                      </a:lnTo>
                      <a:lnTo>
                        <a:pt x="87078" y="156709"/>
                      </a:lnTo>
                      <a:lnTo>
                        <a:pt x="79459" y="159238"/>
                      </a:lnTo>
                      <a:lnTo>
                        <a:pt x="77634" y="180624"/>
                      </a:lnTo>
                      <a:lnTo>
                        <a:pt x="60219" y="162504"/>
                      </a:lnTo>
                      <a:lnTo>
                        <a:pt x="46420" y="163592"/>
                      </a:lnTo>
                      <a:lnTo>
                        <a:pt x="42419" y="159975"/>
                      </a:lnTo>
                      <a:lnTo>
                        <a:pt x="41330" y="146176"/>
                      </a:lnTo>
                      <a:lnTo>
                        <a:pt x="36976" y="144736"/>
                      </a:lnTo>
                      <a:lnTo>
                        <a:pt x="26828" y="140382"/>
                      </a:lnTo>
                      <a:lnTo>
                        <a:pt x="11237" y="143647"/>
                      </a:lnTo>
                      <a:lnTo>
                        <a:pt x="1089" y="122966"/>
                      </a:lnTo>
                      <a:lnTo>
                        <a:pt x="0" y="107727"/>
                      </a:lnTo>
                      <a:lnTo>
                        <a:pt x="12326" y="74721"/>
                      </a:lnTo>
                      <a:lnTo>
                        <a:pt x="30093" y="67102"/>
                      </a:lnTo>
                      <a:lnTo>
                        <a:pt x="36976" y="57657"/>
                      </a:lnTo>
                      <a:lnTo>
                        <a:pt x="36240" y="42067"/>
                      </a:lnTo>
                      <a:lnTo>
                        <a:pt x="49302" y="37713"/>
                      </a:lnTo>
                      <a:lnTo>
                        <a:pt x="79395" y="0"/>
                      </a:lnTo>
                      <a:lnTo>
                        <a:pt x="86278" y="24299"/>
                      </a:lnTo>
                      <a:lnTo>
                        <a:pt x="96426" y="40626"/>
                      </a:lnTo>
                      <a:lnTo>
                        <a:pt x="98251" y="53336"/>
                      </a:lnTo>
                      <a:lnTo>
                        <a:pt x="109488" y="55160"/>
                      </a:lnTo>
                      <a:close/>
                      <a:moveTo>
                        <a:pt x="186802" y="19945"/>
                      </a:moveTo>
                      <a:lnTo>
                        <a:pt x="184978" y="19945"/>
                      </a:lnTo>
                      <a:lnTo>
                        <a:pt x="186802" y="1994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3" name="Forma Livre: Forma 272">
                  <a:extLst>
                    <a:ext uri="{FF2B5EF4-FFF2-40B4-BE49-F238E27FC236}">
                      <a16:creationId xmlns:a16="http://schemas.microsoft.com/office/drawing/2014/main" id="{4C332939-5FA8-B58E-DEFE-0E0F43370B2E}"/>
                    </a:ext>
                  </a:extLst>
                </p:cNvPr>
                <p:cNvSpPr/>
                <p:nvPr/>
              </p:nvSpPr>
              <p:spPr>
                <a:xfrm>
                  <a:off x="3376058" y="4492093"/>
                  <a:ext cx="222081" cy="221985"/>
                </a:xfrm>
                <a:custGeom>
                  <a:avLst/>
                  <a:gdLst>
                    <a:gd name="csX0" fmla="*/ 109552 w 222081"/>
                    <a:gd name="csY0" fmla="*/ 55128 h 221985"/>
                    <a:gd name="csX1" fmla="*/ 110993 w 222081"/>
                    <a:gd name="csY1" fmla="*/ 66365 h 221985"/>
                    <a:gd name="csX2" fmla="*/ 129145 w 222081"/>
                    <a:gd name="csY2" fmla="*/ 63836 h 221985"/>
                    <a:gd name="csX3" fmla="*/ 134235 w 222081"/>
                    <a:gd name="csY3" fmla="*/ 53304 h 221985"/>
                    <a:gd name="csX4" fmla="*/ 142207 w 222081"/>
                    <a:gd name="csY4" fmla="*/ 50038 h 221985"/>
                    <a:gd name="csX5" fmla="*/ 165417 w 222081"/>
                    <a:gd name="csY5" fmla="*/ 56921 h 221985"/>
                    <a:gd name="csX6" fmla="*/ 178126 w 222081"/>
                    <a:gd name="csY6" fmla="*/ 52567 h 221985"/>
                    <a:gd name="csX7" fmla="*/ 190452 w 222081"/>
                    <a:gd name="csY7" fmla="*/ 54392 h 221985"/>
                    <a:gd name="csX8" fmla="*/ 191188 w 222081"/>
                    <a:gd name="csY8" fmla="*/ 31886 h 221985"/>
                    <a:gd name="csX9" fmla="*/ 181040 w 222081"/>
                    <a:gd name="csY9" fmla="*/ 18824 h 221985"/>
                    <a:gd name="csX10" fmla="*/ 190484 w 222081"/>
                    <a:gd name="csY10" fmla="*/ 24267 h 221985"/>
                    <a:gd name="csX11" fmla="*/ 199928 w 222081"/>
                    <a:gd name="csY11" fmla="*/ 25003 h 221985"/>
                    <a:gd name="csX12" fmla="*/ 198840 w 222081"/>
                    <a:gd name="csY12" fmla="*/ 31886 h 221985"/>
                    <a:gd name="csX13" fmla="*/ 202457 w 222081"/>
                    <a:gd name="csY13" fmla="*/ 30061 h 221985"/>
                    <a:gd name="csX14" fmla="*/ 204282 w 222081"/>
                    <a:gd name="csY14" fmla="*/ 40594 h 221985"/>
                    <a:gd name="csX15" fmla="*/ 219521 w 222081"/>
                    <a:gd name="csY15" fmla="*/ 45684 h 221985"/>
                    <a:gd name="csX16" fmla="*/ 220609 w 222081"/>
                    <a:gd name="csY16" fmla="*/ 50038 h 221985"/>
                    <a:gd name="csX17" fmla="*/ 220609 w 222081"/>
                    <a:gd name="csY17" fmla="*/ 99020 h 221985"/>
                    <a:gd name="csX18" fmla="*/ 221346 w 222081"/>
                    <a:gd name="csY18" fmla="*/ 141822 h 221985"/>
                    <a:gd name="csX19" fmla="*/ 222082 w 222081"/>
                    <a:gd name="csY19" fmla="*/ 214366 h 221985"/>
                    <a:gd name="csX20" fmla="*/ 218080 w 222081"/>
                    <a:gd name="csY20" fmla="*/ 212542 h 221985"/>
                    <a:gd name="csX21" fmla="*/ 207547 w 222081"/>
                    <a:gd name="csY21" fmla="*/ 221986 h 221985"/>
                    <a:gd name="csX22" fmla="*/ 186130 w 222081"/>
                    <a:gd name="csY22" fmla="*/ 213278 h 221985"/>
                    <a:gd name="csX23" fmla="*/ 146593 w 222081"/>
                    <a:gd name="csY23" fmla="*/ 214366 h 221985"/>
                    <a:gd name="csX24" fmla="*/ 117204 w 222081"/>
                    <a:gd name="csY24" fmla="*/ 214366 h 221985"/>
                    <a:gd name="csX25" fmla="*/ 117204 w 222081"/>
                    <a:gd name="csY25" fmla="*/ 196246 h 221985"/>
                    <a:gd name="csX26" fmla="*/ 103405 w 222081"/>
                    <a:gd name="csY26" fmla="*/ 183185 h 221985"/>
                    <a:gd name="csX27" fmla="*/ 94698 w 222081"/>
                    <a:gd name="csY27" fmla="*/ 150530 h 221985"/>
                    <a:gd name="csX28" fmla="*/ 87815 w 222081"/>
                    <a:gd name="csY28" fmla="*/ 150530 h 221985"/>
                    <a:gd name="csX29" fmla="*/ 87078 w 222081"/>
                    <a:gd name="csY29" fmla="*/ 156709 h 221985"/>
                    <a:gd name="csX30" fmla="*/ 79459 w 222081"/>
                    <a:gd name="csY30" fmla="*/ 159238 h 221985"/>
                    <a:gd name="csX31" fmla="*/ 77634 w 222081"/>
                    <a:gd name="csY31" fmla="*/ 180624 h 221985"/>
                    <a:gd name="csX32" fmla="*/ 60219 w 222081"/>
                    <a:gd name="csY32" fmla="*/ 162504 h 221985"/>
                    <a:gd name="csX33" fmla="*/ 46420 w 222081"/>
                    <a:gd name="csY33" fmla="*/ 163592 h 221985"/>
                    <a:gd name="csX34" fmla="*/ 42419 w 222081"/>
                    <a:gd name="csY34" fmla="*/ 159975 h 221985"/>
                    <a:gd name="csX35" fmla="*/ 41330 w 222081"/>
                    <a:gd name="csY35" fmla="*/ 146176 h 221985"/>
                    <a:gd name="csX36" fmla="*/ 36976 w 222081"/>
                    <a:gd name="csY36" fmla="*/ 144736 h 221985"/>
                    <a:gd name="csX37" fmla="*/ 26828 w 222081"/>
                    <a:gd name="csY37" fmla="*/ 140382 h 221985"/>
                    <a:gd name="csX38" fmla="*/ 11237 w 222081"/>
                    <a:gd name="csY38" fmla="*/ 143647 h 221985"/>
                    <a:gd name="csX39" fmla="*/ 1089 w 222081"/>
                    <a:gd name="csY39" fmla="*/ 122966 h 221985"/>
                    <a:gd name="csX40" fmla="*/ 0 w 222081"/>
                    <a:gd name="csY40" fmla="*/ 107727 h 221985"/>
                    <a:gd name="csX41" fmla="*/ 12326 w 222081"/>
                    <a:gd name="csY41" fmla="*/ 74721 h 221985"/>
                    <a:gd name="csX42" fmla="*/ 30093 w 222081"/>
                    <a:gd name="csY42" fmla="*/ 67102 h 221985"/>
                    <a:gd name="csX43" fmla="*/ 36976 w 222081"/>
                    <a:gd name="csY43" fmla="*/ 57657 h 221985"/>
                    <a:gd name="csX44" fmla="*/ 36240 w 222081"/>
                    <a:gd name="csY44" fmla="*/ 42067 h 221985"/>
                    <a:gd name="csX45" fmla="*/ 49302 w 222081"/>
                    <a:gd name="csY45" fmla="*/ 37713 h 221985"/>
                    <a:gd name="csX46" fmla="*/ 79395 w 222081"/>
                    <a:gd name="csY46" fmla="*/ 0 h 221985"/>
                    <a:gd name="csX47" fmla="*/ 86278 w 222081"/>
                    <a:gd name="csY47" fmla="*/ 24299 h 221985"/>
                    <a:gd name="csX48" fmla="*/ 96426 w 222081"/>
                    <a:gd name="csY48" fmla="*/ 40626 h 221985"/>
                    <a:gd name="csX49" fmla="*/ 98251 w 222081"/>
                    <a:gd name="csY49" fmla="*/ 53336 h 221985"/>
                    <a:gd name="csX50" fmla="*/ 109488 w 222081"/>
                    <a:gd name="csY50" fmla="*/ 55160 h 221985"/>
                    <a:gd name="csX51" fmla="*/ 186802 w 222081"/>
                    <a:gd name="csY51" fmla="*/ 19945 h 221985"/>
                    <a:gd name="csX52" fmla="*/ 184978 w 222081"/>
                    <a:gd name="csY52" fmla="*/ 19945 h 221985"/>
                    <a:gd name="csX53" fmla="*/ 186802 w 222081"/>
                    <a:gd name="csY53" fmla="*/ 19945 h 22198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</a:cxnLst>
                  <a:rect l="l" t="t" r="r" b="b"/>
                  <a:pathLst>
                    <a:path w="222081" h="221985">
                      <a:moveTo>
                        <a:pt x="109552" y="55128"/>
                      </a:moveTo>
                      <a:lnTo>
                        <a:pt x="110993" y="66365"/>
                      </a:lnTo>
                      <a:lnTo>
                        <a:pt x="129145" y="63836"/>
                      </a:lnTo>
                      <a:lnTo>
                        <a:pt x="134235" y="53304"/>
                      </a:lnTo>
                      <a:lnTo>
                        <a:pt x="142207" y="50038"/>
                      </a:lnTo>
                      <a:lnTo>
                        <a:pt x="165417" y="56921"/>
                      </a:lnTo>
                      <a:lnTo>
                        <a:pt x="178126" y="52567"/>
                      </a:lnTo>
                      <a:lnTo>
                        <a:pt x="190452" y="54392"/>
                      </a:lnTo>
                      <a:lnTo>
                        <a:pt x="191188" y="31886"/>
                      </a:lnTo>
                      <a:lnTo>
                        <a:pt x="181040" y="18824"/>
                      </a:lnTo>
                      <a:lnTo>
                        <a:pt x="190484" y="24267"/>
                      </a:lnTo>
                      <a:lnTo>
                        <a:pt x="199928" y="25003"/>
                      </a:lnTo>
                      <a:lnTo>
                        <a:pt x="198840" y="31886"/>
                      </a:lnTo>
                      <a:lnTo>
                        <a:pt x="202457" y="30061"/>
                      </a:lnTo>
                      <a:lnTo>
                        <a:pt x="204282" y="40594"/>
                      </a:lnTo>
                      <a:lnTo>
                        <a:pt x="219521" y="45684"/>
                      </a:lnTo>
                      <a:lnTo>
                        <a:pt x="220609" y="50038"/>
                      </a:lnTo>
                      <a:lnTo>
                        <a:pt x="220609" y="99020"/>
                      </a:lnTo>
                      <a:lnTo>
                        <a:pt x="221346" y="141822"/>
                      </a:lnTo>
                      <a:lnTo>
                        <a:pt x="222082" y="214366"/>
                      </a:lnTo>
                      <a:lnTo>
                        <a:pt x="218080" y="212542"/>
                      </a:lnTo>
                      <a:lnTo>
                        <a:pt x="207547" y="221986"/>
                      </a:lnTo>
                      <a:lnTo>
                        <a:pt x="186130" y="213278"/>
                      </a:lnTo>
                      <a:lnTo>
                        <a:pt x="146593" y="214366"/>
                      </a:lnTo>
                      <a:lnTo>
                        <a:pt x="117204" y="214366"/>
                      </a:lnTo>
                      <a:lnTo>
                        <a:pt x="117204" y="196246"/>
                      </a:lnTo>
                      <a:lnTo>
                        <a:pt x="103405" y="183185"/>
                      </a:lnTo>
                      <a:lnTo>
                        <a:pt x="94698" y="150530"/>
                      </a:lnTo>
                      <a:lnTo>
                        <a:pt x="87815" y="150530"/>
                      </a:lnTo>
                      <a:lnTo>
                        <a:pt x="87078" y="156709"/>
                      </a:lnTo>
                      <a:lnTo>
                        <a:pt x="79459" y="159238"/>
                      </a:lnTo>
                      <a:lnTo>
                        <a:pt x="77634" y="180624"/>
                      </a:lnTo>
                      <a:lnTo>
                        <a:pt x="60219" y="162504"/>
                      </a:lnTo>
                      <a:lnTo>
                        <a:pt x="46420" y="163592"/>
                      </a:lnTo>
                      <a:lnTo>
                        <a:pt x="42419" y="159975"/>
                      </a:lnTo>
                      <a:lnTo>
                        <a:pt x="41330" y="146176"/>
                      </a:lnTo>
                      <a:lnTo>
                        <a:pt x="36976" y="144736"/>
                      </a:lnTo>
                      <a:lnTo>
                        <a:pt x="26828" y="140382"/>
                      </a:lnTo>
                      <a:lnTo>
                        <a:pt x="11237" y="143647"/>
                      </a:lnTo>
                      <a:lnTo>
                        <a:pt x="1089" y="122966"/>
                      </a:lnTo>
                      <a:lnTo>
                        <a:pt x="0" y="107727"/>
                      </a:lnTo>
                      <a:lnTo>
                        <a:pt x="12326" y="74721"/>
                      </a:lnTo>
                      <a:lnTo>
                        <a:pt x="30093" y="67102"/>
                      </a:lnTo>
                      <a:lnTo>
                        <a:pt x="36976" y="57657"/>
                      </a:lnTo>
                      <a:lnTo>
                        <a:pt x="36240" y="42067"/>
                      </a:lnTo>
                      <a:lnTo>
                        <a:pt x="49302" y="37713"/>
                      </a:lnTo>
                      <a:lnTo>
                        <a:pt x="79395" y="0"/>
                      </a:lnTo>
                      <a:lnTo>
                        <a:pt x="86278" y="24299"/>
                      </a:lnTo>
                      <a:lnTo>
                        <a:pt x="96426" y="40626"/>
                      </a:lnTo>
                      <a:lnTo>
                        <a:pt x="98251" y="53336"/>
                      </a:lnTo>
                      <a:lnTo>
                        <a:pt x="109488" y="55160"/>
                      </a:lnTo>
                      <a:close/>
                      <a:moveTo>
                        <a:pt x="186802" y="19945"/>
                      </a:moveTo>
                      <a:lnTo>
                        <a:pt x="184978" y="19945"/>
                      </a:lnTo>
                      <a:lnTo>
                        <a:pt x="186802" y="1994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4" name="Forma Livre: Forma 273">
                  <a:extLst>
                    <a:ext uri="{FF2B5EF4-FFF2-40B4-BE49-F238E27FC236}">
                      <a16:creationId xmlns:a16="http://schemas.microsoft.com/office/drawing/2014/main" id="{0F27BD7E-F198-ECF8-6E2C-24A7A01B2578}"/>
                    </a:ext>
                  </a:extLst>
                </p:cNvPr>
                <p:cNvSpPr/>
                <p:nvPr/>
              </p:nvSpPr>
              <p:spPr>
                <a:xfrm>
                  <a:off x="1664200" y="5325708"/>
                  <a:ext cx="280763" cy="385609"/>
                </a:xfrm>
                <a:custGeom>
                  <a:avLst/>
                  <a:gdLst>
                    <a:gd name="csX0" fmla="*/ 159238 w 280763"/>
                    <a:gd name="csY0" fmla="*/ 66397 h 385609"/>
                    <a:gd name="csX1" fmla="*/ 150914 w 280763"/>
                    <a:gd name="csY1" fmla="*/ 56217 h 385609"/>
                    <a:gd name="csX2" fmla="*/ 131674 w 280763"/>
                    <a:gd name="csY2" fmla="*/ 52599 h 385609"/>
                    <a:gd name="csX3" fmla="*/ 115347 w 280763"/>
                    <a:gd name="csY3" fmla="*/ 32654 h 385609"/>
                    <a:gd name="csX4" fmla="*/ 98315 w 280763"/>
                    <a:gd name="csY4" fmla="*/ 21769 h 385609"/>
                    <a:gd name="csX5" fmla="*/ 93961 w 280763"/>
                    <a:gd name="csY5" fmla="*/ 17415 h 385609"/>
                    <a:gd name="csX6" fmla="*/ 85254 w 280763"/>
                    <a:gd name="csY6" fmla="*/ 10532 h 385609"/>
                    <a:gd name="csX7" fmla="*/ 70719 w 280763"/>
                    <a:gd name="csY7" fmla="*/ 10532 h 385609"/>
                    <a:gd name="csX8" fmla="*/ 47509 w 280763"/>
                    <a:gd name="csY8" fmla="*/ 0 h 385609"/>
                    <a:gd name="csX9" fmla="*/ 14855 w 280763"/>
                    <a:gd name="csY9" fmla="*/ 1825 h 385609"/>
                    <a:gd name="csX10" fmla="*/ 19945 w 280763"/>
                    <a:gd name="csY10" fmla="*/ 14854 h 385609"/>
                    <a:gd name="csX11" fmla="*/ 14855 w 280763"/>
                    <a:gd name="csY11" fmla="*/ 23210 h 385609"/>
                    <a:gd name="csX12" fmla="*/ 16327 w 280763"/>
                    <a:gd name="csY12" fmla="*/ 29389 h 385609"/>
                    <a:gd name="csX13" fmla="*/ 0 w 280763"/>
                    <a:gd name="csY13" fmla="*/ 56953 h 385609"/>
                    <a:gd name="csX14" fmla="*/ 1088 w 280763"/>
                    <a:gd name="csY14" fmla="*/ 63836 h 385609"/>
                    <a:gd name="csX15" fmla="*/ 0 w 280763"/>
                    <a:gd name="csY15" fmla="*/ 73280 h 385609"/>
                    <a:gd name="csX16" fmla="*/ 7972 w 280763"/>
                    <a:gd name="csY16" fmla="*/ 80899 h 385609"/>
                    <a:gd name="csX17" fmla="*/ 1088 w 280763"/>
                    <a:gd name="csY17" fmla="*/ 91400 h 385609"/>
                    <a:gd name="csX18" fmla="*/ 6147 w 280763"/>
                    <a:gd name="csY18" fmla="*/ 136764 h 385609"/>
                    <a:gd name="csX19" fmla="*/ 5442 w 280763"/>
                    <a:gd name="csY19" fmla="*/ 137852 h 385609"/>
                    <a:gd name="csX20" fmla="*/ 12325 w 280763"/>
                    <a:gd name="csY20" fmla="*/ 140382 h 385609"/>
                    <a:gd name="csX21" fmla="*/ 18120 w 280763"/>
                    <a:gd name="csY21" fmla="*/ 165417 h 385609"/>
                    <a:gd name="csX22" fmla="*/ 27564 w 280763"/>
                    <a:gd name="csY22" fmla="*/ 173036 h 385609"/>
                    <a:gd name="csX23" fmla="*/ 70015 w 280763"/>
                    <a:gd name="csY23" fmla="*/ 171211 h 385609"/>
                    <a:gd name="csX24" fmla="*/ 76546 w 280763"/>
                    <a:gd name="csY24" fmla="*/ 173772 h 385609"/>
                    <a:gd name="csX25" fmla="*/ 80900 w 280763"/>
                    <a:gd name="csY25" fmla="*/ 182480 h 385609"/>
                    <a:gd name="csX26" fmla="*/ 82692 w 280763"/>
                    <a:gd name="csY26" fmla="*/ 187538 h 385609"/>
                    <a:gd name="csX27" fmla="*/ 87046 w 280763"/>
                    <a:gd name="csY27" fmla="*/ 190452 h 385609"/>
                    <a:gd name="csX28" fmla="*/ 105935 w 280763"/>
                    <a:gd name="csY28" fmla="*/ 186098 h 385609"/>
                    <a:gd name="csX29" fmla="*/ 118964 w 280763"/>
                    <a:gd name="csY29" fmla="*/ 191892 h 385609"/>
                    <a:gd name="csX30" fmla="*/ 117172 w 280763"/>
                    <a:gd name="csY30" fmla="*/ 196246 h 385609"/>
                    <a:gd name="csX31" fmla="*/ 119701 w 280763"/>
                    <a:gd name="csY31" fmla="*/ 203866 h 385609"/>
                    <a:gd name="csX32" fmla="*/ 145472 w 280763"/>
                    <a:gd name="csY32" fmla="*/ 206779 h 385609"/>
                    <a:gd name="csX33" fmla="*/ 149826 w 280763"/>
                    <a:gd name="csY33" fmla="*/ 224546 h 385609"/>
                    <a:gd name="csX34" fmla="*/ 162888 w 280763"/>
                    <a:gd name="csY34" fmla="*/ 237608 h 385609"/>
                    <a:gd name="csX35" fmla="*/ 169771 w 280763"/>
                    <a:gd name="csY35" fmla="*/ 240137 h 385609"/>
                    <a:gd name="csX36" fmla="*/ 179183 w 280763"/>
                    <a:gd name="csY36" fmla="*/ 258994 h 385609"/>
                    <a:gd name="csX37" fmla="*/ 178094 w 280763"/>
                    <a:gd name="csY37" fmla="*/ 270263 h 385609"/>
                    <a:gd name="csX38" fmla="*/ 186802 w 280763"/>
                    <a:gd name="csY38" fmla="*/ 284029 h 385609"/>
                    <a:gd name="csX39" fmla="*/ 181008 w 280763"/>
                    <a:gd name="csY39" fmla="*/ 289119 h 385609"/>
                    <a:gd name="csX40" fmla="*/ 178094 w 280763"/>
                    <a:gd name="csY40" fmla="*/ 311593 h 385609"/>
                    <a:gd name="csX41" fmla="*/ 191156 w 280763"/>
                    <a:gd name="csY41" fmla="*/ 314154 h 385609"/>
                    <a:gd name="csX42" fmla="*/ 187891 w 280763"/>
                    <a:gd name="csY42" fmla="*/ 340982 h 385609"/>
                    <a:gd name="csX43" fmla="*/ 191892 w 280763"/>
                    <a:gd name="csY43" fmla="*/ 349338 h 385609"/>
                    <a:gd name="csX44" fmla="*/ 201689 w 280763"/>
                    <a:gd name="csY44" fmla="*/ 356220 h 385609"/>
                    <a:gd name="csX45" fmla="*/ 207483 w 280763"/>
                    <a:gd name="csY45" fmla="*/ 351162 h 385609"/>
                    <a:gd name="csX46" fmla="*/ 216928 w 280763"/>
                    <a:gd name="csY46" fmla="*/ 353692 h 385609"/>
                    <a:gd name="csX47" fmla="*/ 211133 w 280763"/>
                    <a:gd name="csY47" fmla="*/ 371107 h 385609"/>
                    <a:gd name="csX48" fmla="*/ 218752 w 280763"/>
                    <a:gd name="csY48" fmla="*/ 373636 h 385609"/>
                    <a:gd name="csX49" fmla="*/ 223811 w 280763"/>
                    <a:gd name="csY49" fmla="*/ 369282 h 385609"/>
                    <a:gd name="csX50" fmla="*/ 243755 w 280763"/>
                    <a:gd name="csY50" fmla="*/ 361311 h 385609"/>
                    <a:gd name="csX51" fmla="*/ 265909 w 280763"/>
                    <a:gd name="csY51" fmla="*/ 374373 h 385609"/>
                    <a:gd name="csX52" fmla="*/ 269527 w 280763"/>
                    <a:gd name="csY52" fmla="*/ 385610 h 385609"/>
                    <a:gd name="csX53" fmla="*/ 273881 w 280763"/>
                    <a:gd name="csY53" fmla="*/ 383785 h 385609"/>
                    <a:gd name="csX54" fmla="*/ 269527 w 280763"/>
                    <a:gd name="csY54" fmla="*/ 370019 h 385609"/>
                    <a:gd name="csX55" fmla="*/ 256465 w 280763"/>
                    <a:gd name="csY55" fmla="*/ 361311 h 385609"/>
                    <a:gd name="csX56" fmla="*/ 255024 w 280763"/>
                    <a:gd name="csY56" fmla="*/ 343511 h 385609"/>
                    <a:gd name="csX57" fmla="*/ 260083 w 280763"/>
                    <a:gd name="csY57" fmla="*/ 342423 h 385609"/>
                    <a:gd name="csX58" fmla="*/ 265173 w 280763"/>
                    <a:gd name="csY58" fmla="*/ 341718 h 385609"/>
                    <a:gd name="csX59" fmla="*/ 260083 w 280763"/>
                    <a:gd name="csY59" fmla="*/ 331186 h 385609"/>
                    <a:gd name="csX60" fmla="*/ 250670 w 280763"/>
                    <a:gd name="csY60" fmla="*/ 327216 h 385609"/>
                    <a:gd name="csX61" fmla="*/ 246316 w 280763"/>
                    <a:gd name="csY61" fmla="*/ 334099 h 385609"/>
                    <a:gd name="csX62" fmla="*/ 235784 w 280763"/>
                    <a:gd name="csY62" fmla="*/ 328656 h 385609"/>
                    <a:gd name="csX63" fmla="*/ 237609 w 280763"/>
                    <a:gd name="csY63" fmla="*/ 321773 h 385609"/>
                    <a:gd name="csX64" fmla="*/ 243755 w 280763"/>
                    <a:gd name="csY64" fmla="*/ 321037 h 385609"/>
                    <a:gd name="csX65" fmla="*/ 237609 w 280763"/>
                    <a:gd name="csY65" fmla="*/ 311593 h 385609"/>
                    <a:gd name="csX66" fmla="*/ 245580 w 280763"/>
                    <a:gd name="csY66" fmla="*/ 300356 h 385609"/>
                    <a:gd name="csX67" fmla="*/ 229989 w 280763"/>
                    <a:gd name="csY67" fmla="*/ 296002 h 385609"/>
                    <a:gd name="csX68" fmla="*/ 219457 w 280763"/>
                    <a:gd name="csY68" fmla="*/ 284765 h 385609"/>
                    <a:gd name="csX69" fmla="*/ 224899 w 280763"/>
                    <a:gd name="csY69" fmla="*/ 273880 h 385609"/>
                    <a:gd name="csX70" fmla="*/ 218016 w 280763"/>
                    <a:gd name="csY70" fmla="*/ 263348 h 385609"/>
                    <a:gd name="csX71" fmla="*/ 225635 w 280763"/>
                    <a:gd name="csY71" fmla="*/ 252111 h 385609"/>
                    <a:gd name="csX72" fmla="*/ 245580 w 280763"/>
                    <a:gd name="csY72" fmla="*/ 254640 h 385609"/>
                    <a:gd name="csX73" fmla="*/ 258994 w 280763"/>
                    <a:gd name="csY73" fmla="*/ 241962 h 385609"/>
                    <a:gd name="csX74" fmla="*/ 260083 w 280763"/>
                    <a:gd name="csY74" fmla="*/ 231430 h 385609"/>
                    <a:gd name="csX75" fmla="*/ 267702 w 280763"/>
                    <a:gd name="csY75" fmla="*/ 228164 h 385609"/>
                    <a:gd name="csX76" fmla="*/ 267702 w 280763"/>
                    <a:gd name="csY76" fmla="*/ 218752 h 385609"/>
                    <a:gd name="csX77" fmla="*/ 263348 w 280763"/>
                    <a:gd name="csY77" fmla="*/ 213662 h 385609"/>
                    <a:gd name="csX78" fmla="*/ 267702 w 280763"/>
                    <a:gd name="csY78" fmla="*/ 207483 h 385609"/>
                    <a:gd name="csX79" fmla="*/ 264436 w 280763"/>
                    <a:gd name="csY79" fmla="*/ 199864 h 385609"/>
                    <a:gd name="csX80" fmla="*/ 266998 w 280763"/>
                    <a:gd name="csY80" fmla="*/ 184273 h 385609"/>
                    <a:gd name="csX81" fmla="*/ 274617 w 280763"/>
                    <a:gd name="csY81" fmla="*/ 172300 h 385609"/>
                    <a:gd name="csX82" fmla="*/ 272056 w 280763"/>
                    <a:gd name="csY82" fmla="*/ 167946 h 385609"/>
                    <a:gd name="csX83" fmla="*/ 280764 w 280763"/>
                    <a:gd name="csY83" fmla="*/ 147265 h 385609"/>
                    <a:gd name="csX84" fmla="*/ 271351 w 280763"/>
                    <a:gd name="csY84" fmla="*/ 136028 h 385609"/>
                    <a:gd name="csX85" fmla="*/ 264436 w 280763"/>
                    <a:gd name="csY85" fmla="*/ 139645 h 385609"/>
                    <a:gd name="csX86" fmla="*/ 249582 w 280763"/>
                    <a:gd name="csY86" fmla="*/ 134203 h 385609"/>
                    <a:gd name="csX87" fmla="*/ 243755 w 280763"/>
                    <a:gd name="csY87" fmla="*/ 126583 h 385609"/>
                    <a:gd name="csX88" fmla="*/ 244492 w 280763"/>
                    <a:gd name="csY88" fmla="*/ 119700 h 385609"/>
                    <a:gd name="csX89" fmla="*/ 227460 w 280763"/>
                    <a:gd name="csY89" fmla="*/ 114642 h 385609"/>
                    <a:gd name="csX90" fmla="*/ 241226 w 280763"/>
                    <a:gd name="csY90" fmla="*/ 99756 h 385609"/>
                    <a:gd name="csX91" fmla="*/ 241226 w 280763"/>
                    <a:gd name="csY91" fmla="*/ 93225 h 385609"/>
                    <a:gd name="csX92" fmla="*/ 215103 w 280763"/>
                    <a:gd name="csY92" fmla="*/ 84517 h 385609"/>
                    <a:gd name="csX93" fmla="*/ 214398 w 280763"/>
                    <a:gd name="csY93" fmla="*/ 68926 h 385609"/>
                    <a:gd name="csX94" fmla="*/ 228164 w 280763"/>
                    <a:gd name="csY94" fmla="*/ 50070 h 385609"/>
                    <a:gd name="csX95" fmla="*/ 221986 w 280763"/>
                    <a:gd name="csY95" fmla="*/ 38096 h 385609"/>
                    <a:gd name="csX96" fmla="*/ 215103 w 280763"/>
                    <a:gd name="csY96" fmla="*/ 44980 h 385609"/>
                    <a:gd name="csX97" fmla="*/ 208220 w 280763"/>
                    <a:gd name="csY97" fmla="*/ 41362 h 385609"/>
                    <a:gd name="csX98" fmla="*/ 201689 w 280763"/>
                    <a:gd name="csY98" fmla="*/ 28652 h 385609"/>
                    <a:gd name="csX99" fmla="*/ 204954 w 280763"/>
                    <a:gd name="csY99" fmla="*/ 19208 h 385609"/>
                    <a:gd name="csX100" fmla="*/ 198071 w 280763"/>
                    <a:gd name="csY100" fmla="*/ 11237 h 385609"/>
                    <a:gd name="csX101" fmla="*/ 189363 w 280763"/>
                    <a:gd name="csY101" fmla="*/ 10532 h 385609"/>
                    <a:gd name="csX102" fmla="*/ 191892 w 280763"/>
                    <a:gd name="csY102" fmla="*/ 23210 h 385609"/>
                    <a:gd name="csX103" fmla="*/ 186098 w 280763"/>
                    <a:gd name="csY103" fmla="*/ 30093 h 385609"/>
                    <a:gd name="csX104" fmla="*/ 174125 w 280763"/>
                    <a:gd name="csY104" fmla="*/ 31182 h 385609"/>
                    <a:gd name="csX105" fmla="*/ 171211 w 280763"/>
                    <a:gd name="csY105" fmla="*/ 54424 h 385609"/>
                    <a:gd name="csX106" fmla="*/ 166153 w 280763"/>
                    <a:gd name="csY106" fmla="*/ 55128 h 385609"/>
                    <a:gd name="csX107" fmla="*/ 165417 w 280763"/>
                    <a:gd name="csY107" fmla="*/ 64572 h 385609"/>
                    <a:gd name="csX108" fmla="*/ 159238 w 280763"/>
                    <a:gd name="csY108" fmla="*/ 67101 h 385609"/>
                    <a:gd name="csX109" fmla="*/ 159238 w 280763"/>
                    <a:gd name="csY109" fmla="*/ 66397 h 3856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</a:cxnLst>
                  <a:rect l="l" t="t" r="r" b="b"/>
                  <a:pathLst>
                    <a:path w="280763" h="385609">
                      <a:moveTo>
                        <a:pt x="159238" y="66397"/>
                      </a:moveTo>
                      <a:lnTo>
                        <a:pt x="150914" y="56217"/>
                      </a:lnTo>
                      <a:lnTo>
                        <a:pt x="131674" y="52599"/>
                      </a:lnTo>
                      <a:lnTo>
                        <a:pt x="115347" y="32654"/>
                      </a:lnTo>
                      <a:lnTo>
                        <a:pt x="98315" y="21769"/>
                      </a:lnTo>
                      <a:lnTo>
                        <a:pt x="93961" y="17415"/>
                      </a:lnTo>
                      <a:lnTo>
                        <a:pt x="85254" y="10532"/>
                      </a:lnTo>
                      <a:lnTo>
                        <a:pt x="70719" y="10532"/>
                      </a:lnTo>
                      <a:lnTo>
                        <a:pt x="47509" y="0"/>
                      </a:lnTo>
                      <a:lnTo>
                        <a:pt x="14855" y="1825"/>
                      </a:lnTo>
                      <a:lnTo>
                        <a:pt x="19945" y="14854"/>
                      </a:lnTo>
                      <a:lnTo>
                        <a:pt x="14855" y="23210"/>
                      </a:lnTo>
                      <a:lnTo>
                        <a:pt x="16327" y="29389"/>
                      </a:lnTo>
                      <a:lnTo>
                        <a:pt x="0" y="56953"/>
                      </a:lnTo>
                      <a:lnTo>
                        <a:pt x="1088" y="63836"/>
                      </a:lnTo>
                      <a:lnTo>
                        <a:pt x="0" y="73280"/>
                      </a:lnTo>
                      <a:lnTo>
                        <a:pt x="7972" y="80899"/>
                      </a:lnTo>
                      <a:lnTo>
                        <a:pt x="1088" y="91400"/>
                      </a:lnTo>
                      <a:lnTo>
                        <a:pt x="6147" y="136764"/>
                      </a:lnTo>
                      <a:lnTo>
                        <a:pt x="5442" y="137852"/>
                      </a:lnTo>
                      <a:lnTo>
                        <a:pt x="12325" y="140382"/>
                      </a:lnTo>
                      <a:lnTo>
                        <a:pt x="18120" y="165417"/>
                      </a:lnTo>
                      <a:lnTo>
                        <a:pt x="27564" y="173036"/>
                      </a:lnTo>
                      <a:lnTo>
                        <a:pt x="70015" y="171211"/>
                      </a:lnTo>
                      <a:lnTo>
                        <a:pt x="76546" y="173772"/>
                      </a:lnTo>
                      <a:lnTo>
                        <a:pt x="80900" y="182480"/>
                      </a:lnTo>
                      <a:lnTo>
                        <a:pt x="82692" y="187538"/>
                      </a:lnTo>
                      <a:lnTo>
                        <a:pt x="87046" y="190452"/>
                      </a:lnTo>
                      <a:lnTo>
                        <a:pt x="105935" y="186098"/>
                      </a:lnTo>
                      <a:lnTo>
                        <a:pt x="118964" y="191892"/>
                      </a:lnTo>
                      <a:lnTo>
                        <a:pt x="117172" y="196246"/>
                      </a:lnTo>
                      <a:lnTo>
                        <a:pt x="119701" y="203866"/>
                      </a:lnTo>
                      <a:lnTo>
                        <a:pt x="145472" y="206779"/>
                      </a:lnTo>
                      <a:lnTo>
                        <a:pt x="149826" y="224546"/>
                      </a:lnTo>
                      <a:lnTo>
                        <a:pt x="162888" y="237608"/>
                      </a:lnTo>
                      <a:lnTo>
                        <a:pt x="169771" y="240137"/>
                      </a:lnTo>
                      <a:lnTo>
                        <a:pt x="179183" y="258994"/>
                      </a:lnTo>
                      <a:lnTo>
                        <a:pt x="178094" y="270263"/>
                      </a:lnTo>
                      <a:lnTo>
                        <a:pt x="186802" y="284029"/>
                      </a:lnTo>
                      <a:lnTo>
                        <a:pt x="181008" y="289119"/>
                      </a:lnTo>
                      <a:lnTo>
                        <a:pt x="178094" y="311593"/>
                      </a:lnTo>
                      <a:lnTo>
                        <a:pt x="191156" y="314154"/>
                      </a:lnTo>
                      <a:lnTo>
                        <a:pt x="187891" y="340982"/>
                      </a:lnTo>
                      <a:lnTo>
                        <a:pt x="191892" y="349338"/>
                      </a:lnTo>
                      <a:lnTo>
                        <a:pt x="201689" y="356220"/>
                      </a:lnTo>
                      <a:lnTo>
                        <a:pt x="207483" y="351162"/>
                      </a:lnTo>
                      <a:lnTo>
                        <a:pt x="216928" y="353692"/>
                      </a:lnTo>
                      <a:lnTo>
                        <a:pt x="211133" y="371107"/>
                      </a:lnTo>
                      <a:lnTo>
                        <a:pt x="218752" y="373636"/>
                      </a:lnTo>
                      <a:lnTo>
                        <a:pt x="223811" y="369282"/>
                      </a:lnTo>
                      <a:lnTo>
                        <a:pt x="243755" y="361311"/>
                      </a:lnTo>
                      <a:lnTo>
                        <a:pt x="265909" y="374373"/>
                      </a:lnTo>
                      <a:lnTo>
                        <a:pt x="269527" y="385610"/>
                      </a:lnTo>
                      <a:lnTo>
                        <a:pt x="273881" y="383785"/>
                      </a:lnTo>
                      <a:lnTo>
                        <a:pt x="269527" y="370019"/>
                      </a:lnTo>
                      <a:lnTo>
                        <a:pt x="256465" y="361311"/>
                      </a:lnTo>
                      <a:lnTo>
                        <a:pt x="255024" y="343511"/>
                      </a:lnTo>
                      <a:lnTo>
                        <a:pt x="260083" y="342423"/>
                      </a:lnTo>
                      <a:lnTo>
                        <a:pt x="265173" y="341718"/>
                      </a:lnTo>
                      <a:lnTo>
                        <a:pt x="260083" y="331186"/>
                      </a:lnTo>
                      <a:lnTo>
                        <a:pt x="250670" y="327216"/>
                      </a:lnTo>
                      <a:lnTo>
                        <a:pt x="246316" y="334099"/>
                      </a:lnTo>
                      <a:lnTo>
                        <a:pt x="235784" y="328656"/>
                      </a:lnTo>
                      <a:lnTo>
                        <a:pt x="237609" y="321773"/>
                      </a:lnTo>
                      <a:lnTo>
                        <a:pt x="243755" y="321037"/>
                      </a:lnTo>
                      <a:lnTo>
                        <a:pt x="237609" y="311593"/>
                      </a:lnTo>
                      <a:lnTo>
                        <a:pt x="245580" y="300356"/>
                      </a:lnTo>
                      <a:lnTo>
                        <a:pt x="229989" y="296002"/>
                      </a:lnTo>
                      <a:lnTo>
                        <a:pt x="219457" y="284765"/>
                      </a:lnTo>
                      <a:lnTo>
                        <a:pt x="224899" y="273880"/>
                      </a:lnTo>
                      <a:lnTo>
                        <a:pt x="218016" y="263348"/>
                      </a:lnTo>
                      <a:lnTo>
                        <a:pt x="225635" y="252111"/>
                      </a:lnTo>
                      <a:lnTo>
                        <a:pt x="245580" y="254640"/>
                      </a:lnTo>
                      <a:lnTo>
                        <a:pt x="258994" y="241962"/>
                      </a:lnTo>
                      <a:lnTo>
                        <a:pt x="260083" y="231430"/>
                      </a:lnTo>
                      <a:lnTo>
                        <a:pt x="267702" y="228164"/>
                      </a:lnTo>
                      <a:lnTo>
                        <a:pt x="267702" y="218752"/>
                      </a:lnTo>
                      <a:lnTo>
                        <a:pt x="263348" y="213662"/>
                      </a:lnTo>
                      <a:lnTo>
                        <a:pt x="267702" y="207483"/>
                      </a:lnTo>
                      <a:lnTo>
                        <a:pt x="264436" y="199864"/>
                      </a:lnTo>
                      <a:lnTo>
                        <a:pt x="266998" y="184273"/>
                      </a:lnTo>
                      <a:lnTo>
                        <a:pt x="274617" y="172300"/>
                      </a:lnTo>
                      <a:lnTo>
                        <a:pt x="272056" y="167946"/>
                      </a:lnTo>
                      <a:lnTo>
                        <a:pt x="280764" y="147265"/>
                      </a:lnTo>
                      <a:lnTo>
                        <a:pt x="271351" y="136028"/>
                      </a:lnTo>
                      <a:lnTo>
                        <a:pt x="264436" y="139645"/>
                      </a:lnTo>
                      <a:lnTo>
                        <a:pt x="249582" y="134203"/>
                      </a:lnTo>
                      <a:lnTo>
                        <a:pt x="243755" y="126583"/>
                      </a:lnTo>
                      <a:lnTo>
                        <a:pt x="244492" y="119700"/>
                      </a:lnTo>
                      <a:lnTo>
                        <a:pt x="227460" y="114642"/>
                      </a:lnTo>
                      <a:lnTo>
                        <a:pt x="241226" y="99756"/>
                      </a:lnTo>
                      <a:lnTo>
                        <a:pt x="241226" y="93225"/>
                      </a:lnTo>
                      <a:lnTo>
                        <a:pt x="215103" y="84517"/>
                      </a:lnTo>
                      <a:lnTo>
                        <a:pt x="214398" y="68926"/>
                      </a:lnTo>
                      <a:lnTo>
                        <a:pt x="228164" y="50070"/>
                      </a:lnTo>
                      <a:lnTo>
                        <a:pt x="221986" y="38096"/>
                      </a:lnTo>
                      <a:lnTo>
                        <a:pt x="215103" y="44980"/>
                      </a:lnTo>
                      <a:lnTo>
                        <a:pt x="208220" y="41362"/>
                      </a:lnTo>
                      <a:lnTo>
                        <a:pt x="201689" y="28652"/>
                      </a:lnTo>
                      <a:lnTo>
                        <a:pt x="204954" y="19208"/>
                      </a:lnTo>
                      <a:lnTo>
                        <a:pt x="198071" y="11237"/>
                      </a:lnTo>
                      <a:lnTo>
                        <a:pt x="189363" y="10532"/>
                      </a:lnTo>
                      <a:lnTo>
                        <a:pt x="191892" y="23210"/>
                      </a:lnTo>
                      <a:lnTo>
                        <a:pt x="186098" y="30093"/>
                      </a:lnTo>
                      <a:lnTo>
                        <a:pt x="174125" y="31182"/>
                      </a:lnTo>
                      <a:lnTo>
                        <a:pt x="171211" y="54424"/>
                      </a:lnTo>
                      <a:lnTo>
                        <a:pt x="166153" y="55128"/>
                      </a:lnTo>
                      <a:lnTo>
                        <a:pt x="165417" y="64572"/>
                      </a:lnTo>
                      <a:lnTo>
                        <a:pt x="159238" y="67101"/>
                      </a:lnTo>
                      <a:lnTo>
                        <a:pt x="159238" y="6639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5" name="Forma Livre: Forma 274">
                  <a:extLst>
                    <a:ext uri="{FF2B5EF4-FFF2-40B4-BE49-F238E27FC236}">
                      <a16:creationId xmlns:a16="http://schemas.microsoft.com/office/drawing/2014/main" id="{50C16CF4-A2B0-57C2-F6CD-E9539BCEAAEF}"/>
                    </a:ext>
                  </a:extLst>
                </p:cNvPr>
                <p:cNvSpPr/>
                <p:nvPr/>
              </p:nvSpPr>
              <p:spPr>
                <a:xfrm>
                  <a:off x="1664200" y="5325708"/>
                  <a:ext cx="280763" cy="385609"/>
                </a:xfrm>
                <a:custGeom>
                  <a:avLst/>
                  <a:gdLst>
                    <a:gd name="csX0" fmla="*/ 159238 w 280763"/>
                    <a:gd name="csY0" fmla="*/ 66397 h 385609"/>
                    <a:gd name="csX1" fmla="*/ 150914 w 280763"/>
                    <a:gd name="csY1" fmla="*/ 56217 h 385609"/>
                    <a:gd name="csX2" fmla="*/ 131674 w 280763"/>
                    <a:gd name="csY2" fmla="*/ 52599 h 385609"/>
                    <a:gd name="csX3" fmla="*/ 115347 w 280763"/>
                    <a:gd name="csY3" fmla="*/ 32654 h 385609"/>
                    <a:gd name="csX4" fmla="*/ 98315 w 280763"/>
                    <a:gd name="csY4" fmla="*/ 21769 h 385609"/>
                    <a:gd name="csX5" fmla="*/ 93961 w 280763"/>
                    <a:gd name="csY5" fmla="*/ 17415 h 385609"/>
                    <a:gd name="csX6" fmla="*/ 85254 w 280763"/>
                    <a:gd name="csY6" fmla="*/ 10532 h 385609"/>
                    <a:gd name="csX7" fmla="*/ 70719 w 280763"/>
                    <a:gd name="csY7" fmla="*/ 10532 h 385609"/>
                    <a:gd name="csX8" fmla="*/ 47509 w 280763"/>
                    <a:gd name="csY8" fmla="*/ 0 h 385609"/>
                    <a:gd name="csX9" fmla="*/ 14855 w 280763"/>
                    <a:gd name="csY9" fmla="*/ 1825 h 385609"/>
                    <a:gd name="csX10" fmla="*/ 19945 w 280763"/>
                    <a:gd name="csY10" fmla="*/ 14854 h 385609"/>
                    <a:gd name="csX11" fmla="*/ 14855 w 280763"/>
                    <a:gd name="csY11" fmla="*/ 23210 h 385609"/>
                    <a:gd name="csX12" fmla="*/ 16327 w 280763"/>
                    <a:gd name="csY12" fmla="*/ 29389 h 385609"/>
                    <a:gd name="csX13" fmla="*/ 0 w 280763"/>
                    <a:gd name="csY13" fmla="*/ 56953 h 385609"/>
                    <a:gd name="csX14" fmla="*/ 1088 w 280763"/>
                    <a:gd name="csY14" fmla="*/ 63836 h 385609"/>
                    <a:gd name="csX15" fmla="*/ 0 w 280763"/>
                    <a:gd name="csY15" fmla="*/ 73280 h 385609"/>
                    <a:gd name="csX16" fmla="*/ 7972 w 280763"/>
                    <a:gd name="csY16" fmla="*/ 80899 h 385609"/>
                    <a:gd name="csX17" fmla="*/ 1088 w 280763"/>
                    <a:gd name="csY17" fmla="*/ 91400 h 385609"/>
                    <a:gd name="csX18" fmla="*/ 6147 w 280763"/>
                    <a:gd name="csY18" fmla="*/ 136764 h 385609"/>
                    <a:gd name="csX19" fmla="*/ 5442 w 280763"/>
                    <a:gd name="csY19" fmla="*/ 137852 h 385609"/>
                    <a:gd name="csX20" fmla="*/ 12325 w 280763"/>
                    <a:gd name="csY20" fmla="*/ 140382 h 385609"/>
                    <a:gd name="csX21" fmla="*/ 18120 w 280763"/>
                    <a:gd name="csY21" fmla="*/ 165417 h 385609"/>
                    <a:gd name="csX22" fmla="*/ 27564 w 280763"/>
                    <a:gd name="csY22" fmla="*/ 173036 h 385609"/>
                    <a:gd name="csX23" fmla="*/ 70015 w 280763"/>
                    <a:gd name="csY23" fmla="*/ 171211 h 385609"/>
                    <a:gd name="csX24" fmla="*/ 76546 w 280763"/>
                    <a:gd name="csY24" fmla="*/ 173772 h 385609"/>
                    <a:gd name="csX25" fmla="*/ 80900 w 280763"/>
                    <a:gd name="csY25" fmla="*/ 182480 h 385609"/>
                    <a:gd name="csX26" fmla="*/ 82692 w 280763"/>
                    <a:gd name="csY26" fmla="*/ 187538 h 385609"/>
                    <a:gd name="csX27" fmla="*/ 87046 w 280763"/>
                    <a:gd name="csY27" fmla="*/ 190452 h 385609"/>
                    <a:gd name="csX28" fmla="*/ 105935 w 280763"/>
                    <a:gd name="csY28" fmla="*/ 186098 h 385609"/>
                    <a:gd name="csX29" fmla="*/ 118964 w 280763"/>
                    <a:gd name="csY29" fmla="*/ 191892 h 385609"/>
                    <a:gd name="csX30" fmla="*/ 117172 w 280763"/>
                    <a:gd name="csY30" fmla="*/ 196246 h 385609"/>
                    <a:gd name="csX31" fmla="*/ 119701 w 280763"/>
                    <a:gd name="csY31" fmla="*/ 203866 h 385609"/>
                    <a:gd name="csX32" fmla="*/ 145472 w 280763"/>
                    <a:gd name="csY32" fmla="*/ 206779 h 385609"/>
                    <a:gd name="csX33" fmla="*/ 149826 w 280763"/>
                    <a:gd name="csY33" fmla="*/ 224546 h 385609"/>
                    <a:gd name="csX34" fmla="*/ 162888 w 280763"/>
                    <a:gd name="csY34" fmla="*/ 237608 h 385609"/>
                    <a:gd name="csX35" fmla="*/ 169771 w 280763"/>
                    <a:gd name="csY35" fmla="*/ 240137 h 385609"/>
                    <a:gd name="csX36" fmla="*/ 179183 w 280763"/>
                    <a:gd name="csY36" fmla="*/ 258994 h 385609"/>
                    <a:gd name="csX37" fmla="*/ 178094 w 280763"/>
                    <a:gd name="csY37" fmla="*/ 270263 h 385609"/>
                    <a:gd name="csX38" fmla="*/ 186802 w 280763"/>
                    <a:gd name="csY38" fmla="*/ 284029 h 385609"/>
                    <a:gd name="csX39" fmla="*/ 181008 w 280763"/>
                    <a:gd name="csY39" fmla="*/ 289119 h 385609"/>
                    <a:gd name="csX40" fmla="*/ 178094 w 280763"/>
                    <a:gd name="csY40" fmla="*/ 311593 h 385609"/>
                    <a:gd name="csX41" fmla="*/ 191156 w 280763"/>
                    <a:gd name="csY41" fmla="*/ 314154 h 385609"/>
                    <a:gd name="csX42" fmla="*/ 187891 w 280763"/>
                    <a:gd name="csY42" fmla="*/ 340982 h 385609"/>
                    <a:gd name="csX43" fmla="*/ 191892 w 280763"/>
                    <a:gd name="csY43" fmla="*/ 349338 h 385609"/>
                    <a:gd name="csX44" fmla="*/ 201689 w 280763"/>
                    <a:gd name="csY44" fmla="*/ 356220 h 385609"/>
                    <a:gd name="csX45" fmla="*/ 207483 w 280763"/>
                    <a:gd name="csY45" fmla="*/ 351162 h 385609"/>
                    <a:gd name="csX46" fmla="*/ 216928 w 280763"/>
                    <a:gd name="csY46" fmla="*/ 353692 h 385609"/>
                    <a:gd name="csX47" fmla="*/ 211133 w 280763"/>
                    <a:gd name="csY47" fmla="*/ 371107 h 385609"/>
                    <a:gd name="csX48" fmla="*/ 218752 w 280763"/>
                    <a:gd name="csY48" fmla="*/ 373636 h 385609"/>
                    <a:gd name="csX49" fmla="*/ 223811 w 280763"/>
                    <a:gd name="csY49" fmla="*/ 369282 h 385609"/>
                    <a:gd name="csX50" fmla="*/ 243755 w 280763"/>
                    <a:gd name="csY50" fmla="*/ 361311 h 385609"/>
                    <a:gd name="csX51" fmla="*/ 265909 w 280763"/>
                    <a:gd name="csY51" fmla="*/ 374373 h 385609"/>
                    <a:gd name="csX52" fmla="*/ 269527 w 280763"/>
                    <a:gd name="csY52" fmla="*/ 385610 h 385609"/>
                    <a:gd name="csX53" fmla="*/ 273881 w 280763"/>
                    <a:gd name="csY53" fmla="*/ 383785 h 385609"/>
                    <a:gd name="csX54" fmla="*/ 269527 w 280763"/>
                    <a:gd name="csY54" fmla="*/ 370019 h 385609"/>
                    <a:gd name="csX55" fmla="*/ 256465 w 280763"/>
                    <a:gd name="csY55" fmla="*/ 361311 h 385609"/>
                    <a:gd name="csX56" fmla="*/ 255024 w 280763"/>
                    <a:gd name="csY56" fmla="*/ 343511 h 385609"/>
                    <a:gd name="csX57" fmla="*/ 260083 w 280763"/>
                    <a:gd name="csY57" fmla="*/ 342423 h 385609"/>
                    <a:gd name="csX58" fmla="*/ 265173 w 280763"/>
                    <a:gd name="csY58" fmla="*/ 341718 h 385609"/>
                    <a:gd name="csX59" fmla="*/ 260083 w 280763"/>
                    <a:gd name="csY59" fmla="*/ 331186 h 385609"/>
                    <a:gd name="csX60" fmla="*/ 250670 w 280763"/>
                    <a:gd name="csY60" fmla="*/ 327216 h 385609"/>
                    <a:gd name="csX61" fmla="*/ 246316 w 280763"/>
                    <a:gd name="csY61" fmla="*/ 334099 h 385609"/>
                    <a:gd name="csX62" fmla="*/ 235784 w 280763"/>
                    <a:gd name="csY62" fmla="*/ 328656 h 385609"/>
                    <a:gd name="csX63" fmla="*/ 237609 w 280763"/>
                    <a:gd name="csY63" fmla="*/ 321773 h 385609"/>
                    <a:gd name="csX64" fmla="*/ 243755 w 280763"/>
                    <a:gd name="csY64" fmla="*/ 321037 h 385609"/>
                    <a:gd name="csX65" fmla="*/ 237609 w 280763"/>
                    <a:gd name="csY65" fmla="*/ 311593 h 385609"/>
                    <a:gd name="csX66" fmla="*/ 245580 w 280763"/>
                    <a:gd name="csY66" fmla="*/ 300356 h 385609"/>
                    <a:gd name="csX67" fmla="*/ 229989 w 280763"/>
                    <a:gd name="csY67" fmla="*/ 296002 h 385609"/>
                    <a:gd name="csX68" fmla="*/ 219457 w 280763"/>
                    <a:gd name="csY68" fmla="*/ 284765 h 385609"/>
                    <a:gd name="csX69" fmla="*/ 224899 w 280763"/>
                    <a:gd name="csY69" fmla="*/ 273880 h 385609"/>
                    <a:gd name="csX70" fmla="*/ 218016 w 280763"/>
                    <a:gd name="csY70" fmla="*/ 263348 h 385609"/>
                    <a:gd name="csX71" fmla="*/ 225635 w 280763"/>
                    <a:gd name="csY71" fmla="*/ 252111 h 385609"/>
                    <a:gd name="csX72" fmla="*/ 245580 w 280763"/>
                    <a:gd name="csY72" fmla="*/ 254640 h 385609"/>
                    <a:gd name="csX73" fmla="*/ 258994 w 280763"/>
                    <a:gd name="csY73" fmla="*/ 241962 h 385609"/>
                    <a:gd name="csX74" fmla="*/ 260083 w 280763"/>
                    <a:gd name="csY74" fmla="*/ 231430 h 385609"/>
                    <a:gd name="csX75" fmla="*/ 267702 w 280763"/>
                    <a:gd name="csY75" fmla="*/ 228164 h 385609"/>
                    <a:gd name="csX76" fmla="*/ 267702 w 280763"/>
                    <a:gd name="csY76" fmla="*/ 218752 h 385609"/>
                    <a:gd name="csX77" fmla="*/ 263348 w 280763"/>
                    <a:gd name="csY77" fmla="*/ 213662 h 385609"/>
                    <a:gd name="csX78" fmla="*/ 267702 w 280763"/>
                    <a:gd name="csY78" fmla="*/ 207483 h 385609"/>
                    <a:gd name="csX79" fmla="*/ 264436 w 280763"/>
                    <a:gd name="csY79" fmla="*/ 199864 h 385609"/>
                    <a:gd name="csX80" fmla="*/ 266998 w 280763"/>
                    <a:gd name="csY80" fmla="*/ 184273 h 385609"/>
                    <a:gd name="csX81" fmla="*/ 274617 w 280763"/>
                    <a:gd name="csY81" fmla="*/ 172300 h 385609"/>
                    <a:gd name="csX82" fmla="*/ 272056 w 280763"/>
                    <a:gd name="csY82" fmla="*/ 167946 h 385609"/>
                    <a:gd name="csX83" fmla="*/ 280764 w 280763"/>
                    <a:gd name="csY83" fmla="*/ 147265 h 385609"/>
                    <a:gd name="csX84" fmla="*/ 271351 w 280763"/>
                    <a:gd name="csY84" fmla="*/ 136028 h 385609"/>
                    <a:gd name="csX85" fmla="*/ 264436 w 280763"/>
                    <a:gd name="csY85" fmla="*/ 139645 h 385609"/>
                    <a:gd name="csX86" fmla="*/ 249582 w 280763"/>
                    <a:gd name="csY86" fmla="*/ 134203 h 385609"/>
                    <a:gd name="csX87" fmla="*/ 243755 w 280763"/>
                    <a:gd name="csY87" fmla="*/ 126583 h 385609"/>
                    <a:gd name="csX88" fmla="*/ 244492 w 280763"/>
                    <a:gd name="csY88" fmla="*/ 119700 h 385609"/>
                    <a:gd name="csX89" fmla="*/ 227460 w 280763"/>
                    <a:gd name="csY89" fmla="*/ 114642 h 385609"/>
                    <a:gd name="csX90" fmla="*/ 241226 w 280763"/>
                    <a:gd name="csY90" fmla="*/ 99756 h 385609"/>
                    <a:gd name="csX91" fmla="*/ 241226 w 280763"/>
                    <a:gd name="csY91" fmla="*/ 93225 h 385609"/>
                    <a:gd name="csX92" fmla="*/ 215103 w 280763"/>
                    <a:gd name="csY92" fmla="*/ 84517 h 385609"/>
                    <a:gd name="csX93" fmla="*/ 214398 w 280763"/>
                    <a:gd name="csY93" fmla="*/ 68926 h 385609"/>
                    <a:gd name="csX94" fmla="*/ 228164 w 280763"/>
                    <a:gd name="csY94" fmla="*/ 50070 h 385609"/>
                    <a:gd name="csX95" fmla="*/ 221986 w 280763"/>
                    <a:gd name="csY95" fmla="*/ 38096 h 385609"/>
                    <a:gd name="csX96" fmla="*/ 215103 w 280763"/>
                    <a:gd name="csY96" fmla="*/ 44980 h 385609"/>
                    <a:gd name="csX97" fmla="*/ 208220 w 280763"/>
                    <a:gd name="csY97" fmla="*/ 41362 h 385609"/>
                    <a:gd name="csX98" fmla="*/ 201689 w 280763"/>
                    <a:gd name="csY98" fmla="*/ 28652 h 385609"/>
                    <a:gd name="csX99" fmla="*/ 204954 w 280763"/>
                    <a:gd name="csY99" fmla="*/ 19208 h 385609"/>
                    <a:gd name="csX100" fmla="*/ 198071 w 280763"/>
                    <a:gd name="csY100" fmla="*/ 11237 h 385609"/>
                    <a:gd name="csX101" fmla="*/ 189363 w 280763"/>
                    <a:gd name="csY101" fmla="*/ 10532 h 385609"/>
                    <a:gd name="csX102" fmla="*/ 191892 w 280763"/>
                    <a:gd name="csY102" fmla="*/ 23210 h 385609"/>
                    <a:gd name="csX103" fmla="*/ 186098 w 280763"/>
                    <a:gd name="csY103" fmla="*/ 30093 h 385609"/>
                    <a:gd name="csX104" fmla="*/ 174125 w 280763"/>
                    <a:gd name="csY104" fmla="*/ 31182 h 385609"/>
                    <a:gd name="csX105" fmla="*/ 171211 w 280763"/>
                    <a:gd name="csY105" fmla="*/ 54424 h 385609"/>
                    <a:gd name="csX106" fmla="*/ 166153 w 280763"/>
                    <a:gd name="csY106" fmla="*/ 55128 h 385609"/>
                    <a:gd name="csX107" fmla="*/ 165417 w 280763"/>
                    <a:gd name="csY107" fmla="*/ 64572 h 385609"/>
                    <a:gd name="csX108" fmla="*/ 159238 w 280763"/>
                    <a:gd name="csY108" fmla="*/ 67101 h 385609"/>
                    <a:gd name="csX109" fmla="*/ 159238 w 280763"/>
                    <a:gd name="csY109" fmla="*/ 66397 h 3856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</a:cxnLst>
                  <a:rect l="l" t="t" r="r" b="b"/>
                  <a:pathLst>
                    <a:path w="280763" h="385609">
                      <a:moveTo>
                        <a:pt x="159238" y="66397"/>
                      </a:moveTo>
                      <a:lnTo>
                        <a:pt x="150914" y="56217"/>
                      </a:lnTo>
                      <a:lnTo>
                        <a:pt x="131674" y="52599"/>
                      </a:lnTo>
                      <a:lnTo>
                        <a:pt x="115347" y="32654"/>
                      </a:lnTo>
                      <a:lnTo>
                        <a:pt x="98315" y="21769"/>
                      </a:lnTo>
                      <a:lnTo>
                        <a:pt x="93961" y="17415"/>
                      </a:lnTo>
                      <a:lnTo>
                        <a:pt x="85254" y="10532"/>
                      </a:lnTo>
                      <a:lnTo>
                        <a:pt x="70719" y="10532"/>
                      </a:lnTo>
                      <a:lnTo>
                        <a:pt x="47509" y="0"/>
                      </a:lnTo>
                      <a:lnTo>
                        <a:pt x="14855" y="1825"/>
                      </a:lnTo>
                      <a:lnTo>
                        <a:pt x="19945" y="14854"/>
                      </a:lnTo>
                      <a:lnTo>
                        <a:pt x="14855" y="23210"/>
                      </a:lnTo>
                      <a:lnTo>
                        <a:pt x="16327" y="29389"/>
                      </a:lnTo>
                      <a:lnTo>
                        <a:pt x="0" y="56953"/>
                      </a:lnTo>
                      <a:lnTo>
                        <a:pt x="1088" y="63836"/>
                      </a:lnTo>
                      <a:lnTo>
                        <a:pt x="0" y="73280"/>
                      </a:lnTo>
                      <a:lnTo>
                        <a:pt x="7972" y="80899"/>
                      </a:lnTo>
                      <a:lnTo>
                        <a:pt x="1088" y="91400"/>
                      </a:lnTo>
                      <a:lnTo>
                        <a:pt x="6147" y="136764"/>
                      </a:lnTo>
                      <a:lnTo>
                        <a:pt x="5442" y="137852"/>
                      </a:lnTo>
                      <a:lnTo>
                        <a:pt x="12325" y="140382"/>
                      </a:lnTo>
                      <a:lnTo>
                        <a:pt x="18120" y="165417"/>
                      </a:lnTo>
                      <a:lnTo>
                        <a:pt x="27564" y="173036"/>
                      </a:lnTo>
                      <a:lnTo>
                        <a:pt x="70015" y="171211"/>
                      </a:lnTo>
                      <a:lnTo>
                        <a:pt x="76546" y="173772"/>
                      </a:lnTo>
                      <a:lnTo>
                        <a:pt x="80900" y="182480"/>
                      </a:lnTo>
                      <a:lnTo>
                        <a:pt x="82692" y="187538"/>
                      </a:lnTo>
                      <a:lnTo>
                        <a:pt x="87046" y="190452"/>
                      </a:lnTo>
                      <a:lnTo>
                        <a:pt x="105935" y="186098"/>
                      </a:lnTo>
                      <a:lnTo>
                        <a:pt x="118964" y="191892"/>
                      </a:lnTo>
                      <a:lnTo>
                        <a:pt x="117172" y="196246"/>
                      </a:lnTo>
                      <a:lnTo>
                        <a:pt x="119701" y="203866"/>
                      </a:lnTo>
                      <a:lnTo>
                        <a:pt x="145472" y="206779"/>
                      </a:lnTo>
                      <a:lnTo>
                        <a:pt x="149826" y="224546"/>
                      </a:lnTo>
                      <a:lnTo>
                        <a:pt x="162888" y="237608"/>
                      </a:lnTo>
                      <a:lnTo>
                        <a:pt x="169771" y="240137"/>
                      </a:lnTo>
                      <a:lnTo>
                        <a:pt x="179183" y="258994"/>
                      </a:lnTo>
                      <a:lnTo>
                        <a:pt x="178094" y="270263"/>
                      </a:lnTo>
                      <a:lnTo>
                        <a:pt x="186802" y="284029"/>
                      </a:lnTo>
                      <a:lnTo>
                        <a:pt x="181008" y="289119"/>
                      </a:lnTo>
                      <a:lnTo>
                        <a:pt x="178094" y="311593"/>
                      </a:lnTo>
                      <a:lnTo>
                        <a:pt x="191156" y="314154"/>
                      </a:lnTo>
                      <a:lnTo>
                        <a:pt x="187891" y="340982"/>
                      </a:lnTo>
                      <a:lnTo>
                        <a:pt x="191892" y="349338"/>
                      </a:lnTo>
                      <a:lnTo>
                        <a:pt x="201689" y="356220"/>
                      </a:lnTo>
                      <a:lnTo>
                        <a:pt x="207483" y="351162"/>
                      </a:lnTo>
                      <a:lnTo>
                        <a:pt x="216928" y="353692"/>
                      </a:lnTo>
                      <a:lnTo>
                        <a:pt x="211133" y="371107"/>
                      </a:lnTo>
                      <a:lnTo>
                        <a:pt x="218752" y="373636"/>
                      </a:lnTo>
                      <a:lnTo>
                        <a:pt x="223811" y="369282"/>
                      </a:lnTo>
                      <a:lnTo>
                        <a:pt x="243755" y="361311"/>
                      </a:lnTo>
                      <a:lnTo>
                        <a:pt x="265909" y="374373"/>
                      </a:lnTo>
                      <a:lnTo>
                        <a:pt x="269527" y="385610"/>
                      </a:lnTo>
                      <a:lnTo>
                        <a:pt x="273881" y="383785"/>
                      </a:lnTo>
                      <a:lnTo>
                        <a:pt x="269527" y="370019"/>
                      </a:lnTo>
                      <a:lnTo>
                        <a:pt x="256465" y="361311"/>
                      </a:lnTo>
                      <a:lnTo>
                        <a:pt x="255024" y="343511"/>
                      </a:lnTo>
                      <a:lnTo>
                        <a:pt x="260083" y="342423"/>
                      </a:lnTo>
                      <a:lnTo>
                        <a:pt x="265173" y="341718"/>
                      </a:lnTo>
                      <a:lnTo>
                        <a:pt x="260083" y="331186"/>
                      </a:lnTo>
                      <a:lnTo>
                        <a:pt x="250670" y="327216"/>
                      </a:lnTo>
                      <a:lnTo>
                        <a:pt x="246316" y="334099"/>
                      </a:lnTo>
                      <a:lnTo>
                        <a:pt x="235784" y="328656"/>
                      </a:lnTo>
                      <a:lnTo>
                        <a:pt x="237609" y="321773"/>
                      </a:lnTo>
                      <a:lnTo>
                        <a:pt x="243755" y="321037"/>
                      </a:lnTo>
                      <a:lnTo>
                        <a:pt x="237609" y="311593"/>
                      </a:lnTo>
                      <a:lnTo>
                        <a:pt x="245580" y="300356"/>
                      </a:lnTo>
                      <a:lnTo>
                        <a:pt x="229989" y="296002"/>
                      </a:lnTo>
                      <a:lnTo>
                        <a:pt x="219457" y="284765"/>
                      </a:lnTo>
                      <a:lnTo>
                        <a:pt x="224899" y="273880"/>
                      </a:lnTo>
                      <a:lnTo>
                        <a:pt x="218016" y="263348"/>
                      </a:lnTo>
                      <a:lnTo>
                        <a:pt x="225635" y="252111"/>
                      </a:lnTo>
                      <a:lnTo>
                        <a:pt x="245580" y="254640"/>
                      </a:lnTo>
                      <a:lnTo>
                        <a:pt x="258994" y="241962"/>
                      </a:lnTo>
                      <a:lnTo>
                        <a:pt x="260083" y="231430"/>
                      </a:lnTo>
                      <a:lnTo>
                        <a:pt x="267702" y="228164"/>
                      </a:lnTo>
                      <a:lnTo>
                        <a:pt x="267702" y="218752"/>
                      </a:lnTo>
                      <a:lnTo>
                        <a:pt x="263348" y="213662"/>
                      </a:lnTo>
                      <a:lnTo>
                        <a:pt x="267702" y="207483"/>
                      </a:lnTo>
                      <a:lnTo>
                        <a:pt x="264436" y="199864"/>
                      </a:lnTo>
                      <a:lnTo>
                        <a:pt x="266998" y="184273"/>
                      </a:lnTo>
                      <a:lnTo>
                        <a:pt x="274617" y="172300"/>
                      </a:lnTo>
                      <a:lnTo>
                        <a:pt x="272056" y="167946"/>
                      </a:lnTo>
                      <a:lnTo>
                        <a:pt x="280764" y="147265"/>
                      </a:lnTo>
                      <a:lnTo>
                        <a:pt x="271351" y="136028"/>
                      </a:lnTo>
                      <a:lnTo>
                        <a:pt x="264436" y="139645"/>
                      </a:lnTo>
                      <a:lnTo>
                        <a:pt x="249582" y="134203"/>
                      </a:lnTo>
                      <a:lnTo>
                        <a:pt x="243755" y="126583"/>
                      </a:lnTo>
                      <a:lnTo>
                        <a:pt x="244492" y="119700"/>
                      </a:lnTo>
                      <a:lnTo>
                        <a:pt x="227460" y="114642"/>
                      </a:lnTo>
                      <a:lnTo>
                        <a:pt x="241226" y="99756"/>
                      </a:lnTo>
                      <a:lnTo>
                        <a:pt x="241226" y="93225"/>
                      </a:lnTo>
                      <a:lnTo>
                        <a:pt x="215103" y="84517"/>
                      </a:lnTo>
                      <a:lnTo>
                        <a:pt x="214398" y="68926"/>
                      </a:lnTo>
                      <a:lnTo>
                        <a:pt x="228164" y="50070"/>
                      </a:lnTo>
                      <a:lnTo>
                        <a:pt x="221986" y="38096"/>
                      </a:lnTo>
                      <a:lnTo>
                        <a:pt x="215103" y="44980"/>
                      </a:lnTo>
                      <a:lnTo>
                        <a:pt x="208220" y="41362"/>
                      </a:lnTo>
                      <a:lnTo>
                        <a:pt x="201689" y="28652"/>
                      </a:lnTo>
                      <a:lnTo>
                        <a:pt x="204954" y="19208"/>
                      </a:lnTo>
                      <a:lnTo>
                        <a:pt x="198071" y="11237"/>
                      </a:lnTo>
                      <a:lnTo>
                        <a:pt x="189363" y="10532"/>
                      </a:lnTo>
                      <a:lnTo>
                        <a:pt x="191892" y="23210"/>
                      </a:lnTo>
                      <a:lnTo>
                        <a:pt x="186098" y="30093"/>
                      </a:lnTo>
                      <a:lnTo>
                        <a:pt x="174125" y="31182"/>
                      </a:lnTo>
                      <a:lnTo>
                        <a:pt x="171211" y="54424"/>
                      </a:lnTo>
                      <a:lnTo>
                        <a:pt x="166153" y="55128"/>
                      </a:lnTo>
                      <a:lnTo>
                        <a:pt x="165417" y="64572"/>
                      </a:lnTo>
                      <a:lnTo>
                        <a:pt x="159238" y="67101"/>
                      </a:lnTo>
                      <a:lnTo>
                        <a:pt x="159238" y="6639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6" name="Forma Livre: Forma 275">
                  <a:extLst>
                    <a:ext uri="{FF2B5EF4-FFF2-40B4-BE49-F238E27FC236}">
                      <a16:creationId xmlns:a16="http://schemas.microsoft.com/office/drawing/2014/main" id="{93125AEA-7692-DE91-F132-F8F7B0F03AE7}"/>
                    </a:ext>
                  </a:extLst>
                </p:cNvPr>
                <p:cNvSpPr/>
                <p:nvPr/>
              </p:nvSpPr>
              <p:spPr>
                <a:xfrm>
                  <a:off x="1664200" y="5325708"/>
                  <a:ext cx="280763" cy="385609"/>
                </a:xfrm>
                <a:custGeom>
                  <a:avLst/>
                  <a:gdLst>
                    <a:gd name="csX0" fmla="*/ 159238 w 280763"/>
                    <a:gd name="csY0" fmla="*/ 66397 h 385609"/>
                    <a:gd name="csX1" fmla="*/ 150914 w 280763"/>
                    <a:gd name="csY1" fmla="*/ 56217 h 385609"/>
                    <a:gd name="csX2" fmla="*/ 131674 w 280763"/>
                    <a:gd name="csY2" fmla="*/ 52599 h 385609"/>
                    <a:gd name="csX3" fmla="*/ 115347 w 280763"/>
                    <a:gd name="csY3" fmla="*/ 32654 h 385609"/>
                    <a:gd name="csX4" fmla="*/ 98315 w 280763"/>
                    <a:gd name="csY4" fmla="*/ 21769 h 385609"/>
                    <a:gd name="csX5" fmla="*/ 93961 w 280763"/>
                    <a:gd name="csY5" fmla="*/ 17415 h 385609"/>
                    <a:gd name="csX6" fmla="*/ 85254 w 280763"/>
                    <a:gd name="csY6" fmla="*/ 10532 h 385609"/>
                    <a:gd name="csX7" fmla="*/ 70719 w 280763"/>
                    <a:gd name="csY7" fmla="*/ 10532 h 385609"/>
                    <a:gd name="csX8" fmla="*/ 47509 w 280763"/>
                    <a:gd name="csY8" fmla="*/ 0 h 385609"/>
                    <a:gd name="csX9" fmla="*/ 14855 w 280763"/>
                    <a:gd name="csY9" fmla="*/ 1825 h 385609"/>
                    <a:gd name="csX10" fmla="*/ 19945 w 280763"/>
                    <a:gd name="csY10" fmla="*/ 14854 h 385609"/>
                    <a:gd name="csX11" fmla="*/ 14855 w 280763"/>
                    <a:gd name="csY11" fmla="*/ 23210 h 385609"/>
                    <a:gd name="csX12" fmla="*/ 16327 w 280763"/>
                    <a:gd name="csY12" fmla="*/ 29389 h 385609"/>
                    <a:gd name="csX13" fmla="*/ 0 w 280763"/>
                    <a:gd name="csY13" fmla="*/ 56953 h 385609"/>
                    <a:gd name="csX14" fmla="*/ 1088 w 280763"/>
                    <a:gd name="csY14" fmla="*/ 63836 h 385609"/>
                    <a:gd name="csX15" fmla="*/ 0 w 280763"/>
                    <a:gd name="csY15" fmla="*/ 73280 h 385609"/>
                    <a:gd name="csX16" fmla="*/ 7972 w 280763"/>
                    <a:gd name="csY16" fmla="*/ 80899 h 385609"/>
                    <a:gd name="csX17" fmla="*/ 1088 w 280763"/>
                    <a:gd name="csY17" fmla="*/ 91400 h 385609"/>
                    <a:gd name="csX18" fmla="*/ 6147 w 280763"/>
                    <a:gd name="csY18" fmla="*/ 136764 h 385609"/>
                    <a:gd name="csX19" fmla="*/ 5442 w 280763"/>
                    <a:gd name="csY19" fmla="*/ 137852 h 385609"/>
                    <a:gd name="csX20" fmla="*/ 12325 w 280763"/>
                    <a:gd name="csY20" fmla="*/ 140382 h 385609"/>
                    <a:gd name="csX21" fmla="*/ 18120 w 280763"/>
                    <a:gd name="csY21" fmla="*/ 165417 h 385609"/>
                    <a:gd name="csX22" fmla="*/ 27564 w 280763"/>
                    <a:gd name="csY22" fmla="*/ 173036 h 385609"/>
                    <a:gd name="csX23" fmla="*/ 70015 w 280763"/>
                    <a:gd name="csY23" fmla="*/ 171211 h 385609"/>
                    <a:gd name="csX24" fmla="*/ 76546 w 280763"/>
                    <a:gd name="csY24" fmla="*/ 173772 h 385609"/>
                    <a:gd name="csX25" fmla="*/ 80900 w 280763"/>
                    <a:gd name="csY25" fmla="*/ 182480 h 385609"/>
                    <a:gd name="csX26" fmla="*/ 82692 w 280763"/>
                    <a:gd name="csY26" fmla="*/ 187538 h 385609"/>
                    <a:gd name="csX27" fmla="*/ 87046 w 280763"/>
                    <a:gd name="csY27" fmla="*/ 190452 h 385609"/>
                    <a:gd name="csX28" fmla="*/ 105935 w 280763"/>
                    <a:gd name="csY28" fmla="*/ 186098 h 385609"/>
                    <a:gd name="csX29" fmla="*/ 118964 w 280763"/>
                    <a:gd name="csY29" fmla="*/ 191892 h 385609"/>
                    <a:gd name="csX30" fmla="*/ 117172 w 280763"/>
                    <a:gd name="csY30" fmla="*/ 196246 h 385609"/>
                    <a:gd name="csX31" fmla="*/ 119701 w 280763"/>
                    <a:gd name="csY31" fmla="*/ 203866 h 385609"/>
                    <a:gd name="csX32" fmla="*/ 145472 w 280763"/>
                    <a:gd name="csY32" fmla="*/ 206779 h 385609"/>
                    <a:gd name="csX33" fmla="*/ 149826 w 280763"/>
                    <a:gd name="csY33" fmla="*/ 224546 h 385609"/>
                    <a:gd name="csX34" fmla="*/ 162888 w 280763"/>
                    <a:gd name="csY34" fmla="*/ 237608 h 385609"/>
                    <a:gd name="csX35" fmla="*/ 169771 w 280763"/>
                    <a:gd name="csY35" fmla="*/ 240137 h 385609"/>
                    <a:gd name="csX36" fmla="*/ 179183 w 280763"/>
                    <a:gd name="csY36" fmla="*/ 258994 h 385609"/>
                    <a:gd name="csX37" fmla="*/ 178094 w 280763"/>
                    <a:gd name="csY37" fmla="*/ 270263 h 385609"/>
                    <a:gd name="csX38" fmla="*/ 186802 w 280763"/>
                    <a:gd name="csY38" fmla="*/ 284029 h 385609"/>
                    <a:gd name="csX39" fmla="*/ 181008 w 280763"/>
                    <a:gd name="csY39" fmla="*/ 289119 h 385609"/>
                    <a:gd name="csX40" fmla="*/ 178094 w 280763"/>
                    <a:gd name="csY40" fmla="*/ 311593 h 385609"/>
                    <a:gd name="csX41" fmla="*/ 191156 w 280763"/>
                    <a:gd name="csY41" fmla="*/ 314154 h 385609"/>
                    <a:gd name="csX42" fmla="*/ 187891 w 280763"/>
                    <a:gd name="csY42" fmla="*/ 340982 h 385609"/>
                    <a:gd name="csX43" fmla="*/ 191892 w 280763"/>
                    <a:gd name="csY43" fmla="*/ 349338 h 385609"/>
                    <a:gd name="csX44" fmla="*/ 201689 w 280763"/>
                    <a:gd name="csY44" fmla="*/ 356220 h 385609"/>
                    <a:gd name="csX45" fmla="*/ 207483 w 280763"/>
                    <a:gd name="csY45" fmla="*/ 351162 h 385609"/>
                    <a:gd name="csX46" fmla="*/ 216928 w 280763"/>
                    <a:gd name="csY46" fmla="*/ 353692 h 385609"/>
                    <a:gd name="csX47" fmla="*/ 211133 w 280763"/>
                    <a:gd name="csY47" fmla="*/ 371107 h 385609"/>
                    <a:gd name="csX48" fmla="*/ 218752 w 280763"/>
                    <a:gd name="csY48" fmla="*/ 373636 h 385609"/>
                    <a:gd name="csX49" fmla="*/ 223811 w 280763"/>
                    <a:gd name="csY49" fmla="*/ 369282 h 385609"/>
                    <a:gd name="csX50" fmla="*/ 243755 w 280763"/>
                    <a:gd name="csY50" fmla="*/ 361311 h 385609"/>
                    <a:gd name="csX51" fmla="*/ 265909 w 280763"/>
                    <a:gd name="csY51" fmla="*/ 374373 h 385609"/>
                    <a:gd name="csX52" fmla="*/ 269527 w 280763"/>
                    <a:gd name="csY52" fmla="*/ 385610 h 385609"/>
                    <a:gd name="csX53" fmla="*/ 273881 w 280763"/>
                    <a:gd name="csY53" fmla="*/ 383785 h 385609"/>
                    <a:gd name="csX54" fmla="*/ 269527 w 280763"/>
                    <a:gd name="csY54" fmla="*/ 370019 h 385609"/>
                    <a:gd name="csX55" fmla="*/ 256465 w 280763"/>
                    <a:gd name="csY55" fmla="*/ 361311 h 385609"/>
                    <a:gd name="csX56" fmla="*/ 255024 w 280763"/>
                    <a:gd name="csY56" fmla="*/ 343511 h 385609"/>
                    <a:gd name="csX57" fmla="*/ 260083 w 280763"/>
                    <a:gd name="csY57" fmla="*/ 342423 h 385609"/>
                    <a:gd name="csX58" fmla="*/ 265173 w 280763"/>
                    <a:gd name="csY58" fmla="*/ 341718 h 385609"/>
                    <a:gd name="csX59" fmla="*/ 260083 w 280763"/>
                    <a:gd name="csY59" fmla="*/ 331186 h 385609"/>
                    <a:gd name="csX60" fmla="*/ 250670 w 280763"/>
                    <a:gd name="csY60" fmla="*/ 327216 h 385609"/>
                    <a:gd name="csX61" fmla="*/ 246316 w 280763"/>
                    <a:gd name="csY61" fmla="*/ 334099 h 385609"/>
                    <a:gd name="csX62" fmla="*/ 235784 w 280763"/>
                    <a:gd name="csY62" fmla="*/ 328656 h 385609"/>
                    <a:gd name="csX63" fmla="*/ 237609 w 280763"/>
                    <a:gd name="csY63" fmla="*/ 321773 h 385609"/>
                    <a:gd name="csX64" fmla="*/ 243755 w 280763"/>
                    <a:gd name="csY64" fmla="*/ 321037 h 385609"/>
                    <a:gd name="csX65" fmla="*/ 237609 w 280763"/>
                    <a:gd name="csY65" fmla="*/ 311593 h 385609"/>
                    <a:gd name="csX66" fmla="*/ 245580 w 280763"/>
                    <a:gd name="csY66" fmla="*/ 300356 h 385609"/>
                    <a:gd name="csX67" fmla="*/ 229989 w 280763"/>
                    <a:gd name="csY67" fmla="*/ 296002 h 385609"/>
                    <a:gd name="csX68" fmla="*/ 219457 w 280763"/>
                    <a:gd name="csY68" fmla="*/ 284765 h 385609"/>
                    <a:gd name="csX69" fmla="*/ 224899 w 280763"/>
                    <a:gd name="csY69" fmla="*/ 273880 h 385609"/>
                    <a:gd name="csX70" fmla="*/ 218016 w 280763"/>
                    <a:gd name="csY70" fmla="*/ 263348 h 385609"/>
                    <a:gd name="csX71" fmla="*/ 225635 w 280763"/>
                    <a:gd name="csY71" fmla="*/ 252111 h 385609"/>
                    <a:gd name="csX72" fmla="*/ 245580 w 280763"/>
                    <a:gd name="csY72" fmla="*/ 254640 h 385609"/>
                    <a:gd name="csX73" fmla="*/ 258994 w 280763"/>
                    <a:gd name="csY73" fmla="*/ 241962 h 385609"/>
                    <a:gd name="csX74" fmla="*/ 260083 w 280763"/>
                    <a:gd name="csY74" fmla="*/ 231430 h 385609"/>
                    <a:gd name="csX75" fmla="*/ 267702 w 280763"/>
                    <a:gd name="csY75" fmla="*/ 228164 h 385609"/>
                    <a:gd name="csX76" fmla="*/ 267702 w 280763"/>
                    <a:gd name="csY76" fmla="*/ 218752 h 385609"/>
                    <a:gd name="csX77" fmla="*/ 263348 w 280763"/>
                    <a:gd name="csY77" fmla="*/ 213662 h 385609"/>
                    <a:gd name="csX78" fmla="*/ 267702 w 280763"/>
                    <a:gd name="csY78" fmla="*/ 207483 h 385609"/>
                    <a:gd name="csX79" fmla="*/ 264436 w 280763"/>
                    <a:gd name="csY79" fmla="*/ 199864 h 385609"/>
                    <a:gd name="csX80" fmla="*/ 266998 w 280763"/>
                    <a:gd name="csY80" fmla="*/ 184273 h 385609"/>
                    <a:gd name="csX81" fmla="*/ 274617 w 280763"/>
                    <a:gd name="csY81" fmla="*/ 172300 h 385609"/>
                    <a:gd name="csX82" fmla="*/ 272056 w 280763"/>
                    <a:gd name="csY82" fmla="*/ 167946 h 385609"/>
                    <a:gd name="csX83" fmla="*/ 280764 w 280763"/>
                    <a:gd name="csY83" fmla="*/ 147265 h 385609"/>
                    <a:gd name="csX84" fmla="*/ 271351 w 280763"/>
                    <a:gd name="csY84" fmla="*/ 136028 h 385609"/>
                    <a:gd name="csX85" fmla="*/ 264436 w 280763"/>
                    <a:gd name="csY85" fmla="*/ 139645 h 385609"/>
                    <a:gd name="csX86" fmla="*/ 249582 w 280763"/>
                    <a:gd name="csY86" fmla="*/ 134203 h 385609"/>
                    <a:gd name="csX87" fmla="*/ 243755 w 280763"/>
                    <a:gd name="csY87" fmla="*/ 126583 h 385609"/>
                    <a:gd name="csX88" fmla="*/ 244492 w 280763"/>
                    <a:gd name="csY88" fmla="*/ 119700 h 385609"/>
                    <a:gd name="csX89" fmla="*/ 227460 w 280763"/>
                    <a:gd name="csY89" fmla="*/ 114642 h 385609"/>
                    <a:gd name="csX90" fmla="*/ 241226 w 280763"/>
                    <a:gd name="csY90" fmla="*/ 99756 h 385609"/>
                    <a:gd name="csX91" fmla="*/ 241226 w 280763"/>
                    <a:gd name="csY91" fmla="*/ 93225 h 385609"/>
                    <a:gd name="csX92" fmla="*/ 215103 w 280763"/>
                    <a:gd name="csY92" fmla="*/ 84517 h 385609"/>
                    <a:gd name="csX93" fmla="*/ 214398 w 280763"/>
                    <a:gd name="csY93" fmla="*/ 68926 h 385609"/>
                    <a:gd name="csX94" fmla="*/ 228164 w 280763"/>
                    <a:gd name="csY94" fmla="*/ 50070 h 385609"/>
                    <a:gd name="csX95" fmla="*/ 221986 w 280763"/>
                    <a:gd name="csY95" fmla="*/ 38096 h 385609"/>
                    <a:gd name="csX96" fmla="*/ 215103 w 280763"/>
                    <a:gd name="csY96" fmla="*/ 44980 h 385609"/>
                    <a:gd name="csX97" fmla="*/ 208220 w 280763"/>
                    <a:gd name="csY97" fmla="*/ 41362 h 385609"/>
                    <a:gd name="csX98" fmla="*/ 201689 w 280763"/>
                    <a:gd name="csY98" fmla="*/ 28652 h 385609"/>
                    <a:gd name="csX99" fmla="*/ 204954 w 280763"/>
                    <a:gd name="csY99" fmla="*/ 19208 h 385609"/>
                    <a:gd name="csX100" fmla="*/ 198071 w 280763"/>
                    <a:gd name="csY100" fmla="*/ 11237 h 385609"/>
                    <a:gd name="csX101" fmla="*/ 189363 w 280763"/>
                    <a:gd name="csY101" fmla="*/ 10532 h 385609"/>
                    <a:gd name="csX102" fmla="*/ 191892 w 280763"/>
                    <a:gd name="csY102" fmla="*/ 23210 h 385609"/>
                    <a:gd name="csX103" fmla="*/ 186098 w 280763"/>
                    <a:gd name="csY103" fmla="*/ 30093 h 385609"/>
                    <a:gd name="csX104" fmla="*/ 174125 w 280763"/>
                    <a:gd name="csY104" fmla="*/ 31182 h 385609"/>
                    <a:gd name="csX105" fmla="*/ 171211 w 280763"/>
                    <a:gd name="csY105" fmla="*/ 54424 h 385609"/>
                    <a:gd name="csX106" fmla="*/ 166153 w 280763"/>
                    <a:gd name="csY106" fmla="*/ 55128 h 385609"/>
                    <a:gd name="csX107" fmla="*/ 165417 w 280763"/>
                    <a:gd name="csY107" fmla="*/ 64572 h 385609"/>
                    <a:gd name="csX108" fmla="*/ 159238 w 280763"/>
                    <a:gd name="csY108" fmla="*/ 67101 h 385609"/>
                    <a:gd name="csX109" fmla="*/ 159238 w 280763"/>
                    <a:gd name="csY109" fmla="*/ 66397 h 3856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</a:cxnLst>
                  <a:rect l="l" t="t" r="r" b="b"/>
                  <a:pathLst>
                    <a:path w="280763" h="385609">
                      <a:moveTo>
                        <a:pt x="159238" y="66397"/>
                      </a:moveTo>
                      <a:lnTo>
                        <a:pt x="150914" y="56217"/>
                      </a:lnTo>
                      <a:lnTo>
                        <a:pt x="131674" y="52599"/>
                      </a:lnTo>
                      <a:lnTo>
                        <a:pt x="115347" y="32654"/>
                      </a:lnTo>
                      <a:lnTo>
                        <a:pt x="98315" y="21769"/>
                      </a:lnTo>
                      <a:lnTo>
                        <a:pt x="93961" y="17415"/>
                      </a:lnTo>
                      <a:lnTo>
                        <a:pt x="85254" y="10532"/>
                      </a:lnTo>
                      <a:lnTo>
                        <a:pt x="70719" y="10532"/>
                      </a:lnTo>
                      <a:lnTo>
                        <a:pt x="47509" y="0"/>
                      </a:lnTo>
                      <a:lnTo>
                        <a:pt x="14855" y="1825"/>
                      </a:lnTo>
                      <a:lnTo>
                        <a:pt x="19945" y="14854"/>
                      </a:lnTo>
                      <a:lnTo>
                        <a:pt x="14855" y="23210"/>
                      </a:lnTo>
                      <a:lnTo>
                        <a:pt x="16327" y="29389"/>
                      </a:lnTo>
                      <a:lnTo>
                        <a:pt x="0" y="56953"/>
                      </a:lnTo>
                      <a:lnTo>
                        <a:pt x="1088" y="63836"/>
                      </a:lnTo>
                      <a:lnTo>
                        <a:pt x="0" y="73280"/>
                      </a:lnTo>
                      <a:lnTo>
                        <a:pt x="7972" y="80899"/>
                      </a:lnTo>
                      <a:lnTo>
                        <a:pt x="1088" y="91400"/>
                      </a:lnTo>
                      <a:lnTo>
                        <a:pt x="6147" y="136764"/>
                      </a:lnTo>
                      <a:lnTo>
                        <a:pt x="5442" y="137852"/>
                      </a:lnTo>
                      <a:lnTo>
                        <a:pt x="12325" y="140382"/>
                      </a:lnTo>
                      <a:lnTo>
                        <a:pt x="18120" y="165417"/>
                      </a:lnTo>
                      <a:lnTo>
                        <a:pt x="27564" y="173036"/>
                      </a:lnTo>
                      <a:lnTo>
                        <a:pt x="70015" y="171211"/>
                      </a:lnTo>
                      <a:lnTo>
                        <a:pt x="76546" y="173772"/>
                      </a:lnTo>
                      <a:lnTo>
                        <a:pt x="80900" y="182480"/>
                      </a:lnTo>
                      <a:lnTo>
                        <a:pt x="82692" y="187538"/>
                      </a:lnTo>
                      <a:lnTo>
                        <a:pt x="87046" y="190452"/>
                      </a:lnTo>
                      <a:lnTo>
                        <a:pt x="105935" y="186098"/>
                      </a:lnTo>
                      <a:lnTo>
                        <a:pt x="118964" y="191892"/>
                      </a:lnTo>
                      <a:lnTo>
                        <a:pt x="117172" y="196246"/>
                      </a:lnTo>
                      <a:lnTo>
                        <a:pt x="119701" y="203866"/>
                      </a:lnTo>
                      <a:lnTo>
                        <a:pt x="145472" y="206779"/>
                      </a:lnTo>
                      <a:lnTo>
                        <a:pt x="149826" y="224546"/>
                      </a:lnTo>
                      <a:lnTo>
                        <a:pt x="162888" y="237608"/>
                      </a:lnTo>
                      <a:lnTo>
                        <a:pt x="169771" y="240137"/>
                      </a:lnTo>
                      <a:lnTo>
                        <a:pt x="179183" y="258994"/>
                      </a:lnTo>
                      <a:lnTo>
                        <a:pt x="178094" y="270263"/>
                      </a:lnTo>
                      <a:lnTo>
                        <a:pt x="186802" y="284029"/>
                      </a:lnTo>
                      <a:lnTo>
                        <a:pt x="181008" y="289119"/>
                      </a:lnTo>
                      <a:lnTo>
                        <a:pt x="178094" y="311593"/>
                      </a:lnTo>
                      <a:lnTo>
                        <a:pt x="191156" y="314154"/>
                      </a:lnTo>
                      <a:lnTo>
                        <a:pt x="187891" y="340982"/>
                      </a:lnTo>
                      <a:lnTo>
                        <a:pt x="191892" y="349338"/>
                      </a:lnTo>
                      <a:lnTo>
                        <a:pt x="201689" y="356220"/>
                      </a:lnTo>
                      <a:lnTo>
                        <a:pt x="207483" y="351162"/>
                      </a:lnTo>
                      <a:lnTo>
                        <a:pt x="216928" y="353692"/>
                      </a:lnTo>
                      <a:lnTo>
                        <a:pt x="211133" y="371107"/>
                      </a:lnTo>
                      <a:lnTo>
                        <a:pt x="218752" y="373636"/>
                      </a:lnTo>
                      <a:lnTo>
                        <a:pt x="223811" y="369282"/>
                      </a:lnTo>
                      <a:lnTo>
                        <a:pt x="243755" y="361311"/>
                      </a:lnTo>
                      <a:lnTo>
                        <a:pt x="265909" y="374373"/>
                      </a:lnTo>
                      <a:lnTo>
                        <a:pt x="269527" y="385610"/>
                      </a:lnTo>
                      <a:lnTo>
                        <a:pt x="273881" y="383785"/>
                      </a:lnTo>
                      <a:lnTo>
                        <a:pt x="269527" y="370019"/>
                      </a:lnTo>
                      <a:lnTo>
                        <a:pt x="256465" y="361311"/>
                      </a:lnTo>
                      <a:lnTo>
                        <a:pt x="255024" y="343511"/>
                      </a:lnTo>
                      <a:lnTo>
                        <a:pt x="260083" y="342423"/>
                      </a:lnTo>
                      <a:lnTo>
                        <a:pt x="265173" y="341718"/>
                      </a:lnTo>
                      <a:lnTo>
                        <a:pt x="260083" y="331186"/>
                      </a:lnTo>
                      <a:lnTo>
                        <a:pt x="250670" y="327216"/>
                      </a:lnTo>
                      <a:lnTo>
                        <a:pt x="246316" y="334099"/>
                      </a:lnTo>
                      <a:lnTo>
                        <a:pt x="235784" y="328656"/>
                      </a:lnTo>
                      <a:lnTo>
                        <a:pt x="237609" y="321773"/>
                      </a:lnTo>
                      <a:lnTo>
                        <a:pt x="243755" y="321037"/>
                      </a:lnTo>
                      <a:lnTo>
                        <a:pt x="237609" y="311593"/>
                      </a:lnTo>
                      <a:lnTo>
                        <a:pt x="245580" y="300356"/>
                      </a:lnTo>
                      <a:lnTo>
                        <a:pt x="229989" y="296002"/>
                      </a:lnTo>
                      <a:lnTo>
                        <a:pt x="219457" y="284765"/>
                      </a:lnTo>
                      <a:lnTo>
                        <a:pt x="224899" y="273880"/>
                      </a:lnTo>
                      <a:lnTo>
                        <a:pt x="218016" y="263348"/>
                      </a:lnTo>
                      <a:lnTo>
                        <a:pt x="225635" y="252111"/>
                      </a:lnTo>
                      <a:lnTo>
                        <a:pt x="245580" y="254640"/>
                      </a:lnTo>
                      <a:lnTo>
                        <a:pt x="258994" y="241962"/>
                      </a:lnTo>
                      <a:lnTo>
                        <a:pt x="260083" y="231430"/>
                      </a:lnTo>
                      <a:lnTo>
                        <a:pt x="267702" y="228164"/>
                      </a:lnTo>
                      <a:lnTo>
                        <a:pt x="267702" y="218752"/>
                      </a:lnTo>
                      <a:lnTo>
                        <a:pt x="263348" y="213662"/>
                      </a:lnTo>
                      <a:lnTo>
                        <a:pt x="267702" y="207483"/>
                      </a:lnTo>
                      <a:lnTo>
                        <a:pt x="264436" y="199864"/>
                      </a:lnTo>
                      <a:lnTo>
                        <a:pt x="266998" y="184273"/>
                      </a:lnTo>
                      <a:lnTo>
                        <a:pt x="274617" y="172300"/>
                      </a:lnTo>
                      <a:lnTo>
                        <a:pt x="272056" y="167946"/>
                      </a:lnTo>
                      <a:lnTo>
                        <a:pt x="280764" y="147265"/>
                      </a:lnTo>
                      <a:lnTo>
                        <a:pt x="271351" y="136028"/>
                      </a:lnTo>
                      <a:lnTo>
                        <a:pt x="264436" y="139645"/>
                      </a:lnTo>
                      <a:lnTo>
                        <a:pt x="249582" y="134203"/>
                      </a:lnTo>
                      <a:lnTo>
                        <a:pt x="243755" y="126583"/>
                      </a:lnTo>
                      <a:lnTo>
                        <a:pt x="244492" y="119700"/>
                      </a:lnTo>
                      <a:lnTo>
                        <a:pt x="227460" y="114642"/>
                      </a:lnTo>
                      <a:lnTo>
                        <a:pt x="241226" y="99756"/>
                      </a:lnTo>
                      <a:lnTo>
                        <a:pt x="241226" y="93225"/>
                      </a:lnTo>
                      <a:lnTo>
                        <a:pt x="215103" y="84517"/>
                      </a:lnTo>
                      <a:lnTo>
                        <a:pt x="214398" y="68926"/>
                      </a:lnTo>
                      <a:lnTo>
                        <a:pt x="228164" y="50070"/>
                      </a:lnTo>
                      <a:lnTo>
                        <a:pt x="221986" y="38096"/>
                      </a:lnTo>
                      <a:lnTo>
                        <a:pt x="215103" y="44980"/>
                      </a:lnTo>
                      <a:lnTo>
                        <a:pt x="208220" y="41362"/>
                      </a:lnTo>
                      <a:lnTo>
                        <a:pt x="201689" y="28652"/>
                      </a:lnTo>
                      <a:lnTo>
                        <a:pt x="204954" y="19208"/>
                      </a:lnTo>
                      <a:lnTo>
                        <a:pt x="198071" y="11237"/>
                      </a:lnTo>
                      <a:lnTo>
                        <a:pt x="189363" y="10532"/>
                      </a:lnTo>
                      <a:lnTo>
                        <a:pt x="191892" y="23210"/>
                      </a:lnTo>
                      <a:lnTo>
                        <a:pt x="186098" y="30093"/>
                      </a:lnTo>
                      <a:lnTo>
                        <a:pt x="174125" y="31182"/>
                      </a:lnTo>
                      <a:lnTo>
                        <a:pt x="171211" y="54424"/>
                      </a:lnTo>
                      <a:lnTo>
                        <a:pt x="166153" y="55128"/>
                      </a:lnTo>
                      <a:lnTo>
                        <a:pt x="165417" y="64572"/>
                      </a:lnTo>
                      <a:lnTo>
                        <a:pt x="159238" y="67101"/>
                      </a:lnTo>
                      <a:lnTo>
                        <a:pt x="159238" y="6639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7" name="Forma Livre: Forma 276">
                  <a:extLst>
                    <a:ext uri="{FF2B5EF4-FFF2-40B4-BE49-F238E27FC236}">
                      <a16:creationId xmlns:a16="http://schemas.microsoft.com/office/drawing/2014/main" id="{81AD2D5D-EB21-1FD6-7CDF-56ECF3F8486E}"/>
                    </a:ext>
                  </a:extLst>
                </p:cNvPr>
                <p:cNvSpPr/>
                <p:nvPr/>
              </p:nvSpPr>
              <p:spPr>
                <a:xfrm>
                  <a:off x="1664200" y="5325708"/>
                  <a:ext cx="280763" cy="385609"/>
                </a:xfrm>
                <a:custGeom>
                  <a:avLst/>
                  <a:gdLst>
                    <a:gd name="csX0" fmla="*/ 159238 w 280763"/>
                    <a:gd name="csY0" fmla="*/ 66397 h 385609"/>
                    <a:gd name="csX1" fmla="*/ 150914 w 280763"/>
                    <a:gd name="csY1" fmla="*/ 56217 h 385609"/>
                    <a:gd name="csX2" fmla="*/ 131674 w 280763"/>
                    <a:gd name="csY2" fmla="*/ 52599 h 385609"/>
                    <a:gd name="csX3" fmla="*/ 115347 w 280763"/>
                    <a:gd name="csY3" fmla="*/ 32654 h 385609"/>
                    <a:gd name="csX4" fmla="*/ 98315 w 280763"/>
                    <a:gd name="csY4" fmla="*/ 21769 h 385609"/>
                    <a:gd name="csX5" fmla="*/ 93961 w 280763"/>
                    <a:gd name="csY5" fmla="*/ 17415 h 385609"/>
                    <a:gd name="csX6" fmla="*/ 85254 w 280763"/>
                    <a:gd name="csY6" fmla="*/ 10532 h 385609"/>
                    <a:gd name="csX7" fmla="*/ 70719 w 280763"/>
                    <a:gd name="csY7" fmla="*/ 10532 h 385609"/>
                    <a:gd name="csX8" fmla="*/ 47509 w 280763"/>
                    <a:gd name="csY8" fmla="*/ 0 h 385609"/>
                    <a:gd name="csX9" fmla="*/ 14855 w 280763"/>
                    <a:gd name="csY9" fmla="*/ 1825 h 385609"/>
                    <a:gd name="csX10" fmla="*/ 19945 w 280763"/>
                    <a:gd name="csY10" fmla="*/ 14854 h 385609"/>
                    <a:gd name="csX11" fmla="*/ 14855 w 280763"/>
                    <a:gd name="csY11" fmla="*/ 23210 h 385609"/>
                    <a:gd name="csX12" fmla="*/ 16327 w 280763"/>
                    <a:gd name="csY12" fmla="*/ 29389 h 385609"/>
                    <a:gd name="csX13" fmla="*/ 0 w 280763"/>
                    <a:gd name="csY13" fmla="*/ 56953 h 385609"/>
                    <a:gd name="csX14" fmla="*/ 1088 w 280763"/>
                    <a:gd name="csY14" fmla="*/ 63836 h 385609"/>
                    <a:gd name="csX15" fmla="*/ 0 w 280763"/>
                    <a:gd name="csY15" fmla="*/ 73280 h 385609"/>
                    <a:gd name="csX16" fmla="*/ 7972 w 280763"/>
                    <a:gd name="csY16" fmla="*/ 80899 h 385609"/>
                    <a:gd name="csX17" fmla="*/ 1088 w 280763"/>
                    <a:gd name="csY17" fmla="*/ 91400 h 385609"/>
                    <a:gd name="csX18" fmla="*/ 6147 w 280763"/>
                    <a:gd name="csY18" fmla="*/ 136764 h 385609"/>
                    <a:gd name="csX19" fmla="*/ 5442 w 280763"/>
                    <a:gd name="csY19" fmla="*/ 137852 h 385609"/>
                    <a:gd name="csX20" fmla="*/ 12325 w 280763"/>
                    <a:gd name="csY20" fmla="*/ 140382 h 385609"/>
                    <a:gd name="csX21" fmla="*/ 18120 w 280763"/>
                    <a:gd name="csY21" fmla="*/ 165417 h 385609"/>
                    <a:gd name="csX22" fmla="*/ 27564 w 280763"/>
                    <a:gd name="csY22" fmla="*/ 173036 h 385609"/>
                    <a:gd name="csX23" fmla="*/ 70015 w 280763"/>
                    <a:gd name="csY23" fmla="*/ 171211 h 385609"/>
                    <a:gd name="csX24" fmla="*/ 76546 w 280763"/>
                    <a:gd name="csY24" fmla="*/ 173772 h 385609"/>
                    <a:gd name="csX25" fmla="*/ 80900 w 280763"/>
                    <a:gd name="csY25" fmla="*/ 182480 h 385609"/>
                    <a:gd name="csX26" fmla="*/ 82692 w 280763"/>
                    <a:gd name="csY26" fmla="*/ 187538 h 385609"/>
                    <a:gd name="csX27" fmla="*/ 87046 w 280763"/>
                    <a:gd name="csY27" fmla="*/ 190452 h 385609"/>
                    <a:gd name="csX28" fmla="*/ 105935 w 280763"/>
                    <a:gd name="csY28" fmla="*/ 186098 h 385609"/>
                    <a:gd name="csX29" fmla="*/ 118964 w 280763"/>
                    <a:gd name="csY29" fmla="*/ 191892 h 385609"/>
                    <a:gd name="csX30" fmla="*/ 117172 w 280763"/>
                    <a:gd name="csY30" fmla="*/ 196246 h 385609"/>
                    <a:gd name="csX31" fmla="*/ 119701 w 280763"/>
                    <a:gd name="csY31" fmla="*/ 203866 h 385609"/>
                    <a:gd name="csX32" fmla="*/ 145472 w 280763"/>
                    <a:gd name="csY32" fmla="*/ 206779 h 385609"/>
                    <a:gd name="csX33" fmla="*/ 149826 w 280763"/>
                    <a:gd name="csY33" fmla="*/ 224546 h 385609"/>
                    <a:gd name="csX34" fmla="*/ 162888 w 280763"/>
                    <a:gd name="csY34" fmla="*/ 237608 h 385609"/>
                    <a:gd name="csX35" fmla="*/ 169771 w 280763"/>
                    <a:gd name="csY35" fmla="*/ 240137 h 385609"/>
                    <a:gd name="csX36" fmla="*/ 179183 w 280763"/>
                    <a:gd name="csY36" fmla="*/ 258994 h 385609"/>
                    <a:gd name="csX37" fmla="*/ 178094 w 280763"/>
                    <a:gd name="csY37" fmla="*/ 270263 h 385609"/>
                    <a:gd name="csX38" fmla="*/ 186802 w 280763"/>
                    <a:gd name="csY38" fmla="*/ 284029 h 385609"/>
                    <a:gd name="csX39" fmla="*/ 181008 w 280763"/>
                    <a:gd name="csY39" fmla="*/ 289119 h 385609"/>
                    <a:gd name="csX40" fmla="*/ 178094 w 280763"/>
                    <a:gd name="csY40" fmla="*/ 311593 h 385609"/>
                    <a:gd name="csX41" fmla="*/ 191156 w 280763"/>
                    <a:gd name="csY41" fmla="*/ 314154 h 385609"/>
                    <a:gd name="csX42" fmla="*/ 187891 w 280763"/>
                    <a:gd name="csY42" fmla="*/ 340982 h 385609"/>
                    <a:gd name="csX43" fmla="*/ 191892 w 280763"/>
                    <a:gd name="csY43" fmla="*/ 349338 h 385609"/>
                    <a:gd name="csX44" fmla="*/ 201689 w 280763"/>
                    <a:gd name="csY44" fmla="*/ 356220 h 385609"/>
                    <a:gd name="csX45" fmla="*/ 207483 w 280763"/>
                    <a:gd name="csY45" fmla="*/ 351162 h 385609"/>
                    <a:gd name="csX46" fmla="*/ 216928 w 280763"/>
                    <a:gd name="csY46" fmla="*/ 353692 h 385609"/>
                    <a:gd name="csX47" fmla="*/ 211133 w 280763"/>
                    <a:gd name="csY47" fmla="*/ 371107 h 385609"/>
                    <a:gd name="csX48" fmla="*/ 218752 w 280763"/>
                    <a:gd name="csY48" fmla="*/ 373636 h 385609"/>
                    <a:gd name="csX49" fmla="*/ 223811 w 280763"/>
                    <a:gd name="csY49" fmla="*/ 369282 h 385609"/>
                    <a:gd name="csX50" fmla="*/ 243755 w 280763"/>
                    <a:gd name="csY50" fmla="*/ 361311 h 385609"/>
                    <a:gd name="csX51" fmla="*/ 265909 w 280763"/>
                    <a:gd name="csY51" fmla="*/ 374373 h 385609"/>
                    <a:gd name="csX52" fmla="*/ 269527 w 280763"/>
                    <a:gd name="csY52" fmla="*/ 385610 h 385609"/>
                    <a:gd name="csX53" fmla="*/ 273881 w 280763"/>
                    <a:gd name="csY53" fmla="*/ 383785 h 385609"/>
                    <a:gd name="csX54" fmla="*/ 269527 w 280763"/>
                    <a:gd name="csY54" fmla="*/ 370019 h 385609"/>
                    <a:gd name="csX55" fmla="*/ 256465 w 280763"/>
                    <a:gd name="csY55" fmla="*/ 361311 h 385609"/>
                    <a:gd name="csX56" fmla="*/ 255024 w 280763"/>
                    <a:gd name="csY56" fmla="*/ 343511 h 385609"/>
                    <a:gd name="csX57" fmla="*/ 260083 w 280763"/>
                    <a:gd name="csY57" fmla="*/ 342423 h 385609"/>
                    <a:gd name="csX58" fmla="*/ 265173 w 280763"/>
                    <a:gd name="csY58" fmla="*/ 341718 h 385609"/>
                    <a:gd name="csX59" fmla="*/ 260083 w 280763"/>
                    <a:gd name="csY59" fmla="*/ 331186 h 385609"/>
                    <a:gd name="csX60" fmla="*/ 250670 w 280763"/>
                    <a:gd name="csY60" fmla="*/ 327216 h 385609"/>
                    <a:gd name="csX61" fmla="*/ 246316 w 280763"/>
                    <a:gd name="csY61" fmla="*/ 334099 h 385609"/>
                    <a:gd name="csX62" fmla="*/ 235784 w 280763"/>
                    <a:gd name="csY62" fmla="*/ 328656 h 385609"/>
                    <a:gd name="csX63" fmla="*/ 237609 w 280763"/>
                    <a:gd name="csY63" fmla="*/ 321773 h 385609"/>
                    <a:gd name="csX64" fmla="*/ 243755 w 280763"/>
                    <a:gd name="csY64" fmla="*/ 321037 h 385609"/>
                    <a:gd name="csX65" fmla="*/ 237609 w 280763"/>
                    <a:gd name="csY65" fmla="*/ 311593 h 385609"/>
                    <a:gd name="csX66" fmla="*/ 245580 w 280763"/>
                    <a:gd name="csY66" fmla="*/ 300356 h 385609"/>
                    <a:gd name="csX67" fmla="*/ 229989 w 280763"/>
                    <a:gd name="csY67" fmla="*/ 296002 h 385609"/>
                    <a:gd name="csX68" fmla="*/ 219457 w 280763"/>
                    <a:gd name="csY68" fmla="*/ 284765 h 385609"/>
                    <a:gd name="csX69" fmla="*/ 224899 w 280763"/>
                    <a:gd name="csY69" fmla="*/ 273880 h 385609"/>
                    <a:gd name="csX70" fmla="*/ 218016 w 280763"/>
                    <a:gd name="csY70" fmla="*/ 263348 h 385609"/>
                    <a:gd name="csX71" fmla="*/ 225635 w 280763"/>
                    <a:gd name="csY71" fmla="*/ 252111 h 385609"/>
                    <a:gd name="csX72" fmla="*/ 245580 w 280763"/>
                    <a:gd name="csY72" fmla="*/ 254640 h 385609"/>
                    <a:gd name="csX73" fmla="*/ 258994 w 280763"/>
                    <a:gd name="csY73" fmla="*/ 241962 h 385609"/>
                    <a:gd name="csX74" fmla="*/ 260083 w 280763"/>
                    <a:gd name="csY74" fmla="*/ 231430 h 385609"/>
                    <a:gd name="csX75" fmla="*/ 267702 w 280763"/>
                    <a:gd name="csY75" fmla="*/ 228164 h 385609"/>
                    <a:gd name="csX76" fmla="*/ 267702 w 280763"/>
                    <a:gd name="csY76" fmla="*/ 218752 h 385609"/>
                    <a:gd name="csX77" fmla="*/ 263348 w 280763"/>
                    <a:gd name="csY77" fmla="*/ 213662 h 385609"/>
                    <a:gd name="csX78" fmla="*/ 267702 w 280763"/>
                    <a:gd name="csY78" fmla="*/ 207483 h 385609"/>
                    <a:gd name="csX79" fmla="*/ 264436 w 280763"/>
                    <a:gd name="csY79" fmla="*/ 199864 h 385609"/>
                    <a:gd name="csX80" fmla="*/ 266998 w 280763"/>
                    <a:gd name="csY80" fmla="*/ 184273 h 385609"/>
                    <a:gd name="csX81" fmla="*/ 274617 w 280763"/>
                    <a:gd name="csY81" fmla="*/ 172300 h 385609"/>
                    <a:gd name="csX82" fmla="*/ 272056 w 280763"/>
                    <a:gd name="csY82" fmla="*/ 167946 h 385609"/>
                    <a:gd name="csX83" fmla="*/ 280764 w 280763"/>
                    <a:gd name="csY83" fmla="*/ 147265 h 385609"/>
                    <a:gd name="csX84" fmla="*/ 271351 w 280763"/>
                    <a:gd name="csY84" fmla="*/ 136028 h 385609"/>
                    <a:gd name="csX85" fmla="*/ 264436 w 280763"/>
                    <a:gd name="csY85" fmla="*/ 139645 h 385609"/>
                    <a:gd name="csX86" fmla="*/ 249582 w 280763"/>
                    <a:gd name="csY86" fmla="*/ 134203 h 385609"/>
                    <a:gd name="csX87" fmla="*/ 243755 w 280763"/>
                    <a:gd name="csY87" fmla="*/ 126583 h 385609"/>
                    <a:gd name="csX88" fmla="*/ 244492 w 280763"/>
                    <a:gd name="csY88" fmla="*/ 119700 h 385609"/>
                    <a:gd name="csX89" fmla="*/ 227460 w 280763"/>
                    <a:gd name="csY89" fmla="*/ 114642 h 385609"/>
                    <a:gd name="csX90" fmla="*/ 241226 w 280763"/>
                    <a:gd name="csY90" fmla="*/ 99756 h 385609"/>
                    <a:gd name="csX91" fmla="*/ 241226 w 280763"/>
                    <a:gd name="csY91" fmla="*/ 93225 h 385609"/>
                    <a:gd name="csX92" fmla="*/ 215103 w 280763"/>
                    <a:gd name="csY92" fmla="*/ 84517 h 385609"/>
                    <a:gd name="csX93" fmla="*/ 214398 w 280763"/>
                    <a:gd name="csY93" fmla="*/ 68926 h 385609"/>
                    <a:gd name="csX94" fmla="*/ 228164 w 280763"/>
                    <a:gd name="csY94" fmla="*/ 50070 h 385609"/>
                    <a:gd name="csX95" fmla="*/ 221986 w 280763"/>
                    <a:gd name="csY95" fmla="*/ 38096 h 385609"/>
                    <a:gd name="csX96" fmla="*/ 215103 w 280763"/>
                    <a:gd name="csY96" fmla="*/ 44980 h 385609"/>
                    <a:gd name="csX97" fmla="*/ 208220 w 280763"/>
                    <a:gd name="csY97" fmla="*/ 41362 h 385609"/>
                    <a:gd name="csX98" fmla="*/ 201689 w 280763"/>
                    <a:gd name="csY98" fmla="*/ 28652 h 385609"/>
                    <a:gd name="csX99" fmla="*/ 204954 w 280763"/>
                    <a:gd name="csY99" fmla="*/ 19208 h 385609"/>
                    <a:gd name="csX100" fmla="*/ 198071 w 280763"/>
                    <a:gd name="csY100" fmla="*/ 11237 h 385609"/>
                    <a:gd name="csX101" fmla="*/ 189363 w 280763"/>
                    <a:gd name="csY101" fmla="*/ 10532 h 385609"/>
                    <a:gd name="csX102" fmla="*/ 191892 w 280763"/>
                    <a:gd name="csY102" fmla="*/ 23210 h 385609"/>
                    <a:gd name="csX103" fmla="*/ 186098 w 280763"/>
                    <a:gd name="csY103" fmla="*/ 30093 h 385609"/>
                    <a:gd name="csX104" fmla="*/ 174125 w 280763"/>
                    <a:gd name="csY104" fmla="*/ 31182 h 385609"/>
                    <a:gd name="csX105" fmla="*/ 171211 w 280763"/>
                    <a:gd name="csY105" fmla="*/ 54424 h 385609"/>
                    <a:gd name="csX106" fmla="*/ 166153 w 280763"/>
                    <a:gd name="csY106" fmla="*/ 55128 h 385609"/>
                    <a:gd name="csX107" fmla="*/ 165417 w 280763"/>
                    <a:gd name="csY107" fmla="*/ 64572 h 385609"/>
                    <a:gd name="csX108" fmla="*/ 159238 w 280763"/>
                    <a:gd name="csY108" fmla="*/ 67101 h 385609"/>
                    <a:gd name="csX109" fmla="*/ 159238 w 280763"/>
                    <a:gd name="csY109" fmla="*/ 66397 h 3856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</a:cxnLst>
                  <a:rect l="l" t="t" r="r" b="b"/>
                  <a:pathLst>
                    <a:path w="280763" h="385609">
                      <a:moveTo>
                        <a:pt x="159238" y="66397"/>
                      </a:moveTo>
                      <a:lnTo>
                        <a:pt x="150914" y="56217"/>
                      </a:lnTo>
                      <a:lnTo>
                        <a:pt x="131674" y="52599"/>
                      </a:lnTo>
                      <a:lnTo>
                        <a:pt x="115347" y="32654"/>
                      </a:lnTo>
                      <a:lnTo>
                        <a:pt x="98315" y="21769"/>
                      </a:lnTo>
                      <a:lnTo>
                        <a:pt x="93961" y="17415"/>
                      </a:lnTo>
                      <a:lnTo>
                        <a:pt x="85254" y="10532"/>
                      </a:lnTo>
                      <a:lnTo>
                        <a:pt x="70719" y="10532"/>
                      </a:lnTo>
                      <a:lnTo>
                        <a:pt x="47509" y="0"/>
                      </a:lnTo>
                      <a:lnTo>
                        <a:pt x="14855" y="1825"/>
                      </a:lnTo>
                      <a:lnTo>
                        <a:pt x="19945" y="14854"/>
                      </a:lnTo>
                      <a:lnTo>
                        <a:pt x="14855" y="23210"/>
                      </a:lnTo>
                      <a:lnTo>
                        <a:pt x="16327" y="29389"/>
                      </a:lnTo>
                      <a:lnTo>
                        <a:pt x="0" y="56953"/>
                      </a:lnTo>
                      <a:lnTo>
                        <a:pt x="1088" y="63836"/>
                      </a:lnTo>
                      <a:lnTo>
                        <a:pt x="0" y="73280"/>
                      </a:lnTo>
                      <a:lnTo>
                        <a:pt x="7972" y="80899"/>
                      </a:lnTo>
                      <a:lnTo>
                        <a:pt x="1088" y="91400"/>
                      </a:lnTo>
                      <a:lnTo>
                        <a:pt x="6147" y="136764"/>
                      </a:lnTo>
                      <a:lnTo>
                        <a:pt x="5442" y="137852"/>
                      </a:lnTo>
                      <a:lnTo>
                        <a:pt x="12325" y="140382"/>
                      </a:lnTo>
                      <a:lnTo>
                        <a:pt x="18120" y="165417"/>
                      </a:lnTo>
                      <a:lnTo>
                        <a:pt x="27564" y="173036"/>
                      </a:lnTo>
                      <a:lnTo>
                        <a:pt x="70015" y="171211"/>
                      </a:lnTo>
                      <a:lnTo>
                        <a:pt x="76546" y="173772"/>
                      </a:lnTo>
                      <a:lnTo>
                        <a:pt x="80900" y="182480"/>
                      </a:lnTo>
                      <a:lnTo>
                        <a:pt x="82692" y="187538"/>
                      </a:lnTo>
                      <a:lnTo>
                        <a:pt x="87046" y="190452"/>
                      </a:lnTo>
                      <a:lnTo>
                        <a:pt x="105935" y="186098"/>
                      </a:lnTo>
                      <a:lnTo>
                        <a:pt x="118964" y="191892"/>
                      </a:lnTo>
                      <a:lnTo>
                        <a:pt x="117172" y="196246"/>
                      </a:lnTo>
                      <a:lnTo>
                        <a:pt x="119701" y="203866"/>
                      </a:lnTo>
                      <a:lnTo>
                        <a:pt x="145472" y="206779"/>
                      </a:lnTo>
                      <a:lnTo>
                        <a:pt x="149826" y="224546"/>
                      </a:lnTo>
                      <a:lnTo>
                        <a:pt x="162888" y="237608"/>
                      </a:lnTo>
                      <a:lnTo>
                        <a:pt x="169771" y="240137"/>
                      </a:lnTo>
                      <a:lnTo>
                        <a:pt x="179183" y="258994"/>
                      </a:lnTo>
                      <a:lnTo>
                        <a:pt x="178094" y="270263"/>
                      </a:lnTo>
                      <a:lnTo>
                        <a:pt x="186802" y="284029"/>
                      </a:lnTo>
                      <a:lnTo>
                        <a:pt x="181008" y="289119"/>
                      </a:lnTo>
                      <a:lnTo>
                        <a:pt x="178094" y="311593"/>
                      </a:lnTo>
                      <a:lnTo>
                        <a:pt x="191156" y="314154"/>
                      </a:lnTo>
                      <a:lnTo>
                        <a:pt x="187891" y="340982"/>
                      </a:lnTo>
                      <a:lnTo>
                        <a:pt x="191892" y="349338"/>
                      </a:lnTo>
                      <a:lnTo>
                        <a:pt x="201689" y="356220"/>
                      </a:lnTo>
                      <a:lnTo>
                        <a:pt x="207483" y="351162"/>
                      </a:lnTo>
                      <a:lnTo>
                        <a:pt x="216928" y="353692"/>
                      </a:lnTo>
                      <a:lnTo>
                        <a:pt x="211133" y="371107"/>
                      </a:lnTo>
                      <a:lnTo>
                        <a:pt x="218752" y="373636"/>
                      </a:lnTo>
                      <a:lnTo>
                        <a:pt x="223811" y="369282"/>
                      </a:lnTo>
                      <a:lnTo>
                        <a:pt x="243755" y="361311"/>
                      </a:lnTo>
                      <a:lnTo>
                        <a:pt x="265909" y="374373"/>
                      </a:lnTo>
                      <a:lnTo>
                        <a:pt x="269527" y="385610"/>
                      </a:lnTo>
                      <a:lnTo>
                        <a:pt x="273881" y="383785"/>
                      </a:lnTo>
                      <a:lnTo>
                        <a:pt x="269527" y="370019"/>
                      </a:lnTo>
                      <a:lnTo>
                        <a:pt x="256465" y="361311"/>
                      </a:lnTo>
                      <a:lnTo>
                        <a:pt x="255024" y="343511"/>
                      </a:lnTo>
                      <a:lnTo>
                        <a:pt x="260083" y="342423"/>
                      </a:lnTo>
                      <a:lnTo>
                        <a:pt x="265173" y="341718"/>
                      </a:lnTo>
                      <a:lnTo>
                        <a:pt x="260083" y="331186"/>
                      </a:lnTo>
                      <a:lnTo>
                        <a:pt x="250670" y="327216"/>
                      </a:lnTo>
                      <a:lnTo>
                        <a:pt x="246316" y="334099"/>
                      </a:lnTo>
                      <a:lnTo>
                        <a:pt x="235784" y="328656"/>
                      </a:lnTo>
                      <a:lnTo>
                        <a:pt x="237609" y="321773"/>
                      </a:lnTo>
                      <a:lnTo>
                        <a:pt x="243755" y="321037"/>
                      </a:lnTo>
                      <a:lnTo>
                        <a:pt x="237609" y="311593"/>
                      </a:lnTo>
                      <a:lnTo>
                        <a:pt x="245580" y="300356"/>
                      </a:lnTo>
                      <a:lnTo>
                        <a:pt x="229989" y="296002"/>
                      </a:lnTo>
                      <a:lnTo>
                        <a:pt x="219457" y="284765"/>
                      </a:lnTo>
                      <a:lnTo>
                        <a:pt x="224899" y="273880"/>
                      </a:lnTo>
                      <a:lnTo>
                        <a:pt x="218016" y="263348"/>
                      </a:lnTo>
                      <a:lnTo>
                        <a:pt x="225635" y="252111"/>
                      </a:lnTo>
                      <a:lnTo>
                        <a:pt x="245580" y="254640"/>
                      </a:lnTo>
                      <a:lnTo>
                        <a:pt x="258994" y="241962"/>
                      </a:lnTo>
                      <a:lnTo>
                        <a:pt x="260083" y="231430"/>
                      </a:lnTo>
                      <a:lnTo>
                        <a:pt x="267702" y="228164"/>
                      </a:lnTo>
                      <a:lnTo>
                        <a:pt x="267702" y="218752"/>
                      </a:lnTo>
                      <a:lnTo>
                        <a:pt x="263348" y="213662"/>
                      </a:lnTo>
                      <a:lnTo>
                        <a:pt x="267702" y="207483"/>
                      </a:lnTo>
                      <a:lnTo>
                        <a:pt x="264436" y="199864"/>
                      </a:lnTo>
                      <a:lnTo>
                        <a:pt x="266998" y="184273"/>
                      </a:lnTo>
                      <a:lnTo>
                        <a:pt x="274617" y="172300"/>
                      </a:lnTo>
                      <a:lnTo>
                        <a:pt x="272056" y="167946"/>
                      </a:lnTo>
                      <a:lnTo>
                        <a:pt x="280764" y="147265"/>
                      </a:lnTo>
                      <a:lnTo>
                        <a:pt x="271351" y="136028"/>
                      </a:lnTo>
                      <a:lnTo>
                        <a:pt x="264436" y="139645"/>
                      </a:lnTo>
                      <a:lnTo>
                        <a:pt x="249582" y="134203"/>
                      </a:lnTo>
                      <a:lnTo>
                        <a:pt x="243755" y="126583"/>
                      </a:lnTo>
                      <a:lnTo>
                        <a:pt x="244492" y="119700"/>
                      </a:lnTo>
                      <a:lnTo>
                        <a:pt x="227460" y="114642"/>
                      </a:lnTo>
                      <a:lnTo>
                        <a:pt x="241226" y="99756"/>
                      </a:lnTo>
                      <a:lnTo>
                        <a:pt x="241226" y="93225"/>
                      </a:lnTo>
                      <a:lnTo>
                        <a:pt x="215103" y="84517"/>
                      </a:lnTo>
                      <a:lnTo>
                        <a:pt x="214398" y="68926"/>
                      </a:lnTo>
                      <a:lnTo>
                        <a:pt x="228164" y="50070"/>
                      </a:lnTo>
                      <a:lnTo>
                        <a:pt x="221986" y="38096"/>
                      </a:lnTo>
                      <a:lnTo>
                        <a:pt x="215103" y="44980"/>
                      </a:lnTo>
                      <a:lnTo>
                        <a:pt x="208220" y="41362"/>
                      </a:lnTo>
                      <a:lnTo>
                        <a:pt x="201689" y="28652"/>
                      </a:lnTo>
                      <a:lnTo>
                        <a:pt x="204954" y="19208"/>
                      </a:lnTo>
                      <a:lnTo>
                        <a:pt x="198071" y="11237"/>
                      </a:lnTo>
                      <a:lnTo>
                        <a:pt x="189363" y="10532"/>
                      </a:lnTo>
                      <a:lnTo>
                        <a:pt x="191892" y="23210"/>
                      </a:lnTo>
                      <a:lnTo>
                        <a:pt x="186098" y="30093"/>
                      </a:lnTo>
                      <a:lnTo>
                        <a:pt x="174125" y="31182"/>
                      </a:lnTo>
                      <a:lnTo>
                        <a:pt x="171211" y="54424"/>
                      </a:lnTo>
                      <a:lnTo>
                        <a:pt x="166153" y="55128"/>
                      </a:lnTo>
                      <a:lnTo>
                        <a:pt x="165417" y="64572"/>
                      </a:lnTo>
                      <a:lnTo>
                        <a:pt x="159238" y="67101"/>
                      </a:lnTo>
                      <a:lnTo>
                        <a:pt x="159238" y="6639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8" name="Forma Livre: Forma 277">
                  <a:extLst>
                    <a:ext uri="{FF2B5EF4-FFF2-40B4-BE49-F238E27FC236}">
                      <a16:creationId xmlns:a16="http://schemas.microsoft.com/office/drawing/2014/main" id="{6E63ACBF-BA34-F01A-3468-27C60590E06C}"/>
                    </a:ext>
                  </a:extLst>
                </p:cNvPr>
                <p:cNvSpPr/>
                <p:nvPr/>
              </p:nvSpPr>
              <p:spPr>
                <a:xfrm>
                  <a:off x="2800349" y="5720730"/>
                  <a:ext cx="235783" cy="240169"/>
                </a:xfrm>
                <a:custGeom>
                  <a:avLst/>
                  <a:gdLst>
                    <a:gd name="csX0" fmla="*/ 143647 w 235783"/>
                    <a:gd name="csY0" fmla="*/ 21418 h 240169"/>
                    <a:gd name="csX1" fmla="*/ 136764 w 235783"/>
                    <a:gd name="csY1" fmla="*/ 20681 h 240169"/>
                    <a:gd name="csX2" fmla="*/ 119701 w 235783"/>
                    <a:gd name="csY2" fmla="*/ 18888 h 240169"/>
                    <a:gd name="csX3" fmla="*/ 87783 w 235783"/>
                    <a:gd name="csY3" fmla="*/ 0 h 240169"/>
                    <a:gd name="csX4" fmla="*/ 66397 w 235783"/>
                    <a:gd name="csY4" fmla="*/ 8740 h 240169"/>
                    <a:gd name="csX5" fmla="*/ 53335 w 235783"/>
                    <a:gd name="csY5" fmla="*/ 20681 h 240169"/>
                    <a:gd name="csX6" fmla="*/ 42099 w 235783"/>
                    <a:gd name="csY6" fmla="*/ 30125 h 240169"/>
                    <a:gd name="csX7" fmla="*/ 37745 w 235783"/>
                    <a:gd name="csY7" fmla="*/ 50070 h 240169"/>
                    <a:gd name="csX8" fmla="*/ 27564 w 235783"/>
                    <a:gd name="csY8" fmla="*/ 58426 h 240169"/>
                    <a:gd name="csX9" fmla="*/ 26860 w 235783"/>
                    <a:gd name="csY9" fmla="*/ 70399 h 240169"/>
                    <a:gd name="csX10" fmla="*/ 19945 w 235783"/>
                    <a:gd name="csY10" fmla="*/ 80195 h 240169"/>
                    <a:gd name="csX11" fmla="*/ 32654 w 235783"/>
                    <a:gd name="csY11" fmla="*/ 100492 h 240169"/>
                    <a:gd name="csX12" fmla="*/ 37008 w 235783"/>
                    <a:gd name="csY12" fmla="*/ 101581 h 240169"/>
                    <a:gd name="csX13" fmla="*/ 31918 w 235783"/>
                    <a:gd name="csY13" fmla="*/ 102317 h 240169"/>
                    <a:gd name="csX14" fmla="*/ 26860 w 235783"/>
                    <a:gd name="csY14" fmla="*/ 97963 h 240169"/>
                    <a:gd name="csX15" fmla="*/ 20681 w 235783"/>
                    <a:gd name="csY15" fmla="*/ 100492 h 240169"/>
                    <a:gd name="csX16" fmla="*/ 20681 w 235783"/>
                    <a:gd name="csY16" fmla="*/ 109200 h 240169"/>
                    <a:gd name="csX17" fmla="*/ 3650 w 235783"/>
                    <a:gd name="csY17" fmla="*/ 124823 h 240169"/>
                    <a:gd name="csX18" fmla="*/ 0 w 235783"/>
                    <a:gd name="csY18" fmla="*/ 133499 h 240169"/>
                    <a:gd name="csX19" fmla="*/ 11237 w 235783"/>
                    <a:gd name="csY19" fmla="*/ 140414 h 240169"/>
                    <a:gd name="csX20" fmla="*/ 16327 w 235783"/>
                    <a:gd name="csY20" fmla="*/ 138589 h 240169"/>
                    <a:gd name="csX21" fmla="*/ 31918 w 235783"/>
                    <a:gd name="csY21" fmla="*/ 153092 h 240169"/>
                    <a:gd name="csX22" fmla="*/ 53335 w 235783"/>
                    <a:gd name="csY22" fmla="*/ 178863 h 240169"/>
                    <a:gd name="csX23" fmla="*/ 68190 w 235783"/>
                    <a:gd name="csY23" fmla="*/ 185746 h 240169"/>
                    <a:gd name="csX24" fmla="*/ 68190 w 235783"/>
                    <a:gd name="csY24" fmla="*/ 186835 h 240169"/>
                    <a:gd name="csX25" fmla="*/ 67102 w 235783"/>
                    <a:gd name="csY25" fmla="*/ 191188 h 240169"/>
                    <a:gd name="csX26" fmla="*/ 77634 w 235783"/>
                    <a:gd name="csY26" fmla="*/ 194454 h 240169"/>
                    <a:gd name="csX27" fmla="*/ 92137 w 235783"/>
                    <a:gd name="csY27" fmla="*/ 191188 h 240169"/>
                    <a:gd name="csX28" fmla="*/ 108464 w 235783"/>
                    <a:gd name="csY28" fmla="*/ 178126 h 240169"/>
                    <a:gd name="csX29" fmla="*/ 120437 w 235783"/>
                    <a:gd name="csY29" fmla="*/ 190100 h 240169"/>
                    <a:gd name="csX30" fmla="*/ 125527 w 235783"/>
                    <a:gd name="csY30" fmla="*/ 184305 h 240169"/>
                    <a:gd name="csX31" fmla="*/ 139293 w 235783"/>
                    <a:gd name="csY31" fmla="*/ 181392 h 240169"/>
                    <a:gd name="csX32" fmla="*/ 141118 w 235783"/>
                    <a:gd name="csY32" fmla="*/ 188275 h 240169"/>
                    <a:gd name="csX33" fmla="*/ 152355 w 235783"/>
                    <a:gd name="csY33" fmla="*/ 179951 h 240169"/>
                    <a:gd name="csX34" fmla="*/ 158534 w 235783"/>
                    <a:gd name="csY34" fmla="*/ 181392 h 240169"/>
                    <a:gd name="csX35" fmla="*/ 158534 w 235783"/>
                    <a:gd name="csY35" fmla="*/ 240170 h 240169"/>
                    <a:gd name="csX36" fmla="*/ 198071 w 235783"/>
                    <a:gd name="csY36" fmla="*/ 196279 h 240169"/>
                    <a:gd name="csX37" fmla="*/ 235784 w 235783"/>
                    <a:gd name="csY37" fmla="*/ 154916 h 240169"/>
                    <a:gd name="csX38" fmla="*/ 228164 w 235783"/>
                    <a:gd name="csY38" fmla="*/ 134972 h 240169"/>
                    <a:gd name="csX39" fmla="*/ 233991 w 235783"/>
                    <a:gd name="csY39" fmla="*/ 129145 h 240169"/>
                    <a:gd name="csX40" fmla="*/ 229989 w 235783"/>
                    <a:gd name="csY40" fmla="*/ 122998 h 240169"/>
                    <a:gd name="csX41" fmla="*/ 222018 w 235783"/>
                    <a:gd name="csY41" fmla="*/ 122262 h 240169"/>
                    <a:gd name="csX42" fmla="*/ 227076 w 235783"/>
                    <a:gd name="csY42" fmla="*/ 112850 h 240169"/>
                    <a:gd name="csX43" fmla="*/ 216928 w 235783"/>
                    <a:gd name="csY43" fmla="*/ 102317 h 240169"/>
                    <a:gd name="csX44" fmla="*/ 189363 w 235783"/>
                    <a:gd name="csY44" fmla="*/ 111025 h 240169"/>
                    <a:gd name="csX45" fmla="*/ 181744 w 235783"/>
                    <a:gd name="csY45" fmla="*/ 104846 h 240169"/>
                    <a:gd name="csX46" fmla="*/ 186098 w 235783"/>
                    <a:gd name="csY46" fmla="*/ 92873 h 240169"/>
                    <a:gd name="csX47" fmla="*/ 186098 w 235783"/>
                    <a:gd name="csY47" fmla="*/ 85990 h 240169"/>
                    <a:gd name="csX48" fmla="*/ 202425 w 235783"/>
                    <a:gd name="csY48" fmla="*/ 70399 h 240169"/>
                    <a:gd name="csX49" fmla="*/ 204954 w 235783"/>
                    <a:gd name="csY49" fmla="*/ 58426 h 240169"/>
                    <a:gd name="csX50" fmla="*/ 199896 w 235783"/>
                    <a:gd name="csY50" fmla="*/ 55161 h 240169"/>
                    <a:gd name="csX51" fmla="*/ 187539 w 235783"/>
                    <a:gd name="csY51" fmla="*/ 59514 h 240169"/>
                    <a:gd name="csX52" fmla="*/ 158534 w 235783"/>
                    <a:gd name="csY52" fmla="*/ 25772 h 240169"/>
                    <a:gd name="csX53" fmla="*/ 150562 w 235783"/>
                    <a:gd name="csY53" fmla="*/ 26860 h 240169"/>
                    <a:gd name="csX54" fmla="*/ 143647 w 235783"/>
                    <a:gd name="csY54" fmla="*/ 21418 h 24016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235783" h="240169">
                      <a:moveTo>
                        <a:pt x="143647" y="21418"/>
                      </a:moveTo>
                      <a:lnTo>
                        <a:pt x="136764" y="20681"/>
                      </a:lnTo>
                      <a:lnTo>
                        <a:pt x="119701" y="18888"/>
                      </a:lnTo>
                      <a:lnTo>
                        <a:pt x="87783" y="0"/>
                      </a:lnTo>
                      <a:lnTo>
                        <a:pt x="66397" y="8740"/>
                      </a:lnTo>
                      <a:lnTo>
                        <a:pt x="53335" y="20681"/>
                      </a:lnTo>
                      <a:lnTo>
                        <a:pt x="42099" y="30125"/>
                      </a:lnTo>
                      <a:lnTo>
                        <a:pt x="37745" y="50070"/>
                      </a:lnTo>
                      <a:lnTo>
                        <a:pt x="27564" y="58426"/>
                      </a:lnTo>
                      <a:lnTo>
                        <a:pt x="26860" y="70399"/>
                      </a:lnTo>
                      <a:lnTo>
                        <a:pt x="19945" y="80195"/>
                      </a:lnTo>
                      <a:lnTo>
                        <a:pt x="32654" y="100492"/>
                      </a:lnTo>
                      <a:lnTo>
                        <a:pt x="37008" y="101581"/>
                      </a:lnTo>
                      <a:lnTo>
                        <a:pt x="31918" y="102317"/>
                      </a:lnTo>
                      <a:lnTo>
                        <a:pt x="26860" y="97963"/>
                      </a:lnTo>
                      <a:lnTo>
                        <a:pt x="20681" y="100492"/>
                      </a:lnTo>
                      <a:lnTo>
                        <a:pt x="20681" y="109200"/>
                      </a:lnTo>
                      <a:lnTo>
                        <a:pt x="3650" y="124823"/>
                      </a:lnTo>
                      <a:lnTo>
                        <a:pt x="0" y="133499"/>
                      </a:lnTo>
                      <a:lnTo>
                        <a:pt x="11237" y="140414"/>
                      </a:lnTo>
                      <a:lnTo>
                        <a:pt x="16327" y="138589"/>
                      </a:lnTo>
                      <a:lnTo>
                        <a:pt x="31918" y="153092"/>
                      </a:lnTo>
                      <a:lnTo>
                        <a:pt x="53335" y="178863"/>
                      </a:lnTo>
                      <a:lnTo>
                        <a:pt x="68190" y="185746"/>
                      </a:lnTo>
                      <a:lnTo>
                        <a:pt x="68190" y="186835"/>
                      </a:lnTo>
                      <a:lnTo>
                        <a:pt x="67102" y="191188"/>
                      </a:lnTo>
                      <a:lnTo>
                        <a:pt x="77634" y="194454"/>
                      </a:lnTo>
                      <a:lnTo>
                        <a:pt x="92137" y="191188"/>
                      </a:lnTo>
                      <a:lnTo>
                        <a:pt x="108464" y="178126"/>
                      </a:lnTo>
                      <a:lnTo>
                        <a:pt x="120437" y="190100"/>
                      </a:lnTo>
                      <a:lnTo>
                        <a:pt x="125527" y="184305"/>
                      </a:lnTo>
                      <a:lnTo>
                        <a:pt x="139293" y="181392"/>
                      </a:lnTo>
                      <a:lnTo>
                        <a:pt x="141118" y="188275"/>
                      </a:lnTo>
                      <a:lnTo>
                        <a:pt x="152355" y="179951"/>
                      </a:lnTo>
                      <a:lnTo>
                        <a:pt x="158534" y="181392"/>
                      </a:lnTo>
                      <a:lnTo>
                        <a:pt x="158534" y="240170"/>
                      </a:lnTo>
                      <a:lnTo>
                        <a:pt x="198071" y="196279"/>
                      </a:lnTo>
                      <a:lnTo>
                        <a:pt x="235784" y="154916"/>
                      </a:lnTo>
                      <a:lnTo>
                        <a:pt x="228164" y="134972"/>
                      </a:lnTo>
                      <a:lnTo>
                        <a:pt x="233991" y="129145"/>
                      </a:lnTo>
                      <a:lnTo>
                        <a:pt x="229989" y="122998"/>
                      </a:lnTo>
                      <a:lnTo>
                        <a:pt x="222018" y="122262"/>
                      </a:lnTo>
                      <a:lnTo>
                        <a:pt x="227076" y="112850"/>
                      </a:lnTo>
                      <a:lnTo>
                        <a:pt x="216928" y="102317"/>
                      </a:lnTo>
                      <a:lnTo>
                        <a:pt x="189363" y="111025"/>
                      </a:lnTo>
                      <a:lnTo>
                        <a:pt x="181744" y="104846"/>
                      </a:lnTo>
                      <a:lnTo>
                        <a:pt x="186098" y="92873"/>
                      </a:lnTo>
                      <a:lnTo>
                        <a:pt x="186098" y="85990"/>
                      </a:lnTo>
                      <a:lnTo>
                        <a:pt x="202425" y="70399"/>
                      </a:lnTo>
                      <a:lnTo>
                        <a:pt x="204954" y="58426"/>
                      </a:lnTo>
                      <a:lnTo>
                        <a:pt x="199896" y="55161"/>
                      </a:lnTo>
                      <a:lnTo>
                        <a:pt x="187539" y="59514"/>
                      </a:lnTo>
                      <a:lnTo>
                        <a:pt x="158534" y="25772"/>
                      </a:lnTo>
                      <a:lnTo>
                        <a:pt x="150562" y="26860"/>
                      </a:lnTo>
                      <a:lnTo>
                        <a:pt x="143647" y="2141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AF024F28-F4FB-2454-BB75-5CB6C37AB567}"/>
                    </a:ext>
                  </a:extLst>
                </p:cNvPr>
                <p:cNvSpPr/>
                <p:nvPr/>
              </p:nvSpPr>
              <p:spPr>
                <a:xfrm>
                  <a:off x="2800349" y="5720730"/>
                  <a:ext cx="235783" cy="240169"/>
                </a:xfrm>
                <a:custGeom>
                  <a:avLst/>
                  <a:gdLst>
                    <a:gd name="csX0" fmla="*/ 143647 w 235783"/>
                    <a:gd name="csY0" fmla="*/ 21418 h 240169"/>
                    <a:gd name="csX1" fmla="*/ 136764 w 235783"/>
                    <a:gd name="csY1" fmla="*/ 20681 h 240169"/>
                    <a:gd name="csX2" fmla="*/ 119701 w 235783"/>
                    <a:gd name="csY2" fmla="*/ 18888 h 240169"/>
                    <a:gd name="csX3" fmla="*/ 87783 w 235783"/>
                    <a:gd name="csY3" fmla="*/ 0 h 240169"/>
                    <a:gd name="csX4" fmla="*/ 66397 w 235783"/>
                    <a:gd name="csY4" fmla="*/ 8740 h 240169"/>
                    <a:gd name="csX5" fmla="*/ 53335 w 235783"/>
                    <a:gd name="csY5" fmla="*/ 20681 h 240169"/>
                    <a:gd name="csX6" fmla="*/ 42099 w 235783"/>
                    <a:gd name="csY6" fmla="*/ 30125 h 240169"/>
                    <a:gd name="csX7" fmla="*/ 37745 w 235783"/>
                    <a:gd name="csY7" fmla="*/ 50070 h 240169"/>
                    <a:gd name="csX8" fmla="*/ 27564 w 235783"/>
                    <a:gd name="csY8" fmla="*/ 58426 h 240169"/>
                    <a:gd name="csX9" fmla="*/ 26860 w 235783"/>
                    <a:gd name="csY9" fmla="*/ 70399 h 240169"/>
                    <a:gd name="csX10" fmla="*/ 19945 w 235783"/>
                    <a:gd name="csY10" fmla="*/ 80195 h 240169"/>
                    <a:gd name="csX11" fmla="*/ 32654 w 235783"/>
                    <a:gd name="csY11" fmla="*/ 100492 h 240169"/>
                    <a:gd name="csX12" fmla="*/ 37008 w 235783"/>
                    <a:gd name="csY12" fmla="*/ 101581 h 240169"/>
                    <a:gd name="csX13" fmla="*/ 31918 w 235783"/>
                    <a:gd name="csY13" fmla="*/ 102317 h 240169"/>
                    <a:gd name="csX14" fmla="*/ 26860 w 235783"/>
                    <a:gd name="csY14" fmla="*/ 97963 h 240169"/>
                    <a:gd name="csX15" fmla="*/ 20681 w 235783"/>
                    <a:gd name="csY15" fmla="*/ 100492 h 240169"/>
                    <a:gd name="csX16" fmla="*/ 20681 w 235783"/>
                    <a:gd name="csY16" fmla="*/ 109200 h 240169"/>
                    <a:gd name="csX17" fmla="*/ 3650 w 235783"/>
                    <a:gd name="csY17" fmla="*/ 124823 h 240169"/>
                    <a:gd name="csX18" fmla="*/ 0 w 235783"/>
                    <a:gd name="csY18" fmla="*/ 133499 h 240169"/>
                    <a:gd name="csX19" fmla="*/ 11237 w 235783"/>
                    <a:gd name="csY19" fmla="*/ 140414 h 240169"/>
                    <a:gd name="csX20" fmla="*/ 16327 w 235783"/>
                    <a:gd name="csY20" fmla="*/ 138589 h 240169"/>
                    <a:gd name="csX21" fmla="*/ 31918 w 235783"/>
                    <a:gd name="csY21" fmla="*/ 153092 h 240169"/>
                    <a:gd name="csX22" fmla="*/ 53335 w 235783"/>
                    <a:gd name="csY22" fmla="*/ 178863 h 240169"/>
                    <a:gd name="csX23" fmla="*/ 68190 w 235783"/>
                    <a:gd name="csY23" fmla="*/ 185746 h 240169"/>
                    <a:gd name="csX24" fmla="*/ 68190 w 235783"/>
                    <a:gd name="csY24" fmla="*/ 186835 h 240169"/>
                    <a:gd name="csX25" fmla="*/ 67102 w 235783"/>
                    <a:gd name="csY25" fmla="*/ 191188 h 240169"/>
                    <a:gd name="csX26" fmla="*/ 77634 w 235783"/>
                    <a:gd name="csY26" fmla="*/ 194454 h 240169"/>
                    <a:gd name="csX27" fmla="*/ 92137 w 235783"/>
                    <a:gd name="csY27" fmla="*/ 191188 h 240169"/>
                    <a:gd name="csX28" fmla="*/ 108464 w 235783"/>
                    <a:gd name="csY28" fmla="*/ 178126 h 240169"/>
                    <a:gd name="csX29" fmla="*/ 120437 w 235783"/>
                    <a:gd name="csY29" fmla="*/ 190100 h 240169"/>
                    <a:gd name="csX30" fmla="*/ 125527 w 235783"/>
                    <a:gd name="csY30" fmla="*/ 184305 h 240169"/>
                    <a:gd name="csX31" fmla="*/ 139293 w 235783"/>
                    <a:gd name="csY31" fmla="*/ 181392 h 240169"/>
                    <a:gd name="csX32" fmla="*/ 141118 w 235783"/>
                    <a:gd name="csY32" fmla="*/ 188275 h 240169"/>
                    <a:gd name="csX33" fmla="*/ 152355 w 235783"/>
                    <a:gd name="csY33" fmla="*/ 179951 h 240169"/>
                    <a:gd name="csX34" fmla="*/ 158534 w 235783"/>
                    <a:gd name="csY34" fmla="*/ 181392 h 240169"/>
                    <a:gd name="csX35" fmla="*/ 158534 w 235783"/>
                    <a:gd name="csY35" fmla="*/ 240170 h 240169"/>
                    <a:gd name="csX36" fmla="*/ 198071 w 235783"/>
                    <a:gd name="csY36" fmla="*/ 196279 h 240169"/>
                    <a:gd name="csX37" fmla="*/ 235784 w 235783"/>
                    <a:gd name="csY37" fmla="*/ 154916 h 240169"/>
                    <a:gd name="csX38" fmla="*/ 228164 w 235783"/>
                    <a:gd name="csY38" fmla="*/ 134972 h 240169"/>
                    <a:gd name="csX39" fmla="*/ 233991 w 235783"/>
                    <a:gd name="csY39" fmla="*/ 129145 h 240169"/>
                    <a:gd name="csX40" fmla="*/ 229989 w 235783"/>
                    <a:gd name="csY40" fmla="*/ 122998 h 240169"/>
                    <a:gd name="csX41" fmla="*/ 222018 w 235783"/>
                    <a:gd name="csY41" fmla="*/ 122262 h 240169"/>
                    <a:gd name="csX42" fmla="*/ 227076 w 235783"/>
                    <a:gd name="csY42" fmla="*/ 112850 h 240169"/>
                    <a:gd name="csX43" fmla="*/ 216928 w 235783"/>
                    <a:gd name="csY43" fmla="*/ 102317 h 240169"/>
                    <a:gd name="csX44" fmla="*/ 189363 w 235783"/>
                    <a:gd name="csY44" fmla="*/ 111025 h 240169"/>
                    <a:gd name="csX45" fmla="*/ 181744 w 235783"/>
                    <a:gd name="csY45" fmla="*/ 104846 h 240169"/>
                    <a:gd name="csX46" fmla="*/ 186098 w 235783"/>
                    <a:gd name="csY46" fmla="*/ 92873 h 240169"/>
                    <a:gd name="csX47" fmla="*/ 186098 w 235783"/>
                    <a:gd name="csY47" fmla="*/ 85990 h 240169"/>
                    <a:gd name="csX48" fmla="*/ 202425 w 235783"/>
                    <a:gd name="csY48" fmla="*/ 70399 h 240169"/>
                    <a:gd name="csX49" fmla="*/ 204954 w 235783"/>
                    <a:gd name="csY49" fmla="*/ 58426 h 240169"/>
                    <a:gd name="csX50" fmla="*/ 199896 w 235783"/>
                    <a:gd name="csY50" fmla="*/ 55161 h 240169"/>
                    <a:gd name="csX51" fmla="*/ 187539 w 235783"/>
                    <a:gd name="csY51" fmla="*/ 59514 h 240169"/>
                    <a:gd name="csX52" fmla="*/ 158534 w 235783"/>
                    <a:gd name="csY52" fmla="*/ 25772 h 240169"/>
                    <a:gd name="csX53" fmla="*/ 150562 w 235783"/>
                    <a:gd name="csY53" fmla="*/ 26860 h 240169"/>
                    <a:gd name="csX54" fmla="*/ 143647 w 235783"/>
                    <a:gd name="csY54" fmla="*/ 21418 h 24016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235783" h="240169">
                      <a:moveTo>
                        <a:pt x="143647" y="21418"/>
                      </a:moveTo>
                      <a:lnTo>
                        <a:pt x="136764" y="20681"/>
                      </a:lnTo>
                      <a:lnTo>
                        <a:pt x="119701" y="18888"/>
                      </a:lnTo>
                      <a:lnTo>
                        <a:pt x="87783" y="0"/>
                      </a:lnTo>
                      <a:lnTo>
                        <a:pt x="66397" y="8740"/>
                      </a:lnTo>
                      <a:lnTo>
                        <a:pt x="53335" y="20681"/>
                      </a:lnTo>
                      <a:lnTo>
                        <a:pt x="42099" y="30125"/>
                      </a:lnTo>
                      <a:lnTo>
                        <a:pt x="37745" y="50070"/>
                      </a:lnTo>
                      <a:lnTo>
                        <a:pt x="27564" y="58426"/>
                      </a:lnTo>
                      <a:lnTo>
                        <a:pt x="26860" y="70399"/>
                      </a:lnTo>
                      <a:lnTo>
                        <a:pt x="19945" y="80195"/>
                      </a:lnTo>
                      <a:lnTo>
                        <a:pt x="32654" y="100492"/>
                      </a:lnTo>
                      <a:lnTo>
                        <a:pt x="37008" y="101581"/>
                      </a:lnTo>
                      <a:lnTo>
                        <a:pt x="31918" y="102317"/>
                      </a:lnTo>
                      <a:lnTo>
                        <a:pt x="26860" y="97963"/>
                      </a:lnTo>
                      <a:lnTo>
                        <a:pt x="20681" y="100492"/>
                      </a:lnTo>
                      <a:lnTo>
                        <a:pt x="20681" y="109200"/>
                      </a:lnTo>
                      <a:lnTo>
                        <a:pt x="3650" y="124823"/>
                      </a:lnTo>
                      <a:lnTo>
                        <a:pt x="0" y="133499"/>
                      </a:lnTo>
                      <a:lnTo>
                        <a:pt x="11237" y="140414"/>
                      </a:lnTo>
                      <a:lnTo>
                        <a:pt x="16327" y="138589"/>
                      </a:lnTo>
                      <a:lnTo>
                        <a:pt x="31918" y="153092"/>
                      </a:lnTo>
                      <a:lnTo>
                        <a:pt x="53335" y="178863"/>
                      </a:lnTo>
                      <a:lnTo>
                        <a:pt x="68190" y="185746"/>
                      </a:lnTo>
                      <a:lnTo>
                        <a:pt x="68190" y="186835"/>
                      </a:lnTo>
                      <a:lnTo>
                        <a:pt x="67102" y="191188"/>
                      </a:lnTo>
                      <a:lnTo>
                        <a:pt x="77634" y="194454"/>
                      </a:lnTo>
                      <a:lnTo>
                        <a:pt x="92137" y="191188"/>
                      </a:lnTo>
                      <a:lnTo>
                        <a:pt x="108464" y="178126"/>
                      </a:lnTo>
                      <a:lnTo>
                        <a:pt x="120437" y="190100"/>
                      </a:lnTo>
                      <a:lnTo>
                        <a:pt x="125527" y="184305"/>
                      </a:lnTo>
                      <a:lnTo>
                        <a:pt x="139293" y="181392"/>
                      </a:lnTo>
                      <a:lnTo>
                        <a:pt x="141118" y="188275"/>
                      </a:lnTo>
                      <a:lnTo>
                        <a:pt x="152355" y="179951"/>
                      </a:lnTo>
                      <a:lnTo>
                        <a:pt x="158534" y="181392"/>
                      </a:lnTo>
                      <a:lnTo>
                        <a:pt x="158534" y="240170"/>
                      </a:lnTo>
                      <a:lnTo>
                        <a:pt x="198071" y="196279"/>
                      </a:lnTo>
                      <a:lnTo>
                        <a:pt x="235784" y="154916"/>
                      </a:lnTo>
                      <a:lnTo>
                        <a:pt x="228164" y="134972"/>
                      </a:lnTo>
                      <a:lnTo>
                        <a:pt x="233991" y="129145"/>
                      </a:lnTo>
                      <a:lnTo>
                        <a:pt x="229989" y="122998"/>
                      </a:lnTo>
                      <a:lnTo>
                        <a:pt x="222018" y="122262"/>
                      </a:lnTo>
                      <a:lnTo>
                        <a:pt x="227076" y="112850"/>
                      </a:lnTo>
                      <a:lnTo>
                        <a:pt x="216928" y="102317"/>
                      </a:lnTo>
                      <a:lnTo>
                        <a:pt x="189363" y="111025"/>
                      </a:lnTo>
                      <a:lnTo>
                        <a:pt x="181744" y="104846"/>
                      </a:lnTo>
                      <a:lnTo>
                        <a:pt x="186098" y="92873"/>
                      </a:lnTo>
                      <a:lnTo>
                        <a:pt x="186098" y="85990"/>
                      </a:lnTo>
                      <a:lnTo>
                        <a:pt x="202425" y="70399"/>
                      </a:lnTo>
                      <a:lnTo>
                        <a:pt x="204954" y="58426"/>
                      </a:lnTo>
                      <a:lnTo>
                        <a:pt x="199896" y="55161"/>
                      </a:lnTo>
                      <a:lnTo>
                        <a:pt x="187539" y="59514"/>
                      </a:lnTo>
                      <a:lnTo>
                        <a:pt x="158534" y="25772"/>
                      </a:lnTo>
                      <a:lnTo>
                        <a:pt x="150562" y="26860"/>
                      </a:lnTo>
                      <a:lnTo>
                        <a:pt x="143647" y="2141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0" name="Forma Livre: Forma 279">
                  <a:extLst>
                    <a:ext uri="{FF2B5EF4-FFF2-40B4-BE49-F238E27FC236}">
                      <a16:creationId xmlns:a16="http://schemas.microsoft.com/office/drawing/2014/main" id="{56FE6AD8-2089-7428-98A1-94914247F34F}"/>
                    </a:ext>
                  </a:extLst>
                </p:cNvPr>
                <p:cNvSpPr/>
                <p:nvPr/>
              </p:nvSpPr>
              <p:spPr>
                <a:xfrm>
                  <a:off x="2800349" y="5720730"/>
                  <a:ext cx="235783" cy="240169"/>
                </a:xfrm>
                <a:custGeom>
                  <a:avLst/>
                  <a:gdLst>
                    <a:gd name="csX0" fmla="*/ 143647 w 235783"/>
                    <a:gd name="csY0" fmla="*/ 21418 h 240169"/>
                    <a:gd name="csX1" fmla="*/ 136764 w 235783"/>
                    <a:gd name="csY1" fmla="*/ 20681 h 240169"/>
                    <a:gd name="csX2" fmla="*/ 119701 w 235783"/>
                    <a:gd name="csY2" fmla="*/ 18888 h 240169"/>
                    <a:gd name="csX3" fmla="*/ 87783 w 235783"/>
                    <a:gd name="csY3" fmla="*/ 0 h 240169"/>
                    <a:gd name="csX4" fmla="*/ 66397 w 235783"/>
                    <a:gd name="csY4" fmla="*/ 8740 h 240169"/>
                    <a:gd name="csX5" fmla="*/ 53335 w 235783"/>
                    <a:gd name="csY5" fmla="*/ 20681 h 240169"/>
                    <a:gd name="csX6" fmla="*/ 42099 w 235783"/>
                    <a:gd name="csY6" fmla="*/ 30125 h 240169"/>
                    <a:gd name="csX7" fmla="*/ 37745 w 235783"/>
                    <a:gd name="csY7" fmla="*/ 50070 h 240169"/>
                    <a:gd name="csX8" fmla="*/ 27564 w 235783"/>
                    <a:gd name="csY8" fmla="*/ 58426 h 240169"/>
                    <a:gd name="csX9" fmla="*/ 26860 w 235783"/>
                    <a:gd name="csY9" fmla="*/ 70399 h 240169"/>
                    <a:gd name="csX10" fmla="*/ 19945 w 235783"/>
                    <a:gd name="csY10" fmla="*/ 80195 h 240169"/>
                    <a:gd name="csX11" fmla="*/ 32654 w 235783"/>
                    <a:gd name="csY11" fmla="*/ 100492 h 240169"/>
                    <a:gd name="csX12" fmla="*/ 37008 w 235783"/>
                    <a:gd name="csY12" fmla="*/ 101581 h 240169"/>
                    <a:gd name="csX13" fmla="*/ 31918 w 235783"/>
                    <a:gd name="csY13" fmla="*/ 102317 h 240169"/>
                    <a:gd name="csX14" fmla="*/ 26860 w 235783"/>
                    <a:gd name="csY14" fmla="*/ 97963 h 240169"/>
                    <a:gd name="csX15" fmla="*/ 20681 w 235783"/>
                    <a:gd name="csY15" fmla="*/ 100492 h 240169"/>
                    <a:gd name="csX16" fmla="*/ 20681 w 235783"/>
                    <a:gd name="csY16" fmla="*/ 109200 h 240169"/>
                    <a:gd name="csX17" fmla="*/ 3650 w 235783"/>
                    <a:gd name="csY17" fmla="*/ 124823 h 240169"/>
                    <a:gd name="csX18" fmla="*/ 0 w 235783"/>
                    <a:gd name="csY18" fmla="*/ 133499 h 240169"/>
                    <a:gd name="csX19" fmla="*/ 11237 w 235783"/>
                    <a:gd name="csY19" fmla="*/ 140414 h 240169"/>
                    <a:gd name="csX20" fmla="*/ 16327 w 235783"/>
                    <a:gd name="csY20" fmla="*/ 138589 h 240169"/>
                    <a:gd name="csX21" fmla="*/ 31918 w 235783"/>
                    <a:gd name="csY21" fmla="*/ 153092 h 240169"/>
                    <a:gd name="csX22" fmla="*/ 53335 w 235783"/>
                    <a:gd name="csY22" fmla="*/ 178863 h 240169"/>
                    <a:gd name="csX23" fmla="*/ 68190 w 235783"/>
                    <a:gd name="csY23" fmla="*/ 185746 h 240169"/>
                    <a:gd name="csX24" fmla="*/ 68190 w 235783"/>
                    <a:gd name="csY24" fmla="*/ 186835 h 240169"/>
                    <a:gd name="csX25" fmla="*/ 67102 w 235783"/>
                    <a:gd name="csY25" fmla="*/ 191188 h 240169"/>
                    <a:gd name="csX26" fmla="*/ 77634 w 235783"/>
                    <a:gd name="csY26" fmla="*/ 194454 h 240169"/>
                    <a:gd name="csX27" fmla="*/ 92137 w 235783"/>
                    <a:gd name="csY27" fmla="*/ 191188 h 240169"/>
                    <a:gd name="csX28" fmla="*/ 108464 w 235783"/>
                    <a:gd name="csY28" fmla="*/ 178126 h 240169"/>
                    <a:gd name="csX29" fmla="*/ 120437 w 235783"/>
                    <a:gd name="csY29" fmla="*/ 190100 h 240169"/>
                    <a:gd name="csX30" fmla="*/ 125527 w 235783"/>
                    <a:gd name="csY30" fmla="*/ 184305 h 240169"/>
                    <a:gd name="csX31" fmla="*/ 139293 w 235783"/>
                    <a:gd name="csY31" fmla="*/ 181392 h 240169"/>
                    <a:gd name="csX32" fmla="*/ 141118 w 235783"/>
                    <a:gd name="csY32" fmla="*/ 188275 h 240169"/>
                    <a:gd name="csX33" fmla="*/ 152355 w 235783"/>
                    <a:gd name="csY33" fmla="*/ 179951 h 240169"/>
                    <a:gd name="csX34" fmla="*/ 158534 w 235783"/>
                    <a:gd name="csY34" fmla="*/ 181392 h 240169"/>
                    <a:gd name="csX35" fmla="*/ 158534 w 235783"/>
                    <a:gd name="csY35" fmla="*/ 240170 h 240169"/>
                    <a:gd name="csX36" fmla="*/ 198071 w 235783"/>
                    <a:gd name="csY36" fmla="*/ 196279 h 240169"/>
                    <a:gd name="csX37" fmla="*/ 235784 w 235783"/>
                    <a:gd name="csY37" fmla="*/ 154916 h 240169"/>
                    <a:gd name="csX38" fmla="*/ 228164 w 235783"/>
                    <a:gd name="csY38" fmla="*/ 134972 h 240169"/>
                    <a:gd name="csX39" fmla="*/ 233991 w 235783"/>
                    <a:gd name="csY39" fmla="*/ 129145 h 240169"/>
                    <a:gd name="csX40" fmla="*/ 229989 w 235783"/>
                    <a:gd name="csY40" fmla="*/ 122998 h 240169"/>
                    <a:gd name="csX41" fmla="*/ 222018 w 235783"/>
                    <a:gd name="csY41" fmla="*/ 122262 h 240169"/>
                    <a:gd name="csX42" fmla="*/ 227076 w 235783"/>
                    <a:gd name="csY42" fmla="*/ 112850 h 240169"/>
                    <a:gd name="csX43" fmla="*/ 216928 w 235783"/>
                    <a:gd name="csY43" fmla="*/ 102317 h 240169"/>
                    <a:gd name="csX44" fmla="*/ 189363 w 235783"/>
                    <a:gd name="csY44" fmla="*/ 111025 h 240169"/>
                    <a:gd name="csX45" fmla="*/ 181744 w 235783"/>
                    <a:gd name="csY45" fmla="*/ 104846 h 240169"/>
                    <a:gd name="csX46" fmla="*/ 186098 w 235783"/>
                    <a:gd name="csY46" fmla="*/ 92873 h 240169"/>
                    <a:gd name="csX47" fmla="*/ 186098 w 235783"/>
                    <a:gd name="csY47" fmla="*/ 85990 h 240169"/>
                    <a:gd name="csX48" fmla="*/ 202425 w 235783"/>
                    <a:gd name="csY48" fmla="*/ 70399 h 240169"/>
                    <a:gd name="csX49" fmla="*/ 204954 w 235783"/>
                    <a:gd name="csY49" fmla="*/ 58426 h 240169"/>
                    <a:gd name="csX50" fmla="*/ 199896 w 235783"/>
                    <a:gd name="csY50" fmla="*/ 55161 h 240169"/>
                    <a:gd name="csX51" fmla="*/ 187539 w 235783"/>
                    <a:gd name="csY51" fmla="*/ 59514 h 240169"/>
                    <a:gd name="csX52" fmla="*/ 158534 w 235783"/>
                    <a:gd name="csY52" fmla="*/ 25772 h 240169"/>
                    <a:gd name="csX53" fmla="*/ 150562 w 235783"/>
                    <a:gd name="csY53" fmla="*/ 26860 h 240169"/>
                    <a:gd name="csX54" fmla="*/ 143647 w 235783"/>
                    <a:gd name="csY54" fmla="*/ 21418 h 24016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235783" h="240169">
                      <a:moveTo>
                        <a:pt x="143647" y="21418"/>
                      </a:moveTo>
                      <a:lnTo>
                        <a:pt x="136764" y="20681"/>
                      </a:lnTo>
                      <a:lnTo>
                        <a:pt x="119701" y="18888"/>
                      </a:lnTo>
                      <a:lnTo>
                        <a:pt x="87783" y="0"/>
                      </a:lnTo>
                      <a:lnTo>
                        <a:pt x="66397" y="8740"/>
                      </a:lnTo>
                      <a:lnTo>
                        <a:pt x="53335" y="20681"/>
                      </a:lnTo>
                      <a:lnTo>
                        <a:pt x="42099" y="30125"/>
                      </a:lnTo>
                      <a:lnTo>
                        <a:pt x="37745" y="50070"/>
                      </a:lnTo>
                      <a:lnTo>
                        <a:pt x="27564" y="58426"/>
                      </a:lnTo>
                      <a:lnTo>
                        <a:pt x="26860" y="70399"/>
                      </a:lnTo>
                      <a:lnTo>
                        <a:pt x="19945" y="80195"/>
                      </a:lnTo>
                      <a:lnTo>
                        <a:pt x="32654" y="100492"/>
                      </a:lnTo>
                      <a:lnTo>
                        <a:pt x="37008" y="101581"/>
                      </a:lnTo>
                      <a:lnTo>
                        <a:pt x="31918" y="102317"/>
                      </a:lnTo>
                      <a:lnTo>
                        <a:pt x="26860" y="97963"/>
                      </a:lnTo>
                      <a:lnTo>
                        <a:pt x="20681" y="100492"/>
                      </a:lnTo>
                      <a:lnTo>
                        <a:pt x="20681" y="109200"/>
                      </a:lnTo>
                      <a:lnTo>
                        <a:pt x="3650" y="124823"/>
                      </a:lnTo>
                      <a:lnTo>
                        <a:pt x="0" y="133499"/>
                      </a:lnTo>
                      <a:lnTo>
                        <a:pt x="11237" y="140414"/>
                      </a:lnTo>
                      <a:lnTo>
                        <a:pt x="16327" y="138589"/>
                      </a:lnTo>
                      <a:lnTo>
                        <a:pt x="31918" y="153092"/>
                      </a:lnTo>
                      <a:lnTo>
                        <a:pt x="53335" y="178863"/>
                      </a:lnTo>
                      <a:lnTo>
                        <a:pt x="68190" y="185746"/>
                      </a:lnTo>
                      <a:lnTo>
                        <a:pt x="68190" y="186835"/>
                      </a:lnTo>
                      <a:lnTo>
                        <a:pt x="67102" y="191188"/>
                      </a:lnTo>
                      <a:lnTo>
                        <a:pt x="77634" y="194454"/>
                      </a:lnTo>
                      <a:lnTo>
                        <a:pt x="92137" y="191188"/>
                      </a:lnTo>
                      <a:lnTo>
                        <a:pt x="108464" y="178126"/>
                      </a:lnTo>
                      <a:lnTo>
                        <a:pt x="120437" y="190100"/>
                      </a:lnTo>
                      <a:lnTo>
                        <a:pt x="125527" y="184305"/>
                      </a:lnTo>
                      <a:lnTo>
                        <a:pt x="139293" y="181392"/>
                      </a:lnTo>
                      <a:lnTo>
                        <a:pt x="141118" y="188275"/>
                      </a:lnTo>
                      <a:lnTo>
                        <a:pt x="152355" y="179951"/>
                      </a:lnTo>
                      <a:lnTo>
                        <a:pt x="158534" y="181392"/>
                      </a:lnTo>
                      <a:lnTo>
                        <a:pt x="158534" y="240170"/>
                      </a:lnTo>
                      <a:lnTo>
                        <a:pt x="198071" y="196279"/>
                      </a:lnTo>
                      <a:lnTo>
                        <a:pt x="235784" y="154916"/>
                      </a:lnTo>
                      <a:lnTo>
                        <a:pt x="228164" y="134972"/>
                      </a:lnTo>
                      <a:lnTo>
                        <a:pt x="233991" y="129145"/>
                      </a:lnTo>
                      <a:lnTo>
                        <a:pt x="229989" y="122998"/>
                      </a:lnTo>
                      <a:lnTo>
                        <a:pt x="222018" y="122262"/>
                      </a:lnTo>
                      <a:lnTo>
                        <a:pt x="227076" y="112850"/>
                      </a:lnTo>
                      <a:lnTo>
                        <a:pt x="216928" y="102317"/>
                      </a:lnTo>
                      <a:lnTo>
                        <a:pt x="189363" y="111025"/>
                      </a:lnTo>
                      <a:lnTo>
                        <a:pt x="181744" y="104846"/>
                      </a:lnTo>
                      <a:lnTo>
                        <a:pt x="186098" y="92873"/>
                      </a:lnTo>
                      <a:lnTo>
                        <a:pt x="186098" y="85990"/>
                      </a:lnTo>
                      <a:lnTo>
                        <a:pt x="202425" y="70399"/>
                      </a:lnTo>
                      <a:lnTo>
                        <a:pt x="204954" y="58426"/>
                      </a:lnTo>
                      <a:lnTo>
                        <a:pt x="199896" y="55161"/>
                      </a:lnTo>
                      <a:lnTo>
                        <a:pt x="187539" y="59514"/>
                      </a:lnTo>
                      <a:lnTo>
                        <a:pt x="158534" y="25772"/>
                      </a:lnTo>
                      <a:lnTo>
                        <a:pt x="150562" y="26860"/>
                      </a:lnTo>
                      <a:lnTo>
                        <a:pt x="143647" y="2141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D480B51D-C404-7C33-0C4D-F79A18A649ED}"/>
                    </a:ext>
                  </a:extLst>
                </p:cNvPr>
                <p:cNvSpPr/>
                <p:nvPr/>
              </p:nvSpPr>
              <p:spPr>
                <a:xfrm>
                  <a:off x="2800349" y="5720730"/>
                  <a:ext cx="235783" cy="240169"/>
                </a:xfrm>
                <a:custGeom>
                  <a:avLst/>
                  <a:gdLst>
                    <a:gd name="csX0" fmla="*/ 143647 w 235783"/>
                    <a:gd name="csY0" fmla="*/ 21418 h 240169"/>
                    <a:gd name="csX1" fmla="*/ 136764 w 235783"/>
                    <a:gd name="csY1" fmla="*/ 20681 h 240169"/>
                    <a:gd name="csX2" fmla="*/ 119701 w 235783"/>
                    <a:gd name="csY2" fmla="*/ 18888 h 240169"/>
                    <a:gd name="csX3" fmla="*/ 87783 w 235783"/>
                    <a:gd name="csY3" fmla="*/ 0 h 240169"/>
                    <a:gd name="csX4" fmla="*/ 66397 w 235783"/>
                    <a:gd name="csY4" fmla="*/ 8740 h 240169"/>
                    <a:gd name="csX5" fmla="*/ 53335 w 235783"/>
                    <a:gd name="csY5" fmla="*/ 20681 h 240169"/>
                    <a:gd name="csX6" fmla="*/ 42099 w 235783"/>
                    <a:gd name="csY6" fmla="*/ 30125 h 240169"/>
                    <a:gd name="csX7" fmla="*/ 37745 w 235783"/>
                    <a:gd name="csY7" fmla="*/ 50070 h 240169"/>
                    <a:gd name="csX8" fmla="*/ 27564 w 235783"/>
                    <a:gd name="csY8" fmla="*/ 58426 h 240169"/>
                    <a:gd name="csX9" fmla="*/ 26860 w 235783"/>
                    <a:gd name="csY9" fmla="*/ 70399 h 240169"/>
                    <a:gd name="csX10" fmla="*/ 19945 w 235783"/>
                    <a:gd name="csY10" fmla="*/ 80195 h 240169"/>
                    <a:gd name="csX11" fmla="*/ 32654 w 235783"/>
                    <a:gd name="csY11" fmla="*/ 100492 h 240169"/>
                    <a:gd name="csX12" fmla="*/ 37008 w 235783"/>
                    <a:gd name="csY12" fmla="*/ 101581 h 240169"/>
                    <a:gd name="csX13" fmla="*/ 31918 w 235783"/>
                    <a:gd name="csY13" fmla="*/ 102317 h 240169"/>
                    <a:gd name="csX14" fmla="*/ 26860 w 235783"/>
                    <a:gd name="csY14" fmla="*/ 97963 h 240169"/>
                    <a:gd name="csX15" fmla="*/ 20681 w 235783"/>
                    <a:gd name="csY15" fmla="*/ 100492 h 240169"/>
                    <a:gd name="csX16" fmla="*/ 20681 w 235783"/>
                    <a:gd name="csY16" fmla="*/ 109200 h 240169"/>
                    <a:gd name="csX17" fmla="*/ 3650 w 235783"/>
                    <a:gd name="csY17" fmla="*/ 124823 h 240169"/>
                    <a:gd name="csX18" fmla="*/ 0 w 235783"/>
                    <a:gd name="csY18" fmla="*/ 133499 h 240169"/>
                    <a:gd name="csX19" fmla="*/ 11237 w 235783"/>
                    <a:gd name="csY19" fmla="*/ 140414 h 240169"/>
                    <a:gd name="csX20" fmla="*/ 16327 w 235783"/>
                    <a:gd name="csY20" fmla="*/ 138589 h 240169"/>
                    <a:gd name="csX21" fmla="*/ 31918 w 235783"/>
                    <a:gd name="csY21" fmla="*/ 153092 h 240169"/>
                    <a:gd name="csX22" fmla="*/ 53335 w 235783"/>
                    <a:gd name="csY22" fmla="*/ 178863 h 240169"/>
                    <a:gd name="csX23" fmla="*/ 68190 w 235783"/>
                    <a:gd name="csY23" fmla="*/ 185746 h 240169"/>
                    <a:gd name="csX24" fmla="*/ 68190 w 235783"/>
                    <a:gd name="csY24" fmla="*/ 186835 h 240169"/>
                    <a:gd name="csX25" fmla="*/ 67102 w 235783"/>
                    <a:gd name="csY25" fmla="*/ 191188 h 240169"/>
                    <a:gd name="csX26" fmla="*/ 77634 w 235783"/>
                    <a:gd name="csY26" fmla="*/ 194454 h 240169"/>
                    <a:gd name="csX27" fmla="*/ 92137 w 235783"/>
                    <a:gd name="csY27" fmla="*/ 191188 h 240169"/>
                    <a:gd name="csX28" fmla="*/ 108464 w 235783"/>
                    <a:gd name="csY28" fmla="*/ 178126 h 240169"/>
                    <a:gd name="csX29" fmla="*/ 120437 w 235783"/>
                    <a:gd name="csY29" fmla="*/ 190100 h 240169"/>
                    <a:gd name="csX30" fmla="*/ 125527 w 235783"/>
                    <a:gd name="csY30" fmla="*/ 184305 h 240169"/>
                    <a:gd name="csX31" fmla="*/ 139293 w 235783"/>
                    <a:gd name="csY31" fmla="*/ 181392 h 240169"/>
                    <a:gd name="csX32" fmla="*/ 141118 w 235783"/>
                    <a:gd name="csY32" fmla="*/ 188275 h 240169"/>
                    <a:gd name="csX33" fmla="*/ 152355 w 235783"/>
                    <a:gd name="csY33" fmla="*/ 179951 h 240169"/>
                    <a:gd name="csX34" fmla="*/ 158534 w 235783"/>
                    <a:gd name="csY34" fmla="*/ 181392 h 240169"/>
                    <a:gd name="csX35" fmla="*/ 158534 w 235783"/>
                    <a:gd name="csY35" fmla="*/ 240170 h 240169"/>
                    <a:gd name="csX36" fmla="*/ 198071 w 235783"/>
                    <a:gd name="csY36" fmla="*/ 196279 h 240169"/>
                    <a:gd name="csX37" fmla="*/ 235784 w 235783"/>
                    <a:gd name="csY37" fmla="*/ 154916 h 240169"/>
                    <a:gd name="csX38" fmla="*/ 228164 w 235783"/>
                    <a:gd name="csY38" fmla="*/ 134972 h 240169"/>
                    <a:gd name="csX39" fmla="*/ 233991 w 235783"/>
                    <a:gd name="csY39" fmla="*/ 129145 h 240169"/>
                    <a:gd name="csX40" fmla="*/ 229989 w 235783"/>
                    <a:gd name="csY40" fmla="*/ 122998 h 240169"/>
                    <a:gd name="csX41" fmla="*/ 222018 w 235783"/>
                    <a:gd name="csY41" fmla="*/ 122262 h 240169"/>
                    <a:gd name="csX42" fmla="*/ 227076 w 235783"/>
                    <a:gd name="csY42" fmla="*/ 112850 h 240169"/>
                    <a:gd name="csX43" fmla="*/ 216928 w 235783"/>
                    <a:gd name="csY43" fmla="*/ 102317 h 240169"/>
                    <a:gd name="csX44" fmla="*/ 189363 w 235783"/>
                    <a:gd name="csY44" fmla="*/ 111025 h 240169"/>
                    <a:gd name="csX45" fmla="*/ 181744 w 235783"/>
                    <a:gd name="csY45" fmla="*/ 104846 h 240169"/>
                    <a:gd name="csX46" fmla="*/ 186098 w 235783"/>
                    <a:gd name="csY46" fmla="*/ 92873 h 240169"/>
                    <a:gd name="csX47" fmla="*/ 186098 w 235783"/>
                    <a:gd name="csY47" fmla="*/ 85990 h 240169"/>
                    <a:gd name="csX48" fmla="*/ 202425 w 235783"/>
                    <a:gd name="csY48" fmla="*/ 70399 h 240169"/>
                    <a:gd name="csX49" fmla="*/ 204954 w 235783"/>
                    <a:gd name="csY49" fmla="*/ 58426 h 240169"/>
                    <a:gd name="csX50" fmla="*/ 199896 w 235783"/>
                    <a:gd name="csY50" fmla="*/ 55161 h 240169"/>
                    <a:gd name="csX51" fmla="*/ 187539 w 235783"/>
                    <a:gd name="csY51" fmla="*/ 59514 h 240169"/>
                    <a:gd name="csX52" fmla="*/ 158534 w 235783"/>
                    <a:gd name="csY52" fmla="*/ 25772 h 240169"/>
                    <a:gd name="csX53" fmla="*/ 150562 w 235783"/>
                    <a:gd name="csY53" fmla="*/ 26860 h 240169"/>
                    <a:gd name="csX54" fmla="*/ 143647 w 235783"/>
                    <a:gd name="csY54" fmla="*/ 21418 h 24016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</a:cxnLst>
                  <a:rect l="l" t="t" r="r" b="b"/>
                  <a:pathLst>
                    <a:path w="235783" h="240169">
                      <a:moveTo>
                        <a:pt x="143647" y="21418"/>
                      </a:moveTo>
                      <a:lnTo>
                        <a:pt x="136764" y="20681"/>
                      </a:lnTo>
                      <a:lnTo>
                        <a:pt x="119701" y="18888"/>
                      </a:lnTo>
                      <a:lnTo>
                        <a:pt x="87783" y="0"/>
                      </a:lnTo>
                      <a:lnTo>
                        <a:pt x="66397" y="8740"/>
                      </a:lnTo>
                      <a:lnTo>
                        <a:pt x="53335" y="20681"/>
                      </a:lnTo>
                      <a:lnTo>
                        <a:pt x="42099" y="30125"/>
                      </a:lnTo>
                      <a:lnTo>
                        <a:pt x="37745" y="50070"/>
                      </a:lnTo>
                      <a:lnTo>
                        <a:pt x="27564" y="58426"/>
                      </a:lnTo>
                      <a:lnTo>
                        <a:pt x="26860" y="70399"/>
                      </a:lnTo>
                      <a:lnTo>
                        <a:pt x="19945" y="80195"/>
                      </a:lnTo>
                      <a:lnTo>
                        <a:pt x="32654" y="100492"/>
                      </a:lnTo>
                      <a:lnTo>
                        <a:pt x="37008" y="101581"/>
                      </a:lnTo>
                      <a:lnTo>
                        <a:pt x="31918" y="102317"/>
                      </a:lnTo>
                      <a:lnTo>
                        <a:pt x="26860" y="97963"/>
                      </a:lnTo>
                      <a:lnTo>
                        <a:pt x="20681" y="100492"/>
                      </a:lnTo>
                      <a:lnTo>
                        <a:pt x="20681" y="109200"/>
                      </a:lnTo>
                      <a:lnTo>
                        <a:pt x="3650" y="124823"/>
                      </a:lnTo>
                      <a:lnTo>
                        <a:pt x="0" y="133499"/>
                      </a:lnTo>
                      <a:lnTo>
                        <a:pt x="11237" y="140414"/>
                      </a:lnTo>
                      <a:lnTo>
                        <a:pt x="16327" y="138589"/>
                      </a:lnTo>
                      <a:lnTo>
                        <a:pt x="31918" y="153092"/>
                      </a:lnTo>
                      <a:lnTo>
                        <a:pt x="53335" y="178863"/>
                      </a:lnTo>
                      <a:lnTo>
                        <a:pt x="68190" y="185746"/>
                      </a:lnTo>
                      <a:lnTo>
                        <a:pt x="68190" y="186835"/>
                      </a:lnTo>
                      <a:lnTo>
                        <a:pt x="67102" y="191188"/>
                      </a:lnTo>
                      <a:lnTo>
                        <a:pt x="77634" y="194454"/>
                      </a:lnTo>
                      <a:lnTo>
                        <a:pt x="92137" y="191188"/>
                      </a:lnTo>
                      <a:lnTo>
                        <a:pt x="108464" y="178126"/>
                      </a:lnTo>
                      <a:lnTo>
                        <a:pt x="120437" y="190100"/>
                      </a:lnTo>
                      <a:lnTo>
                        <a:pt x="125527" y="184305"/>
                      </a:lnTo>
                      <a:lnTo>
                        <a:pt x="139293" y="181392"/>
                      </a:lnTo>
                      <a:lnTo>
                        <a:pt x="141118" y="188275"/>
                      </a:lnTo>
                      <a:lnTo>
                        <a:pt x="152355" y="179951"/>
                      </a:lnTo>
                      <a:lnTo>
                        <a:pt x="158534" y="181392"/>
                      </a:lnTo>
                      <a:lnTo>
                        <a:pt x="158534" y="240170"/>
                      </a:lnTo>
                      <a:lnTo>
                        <a:pt x="198071" y="196279"/>
                      </a:lnTo>
                      <a:lnTo>
                        <a:pt x="235784" y="154916"/>
                      </a:lnTo>
                      <a:lnTo>
                        <a:pt x="228164" y="134972"/>
                      </a:lnTo>
                      <a:lnTo>
                        <a:pt x="233991" y="129145"/>
                      </a:lnTo>
                      <a:lnTo>
                        <a:pt x="229989" y="122998"/>
                      </a:lnTo>
                      <a:lnTo>
                        <a:pt x="222018" y="122262"/>
                      </a:lnTo>
                      <a:lnTo>
                        <a:pt x="227076" y="112850"/>
                      </a:lnTo>
                      <a:lnTo>
                        <a:pt x="216928" y="102317"/>
                      </a:lnTo>
                      <a:lnTo>
                        <a:pt x="189363" y="111025"/>
                      </a:lnTo>
                      <a:lnTo>
                        <a:pt x="181744" y="104846"/>
                      </a:lnTo>
                      <a:lnTo>
                        <a:pt x="186098" y="92873"/>
                      </a:lnTo>
                      <a:lnTo>
                        <a:pt x="186098" y="85990"/>
                      </a:lnTo>
                      <a:lnTo>
                        <a:pt x="202425" y="70399"/>
                      </a:lnTo>
                      <a:lnTo>
                        <a:pt x="204954" y="58426"/>
                      </a:lnTo>
                      <a:lnTo>
                        <a:pt x="199896" y="55161"/>
                      </a:lnTo>
                      <a:lnTo>
                        <a:pt x="187539" y="59514"/>
                      </a:lnTo>
                      <a:lnTo>
                        <a:pt x="158534" y="25772"/>
                      </a:lnTo>
                      <a:lnTo>
                        <a:pt x="150562" y="26860"/>
                      </a:lnTo>
                      <a:lnTo>
                        <a:pt x="143647" y="2141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A77CB80F-F0FB-130A-5E81-72F812F416D6}"/>
                    </a:ext>
                  </a:extLst>
                </p:cNvPr>
                <p:cNvSpPr/>
                <p:nvPr/>
              </p:nvSpPr>
              <p:spPr>
                <a:xfrm>
                  <a:off x="1673644" y="5172616"/>
                  <a:ext cx="341686" cy="207515"/>
                </a:xfrm>
                <a:custGeom>
                  <a:avLst/>
                  <a:gdLst>
                    <a:gd name="csX0" fmla="*/ 172300 w 341686"/>
                    <a:gd name="csY0" fmla="*/ 0 h 207515"/>
                    <a:gd name="csX1" fmla="*/ 158502 w 341686"/>
                    <a:gd name="csY1" fmla="*/ 7971 h 207515"/>
                    <a:gd name="csX2" fmla="*/ 149090 w 341686"/>
                    <a:gd name="csY2" fmla="*/ 8708 h 207515"/>
                    <a:gd name="csX3" fmla="*/ 131674 w 341686"/>
                    <a:gd name="csY3" fmla="*/ 16327 h 207515"/>
                    <a:gd name="csX4" fmla="*/ 134555 w 341686"/>
                    <a:gd name="csY4" fmla="*/ 27564 h 207515"/>
                    <a:gd name="csX5" fmla="*/ 116435 w 341686"/>
                    <a:gd name="csY5" fmla="*/ 46452 h 207515"/>
                    <a:gd name="csX6" fmla="*/ 123318 w 341686"/>
                    <a:gd name="csY6" fmla="*/ 55160 h 207515"/>
                    <a:gd name="csX7" fmla="*/ 105198 w 341686"/>
                    <a:gd name="csY7" fmla="*/ 62043 h 207515"/>
                    <a:gd name="csX8" fmla="*/ 115347 w 341686"/>
                    <a:gd name="csY8" fmla="*/ 71455 h 207515"/>
                    <a:gd name="csX9" fmla="*/ 103374 w 341686"/>
                    <a:gd name="csY9" fmla="*/ 78370 h 207515"/>
                    <a:gd name="csX10" fmla="*/ 107727 w 341686"/>
                    <a:gd name="csY10" fmla="*/ 81988 h 207515"/>
                    <a:gd name="csX11" fmla="*/ 105903 w 341686"/>
                    <a:gd name="csY11" fmla="*/ 87783 h 207515"/>
                    <a:gd name="csX12" fmla="*/ 100108 w 341686"/>
                    <a:gd name="csY12" fmla="*/ 80163 h 207515"/>
                    <a:gd name="csX13" fmla="*/ 88871 w 341686"/>
                    <a:gd name="csY13" fmla="*/ 84517 h 207515"/>
                    <a:gd name="csX14" fmla="*/ 81956 w 341686"/>
                    <a:gd name="csY14" fmla="*/ 78370 h 207515"/>
                    <a:gd name="csX15" fmla="*/ 66365 w 341686"/>
                    <a:gd name="csY15" fmla="*/ 75105 h 207515"/>
                    <a:gd name="csX16" fmla="*/ 39890 w 341686"/>
                    <a:gd name="csY16" fmla="*/ 96491 h 207515"/>
                    <a:gd name="csX17" fmla="*/ 33711 w 341686"/>
                    <a:gd name="csY17" fmla="*/ 98315 h 207515"/>
                    <a:gd name="csX18" fmla="*/ 0 w 341686"/>
                    <a:gd name="csY18" fmla="*/ 110289 h 207515"/>
                    <a:gd name="csX19" fmla="*/ 1088 w 341686"/>
                    <a:gd name="csY19" fmla="*/ 120437 h 207515"/>
                    <a:gd name="csX20" fmla="*/ 13030 w 341686"/>
                    <a:gd name="csY20" fmla="*/ 125527 h 207515"/>
                    <a:gd name="csX21" fmla="*/ 25003 w 341686"/>
                    <a:gd name="csY21" fmla="*/ 110289 h 207515"/>
                    <a:gd name="csX22" fmla="*/ 57657 w 341686"/>
                    <a:gd name="csY22" fmla="*/ 96491 h 207515"/>
                    <a:gd name="csX23" fmla="*/ 68190 w 341686"/>
                    <a:gd name="csY23" fmla="*/ 82724 h 207515"/>
                    <a:gd name="csX24" fmla="*/ 80868 w 341686"/>
                    <a:gd name="csY24" fmla="*/ 84517 h 207515"/>
                    <a:gd name="csX25" fmla="*/ 90664 w 341686"/>
                    <a:gd name="csY25" fmla="*/ 99052 h 207515"/>
                    <a:gd name="csX26" fmla="*/ 105198 w 341686"/>
                    <a:gd name="csY26" fmla="*/ 108464 h 207515"/>
                    <a:gd name="csX27" fmla="*/ 110993 w 341686"/>
                    <a:gd name="csY27" fmla="*/ 126616 h 207515"/>
                    <a:gd name="csX28" fmla="*/ 128409 w 341686"/>
                    <a:gd name="csY28" fmla="*/ 147297 h 207515"/>
                    <a:gd name="csX29" fmla="*/ 130201 w 341686"/>
                    <a:gd name="csY29" fmla="*/ 169419 h 207515"/>
                    <a:gd name="csX30" fmla="*/ 143999 w 341686"/>
                    <a:gd name="csY30" fmla="*/ 167978 h 207515"/>
                    <a:gd name="csX31" fmla="*/ 150882 w 341686"/>
                    <a:gd name="csY31" fmla="*/ 156709 h 207515"/>
                    <a:gd name="csX32" fmla="*/ 164681 w 341686"/>
                    <a:gd name="csY32" fmla="*/ 157445 h 207515"/>
                    <a:gd name="csX33" fmla="*/ 168650 w 341686"/>
                    <a:gd name="csY33" fmla="*/ 159270 h 207515"/>
                    <a:gd name="csX34" fmla="*/ 176654 w 341686"/>
                    <a:gd name="csY34" fmla="*/ 149090 h 207515"/>
                    <a:gd name="csX35" fmla="*/ 181712 w 341686"/>
                    <a:gd name="csY35" fmla="*/ 154916 h 207515"/>
                    <a:gd name="csX36" fmla="*/ 187891 w 341686"/>
                    <a:gd name="csY36" fmla="*/ 151651 h 207515"/>
                    <a:gd name="csX37" fmla="*/ 204954 w 341686"/>
                    <a:gd name="csY37" fmla="*/ 182480 h 207515"/>
                    <a:gd name="csX38" fmla="*/ 211837 w 341686"/>
                    <a:gd name="csY38" fmla="*/ 179215 h 207515"/>
                    <a:gd name="csX39" fmla="*/ 216191 w 341686"/>
                    <a:gd name="csY39" fmla="*/ 181744 h 207515"/>
                    <a:gd name="csX40" fmla="*/ 224899 w 341686"/>
                    <a:gd name="csY40" fmla="*/ 203161 h 207515"/>
                    <a:gd name="csX41" fmla="*/ 240138 w 341686"/>
                    <a:gd name="csY41" fmla="*/ 207516 h 207515"/>
                    <a:gd name="csX42" fmla="*/ 243755 w 341686"/>
                    <a:gd name="csY42" fmla="*/ 207516 h 207515"/>
                    <a:gd name="csX43" fmla="*/ 246284 w 341686"/>
                    <a:gd name="csY43" fmla="*/ 191893 h 207515"/>
                    <a:gd name="csX44" fmla="*/ 254992 w 341686"/>
                    <a:gd name="csY44" fmla="*/ 191893 h 207515"/>
                    <a:gd name="csX45" fmla="*/ 257553 w 341686"/>
                    <a:gd name="csY45" fmla="*/ 187538 h 207515"/>
                    <a:gd name="csX46" fmla="*/ 267702 w 341686"/>
                    <a:gd name="csY46" fmla="*/ 173036 h 207515"/>
                    <a:gd name="csX47" fmla="*/ 280027 w 341686"/>
                    <a:gd name="csY47" fmla="*/ 166889 h 207515"/>
                    <a:gd name="csX48" fmla="*/ 268790 w 341686"/>
                    <a:gd name="csY48" fmla="*/ 140382 h 207515"/>
                    <a:gd name="csX49" fmla="*/ 260819 w 341686"/>
                    <a:gd name="csY49" fmla="*/ 135324 h 207515"/>
                    <a:gd name="csX50" fmla="*/ 294530 w 341686"/>
                    <a:gd name="csY50" fmla="*/ 117172 h 207515"/>
                    <a:gd name="csX51" fmla="*/ 307239 w 341686"/>
                    <a:gd name="csY51" fmla="*/ 118612 h 207515"/>
                    <a:gd name="csX52" fmla="*/ 315947 w 341686"/>
                    <a:gd name="csY52" fmla="*/ 112081 h 207515"/>
                    <a:gd name="csX53" fmla="*/ 314122 w 341686"/>
                    <a:gd name="csY53" fmla="*/ 104110 h 207515"/>
                    <a:gd name="csX54" fmla="*/ 332274 w 341686"/>
                    <a:gd name="csY54" fmla="*/ 89607 h 207515"/>
                    <a:gd name="csX55" fmla="*/ 341686 w 341686"/>
                    <a:gd name="csY55" fmla="*/ 85990 h 207515"/>
                    <a:gd name="csX56" fmla="*/ 340982 w 341686"/>
                    <a:gd name="csY56" fmla="*/ 77634 h 207515"/>
                    <a:gd name="csX57" fmla="*/ 334067 w 341686"/>
                    <a:gd name="csY57" fmla="*/ 75105 h 207515"/>
                    <a:gd name="csX58" fmla="*/ 329745 w 341686"/>
                    <a:gd name="csY58" fmla="*/ 61307 h 207515"/>
                    <a:gd name="csX59" fmla="*/ 322126 w 341686"/>
                    <a:gd name="csY59" fmla="*/ 53336 h 207515"/>
                    <a:gd name="csX60" fmla="*/ 315211 w 341686"/>
                    <a:gd name="csY60" fmla="*/ 31214 h 207515"/>
                    <a:gd name="csX61" fmla="*/ 307239 w 341686"/>
                    <a:gd name="csY61" fmla="*/ 22506 h 207515"/>
                    <a:gd name="csX62" fmla="*/ 307239 w 341686"/>
                    <a:gd name="csY62" fmla="*/ 18856 h 207515"/>
                    <a:gd name="csX63" fmla="*/ 301445 w 341686"/>
                    <a:gd name="csY63" fmla="*/ 7971 h 207515"/>
                    <a:gd name="csX64" fmla="*/ 267702 w 341686"/>
                    <a:gd name="csY64" fmla="*/ 11973 h 207515"/>
                    <a:gd name="csX65" fmla="*/ 264436 w 341686"/>
                    <a:gd name="csY65" fmla="*/ 8708 h 207515"/>
                    <a:gd name="csX66" fmla="*/ 250638 w 341686"/>
                    <a:gd name="csY66" fmla="*/ 15591 h 207515"/>
                    <a:gd name="csX67" fmla="*/ 238665 w 341686"/>
                    <a:gd name="csY67" fmla="*/ 13062 h 207515"/>
                    <a:gd name="csX68" fmla="*/ 232518 w 341686"/>
                    <a:gd name="csY68" fmla="*/ 17416 h 207515"/>
                    <a:gd name="csX69" fmla="*/ 222338 w 341686"/>
                    <a:gd name="csY69" fmla="*/ 41362 h 207515"/>
                    <a:gd name="csX70" fmla="*/ 211101 w 341686"/>
                    <a:gd name="csY70" fmla="*/ 46452 h 207515"/>
                    <a:gd name="csX71" fmla="*/ 182448 w 341686"/>
                    <a:gd name="csY71" fmla="*/ 75105 h 207515"/>
                    <a:gd name="csX72" fmla="*/ 154148 w 341686"/>
                    <a:gd name="csY72" fmla="*/ 85254 h 207515"/>
                    <a:gd name="csX73" fmla="*/ 144736 w 341686"/>
                    <a:gd name="csY73" fmla="*/ 105198 h 207515"/>
                    <a:gd name="csX74" fmla="*/ 145440 w 341686"/>
                    <a:gd name="csY74" fmla="*/ 92873 h 207515"/>
                    <a:gd name="csX75" fmla="*/ 140382 w 341686"/>
                    <a:gd name="csY75" fmla="*/ 89607 h 207515"/>
                    <a:gd name="csX76" fmla="*/ 153444 w 341686"/>
                    <a:gd name="csY76" fmla="*/ 81988 h 207515"/>
                    <a:gd name="csX77" fmla="*/ 157765 w 341686"/>
                    <a:gd name="csY77" fmla="*/ 66397 h 207515"/>
                    <a:gd name="csX78" fmla="*/ 154148 w 341686"/>
                    <a:gd name="csY78" fmla="*/ 56953 h 207515"/>
                    <a:gd name="csX79" fmla="*/ 148353 w 341686"/>
                    <a:gd name="csY79" fmla="*/ 57689 h 207515"/>
                    <a:gd name="csX80" fmla="*/ 146529 w 341686"/>
                    <a:gd name="csY80" fmla="*/ 51511 h 207515"/>
                    <a:gd name="csX81" fmla="*/ 149090 w 341686"/>
                    <a:gd name="csY81" fmla="*/ 40626 h 207515"/>
                    <a:gd name="csX82" fmla="*/ 162856 w 341686"/>
                    <a:gd name="csY82" fmla="*/ 36272 h 207515"/>
                    <a:gd name="csX83" fmla="*/ 157765 w 341686"/>
                    <a:gd name="csY83" fmla="*/ 28301 h 207515"/>
                    <a:gd name="csX84" fmla="*/ 172300 w 341686"/>
                    <a:gd name="csY84" fmla="*/ 0 h 20751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41686" h="207515">
                      <a:moveTo>
                        <a:pt x="172300" y="0"/>
                      </a:moveTo>
                      <a:lnTo>
                        <a:pt x="158502" y="7971"/>
                      </a:lnTo>
                      <a:lnTo>
                        <a:pt x="149090" y="8708"/>
                      </a:lnTo>
                      <a:lnTo>
                        <a:pt x="131674" y="16327"/>
                      </a:lnTo>
                      <a:lnTo>
                        <a:pt x="134555" y="27564"/>
                      </a:lnTo>
                      <a:lnTo>
                        <a:pt x="116435" y="46452"/>
                      </a:lnTo>
                      <a:lnTo>
                        <a:pt x="123318" y="55160"/>
                      </a:lnTo>
                      <a:lnTo>
                        <a:pt x="105198" y="62043"/>
                      </a:lnTo>
                      <a:lnTo>
                        <a:pt x="115347" y="71455"/>
                      </a:lnTo>
                      <a:lnTo>
                        <a:pt x="103374" y="78370"/>
                      </a:lnTo>
                      <a:lnTo>
                        <a:pt x="107727" y="81988"/>
                      </a:lnTo>
                      <a:lnTo>
                        <a:pt x="105903" y="87783"/>
                      </a:lnTo>
                      <a:lnTo>
                        <a:pt x="100108" y="80163"/>
                      </a:lnTo>
                      <a:lnTo>
                        <a:pt x="88871" y="84517"/>
                      </a:lnTo>
                      <a:lnTo>
                        <a:pt x="81956" y="78370"/>
                      </a:lnTo>
                      <a:lnTo>
                        <a:pt x="66365" y="75105"/>
                      </a:lnTo>
                      <a:lnTo>
                        <a:pt x="39890" y="96491"/>
                      </a:lnTo>
                      <a:lnTo>
                        <a:pt x="33711" y="98315"/>
                      </a:lnTo>
                      <a:lnTo>
                        <a:pt x="0" y="110289"/>
                      </a:lnTo>
                      <a:lnTo>
                        <a:pt x="1088" y="120437"/>
                      </a:lnTo>
                      <a:lnTo>
                        <a:pt x="13030" y="125527"/>
                      </a:lnTo>
                      <a:lnTo>
                        <a:pt x="25003" y="110289"/>
                      </a:lnTo>
                      <a:lnTo>
                        <a:pt x="57657" y="96491"/>
                      </a:lnTo>
                      <a:lnTo>
                        <a:pt x="68190" y="82724"/>
                      </a:lnTo>
                      <a:lnTo>
                        <a:pt x="80868" y="84517"/>
                      </a:lnTo>
                      <a:lnTo>
                        <a:pt x="90664" y="99052"/>
                      </a:lnTo>
                      <a:lnTo>
                        <a:pt x="105198" y="108464"/>
                      </a:lnTo>
                      <a:lnTo>
                        <a:pt x="110993" y="126616"/>
                      </a:lnTo>
                      <a:lnTo>
                        <a:pt x="128409" y="147297"/>
                      </a:lnTo>
                      <a:lnTo>
                        <a:pt x="130201" y="169419"/>
                      </a:lnTo>
                      <a:lnTo>
                        <a:pt x="143999" y="167978"/>
                      </a:lnTo>
                      <a:lnTo>
                        <a:pt x="150882" y="156709"/>
                      </a:lnTo>
                      <a:lnTo>
                        <a:pt x="164681" y="157445"/>
                      </a:lnTo>
                      <a:lnTo>
                        <a:pt x="168650" y="159270"/>
                      </a:lnTo>
                      <a:lnTo>
                        <a:pt x="176654" y="149090"/>
                      </a:lnTo>
                      <a:lnTo>
                        <a:pt x="181712" y="154916"/>
                      </a:lnTo>
                      <a:lnTo>
                        <a:pt x="187891" y="151651"/>
                      </a:lnTo>
                      <a:lnTo>
                        <a:pt x="204954" y="182480"/>
                      </a:lnTo>
                      <a:lnTo>
                        <a:pt x="211837" y="179215"/>
                      </a:lnTo>
                      <a:lnTo>
                        <a:pt x="216191" y="181744"/>
                      </a:lnTo>
                      <a:lnTo>
                        <a:pt x="224899" y="203161"/>
                      </a:lnTo>
                      <a:lnTo>
                        <a:pt x="240138" y="207516"/>
                      </a:lnTo>
                      <a:lnTo>
                        <a:pt x="243755" y="207516"/>
                      </a:lnTo>
                      <a:lnTo>
                        <a:pt x="246284" y="191893"/>
                      </a:lnTo>
                      <a:lnTo>
                        <a:pt x="254992" y="191893"/>
                      </a:lnTo>
                      <a:lnTo>
                        <a:pt x="257553" y="187538"/>
                      </a:lnTo>
                      <a:lnTo>
                        <a:pt x="267702" y="173036"/>
                      </a:lnTo>
                      <a:lnTo>
                        <a:pt x="280027" y="166889"/>
                      </a:lnTo>
                      <a:lnTo>
                        <a:pt x="268790" y="140382"/>
                      </a:lnTo>
                      <a:lnTo>
                        <a:pt x="260819" y="135324"/>
                      </a:lnTo>
                      <a:lnTo>
                        <a:pt x="294530" y="117172"/>
                      </a:lnTo>
                      <a:lnTo>
                        <a:pt x="307239" y="118612"/>
                      </a:lnTo>
                      <a:lnTo>
                        <a:pt x="315947" y="112081"/>
                      </a:lnTo>
                      <a:lnTo>
                        <a:pt x="314122" y="104110"/>
                      </a:lnTo>
                      <a:lnTo>
                        <a:pt x="332274" y="89607"/>
                      </a:lnTo>
                      <a:lnTo>
                        <a:pt x="341686" y="85990"/>
                      </a:lnTo>
                      <a:lnTo>
                        <a:pt x="340982" y="77634"/>
                      </a:lnTo>
                      <a:lnTo>
                        <a:pt x="334067" y="75105"/>
                      </a:lnTo>
                      <a:lnTo>
                        <a:pt x="329745" y="61307"/>
                      </a:lnTo>
                      <a:lnTo>
                        <a:pt x="322126" y="53336"/>
                      </a:lnTo>
                      <a:lnTo>
                        <a:pt x="315211" y="31214"/>
                      </a:lnTo>
                      <a:lnTo>
                        <a:pt x="307239" y="22506"/>
                      </a:lnTo>
                      <a:lnTo>
                        <a:pt x="307239" y="18856"/>
                      </a:lnTo>
                      <a:lnTo>
                        <a:pt x="301445" y="7971"/>
                      </a:lnTo>
                      <a:lnTo>
                        <a:pt x="267702" y="11973"/>
                      </a:lnTo>
                      <a:lnTo>
                        <a:pt x="264436" y="8708"/>
                      </a:lnTo>
                      <a:lnTo>
                        <a:pt x="250638" y="15591"/>
                      </a:lnTo>
                      <a:lnTo>
                        <a:pt x="238665" y="13062"/>
                      </a:lnTo>
                      <a:lnTo>
                        <a:pt x="232518" y="17416"/>
                      </a:lnTo>
                      <a:lnTo>
                        <a:pt x="222338" y="41362"/>
                      </a:lnTo>
                      <a:lnTo>
                        <a:pt x="211101" y="46452"/>
                      </a:lnTo>
                      <a:lnTo>
                        <a:pt x="182448" y="75105"/>
                      </a:lnTo>
                      <a:lnTo>
                        <a:pt x="154148" y="85254"/>
                      </a:lnTo>
                      <a:lnTo>
                        <a:pt x="144736" y="105198"/>
                      </a:lnTo>
                      <a:lnTo>
                        <a:pt x="145440" y="92873"/>
                      </a:lnTo>
                      <a:lnTo>
                        <a:pt x="140382" y="89607"/>
                      </a:lnTo>
                      <a:lnTo>
                        <a:pt x="153444" y="81988"/>
                      </a:lnTo>
                      <a:lnTo>
                        <a:pt x="157765" y="66397"/>
                      </a:lnTo>
                      <a:lnTo>
                        <a:pt x="154148" y="56953"/>
                      </a:lnTo>
                      <a:lnTo>
                        <a:pt x="148353" y="57689"/>
                      </a:lnTo>
                      <a:lnTo>
                        <a:pt x="146529" y="51511"/>
                      </a:lnTo>
                      <a:lnTo>
                        <a:pt x="149090" y="40626"/>
                      </a:lnTo>
                      <a:lnTo>
                        <a:pt x="162856" y="36272"/>
                      </a:lnTo>
                      <a:lnTo>
                        <a:pt x="157765" y="28301"/>
                      </a:lnTo>
                      <a:lnTo>
                        <a:pt x="172300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3" name="Forma Livre: Forma 282">
                  <a:extLst>
                    <a:ext uri="{FF2B5EF4-FFF2-40B4-BE49-F238E27FC236}">
                      <a16:creationId xmlns:a16="http://schemas.microsoft.com/office/drawing/2014/main" id="{F9A3C6A0-9DC2-0385-EC54-600AF5C4D88B}"/>
                    </a:ext>
                  </a:extLst>
                </p:cNvPr>
                <p:cNvSpPr/>
                <p:nvPr/>
              </p:nvSpPr>
              <p:spPr>
                <a:xfrm>
                  <a:off x="1673644" y="5172616"/>
                  <a:ext cx="341686" cy="207515"/>
                </a:xfrm>
                <a:custGeom>
                  <a:avLst/>
                  <a:gdLst>
                    <a:gd name="csX0" fmla="*/ 172300 w 341686"/>
                    <a:gd name="csY0" fmla="*/ 0 h 207515"/>
                    <a:gd name="csX1" fmla="*/ 158502 w 341686"/>
                    <a:gd name="csY1" fmla="*/ 7971 h 207515"/>
                    <a:gd name="csX2" fmla="*/ 149090 w 341686"/>
                    <a:gd name="csY2" fmla="*/ 8708 h 207515"/>
                    <a:gd name="csX3" fmla="*/ 131674 w 341686"/>
                    <a:gd name="csY3" fmla="*/ 16327 h 207515"/>
                    <a:gd name="csX4" fmla="*/ 134555 w 341686"/>
                    <a:gd name="csY4" fmla="*/ 27564 h 207515"/>
                    <a:gd name="csX5" fmla="*/ 116435 w 341686"/>
                    <a:gd name="csY5" fmla="*/ 46452 h 207515"/>
                    <a:gd name="csX6" fmla="*/ 123318 w 341686"/>
                    <a:gd name="csY6" fmla="*/ 55160 h 207515"/>
                    <a:gd name="csX7" fmla="*/ 105198 w 341686"/>
                    <a:gd name="csY7" fmla="*/ 62043 h 207515"/>
                    <a:gd name="csX8" fmla="*/ 115347 w 341686"/>
                    <a:gd name="csY8" fmla="*/ 71455 h 207515"/>
                    <a:gd name="csX9" fmla="*/ 103374 w 341686"/>
                    <a:gd name="csY9" fmla="*/ 78370 h 207515"/>
                    <a:gd name="csX10" fmla="*/ 107727 w 341686"/>
                    <a:gd name="csY10" fmla="*/ 81988 h 207515"/>
                    <a:gd name="csX11" fmla="*/ 105903 w 341686"/>
                    <a:gd name="csY11" fmla="*/ 87783 h 207515"/>
                    <a:gd name="csX12" fmla="*/ 100108 w 341686"/>
                    <a:gd name="csY12" fmla="*/ 80163 h 207515"/>
                    <a:gd name="csX13" fmla="*/ 88871 w 341686"/>
                    <a:gd name="csY13" fmla="*/ 84517 h 207515"/>
                    <a:gd name="csX14" fmla="*/ 81956 w 341686"/>
                    <a:gd name="csY14" fmla="*/ 78370 h 207515"/>
                    <a:gd name="csX15" fmla="*/ 66365 w 341686"/>
                    <a:gd name="csY15" fmla="*/ 75105 h 207515"/>
                    <a:gd name="csX16" fmla="*/ 39890 w 341686"/>
                    <a:gd name="csY16" fmla="*/ 96491 h 207515"/>
                    <a:gd name="csX17" fmla="*/ 33711 w 341686"/>
                    <a:gd name="csY17" fmla="*/ 98315 h 207515"/>
                    <a:gd name="csX18" fmla="*/ 0 w 341686"/>
                    <a:gd name="csY18" fmla="*/ 110289 h 207515"/>
                    <a:gd name="csX19" fmla="*/ 1088 w 341686"/>
                    <a:gd name="csY19" fmla="*/ 120437 h 207515"/>
                    <a:gd name="csX20" fmla="*/ 13030 w 341686"/>
                    <a:gd name="csY20" fmla="*/ 125527 h 207515"/>
                    <a:gd name="csX21" fmla="*/ 25003 w 341686"/>
                    <a:gd name="csY21" fmla="*/ 110289 h 207515"/>
                    <a:gd name="csX22" fmla="*/ 57657 w 341686"/>
                    <a:gd name="csY22" fmla="*/ 96491 h 207515"/>
                    <a:gd name="csX23" fmla="*/ 68190 w 341686"/>
                    <a:gd name="csY23" fmla="*/ 82724 h 207515"/>
                    <a:gd name="csX24" fmla="*/ 80868 w 341686"/>
                    <a:gd name="csY24" fmla="*/ 84517 h 207515"/>
                    <a:gd name="csX25" fmla="*/ 90664 w 341686"/>
                    <a:gd name="csY25" fmla="*/ 99052 h 207515"/>
                    <a:gd name="csX26" fmla="*/ 105198 w 341686"/>
                    <a:gd name="csY26" fmla="*/ 108464 h 207515"/>
                    <a:gd name="csX27" fmla="*/ 110993 w 341686"/>
                    <a:gd name="csY27" fmla="*/ 126616 h 207515"/>
                    <a:gd name="csX28" fmla="*/ 128409 w 341686"/>
                    <a:gd name="csY28" fmla="*/ 147297 h 207515"/>
                    <a:gd name="csX29" fmla="*/ 130201 w 341686"/>
                    <a:gd name="csY29" fmla="*/ 169419 h 207515"/>
                    <a:gd name="csX30" fmla="*/ 143999 w 341686"/>
                    <a:gd name="csY30" fmla="*/ 167978 h 207515"/>
                    <a:gd name="csX31" fmla="*/ 150882 w 341686"/>
                    <a:gd name="csY31" fmla="*/ 156709 h 207515"/>
                    <a:gd name="csX32" fmla="*/ 164681 w 341686"/>
                    <a:gd name="csY32" fmla="*/ 157445 h 207515"/>
                    <a:gd name="csX33" fmla="*/ 168650 w 341686"/>
                    <a:gd name="csY33" fmla="*/ 159270 h 207515"/>
                    <a:gd name="csX34" fmla="*/ 176654 w 341686"/>
                    <a:gd name="csY34" fmla="*/ 149090 h 207515"/>
                    <a:gd name="csX35" fmla="*/ 181712 w 341686"/>
                    <a:gd name="csY35" fmla="*/ 154916 h 207515"/>
                    <a:gd name="csX36" fmla="*/ 187891 w 341686"/>
                    <a:gd name="csY36" fmla="*/ 151651 h 207515"/>
                    <a:gd name="csX37" fmla="*/ 204954 w 341686"/>
                    <a:gd name="csY37" fmla="*/ 182480 h 207515"/>
                    <a:gd name="csX38" fmla="*/ 211837 w 341686"/>
                    <a:gd name="csY38" fmla="*/ 179215 h 207515"/>
                    <a:gd name="csX39" fmla="*/ 216191 w 341686"/>
                    <a:gd name="csY39" fmla="*/ 181744 h 207515"/>
                    <a:gd name="csX40" fmla="*/ 224899 w 341686"/>
                    <a:gd name="csY40" fmla="*/ 203161 h 207515"/>
                    <a:gd name="csX41" fmla="*/ 240138 w 341686"/>
                    <a:gd name="csY41" fmla="*/ 207516 h 207515"/>
                    <a:gd name="csX42" fmla="*/ 243755 w 341686"/>
                    <a:gd name="csY42" fmla="*/ 207516 h 207515"/>
                    <a:gd name="csX43" fmla="*/ 246284 w 341686"/>
                    <a:gd name="csY43" fmla="*/ 191893 h 207515"/>
                    <a:gd name="csX44" fmla="*/ 254992 w 341686"/>
                    <a:gd name="csY44" fmla="*/ 191893 h 207515"/>
                    <a:gd name="csX45" fmla="*/ 257553 w 341686"/>
                    <a:gd name="csY45" fmla="*/ 187538 h 207515"/>
                    <a:gd name="csX46" fmla="*/ 267702 w 341686"/>
                    <a:gd name="csY46" fmla="*/ 173036 h 207515"/>
                    <a:gd name="csX47" fmla="*/ 280027 w 341686"/>
                    <a:gd name="csY47" fmla="*/ 166889 h 207515"/>
                    <a:gd name="csX48" fmla="*/ 268790 w 341686"/>
                    <a:gd name="csY48" fmla="*/ 140382 h 207515"/>
                    <a:gd name="csX49" fmla="*/ 260819 w 341686"/>
                    <a:gd name="csY49" fmla="*/ 135324 h 207515"/>
                    <a:gd name="csX50" fmla="*/ 294530 w 341686"/>
                    <a:gd name="csY50" fmla="*/ 117172 h 207515"/>
                    <a:gd name="csX51" fmla="*/ 307239 w 341686"/>
                    <a:gd name="csY51" fmla="*/ 118612 h 207515"/>
                    <a:gd name="csX52" fmla="*/ 315947 w 341686"/>
                    <a:gd name="csY52" fmla="*/ 112081 h 207515"/>
                    <a:gd name="csX53" fmla="*/ 314122 w 341686"/>
                    <a:gd name="csY53" fmla="*/ 104110 h 207515"/>
                    <a:gd name="csX54" fmla="*/ 332274 w 341686"/>
                    <a:gd name="csY54" fmla="*/ 89607 h 207515"/>
                    <a:gd name="csX55" fmla="*/ 341686 w 341686"/>
                    <a:gd name="csY55" fmla="*/ 85990 h 207515"/>
                    <a:gd name="csX56" fmla="*/ 340982 w 341686"/>
                    <a:gd name="csY56" fmla="*/ 77634 h 207515"/>
                    <a:gd name="csX57" fmla="*/ 334067 w 341686"/>
                    <a:gd name="csY57" fmla="*/ 75105 h 207515"/>
                    <a:gd name="csX58" fmla="*/ 329745 w 341686"/>
                    <a:gd name="csY58" fmla="*/ 61307 h 207515"/>
                    <a:gd name="csX59" fmla="*/ 322126 w 341686"/>
                    <a:gd name="csY59" fmla="*/ 53336 h 207515"/>
                    <a:gd name="csX60" fmla="*/ 315211 w 341686"/>
                    <a:gd name="csY60" fmla="*/ 31214 h 207515"/>
                    <a:gd name="csX61" fmla="*/ 307239 w 341686"/>
                    <a:gd name="csY61" fmla="*/ 22506 h 207515"/>
                    <a:gd name="csX62" fmla="*/ 307239 w 341686"/>
                    <a:gd name="csY62" fmla="*/ 18856 h 207515"/>
                    <a:gd name="csX63" fmla="*/ 301445 w 341686"/>
                    <a:gd name="csY63" fmla="*/ 7971 h 207515"/>
                    <a:gd name="csX64" fmla="*/ 267702 w 341686"/>
                    <a:gd name="csY64" fmla="*/ 11973 h 207515"/>
                    <a:gd name="csX65" fmla="*/ 264436 w 341686"/>
                    <a:gd name="csY65" fmla="*/ 8708 h 207515"/>
                    <a:gd name="csX66" fmla="*/ 250638 w 341686"/>
                    <a:gd name="csY66" fmla="*/ 15591 h 207515"/>
                    <a:gd name="csX67" fmla="*/ 238665 w 341686"/>
                    <a:gd name="csY67" fmla="*/ 13062 h 207515"/>
                    <a:gd name="csX68" fmla="*/ 232518 w 341686"/>
                    <a:gd name="csY68" fmla="*/ 17416 h 207515"/>
                    <a:gd name="csX69" fmla="*/ 222338 w 341686"/>
                    <a:gd name="csY69" fmla="*/ 41362 h 207515"/>
                    <a:gd name="csX70" fmla="*/ 211101 w 341686"/>
                    <a:gd name="csY70" fmla="*/ 46452 h 207515"/>
                    <a:gd name="csX71" fmla="*/ 182448 w 341686"/>
                    <a:gd name="csY71" fmla="*/ 75105 h 207515"/>
                    <a:gd name="csX72" fmla="*/ 154148 w 341686"/>
                    <a:gd name="csY72" fmla="*/ 85254 h 207515"/>
                    <a:gd name="csX73" fmla="*/ 144736 w 341686"/>
                    <a:gd name="csY73" fmla="*/ 105198 h 207515"/>
                    <a:gd name="csX74" fmla="*/ 145440 w 341686"/>
                    <a:gd name="csY74" fmla="*/ 92873 h 207515"/>
                    <a:gd name="csX75" fmla="*/ 140382 w 341686"/>
                    <a:gd name="csY75" fmla="*/ 89607 h 207515"/>
                    <a:gd name="csX76" fmla="*/ 153444 w 341686"/>
                    <a:gd name="csY76" fmla="*/ 81988 h 207515"/>
                    <a:gd name="csX77" fmla="*/ 157765 w 341686"/>
                    <a:gd name="csY77" fmla="*/ 66397 h 207515"/>
                    <a:gd name="csX78" fmla="*/ 154148 w 341686"/>
                    <a:gd name="csY78" fmla="*/ 56953 h 207515"/>
                    <a:gd name="csX79" fmla="*/ 148353 w 341686"/>
                    <a:gd name="csY79" fmla="*/ 57689 h 207515"/>
                    <a:gd name="csX80" fmla="*/ 146529 w 341686"/>
                    <a:gd name="csY80" fmla="*/ 51511 h 207515"/>
                    <a:gd name="csX81" fmla="*/ 149090 w 341686"/>
                    <a:gd name="csY81" fmla="*/ 40626 h 207515"/>
                    <a:gd name="csX82" fmla="*/ 162856 w 341686"/>
                    <a:gd name="csY82" fmla="*/ 36272 h 207515"/>
                    <a:gd name="csX83" fmla="*/ 157765 w 341686"/>
                    <a:gd name="csY83" fmla="*/ 28301 h 207515"/>
                    <a:gd name="csX84" fmla="*/ 172300 w 341686"/>
                    <a:gd name="csY84" fmla="*/ 0 h 20751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41686" h="207515">
                      <a:moveTo>
                        <a:pt x="172300" y="0"/>
                      </a:moveTo>
                      <a:lnTo>
                        <a:pt x="158502" y="7971"/>
                      </a:lnTo>
                      <a:lnTo>
                        <a:pt x="149090" y="8708"/>
                      </a:lnTo>
                      <a:lnTo>
                        <a:pt x="131674" y="16327"/>
                      </a:lnTo>
                      <a:lnTo>
                        <a:pt x="134555" y="27564"/>
                      </a:lnTo>
                      <a:lnTo>
                        <a:pt x="116435" y="46452"/>
                      </a:lnTo>
                      <a:lnTo>
                        <a:pt x="123318" y="55160"/>
                      </a:lnTo>
                      <a:lnTo>
                        <a:pt x="105198" y="62043"/>
                      </a:lnTo>
                      <a:lnTo>
                        <a:pt x="115347" y="71455"/>
                      </a:lnTo>
                      <a:lnTo>
                        <a:pt x="103374" y="78370"/>
                      </a:lnTo>
                      <a:lnTo>
                        <a:pt x="107727" y="81988"/>
                      </a:lnTo>
                      <a:lnTo>
                        <a:pt x="105903" y="87783"/>
                      </a:lnTo>
                      <a:lnTo>
                        <a:pt x="100108" y="80163"/>
                      </a:lnTo>
                      <a:lnTo>
                        <a:pt x="88871" y="84517"/>
                      </a:lnTo>
                      <a:lnTo>
                        <a:pt x="81956" y="78370"/>
                      </a:lnTo>
                      <a:lnTo>
                        <a:pt x="66365" y="75105"/>
                      </a:lnTo>
                      <a:lnTo>
                        <a:pt x="39890" y="96491"/>
                      </a:lnTo>
                      <a:lnTo>
                        <a:pt x="33711" y="98315"/>
                      </a:lnTo>
                      <a:lnTo>
                        <a:pt x="0" y="110289"/>
                      </a:lnTo>
                      <a:lnTo>
                        <a:pt x="1088" y="120437"/>
                      </a:lnTo>
                      <a:lnTo>
                        <a:pt x="13030" y="125527"/>
                      </a:lnTo>
                      <a:lnTo>
                        <a:pt x="25003" y="110289"/>
                      </a:lnTo>
                      <a:lnTo>
                        <a:pt x="57657" y="96491"/>
                      </a:lnTo>
                      <a:lnTo>
                        <a:pt x="68190" y="82724"/>
                      </a:lnTo>
                      <a:lnTo>
                        <a:pt x="80868" y="84517"/>
                      </a:lnTo>
                      <a:lnTo>
                        <a:pt x="90664" y="99052"/>
                      </a:lnTo>
                      <a:lnTo>
                        <a:pt x="105198" y="108464"/>
                      </a:lnTo>
                      <a:lnTo>
                        <a:pt x="110993" y="126616"/>
                      </a:lnTo>
                      <a:lnTo>
                        <a:pt x="128409" y="147297"/>
                      </a:lnTo>
                      <a:lnTo>
                        <a:pt x="130201" y="169419"/>
                      </a:lnTo>
                      <a:lnTo>
                        <a:pt x="143999" y="167978"/>
                      </a:lnTo>
                      <a:lnTo>
                        <a:pt x="150882" y="156709"/>
                      </a:lnTo>
                      <a:lnTo>
                        <a:pt x="164681" y="157445"/>
                      </a:lnTo>
                      <a:lnTo>
                        <a:pt x="168650" y="159270"/>
                      </a:lnTo>
                      <a:lnTo>
                        <a:pt x="176654" y="149090"/>
                      </a:lnTo>
                      <a:lnTo>
                        <a:pt x="181712" y="154916"/>
                      </a:lnTo>
                      <a:lnTo>
                        <a:pt x="187891" y="151651"/>
                      </a:lnTo>
                      <a:lnTo>
                        <a:pt x="204954" y="182480"/>
                      </a:lnTo>
                      <a:lnTo>
                        <a:pt x="211837" y="179215"/>
                      </a:lnTo>
                      <a:lnTo>
                        <a:pt x="216191" y="181744"/>
                      </a:lnTo>
                      <a:lnTo>
                        <a:pt x="224899" y="203161"/>
                      </a:lnTo>
                      <a:lnTo>
                        <a:pt x="240138" y="207516"/>
                      </a:lnTo>
                      <a:lnTo>
                        <a:pt x="243755" y="207516"/>
                      </a:lnTo>
                      <a:lnTo>
                        <a:pt x="246284" y="191893"/>
                      </a:lnTo>
                      <a:lnTo>
                        <a:pt x="254992" y="191893"/>
                      </a:lnTo>
                      <a:lnTo>
                        <a:pt x="257553" y="187538"/>
                      </a:lnTo>
                      <a:lnTo>
                        <a:pt x="267702" y="173036"/>
                      </a:lnTo>
                      <a:lnTo>
                        <a:pt x="280027" y="166889"/>
                      </a:lnTo>
                      <a:lnTo>
                        <a:pt x="268790" y="140382"/>
                      </a:lnTo>
                      <a:lnTo>
                        <a:pt x="260819" y="135324"/>
                      </a:lnTo>
                      <a:lnTo>
                        <a:pt x="294530" y="117172"/>
                      </a:lnTo>
                      <a:lnTo>
                        <a:pt x="307239" y="118612"/>
                      </a:lnTo>
                      <a:lnTo>
                        <a:pt x="315947" y="112081"/>
                      </a:lnTo>
                      <a:lnTo>
                        <a:pt x="314122" y="104110"/>
                      </a:lnTo>
                      <a:lnTo>
                        <a:pt x="332274" y="89607"/>
                      </a:lnTo>
                      <a:lnTo>
                        <a:pt x="341686" y="85990"/>
                      </a:lnTo>
                      <a:lnTo>
                        <a:pt x="340982" y="77634"/>
                      </a:lnTo>
                      <a:lnTo>
                        <a:pt x="334067" y="75105"/>
                      </a:lnTo>
                      <a:lnTo>
                        <a:pt x="329745" y="61307"/>
                      </a:lnTo>
                      <a:lnTo>
                        <a:pt x="322126" y="53336"/>
                      </a:lnTo>
                      <a:lnTo>
                        <a:pt x="315211" y="31214"/>
                      </a:lnTo>
                      <a:lnTo>
                        <a:pt x="307239" y="22506"/>
                      </a:lnTo>
                      <a:lnTo>
                        <a:pt x="307239" y="18856"/>
                      </a:lnTo>
                      <a:lnTo>
                        <a:pt x="301445" y="7971"/>
                      </a:lnTo>
                      <a:lnTo>
                        <a:pt x="267702" y="11973"/>
                      </a:lnTo>
                      <a:lnTo>
                        <a:pt x="264436" y="8708"/>
                      </a:lnTo>
                      <a:lnTo>
                        <a:pt x="250638" y="15591"/>
                      </a:lnTo>
                      <a:lnTo>
                        <a:pt x="238665" y="13062"/>
                      </a:lnTo>
                      <a:lnTo>
                        <a:pt x="232518" y="17416"/>
                      </a:lnTo>
                      <a:lnTo>
                        <a:pt x="222338" y="41362"/>
                      </a:lnTo>
                      <a:lnTo>
                        <a:pt x="211101" y="46452"/>
                      </a:lnTo>
                      <a:lnTo>
                        <a:pt x="182448" y="75105"/>
                      </a:lnTo>
                      <a:lnTo>
                        <a:pt x="154148" y="85254"/>
                      </a:lnTo>
                      <a:lnTo>
                        <a:pt x="144736" y="105198"/>
                      </a:lnTo>
                      <a:lnTo>
                        <a:pt x="145440" y="92873"/>
                      </a:lnTo>
                      <a:lnTo>
                        <a:pt x="140382" y="89607"/>
                      </a:lnTo>
                      <a:lnTo>
                        <a:pt x="153444" y="81988"/>
                      </a:lnTo>
                      <a:lnTo>
                        <a:pt x="157765" y="66397"/>
                      </a:lnTo>
                      <a:lnTo>
                        <a:pt x="154148" y="56953"/>
                      </a:lnTo>
                      <a:lnTo>
                        <a:pt x="148353" y="57689"/>
                      </a:lnTo>
                      <a:lnTo>
                        <a:pt x="146529" y="51511"/>
                      </a:lnTo>
                      <a:lnTo>
                        <a:pt x="149090" y="40626"/>
                      </a:lnTo>
                      <a:lnTo>
                        <a:pt x="162856" y="36272"/>
                      </a:lnTo>
                      <a:lnTo>
                        <a:pt x="157765" y="28301"/>
                      </a:lnTo>
                      <a:lnTo>
                        <a:pt x="172300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C6C99940-B1C1-21F2-BCF7-7AE76422C2BF}"/>
                    </a:ext>
                  </a:extLst>
                </p:cNvPr>
                <p:cNvSpPr/>
                <p:nvPr/>
              </p:nvSpPr>
              <p:spPr>
                <a:xfrm>
                  <a:off x="1673644" y="5172616"/>
                  <a:ext cx="341686" cy="207515"/>
                </a:xfrm>
                <a:custGeom>
                  <a:avLst/>
                  <a:gdLst>
                    <a:gd name="csX0" fmla="*/ 172300 w 341686"/>
                    <a:gd name="csY0" fmla="*/ 0 h 207515"/>
                    <a:gd name="csX1" fmla="*/ 158502 w 341686"/>
                    <a:gd name="csY1" fmla="*/ 7971 h 207515"/>
                    <a:gd name="csX2" fmla="*/ 149090 w 341686"/>
                    <a:gd name="csY2" fmla="*/ 8708 h 207515"/>
                    <a:gd name="csX3" fmla="*/ 131674 w 341686"/>
                    <a:gd name="csY3" fmla="*/ 16327 h 207515"/>
                    <a:gd name="csX4" fmla="*/ 134555 w 341686"/>
                    <a:gd name="csY4" fmla="*/ 27564 h 207515"/>
                    <a:gd name="csX5" fmla="*/ 116435 w 341686"/>
                    <a:gd name="csY5" fmla="*/ 46452 h 207515"/>
                    <a:gd name="csX6" fmla="*/ 123318 w 341686"/>
                    <a:gd name="csY6" fmla="*/ 55160 h 207515"/>
                    <a:gd name="csX7" fmla="*/ 105198 w 341686"/>
                    <a:gd name="csY7" fmla="*/ 62043 h 207515"/>
                    <a:gd name="csX8" fmla="*/ 115347 w 341686"/>
                    <a:gd name="csY8" fmla="*/ 71455 h 207515"/>
                    <a:gd name="csX9" fmla="*/ 103374 w 341686"/>
                    <a:gd name="csY9" fmla="*/ 78370 h 207515"/>
                    <a:gd name="csX10" fmla="*/ 107727 w 341686"/>
                    <a:gd name="csY10" fmla="*/ 81988 h 207515"/>
                    <a:gd name="csX11" fmla="*/ 105903 w 341686"/>
                    <a:gd name="csY11" fmla="*/ 87783 h 207515"/>
                    <a:gd name="csX12" fmla="*/ 100108 w 341686"/>
                    <a:gd name="csY12" fmla="*/ 80163 h 207515"/>
                    <a:gd name="csX13" fmla="*/ 88871 w 341686"/>
                    <a:gd name="csY13" fmla="*/ 84517 h 207515"/>
                    <a:gd name="csX14" fmla="*/ 81956 w 341686"/>
                    <a:gd name="csY14" fmla="*/ 78370 h 207515"/>
                    <a:gd name="csX15" fmla="*/ 66365 w 341686"/>
                    <a:gd name="csY15" fmla="*/ 75105 h 207515"/>
                    <a:gd name="csX16" fmla="*/ 39890 w 341686"/>
                    <a:gd name="csY16" fmla="*/ 96491 h 207515"/>
                    <a:gd name="csX17" fmla="*/ 33711 w 341686"/>
                    <a:gd name="csY17" fmla="*/ 98315 h 207515"/>
                    <a:gd name="csX18" fmla="*/ 0 w 341686"/>
                    <a:gd name="csY18" fmla="*/ 110289 h 207515"/>
                    <a:gd name="csX19" fmla="*/ 1088 w 341686"/>
                    <a:gd name="csY19" fmla="*/ 120437 h 207515"/>
                    <a:gd name="csX20" fmla="*/ 13030 w 341686"/>
                    <a:gd name="csY20" fmla="*/ 125527 h 207515"/>
                    <a:gd name="csX21" fmla="*/ 25003 w 341686"/>
                    <a:gd name="csY21" fmla="*/ 110289 h 207515"/>
                    <a:gd name="csX22" fmla="*/ 57657 w 341686"/>
                    <a:gd name="csY22" fmla="*/ 96491 h 207515"/>
                    <a:gd name="csX23" fmla="*/ 68190 w 341686"/>
                    <a:gd name="csY23" fmla="*/ 82724 h 207515"/>
                    <a:gd name="csX24" fmla="*/ 80868 w 341686"/>
                    <a:gd name="csY24" fmla="*/ 84517 h 207515"/>
                    <a:gd name="csX25" fmla="*/ 90664 w 341686"/>
                    <a:gd name="csY25" fmla="*/ 99052 h 207515"/>
                    <a:gd name="csX26" fmla="*/ 105198 w 341686"/>
                    <a:gd name="csY26" fmla="*/ 108464 h 207515"/>
                    <a:gd name="csX27" fmla="*/ 110993 w 341686"/>
                    <a:gd name="csY27" fmla="*/ 126616 h 207515"/>
                    <a:gd name="csX28" fmla="*/ 128409 w 341686"/>
                    <a:gd name="csY28" fmla="*/ 147297 h 207515"/>
                    <a:gd name="csX29" fmla="*/ 130201 w 341686"/>
                    <a:gd name="csY29" fmla="*/ 169419 h 207515"/>
                    <a:gd name="csX30" fmla="*/ 143999 w 341686"/>
                    <a:gd name="csY30" fmla="*/ 167978 h 207515"/>
                    <a:gd name="csX31" fmla="*/ 150882 w 341686"/>
                    <a:gd name="csY31" fmla="*/ 156709 h 207515"/>
                    <a:gd name="csX32" fmla="*/ 164681 w 341686"/>
                    <a:gd name="csY32" fmla="*/ 157445 h 207515"/>
                    <a:gd name="csX33" fmla="*/ 168650 w 341686"/>
                    <a:gd name="csY33" fmla="*/ 159270 h 207515"/>
                    <a:gd name="csX34" fmla="*/ 176654 w 341686"/>
                    <a:gd name="csY34" fmla="*/ 149090 h 207515"/>
                    <a:gd name="csX35" fmla="*/ 181712 w 341686"/>
                    <a:gd name="csY35" fmla="*/ 154916 h 207515"/>
                    <a:gd name="csX36" fmla="*/ 187891 w 341686"/>
                    <a:gd name="csY36" fmla="*/ 151651 h 207515"/>
                    <a:gd name="csX37" fmla="*/ 204954 w 341686"/>
                    <a:gd name="csY37" fmla="*/ 182480 h 207515"/>
                    <a:gd name="csX38" fmla="*/ 211837 w 341686"/>
                    <a:gd name="csY38" fmla="*/ 179215 h 207515"/>
                    <a:gd name="csX39" fmla="*/ 216191 w 341686"/>
                    <a:gd name="csY39" fmla="*/ 181744 h 207515"/>
                    <a:gd name="csX40" fmla="*/ 224899 w 341686"/>
                    <a:gd name="csY40" fmla="*/ 203161 h 207515"/>
                    <a:gd name="csX41" fmla="*/ 240138 w 341686"/>
                    <a:gd name="csY41" fmla="*/ 207516 h 207515"/>
                    <a:gd name="csX42" fmla="*/ 243755 w 341686"/>
                    <a:gd name="csY42" fmla="*/ 207516 h 207515"/>
                    <a:gd name="csX43" fmla="*/ 246284 w 341686"/>
                    <a:gd name="csY43" fmla="*/ 191893 h 207515"/>
                    <a:gd name="csX44" fmla="*/ 254992 w 341686"/>
                    <a:gd name="csY44" fmla="*/ 191893 h 207515"/>
                    <a:gd name="csX45" fmla="*/ 257553 w 341686"/>
                    <a:gd name="csY45" fmla="*/ 187538 h 207515"/>
                    <a:gd name="csX46" fmla="*/ 267702 w 341686"/>
                    <a:gd name="csY46" fmla="*/ 173036 h 207515"/>
                    <a:gd name="csX47" fmla="*/ 280027 w 341686"/>
                    <a:gd name="csY47" fmla="*/ 166889 h 207515"/>
                    <a:gd name="csX48" fmla="*/ 268790 w 341686"/>
                    <a:gd name="csY48" fmla="*/ 140382 h 207515"/>
                    <a:gd name="csX49" fmla="*/ 260819 w 341686"/>
                    <a:gd name="csY49" fmla="*/ 135324 h 207515"/>
                    <a:gd name="csX50" fmla="*/ 294530 w 341686"/>
                    <a:gd name="csY50" fmla="*/ 117172 h 207515"/>
                    <a:gd name="csX51" fmla="*/ 307239 w 341686"/>
                    <a:gd name="csY51" fmla="*/ 118612 h 207515"/>
                    <a:gd name="csX52" fmla="*/ 315947 w 341686"/>
                    <a:gd name="csY52" fmla="*/ 112081 h 207515"/>
                    <a:gd name="csX53" fmla="*/ 314122 w 341686"/>
                    <a:gd name="csY53" fmla="*/ 104110 h 207515"/>
                    <a:gd name="csX54" fmla="*/ 332274 w 341686"/>
                    <a:gd name="csY54" fmla="*/ 89607 h 207515"/>
                    <a:gd name="csX55" fmla="*/ 341686 w 341686"/>
                    <a:gd name="csY55" fmla="*/ 85990 h 207515"/>
                    <a:gd name="csX56" fmla="*/ 340982 w 341686"/>
                    <a:gd name="csY56" fmla="*/ 77634 h 207515"/>
                    <a:gd name="csX57" fmla="*/ 334067 w 341686"/>
                    <a:gd name="csY57" fmla="*/ 75105 h 207515"/>
                    <a:gd name="csX58" fmla="*/ 329745 w 341686"/>
                    <a:gd name="csY58" fmla="*/ 61307 h 207515"/>
                    <a:gd name="csX59" fmla="*/ 322126 w 341686"/>
                    <a:gd name="csY59" fmla="*/ 53336 h 207515"/>
                    <a:gd name="csX60" fmla="*/ 315211 w 341686"/>
                    <a:gd name="csY60" fmla="*/ 31214 h 207515"/>
                    <a:gd name="csX61" fmla="*/ 307239 w 341686"/>
                    <a:gd name="csY61" fmla="*/ 22506 h 207515"/>
                    <a:gd name="csX62" fmla="*/ 307239 w 341686"/>
                    <a:gd name="csY62" fmla="*/ 18856 h 207515"/>
                    <a:gd name="csX63" fmla="*/ 301445 w 341686"/>
                    <a:gd name="csY63" fmla="*/ 7971 h 207515"/>
                    <a:gd name="csX64" fmla="*/ 267702 w 341686"/>
                    <a:gd name="csY64" fmla="*/ 11973 h 207515"/>
                    <a:gd name="csX65" fmla="*/ 264436 w 341686"/>
                    <a:gd name="csY65" fmla="*/ 8708 h 207515"/>
                    <a:gd name="csX66" fmla="*/ 250638 w 341686"/>
                    <a:gd name="csY66" fmla="*/ 15591 h 207515"/>
                    <a:gd name="csX67" fmla="*/ 238665 w 341686"/>
                    <a:gd name="csY67" fmla="*/ 13062 h 207515"/>
                    <a:gd name="csX68" fmla="*/ 232518 w 341686"/>
                    <a:gd name="csY68" fmla="*/ 17416 h 207515"/>
                    <a:gd name="csX69" fmla="*/ 222338 w 341686"/>
                    <a:gd name="csY69" fmla="*/ 41362 h 207515"/>
                    <a:gd name="csX70" fmla="*/ 211101 w 341686"/>
                    <a:gd name="csY70" fmla="*/ 46452 h 207515"/>
                    <a:gd name="csX71" fmla="*/ 182448 w 341686"/>
                    <a:gd name="csY71" fmla="*/ 75105 h 207515"/>
                    <a:gd name="csX72" fmla="*/ 154148 w 341686"/>
                    <a:gd name="csY72" fmla="*/ 85254 h 207515"/>
                    <a:gd name="csX73" fmla="*/ 144736 w 341686"/>
                    <a:gd name="csY73" fmla="*/ 105198 h 207515"/>
                    <a:gd name="csX74" fmla="*/ 145440 w 341686"/>
                    <a:gd name="csY74" fmla="*/ 92873 h 207515"/>
                    <a:gd name="csX75" fmla="*/ 140382 w 341686"/>
                    <a:gd name="csY75" fmla="*/ 89607 h 207515"/>
                    <a:gd name="csX76" fmla="*/ 153444 w 341686"/>
                    <a:gd name="csY76" fmla="*/ 81988 h 207515"/>
                    <a:gd name="csX77" fmla="*/ 157765 w 341686"/>
                    <a:gd name="csY77" fmla="*/ 66397 h 207515"/>
                    <a:gd name="csX78" fmla="*/ 154148 w 341686"/>
                    <a:gd name="csY78" fmla="*/ 56953 h 207515"/>
                    <a:gd name="csX79" fmla="*/ 148353 w 341686"/>
                    <a:gd name="csY79" fmla="*/ 57689 h 207515"/>
                    <a:gd name="csX80" fmla="*/ 146529 w 341686"/>
                    <a:gd name="csY80" fmla="*/ 51511 h 207515"/>
                    <a:gd name="csX81" fmla="*/ 149090 w 341686"/>
                    <a:gd name="csY81" fmla="*/ 40626 h 207515"/>
                    <a:gd name="csX82" fmla="*/ 162856 w 341686"/>
                    <a:gd name="csY82" fmla="*/ 36272 h 207515"/>
                    <a:gd name="csX83" fmla="*/ 157765 w 341686"/>
                    <a:gd name="csY83" fmla="*/ 28301 h 207515"/>
                    <a:gd name="csX84" fmla="*/ 172300 w 341686"/>
                    <a:gd name="csY84" fmla="*/ 0 h 20751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41686" h="207515">
                      <a:moveTo>
                        <a:pt x="172300" y="0"/>
                      </a:moveTo>
                      <a:lnTo>
                        <a:pt x="158502" y="7971"/>
                      </a:lnTo>
                      <a:lnTo>
                        <a:pt x="149090" y="8708"/>
                      </a:lnTo>
                      <a:lnTo>
                        <a:pt x="131674" y="16327"/>
                      </a:lnTo>
                      <a:lnTo>
                        <a:pt x="134555" y="27564"/>
                      </a:lnTo>
                      <a:lnTo>
                        <a:pt x="116435" y="46452"/>
                      </a:lnTo>
                      <a:lnTo>
                        <a:pt x="123318" y="55160"/>
                      </a:lnTo>
                      <a:lnTo>
                        <a:pt x="105198" y="62043"/>
                      </a:lnTo>
                      <a:lnTo>
                        <a:pt x="115347" y="71455"/>
                      </a:lnTo>
                      <a:lnTo>
                        <a:pt x="103374" y="78370"/>
                      </a:lnTo>
                      <a:lnTo>
                        <a:pt x="107727" y="81988"/>
                      </a:lnTo>
                      <a:lnTo>
                        <a:pt x="105903" y="87783"/>
                      </a:lnTo>
                      <a:lnTo>
                        <a:pt x="100108" y="80163"/>
                      </a:lnTo>
                      <a:lnTo>
                        <a:pt x="88871" y="84517"/>
                      </a:lnTo>
                      <a:lnTo>
                        <a:pt x="81956" y="78370"/>
                      </a:lnTo>
                      <a:lnTo>
                        <a:pt x="66365" y="75105"/>
                      </a:lnTo>
                      <a:lnTo>
                        <a:pt x="39890" y="96491"/>
                      </a:lnTo>
                      <a:lnTo>
                        <a:pt x="33711" y="98315"/>
                      </a:lnTo>
                      <a:lnTo>
                        <a:pt x="0" y="110289"/>
                      </a:lnTo>
                      <a:lnTo>
                        <a:pt x="1088" y="120437"/>
                      </a:lnTo>
                      <a:lnTo>
                        <a:pt x="13030" y="125527"/>
                      </a:lnTo>
                      <a:lnTo>
                        <a:pt x="25003" y="110289"/>
                      </a:lnTo>
                      <a:lnTo>
                        <a:pt x="57657" y="96491"/>
                      </a:lnTo>
                      <a:lnTo>
                        <a:pt x="68190" y="82724"/>
                      </a:lnTo>
                      <a:lnTo>
                        <a:pt x="80868" y="84517"/>
                      </a:lnTo>
                      <a:lnTo>
                        <a:pt x="90664" y="99052"/>
                      </a:lnTo>
                      <a:lnTo>
                        <a:pt x="105198" y="108464"/>
                      </a:lnTo>
                      <a:lnTo>
                        <a:pt x="110993" y="126616"/>
                      </a:lnTo>
                      <a:lnTo>
                        <a:pt x="128409" y="147297"/>
                      </a:lnTo>
                      <a:lnTo>
                        <a:pt x="130201" y="169419"/>
                      </a:lnTo>
                      <a:lnTo>
                        <a:pt x="143999" y="167978"/>
                      </a:lnTo>
                      <a:lnTo>
                        <a:pt x="150882" y="156709"/>
                      </a:lnTo>
                      <a:lnTo>
                        <a:pt x="164681" y="157445"/>
                      </a:lnTo>
                      <a:lnTo>
                        <a:pt x="168650" y="159270"/>
                      </a:lnTo>
                      <a:lnTo>
                        <a:pt x="176654" y="149090"/>
                      </a:lnTo>
                      <a:lnTo>
                        <a:pt x="181712" y="154916"/>
                      </a:lnTo>
                      <a:lnTo>
                        <a:pt x="187891" y="151651"/>
                      </a:lnTo>
                      <a:lnTo>
                        <a:pt x="204954" y="182480"/>
                      </a:lnTo>
                      <a:lnTo>
                        <a:pt x="211837" y="179215"/>
                      </a:lnTo>
                      <a:lnTo>
                        <a:pt x="216191" y="181744"/>
                      </a:lnTo>
                      <a:lnTo>
                        <a:pt x="224899" y="203161"/>
                      </a:lnTo>
                      <a:lnTo>
                        <a:pt x="240138" y="207516"/>
                      </a:lnTo>
                      <a:lnTo>
                        <a:pt x="243755" y="207516"/>
                      </a:lnTo>
                      <a:lnTo>
                        <a:pt x="246284" y="191893"/>
                      </a:lnTo>
                      <a:lnTo>
                        <a:pt x="254992" y="191893"/>
                      </a:lnTo>
                      <a:lnTo>
                        <a:pt x="257553" y="187538"/>
                      </a:lnTo>
                      <a:lnTo>
                        <a:pt x="267702" y="173036"/>
                      </a:lnTo>
                      <a:lnTo>
                        <a:pt x="280027" y="166889"/>
                      </a:lnTo>
                      <a:lnTo>
                        <a:pt x="268790" y="140382"/>
                      </a:lnTo>
                      <a:lnTo>
                        <a:pt x="260819" y="135324"/>
                      </a:lnTo>
                      <a:lnTo>
                        <a:pt x="294530" y="117172"/>
                      </a:lnTo>
                      <a:lnTo>
                        <a:pt x="307239" y="118612"/>
                      </a:lnTo>
                      <a:lnTo>
                        <a:pt x="315947" y="112081"/>
                      </a:lnTo>
                      <a:lnTo>
                        <a:pt x="314122" y="104110"/>
                      </a:lnTo>
                      <a:lnTo>
                        <a:pt x="332274" y="89607"/>
                      </a:lnTo>
                      <a:lnTo>
                        <a:pt x="341686" y="85990"/>
                      </a:lnTo>
                      <a:lnTo>
                        <a:pt x="340982" y="77634"/>
                      </a:lnTo>
                      <a:lnTo>
                        <a:pt x="334067" y="75105"/>
                      </a:lnTo>
                      <a:lnTo>
                        <a:pt x="329745" y="61307"/>
                      </a:lnTo>
                      <a:lnTo>
                        <a:pt x="322126" y="53336"/>
                      </a:lnTo>
                      <a:lnTo>
                        <a:pt x="315211" y="31214"/>
                      </a:lnTo>
                      <a:lnTo>
                        <a:pt x="307239" y="22506"/>
                      </a:lnTo>
                      <a:lnTo>
                        <a:pt x="307239" y="18856"/>
                      </a:lnTo>
                      <a:lnTo>
                        <a:pt x="301445" y="7971"/>
                      </a:lnTo>
                      <a:lnTo>
                        <a:pt x="267702" y="11973"/>
                      </a:lnTo>
                      <a:lnTo>
                        <a:pt x="264436" y="8708"/>
                      </a:lnTo>
                      <a:lnTo>
                        <a:pt x="250638" y="15591"/>
                      </a:lnTo>
                      <a:lnTo>
                        <a:pt x="238665" y="13062"/>
                      </a:lnTo>
                      <a:lnTo>
                        <a:pt x="232518" y="17416"/>
                      </a:lnTo>
                      <a:lnTo>
                        <a:pt x="222338" y="41362"/>
                      </a:lnTo>
                      <a:lnTo>
                        <a:pt x="211101" y="46452"/>
                      </a:lnTo>
                      <a:lnTo>
                        <a:pt x="182448" y="75105"/>
                      </a:lnTo>
                      <a:lnTo>
                        <a:pt x="154148" y="85254"/>
                      </a:lnTo>
                      <a:lnTo>
                        <a:pt x="144736" y="105198"/>
                      </a:lnTo>
                      <a:lnTo>
                        <a:pt x="145440" y="92873"/>
                      </a:lnTo>
                      <a:lnTo>
                        <a:pt x="140382" y="89607"/>
                      </a:lnTo>
                      <a:lnTo>
                        <a:pt x="153444" y="81988"/>
                      </a:lnTo>
                      <a:lnTo>
                        <a:pt x="157765" y="66397"/>
                      </a:lnTo>
                      <a:lnTo>
                        <a:pt x="154148" y="56953"/>
                      </a:lnTo>
                      <a:lnTo>
                        <a:pt x="148353" y="57689"/>
                      </a:lnTo>
                      <a:lnTo>
                        <a:pt x="146529" y="51511"/>
                      </a:lnTo>
                      <a:lnTo>
                        <a:pt x="149090" y="40626"/>
                      </a:lnTo>
                      <a:lnTo>
                        <a:pt x="162856" y="36272"/>
                      </a:lnTo>
                      <a:lnTo>
                        <a:pt x="157765" y="28301"/>
                      </a:lnTo>
                      <a:lnTo>
                        <a:pt x="172300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5" name="Forma Livre: Forma 284">
                  <a:extLst>
                    <a:ext uri="{FF2B5EF4-FFF2-40B4-BE49-F238E27FC236}">
                      <a16:creationId xmlns:a16="http://schemas.microsoft.com/office/drawing/2014/main" id="{A092D8CB-92A3-38CC-0E1F-760353F36C28}"/>
                    </a:ext>
                  </a:extLst>
                </p:cNvPr>
                <p:cNvSpPr/>
                <p:nvPr/>
              </p:nvSpPr>
              <p:spPr>
                <a:xfrm>
                  <a:off x="1673644" y="5172616"/>
                  <a:ext cx="341686" cy="207515"/>
                </a:xfrm>
                <a:custGeom>
                  <a:avLst/>
                  <a:gdLst>
                    <a:gd name="csX0" fmla="*/ 172300 w 341686"/>
                    <a:gd name="csY0" fmla="*/ 0 h 207515"/>
                    <a:gd name="csX1" fmla="*/ 158502 w 341686"/>
                    <a:gd name="csY1" fmla="*/ 7971 h 207515"/>
                    <a:gd name="csX2" fmla="*/ 149090 w 341686"/>
                    <a:gd name="csY2" fmla="*/ 8708 h 207515"/>
                    <a:gd name="csX3" fmla="*/ 131674 w 341686"/>
                    <a:gd name="csY3" fmla="*/ 16327 h 207515"/>
                    <a:gd name="csX4" fmla="*/ 134555 w 341686"/>
                    <a:gd name="csY4" fmla="*/ 27564 h 207515"/>
                    <a:gd name="csX5" fmla="*/ 116435 w 341686"/>
                    <a:gd name="csY5" fmla="*/ 46452 h 207515"/>
                    <a:gd name="csX6" fmla="*/ 123318 w 341686"/>
                    <a:gd name="csY6" fmla="*/ 55160 h 207515"/>
                    <a:gd name="csX7" fmla="*/ 105198 w 341686"/>
                    <a:gd name="csY7" fmla="*/ 62043 h 207515"/>
                    <a:gd name="csX8" fmla="*/ 115347 w 341686"/>
                    <a:gd name="csY8" fmla="*/ 71455 h 207515"/>
                    <a:gd name="csX9" fmla="*/ 103374 w 341686"/>
                    <a:gd name="csY9" fmla="*/ 78370 h 207515"/>
                    <a:gd name="csX10" fmla="*/ 107727 w 341686"/>
                    <a:gd name="csY10" fmla="*/ 81988 h 207515"/>
                    <a:gd name="csX11" fmla="*/ 105903 w 341686"/>
                    <a:gd name="csY11" fmla="*/ 87783 h 207515"/>
                    <a:gd name="csX12" fmla="*/ 100108 w 341686"/>
                    <a:gd name="csY12" fmla="*/ 80163 h 207515"/>
                    <a:gd name="csX13" fmla="*/ 88871 w 341686"/>
                    <a:gd name="csY13" fmla="*/ 84517 h 207515"/>
                    <a:gd name="csX14" fmla="*/ 81956 w 341686"/>
                    <a:gd name="csY14" fmla="*/ 78370 h 207515"/>
                    <a:gd name="csX15" fmla="*/ 66365 w 341686"/>
                    <a:gd name="csY15" fmla="*/ 75105 h 207515"/>
                    <a:gd name="csX16" fmla="*/ 39890 w 341686"/>
                    <a:gd name="csY16" fmla="*/ 96491 h 207515"/>
                    <a:gd name="csX17" fmla="*/ 33711 w 341686"/>
                    <a:gd name="csY17" fmla="*/ 98315 h 207515"/>
                    <a:gd name="csX18" fmla="*/ 0 w 341686"/>
                    <a:gd name="csY18" fmla="*/ 110289 h 207515"/>
                    <a:gd name="csX19" fmla="*/ 1088 w 341686"/>
                    <a:gd name="csY19" fmla="*/ 120437 h 207515"/>
                    <a:gd name="csX20" fmla="*/ 13030 w 341686"/>
                    <a:gd name="csY20" fmla="*/ 125527 h 207515"/>
                    <a:gd name="csX21" fmla="*/ 25003 w 341686"/>
                    <a:gd name="csY21" fmla="*/ 110289 h 207515"/>
                    <a:gd name="csX22" fmla="*/ 57657 w 341686"/>
                    <a:gd name="csY22" fmla="*/ 96491 h 207515"/>
                    <a:gd name="csX23" fmla="*/ 68190 w 341686"/>
                    <a:gd name="csY23" fmla="*/ 82724 h 207515"/>
                    <a:gd name="csX24" fmla="*/ 80868 w 341686"/>
                    <a:gd name="csY24" fmla="*/ 84517 h 207515"/>
                    <a:gd name="csX25" fmla="*/ 90664 w 341686"/>
                    <a:gd name="csY25" fmla="*/ 99052 h 207515"/>
                    <a:gd name="csX26" fmla="*/ 105198 w 341686"/>
                    <a:gd name="csY26" fmla="*/ 108464 h 207515"/>
                    <a:gd name="csX27" fmla="*/ 110993 w 341686"/>
                    <a:gd name="csY27" fmla="*/ 126616 h 207515"/>
                    <a:gd name="csX28" fmla="*/ 128409 w 341686"/>
                    <a:gd name="csY28" fmla="*/ 147297 h 207515"/>
                    <a:gd name="csX29" fmla="*/ 130201 w 341686"/>
                    <a:gd name="csY29" fmla="*/ 169419 h 207515"/>
                    <a:gd name="csX30" fmla="*/ 143999 w 341686"/>
                    <a:gd name="csY30" fmla="*/ 167978 h 207515"/>
                    <a:gd name="csX31" fmla="*/ 150882 w 341686"/>
                    <a:gd name="csY31" fmla="*/ 156709 h 207515"/>
                    <a:gd name="csX32" fmla="*/ 164681 w 341686"/>
                    <a:gd name="csY32" fmla="*/ 157445 h 207515"/>
                    <a:gd name="csX33" fmla="*/ 168650 w 341686"/>
                    <a:gd name="csY33" fmla="*/ 159270 h 207515"/>
                    <a:gd name="csX34" fmla="*/ 176654 w 341686"/>
                    <a:gd name="csY34" fmla="*/ 149090 h 207515"/>
                    <a:gd name="csX35" fmla="*/ 181712 w 341686"/>
                    <a:gd name="csY35" fmla="*/ 154916 h 207515"/>
                    <a:gd name="csX36" fmla="*/ 187891 w 341686"/>
                    <a:gd name="csY36" fmla="*/ 151651 h 207515"/>
                    <a:gd name="csX37" fmla="*/ 204954 w 341686"/>
                    <a:gd name="csY37" fmla="*/ 182480 h 207515"/>
                    <a:gd name="csX38" fmla="*/ 211837 w 341686"/>
                    <a:gd name="csY38" fmla="*/ 179215 h 207515"/>
                    <a:gd name="csX39" fmla="*/ 216191 w 341686"/>
                    <a:gd name="csY39" fmla="*/ 181744 h 207515"/>
                    <a:gd name="csX40" fmla="*/ 224899 w 341686"/>
                    <a:gd name="csY40" fmla="*/ 203161 h 207515"/>
                    <a:gd name="csX41" fmla="*/ 240138 w 341686"/>
                    <a:gd name="csY41" fmla="*/ 207516 h 207515"/>
                    <a:gd name="csX42" fmla="*/ 243755 w 341686"/>
                    <a:gd name="csY42" fmla="*/ 207516 h 207515"/>
                    <a:gd name="csX43" fmla="*/ 246284 w 341686"/>
                    <a:gd name="csY43" fmla="*/ 191893 h 207515"/>
                    <a:gd name="csX44" fmla="*/ 254992 w 341686"/>
                    <a:gd name="csY44" fmla="*/ 191893 h 207515"/>
                    <a:gd name="csX45" fmla="*/ 257553 w 341686"/>
                    <a:gd name="csY45" fmla="*/ 187538 h 207515"/>
                    <a:gd name="csX46" fmla="*/ 267702 w 341686"/>
                    <a:gd name="csY46" fmla="*/ 173036 h 207515"/>
                    <a:gd name="csX47" fmla="*/ 280027 w 341686"/>
                    <a:gd name="csY47" fmla="*/ 166889 h 207515"/>
                    <a:gd name="csX48" fmla="*/ 268790 w 341686"/>
                    <a:gd name="csY48" fmla="*/ 140382 h 207515"/>
                    <a:gd name="csX49" fmla="*/ 260819 w 341686"/>
                    <a:gd name="csY49" fmla="*/ 135324 h 207515"/>
                    <a:gd name="csX50" fmla="*/ 294530 w 341686"/>
                    <a:gd name="csY50" fmla="*/ 117172 h 207515"/>
                    <a:gd name="csX51" fmla="*/ 307239 w 341686"/>
                    <a:gd name="csY51" fmla="*/ 118612 h 207515"/>
                    <a:gd name="csX52" fmla="*/ 315947 w 341686"/>
                    <a:gd name="csY52" fmla="*/ 112081 h 207515"/>
                    <a:gd name="csX53" fmla="*/ 314122 w 341686"/>
                    <a:gd name="csY53" fmla="*/ 104110 h 207515"/>
                    <a:gd name="csX54" fmla="*/ 332274 w 341686"/>
                    <a:gd name="csY54" fmla="*/ 89607 h 207515"/>
                    <a:gd name="csX55" fmla="*/ 341686 w 341686"/>
                    <a:gd name="csY55" fmla="*/ 85990 h 207515"/>
                    <a:gd name="csX56" fmla="*/ 340982 w 341686"/>
                    <a:gd name="csY56" fmla="*/ 77634 h 207515"/>
                    <a:gd name="csX57" fmla="*/ 334067 w 341686"/>
                    <a:gd name="csY57" fmla="*/ 75105 h 207515"/>
                    <a:gd name="csX58" fmla="*/ 329745 w 341686"/>
                    <a:gd name="csY58" fmla="*/ 61307 h 207515"/>
                    <a:gd name="csX59" fmla="*/ 322126 w 341686"/>
                    <a:gd name="csY59" fmla="*/ 53336 h 207515"/>
                    <a:gd name="csX60" fmla="*/ 315211 w 341686"/>
                    <a:gd name="csY60" fmla="*/ 31214 h 207515"/>
                    <a:gd name="csX61" fmla="*/ 307239 w 341686"/>
                    <a:gd name="csY61" fmla="*/ 22506 h 207515"/>
                    <a:gd name="csX62" fmla="*/ 307239 w 341686"/>
                    <a:gd name="csY62" fmla="*/ 18856 h 207515"/>
                    <a:gd name="csX63" fmla="*/ 301445 w 341686"/>
                    <a:gd name="csY63" fmla="*/ 7971 h 207515"/>
                    <a:gd name="csX64" fmla="*/ 267702 w 341686"/>
                    <a:gd name="csY64" fmla="*/ 11973 h 207515"/>
                    <a:gd name="csX65" fmla="*/ 264436 w 341686"/>
                    <a:gd name="csY65" fmla="*/ 8708 h 207515"/>
                    <a:gd name="csX66" fmla="*/ 250638 w 341686"/>
                    <a:gd name="csY66" fmla="*/ 15591 h 207515"/>
                    <a:gd name="csX67" fmla="*/ 238665 w 341686"/>
                    <a:gd name="csY67" fmla="*/ 13062 h 207515"/>
                    <a:gd name="csX68" fmla="*/ 232518 w 341686"/>
                    <a:gd name="csY68" fmla="*/ 17416 h 207515"/>
                    <a:gd name="csX69" fmla="*/ 222338 w 341686"/>
                    <a:gd name="csY69" fmla="*/ 41362 h 207515"/>
                    <a:gd name="csX70" fmla="*/ 211101 w 341686"/>
                    <a:gd name="csY70" fmla="*/ 46452 h 207515"/>
                    <a:gd name="csX71" fmla="*/ 182448 w 341686"/>
                    <a:gd name="csY71" fmla="*/ 75105 h 207515"/>
                    <a:gd name="csX72" fmla="*/ 154148 w 341686"/>
                    <a:gd name="csY72" fmla="*/ 85254 h 207515"/>
                    <a:gd name="csX73" fmla="*/ 144736 w 341686"/>
                    <a:gd name="csY73" fmla="*/ 105198 h 207515"/>
                    <a:gd name="csX74" fmla="*/ 145440 w 341686"/>
                    <a:gd name="csY74" fmla="*/ 92873 h 207515"/>
                    <a:gd name="csX75" fmla="*/ 140382 w 341686"/>
                    <a:gd name="csY75" fmla="*/ 89607 h 207515"/>
                    <a:gd name="csX76" fmla="*/ 153444 w 341686"/>
                    <a:gd name="csY76" fmla="*/ 81988 h 207515"/>
                    <a:gd name="csX77" fmla="*/ 157765 w 341686"/>
                    <a:gd name="csY77" fmla="*/ 66397 h 207515"/>
                    <a:gd name="csX78" fmla="*/ 154148 w 341686"/>
                    <a:gd name="csY78" fmla="*/ 56953 h 207515"/>
                    <a:gd name="csX79" fmla="*/ 148353 w 341686"/>
                    <a:gd name="csY79" fmla="*/ 57689 h 207515"/>
                    <a:gd name="csX80" fmla="*/ 146529 w 341686"/>
                    <a:gd name="csY80" fmla="*/ 51511 h 207515"/>
                    <a:gd name="csX81" fmla="*/ 149090 w 341686"/>
                    <a:gd name="csY81" fmla="*/ 40626 h 207515"/>
                    <a:gd name="csX82" fmla="*/ 162856 w 341686"/>
                    <a:gd name="csY82" fmla="*/ 36272 h 207515"/>
                    <a:gd name="csX83" fmla="*/ 157765 w 341686"/>
                    <a:gd name="csY83" fmla="*/ 28301 h 207515"/>
                    <a:gd name="csX84" fmla="*/ 172300 w 341686"/>
                    <a:gd name="csY84" fmla="*/ 0 h 20751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41686" h="207515">
                      <a:moveTo>
                        <a:pt x="172300" y="0"/>
                      </a:moveTo>
                      <a:lnTo>
                        <a:pt x="158502" y="7971"/>
                      </a:lnTo>
                      <a:lnTo>
                        <a:pt x="149090" y="8708"/>
                      </a:lnTo>
                      <a:lnTo>
                        <a:pt x="131674" y="16327"/>
                      </a:lnTo>
                      <a:lnTo>
                        <a:pt x="134555" y="27564"/>
                      </a:lnTo>
                      <a:lnTo>
                        <a:pt x="116435" y="46452"/>
                      </a:lnTo>
                      <a:lnTo>
                        <a:pt x="123318" y="55160"/>
                      </a:lnTo>
                      <a:lnTo>
                        <a:pt x="105198" y="62043"/>
                      </a:lnTo>
                      <a:lnTo>
                        <a:pt x="115347" y="71455"/>
                      </a:lnTo>
                      <a:lnTo>
                        <a:pt x="103374" y="78370"/>
                      </a:lnTo>
                      <a:lnTo>
                        <a:pt x="107727" y="81988"/>
                      </a:lnTo>
                      <a:lnTo>
                        <a:pt x="105903" y="87783"/>
                      </a:lnTo>
                      <a:lnTo>
                        <a:pt x="100108" y="80163"/>
                      </a:lnTo>
                      <a:lnTo>
                        <a:pt x="88871" y="84517"/>
                      </a:lnTo>
                      <a:lnTo>
                        <a:pt x="81956" y="78370"/>
                      </a:lnTo>
                      <a:lnTo>
                        <a:pt x="66365" y="75105"/>
                      </a:lnTo>
                      <a:lnTo>
                        <a:pt x="39890" y="96491"/>
                      </a:lnTo>
                      <a:lnTo>
                        <a:pt x="33711" y="98315"/>
                      </a:lnTo>
                      <a:lnTo>
                        <a:pt x="0" y="110289"/>
                      </a:lnTo>
                      <a:lnTo>
                        <a:pt x="1088" y="120437"/>
                      </a:lnTo>
                      <a:lnTo>
                        <a:pt x="13030" y="125527"/>
                      </a:lnTo>
                      <a:lnTo>
                        <a:pt x="25003" y="110289"/>
                      </a:lnTo>
                      <a:lnTo>
                        <a:pt x="57657" y="96491"/>
                      </a:lnTo>
                      <a:lnTo>
                        <a:pt x="68190" y="82724"/>
                      </a:lnTo>
                      <a:lnTo>
                        <a:pt x="80868" y="84517"/>
                      </a:lnTo>
                      <a:lnTo>
                        <a:pt x="90664" y="99052"/>
                      </a:lnTo>
                      <a:lnTo>
                        <a:pt x="105198" y="108464"/>
                      </a:lnTo>
                      <a:lnTo>
                        <a:pt x="110993" y="126616"/>
                      </a:lnTo>
                      <a:lnTo>
                        <a:pt x="128409" y="147297"/>
                      </a:lnTo>
                      <a:lnTo>
                        <a:pt x="130201" y="169419"/>
                      </a:lnTo>
                      <a:lnTo>
                        <a:pt x="143999" y="167978"/>
                      </a:lnTo>
                      <a:lnTo>
                        <a:pt x="150882" y="156709"/>
                      </a:lnTo>
                      <a:lnTo>
                        <a:pt x="164681" y="157445"/>
                      </a:lnTo>
                      <a:lnTo>
                        <a:pt x="168650" y="159270"/>
                      </a:lnTo>
                      <a:lnTo>
                        <a:pt x="176654" y="149090"/>
                      </a:lnTo>
                      <a:lnTo>
                        <a:pt x="181712" y="154916"/>
                      </a:lnTo>
                      <a:lnTo>
                        <a:pt x="187891" y="151651"/>
                      </a:lnTo>
                      <a:lnTo>
                        <a:pt x="204954" y="182480"/>
                      </a:lnTo>
                      <a:lnTo>
                        <a:pt x="211837" y="179215"/>
                      </a:lnTo>
                      <a:lnTo>
                        <a:pt x="216191" y="181744"/>
                      </a:lnTo>
                      <a:lnTo>
                        <a:pt x="224899" y="203161"/>
                      </a:lnTo>
                      <a:lnTo>
                        <a:pt x="240138" y="207516"/>
                      </a:lnTo>
                      <a:lnTo>
                        <a:pt x="243755" y="207516"/>
                      </a:lnTo>
                      <a:lnTo>
                        <a:pt x="246284" y="191893"/>
                      </a:lnTo>
                      <a:lnTo>
                        <a:pt x="254992" y="191893"/>
                      </a:lnTo>
                      <a:lnTo>
                        <a:pt x="257553" y="187538"/>
                      </a:lnTo>
                      <a:lnTo>
                        <a:pt x="267702" y="173036"/>
                      </a:lnTo>
                      <a:lnTo>
                        <a:pt x="280027" y="166889"/>
                      </a:lnTo>
                      <a:lnTo>
                        <a:pt x="268790" y="140382"/>
                      </a:lnTo>
                      <a:lnTo>
                        <a:pt x="260819" y="135324"/>
                      </a:lnTo>
                      <a:lnTo>
                        <a:pt x="294530" y="117172"/>
                      </a:lnTo>
                      <a:lnTo>
                        <a:pt x="307239" y="118612"/>
                      </a:lnTo>
                      <a:lnTo>
                        <a:pt x="315947" y="112081"/>
                      </a:lnTo>
                      <a:lnTo>
                        <a:pt x="314122" y="104110"/>
                      </a:lnTo>
                      <a:lnTo>
                        <a:pt x="332274" y="89607"/>
                      </a:lnTo>
                      <a:lnTo>
                        <a:pt x="341686" y="85990"/>
                      </a:lnTo>
                      <a:lnTo>
                        <a:pt x="340982" y="77634"/>
                      </a:lnTo>
                      <a:lnTo>
                        <a:pt x="334067" y="75105"/>
                      </a:lnTo>
                      <a:lnTo>
                        <a:pt x="329745" y="61307"/>
                      </a:lnTo>
                      <a:lnTo>
                        <a:pt x="322126" y="53336"/>
                      </a:lnTo>
                      <a:lnTo>
                        <a:pt x="315211" y="31214"/>
                      </a:lnTo>
                      <a:lnTo>
                        <a:pt x="307239" y="22506"/>
                      </a:lnTo>
                      <a:lnTo>
                        <a:pt x="307239" y="18856"/>
                      </a:lnTo>
                      <a:lnTo>
                        <a:pt x="301445" y="7971"/>
                      </a:lnTo>
                      <a:lnTo>
                        <a:pt x="267702" y="11973"/>
                      </a:lnTo>
                      <a:lnTo>
                        <a:pt x="264436" y="8708"/>
                      </a:lnTo>
                      <a:lnTo>
                        <a:pt x="250638" y="15591"/>
                      </a:lnTo>
                      <a:lnTo>
                        <a:pt x="238665" y="13062"/>
                      </a:lnTo>
                      <a:lnTo>
                        <a:pt x="232518" y="17416"/>
                      </a:lnTo>
                      <a:lnTo>
                        <a:pt x="222338" y="41362"/>
                      </a:lnTo>
                      <a:lnTo>
                        <a:pt x="211101" y="46452"/>
                      </a:lnTo>
                      <a:lnTo>
                        <a:pt x="182448" y="75105"/>
                      </a:lnTo>
                      <a:lnTo>
                        <a:pt x="154148" y="85254"/>
                      </a:lnTo>
                      <a:lnTo>
                        <a:pt x="144736" y="105198"/>
                      </a:lnTo>
                      <a:lnTo>
                        <a:pt x="145440" y="92873"/>
                      </a:lnTo>
                      <a:lnTo>
                        <a:pt x="140382" y="89607"/>
                      </a:lnTo>
                      <a:lnTo>
                        <a:pt x="153444" y="81988"/>
                      </a:lnTo>
                      <a:lnTo>
                        <a:pt x="157765" y="66397"/>
                      </a:lnTo>
                      <a:lnTo>
                        <a:pt x="154148" y="56953"/>
                      </a:lnTo>
                      <a:lnTo>
                        <a:pt x="148353" y="57689"/>
                      </a:lnTo>
                      <a:lnTo>
                        <a:pt x="146529" y="51511"/>
                      </a:lnTo>
                      <a:lnTo>
                        <a:pt x="149090" y="40626"/>
                      </a:lnTo>
                      <a:lnTo>
                        <a:pt x="162856" y="36272"/>
                      </a:lnTo>
                      <a:lnTo>
                        <a:pt x="157765" y="28301"/>
                      </a:lnTo>
                      <a:lnTo>
                        <a:pt x="172300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6" name="Forma Livre: Forma 285">
                  <a:extLst>
                    <a:ext uri="{FF2B5EF4-FFF2-40B4-BE49-F238E27FC236}">
                      <a16:creationId xmlns:a16="http://schemas.microsoft.com/office/drawing/2014/main" id="{E89C57E2-901F-1490-CD21-02C9DC477897}"/>
                    </a:ext>
                  </a:extLst>
                </p:cNvPr>
                <p:cNvSpPr/>
                <p:nvPr/>
              </p:nvSpPr>
              <p:spPr>
                <a:xfrm>
                  <a:off x="2735072" y="4244336"/>
                  <a:ext cx="318476" cy="438913"/>
                </a:xfrm>
                <a:custGeom>
                  <a:avLst/>
                  <a:gdLst>
                    <a:gd name="csX0" fmla="*/ 185714 w 318476"/>
                    <a:gd name="csY0" fmla="*/ 38801 h 438913"/>
                    <a:gd name="csX1" fmla="*/ 190804 w 318476"/>
                    <a:gd name="csY1" fmla="*/ 25739 h 438913"/>
                    <a:gd name="csX2" fmla="*/ 216928 w 318476"/>
                    <a:gd name="csY2" fmla="*/ 11973 h 438913"/>
                    <a:gd name="csX3" fmla="*/ 202041 w 318476"/>
                    <a:gd name="csY3" fmla="*/ 11973 h 438913"/>
                    <a:gd name="csX4" fmla="*/ 199512 w 318476"/>
                    <a:gd name="csY4" fmla="*/ 8708 h 438913"/>
                    <a:gd name="csX5" fmla="*/ 206395 w 318476"/>
                    <a:gd name="csY5" fmla="*/ 3617 h 438913"/>
                    <a:gd name="csX6" fmla="*/ 194422 w 318476"/>
                    <a:gd name="csY6" fmla="*/ 0 h 438913"/>
                    <a:gd name="csX7" fmla="*/ 173004 w 318476"/>
                    <a:gd name="csY7" fmla="*/ 17415 h 438913"/>
                    <a:gd name="csX8" fmla="*/ 159974 w 318476"/>
                    <a:gd name="csY8" fmla="*/ 20681 h 438913"/>
                    <a:gd name="csX9" fmla="*/ 150530 w 318476"/>
                    <a:gd name="csY9" fmla="*/ 43891 h 438913"/>
                    <a:gd name="csX10" fmla="*/ 138557 w 318476"/>
                    <a:gd name="csY10" fmla="*/ 46420 h 438913"/>
                    <a:gd name="csX11" fmla="*/ 129849 w 318476"/>
                    <a:gd name="csY11" fmla="*/ 53303 h 438913"/>
                    <a:gd name="csX12" fmla="*/ 111729 w 318476"/>
                    <a:gd name="csY12" fmla="*/ 54040 h 438913"/>
                    <a:gd name="csX13" fmla="*/ 99756 w 318476"/>
                    <a:gd name="csY13" fmla="*/ 59482 h 438913"/>
                    <a:gd name="csX14" fmla="*/ 99756 w 318476"/>
                    <a:gd name="csY14" fmla="*/ 64572 h 438913"/>
                    <a:gd name="csX15" fmla="*/ 89575 w 318476"/>
                    <a:gd name="csY15" fmla="*/ 70719 h 438913"/>
                    <a:gd name="csX16" fmla="*/ 87783 w 318476"/>
                    <a:gd name="csY16" fmla="*/ 77634 h 438913"/>
                    <a:gd name="csX17" fmla="*/ 77250 w 318476"/>
                    <a:gd name="csY17" fmla="*/ 78338 h 438913"/>
                    <a:gd name="csX18" fmla="*/ 85222 w 318476"/>
                    <a:gd name="csY18" fmla="*/ 84517 h 438913"/>
                    <a:gd name="csX19" fmla="*/ 82692 w 318476"/>
                    <a:gd name="csY19" fmla="*/ 89575 h 438913"/>
                    <a:gd name="csX20" fmla="*/ 91048 w 318476"/>
                    <a:gd name="csY20" fmla="*/ 97227 h 438913"/>
                    <a:gd name="csX21" fmla="*/ 79075 w 318476"/>
                    <a:gd name="csY21" fmla="*/ 110256 h 438913"/>
                    <a:gd name="csX22" fmla="*/ 81604 w 318476"/>
                    <a:gd name="csY22" fmla="*/ 125495 h 438913"/>
                    <a:gd name="csX23" fmla="*/ 89575 w 318476"/>
                    <a:gd name="csY23" fmla="*/ 150530 h 438913"/>
                    <a:gd name="csX24" fmla="*/ 94666 w 318476"/>
                    <a:gd name="csY24" fmla="*/ 156709 h 438913"/>
                    <a:gd name="csX25" fmla="*/ 92137 w 318476"/>
                    <a:gd name="csY25" fmla="*/ 171948 h 438913"/>
                    <a:gd name="csX26" fmla="*/ 99756 w 318476"/>
                    <a:gd name="csY26" fmla="*/ 181744 h 438913"/>
                    <a:gd name="csX27" fmla="*/ 88487 w 318476"/>
                    <a:gd name="csY27" fmla="*/ 181744 h 438913"/>
                    <a:gd name="csX28" fmla="*/ 79779 w 318476"/>
                    <a:gd name="csY28" fmla="*/ 196983 h 438913"/>
                    <a:gd name="csX29" fmla="*/ 70367 w 318476"/>
                    <a:gd name="csY29" fmla="*/ 201336 h 438913"/>
                    <a:gd name="csX30" fmla="*/ 66013 w 318476"/>
                    <a:gd name="csY30" fmla="*/ 225251 h 438913"/>
                    <a:gd name="csX31" fmla="*/ 48950 w 318476"/>
                    <a:gd name="csY31" fmla="*/ 227076 h 438913"/>
                    <a:gd name="csX32" fmla="*/ 35888 w 318476"/>
                    <a:gd name="csY32" fmla="*/ 221281 h 438913"/>
                    <a:gd name="csX33" fmla="*/ 29005 w 318476"/>
                    <a:gd name="csY33" fmla="*/ 224547 h 438913"/>
                    <a:gd name="csX34" fmla="*/ 21385 w 318476"/>
                    <a:gd name="csY34" fmla="*/ 233959 h 438913"/>
                    <a:gd name="csX35" fmla="*/ 21385 w 318476"/>
                    <a:gd name="csY35" fmla="*/ 247021 h 438913"/>
                    <a:gd name="csX36" fmla="*/ 19561 w 318476"/>
                    <a:gd name="csY36" fmla="*/ 262259 h 438913"/>
                    <a:gd name="csX37" fmla="*/ 6883 w 318476"/>
                    <a:gd name="csY37" fmla="*/ 266613 h 438913"/>
                    <a:gd name="csX38" fmla="*/ 4354 w 318476"/>
                    <a:gd name="csY38" fmla="*/ 302181 h 438913"/>
                    <a:gd name="csX39" fmla="*/ 0 w 318476"/>
                    <a:gd name="csY39" fmla="*/ 307239 h 438913"/>
                    <a:gd name="csX40" fmla="*/ 5058 w 318476"/>
                    <a:gd name="csY40" fmla="*/ 325391 h 438913"/>
                    <a:gd name="csX41" fmla="*/ 12678 w 318476"/>
                    <a:gd name="csY41" fmla="*/ 327920 h 438913"/>
                    <a:gd name="csX42" fmla="*/ 29005 w 318476"/>
                    <a:gd name="csY42" fmla="*/ 318476 h 438913"/>
                    <a:gd name="csX43" fmla="*/ 49686 w 318476"/>
                    <a:gd name="csY43" fmla="*/ 326832 h 438913"/>
                    <a:gd name="csX44" fmla="*/ 70367 w 318476"/>
                    <a:gd name="csY44" fmla="*/ 328657 h 438913"/>
                    <a:gd name="csX45" fmla="*/ 71455 w 318476"/>
                    <a:gd name="csY45" fmla="*/ 328657 h 438913"/>
                    <a:gd name="csX46" fmla="*/ 77250 w 318476"/>
                    <a:gd name="csY46" fmla="*/ 348601 h 438913"/>
                    <a:gd name="csX47" fmla="*/ 42067 w 318476"/>
                    <a:gd name="csY47" fmla="*/ 361279 h 438913"/>
                    <a:gd name="csX48" fmla="*/ 51511 w 318476"/>
                    <a:gd name="csY48" fmla="*/ 363104 h 438913"/>
                    <a:gd name="csX49" fmla="*/ 62748 w 318476"/>
                    <a:gd name="csY49" fmla="*/ 376902 h 438913"/>
                    <a:gd name="csX50" fmla="*/ 49686 w 318476"/>
                    <a:gd name="csY50" fmla="*/ 388875 h 438913"/>
                    <a:gd name="csX51" fmla="*/ 55833 w 318476"/>
                    <a:gd name="csY51" fmla="*/ 400112 h 438913"/>
                    <a:gd name="csX52" fmla="*/ 62748 w 318476"/>
                    <a:gd name="csY52" fmla="*/ 401937 h 438913"/>
                    <a:gd name="csX53" fmla="*/ 80868 w 318476"/>
                    <a:gd name="csY53" fmla="*/ 395758 h 438913"/>
                    <a:gd name="csX54" fmla="*/ 105903 w 318476"/>
                    <a:gd name="csY54" fmla="*/ 378695 h 438913"/>
                    <a:gd name="csX55" fmla="*/ 114258 w 318476"/>
                    <a:gd name="csY55" fmla="*/ 383048 h 438913"/>
                    <a:gd name="csX56" fmla="*/ 124759 w 318476"/>
                    <a:gd name="csY56" fmla="*/ 372548 h 438913"/>
                    <a:gd name="csX57" fmla="*/ 134940 w 318476"/>
                    <a:gd name="csY57" fmla="*/ 375077 h 438913"/>
                    <a:gd name="csX58" fmla="*/ 148706 w 318476"/>
                    <a:gd name="csY58" fmla="*/ 363840 h 438913"/>
                    <a:gd name="csX59" fmla="*/ 151267 w 318476"/>
                    <a:gd name="csY59" fmla="*/ 367458 h 438913"/>
                    <a:gd name="csX60" fmla="*/ 153059 w 318476"/>
                    <a:gd name="csY60" fmla="*/ 368194 h 438913"/>
                    <a:gd name="csX61" fmla="*/ 208220 w 318476"/>
                    <a:gd name="csY61" fmla="*/ 419705 h 438913"/>
                    <a:gd name="csX62" fmla="*/ 227780 w 318476"/>
                    <a:gd name="csY62" fmla="*/ 438913 h 438913"/>
                    <a:gd name="csX63" fmla="*/ 237577 w 318476"/>
                    <a:gd name="csY63" fmla="*/ 432766 h 438913"/>
                    <a:gd name="csX64" fmla="*/ 227076 w 318476"/>
                    <a:gd name="csY64" fmla="*/ 423322 h 438913"/>
                    <a:gd name="csX65" fmla="*/ 222722 w 318476"/>
                    <a:gd name="csY65" fmla="*/ 410260 h 438913"/>
                    <a:gd name="csX66" fmla="*/ 241578 w 318476"/>
                    <a:gd name="csY66" fmla="*/ 381256 h 438913"/>
                    <a:gd name="csX67" fmla="*/ 257169 w 318476"/>
                    <a:gd name="csY67" fmla="*/ 369987 h 438913"/>
                    <a:gd name="csX68" fmla="*/ 265173 w 318476"/>
                    <a:gd name="csY68" fmla="*/ 370723 h 438913"/>
                    <a:gd name="csX69" fmla="*/ 269143 w 318476"/>
                    <a:gd name="csY69" fmla="*/ 365633 h 438913"/>
                    <a:gd name="csX70" fmla="*/ 285470 w 318476"/>
                    <a:gd name="csY70" fmla="*/ 361279 h 438913"/>
                    <a:gd name="csX71" fmla="*/ 282941 w 318476"/>
                    <a:gd name="csY71" fmla="*/ 344984 h 438913"/>
                    <a:gd name="csX72" fmla="*/ 294178 w 318476"/>
                    <a:gd name="csY72" fmla="*/ 338069 h 438913"/>
                    <a:gd name="csX73" fmla="*/ 298531 w 318476"/>
                    <a:gd name="csY73" fmla="*/ 326095 h 438913"/>
                    <a:gd name="csX74" fmla="*/ 291648 w 318476"/>
                    <a:gd name="csY74" fmla="*/ 316683 h 438913"/>
                    <a:gd name="csX75" fmla="*/ 296002 w 318476"/>
                    <a:gd name="csY75" fmla="*/ 303622 h 438913"/>
                    <a:gd name="csX76" fmla="*/ 289824 w 318476"/>
                    <a:gd name="csY76" fmla="*/ 294177 h 438913"/>
                    <a:gd name="csX77" fmla="*/ 291648 w 318476"/>
                    <a:gd name="csY77" fmla="*/ 284029 h 438913"/>
                    <a:gd name="csX78" fmla="*/ 285470 w 318476"/>
                    <a:gd name="csY78" fmla="*/ 267702 h 438913"/>
                    <a:gd name="csX79" fmla="*/ 296707 w 318476"/>
                    <a:gd name="csY79" fmla="*/ 240138 h 438913"/>
                    <a:gd name="csX80" fmla="*/ 292353 w 318476"/>
                    <a:gd name="csY80" fmla="*/ 204954 h 438913"/>
                    <a:gd name="csX81" fmla="*/ 298531 w 318476"/>
                    <a:gd name="csY81" fmla="*/ 198775 h 438913"/>
                    <a:gd name="csX82" fmla="*/ 296707 w 318476"/>
                    <a:gd name="csY82" fmla="*/ 184273 h 438913"/>
                    <a:gd name="csX83" fmla="*/ 306151 w 318476"/>
                    <a:gd name="csY83" fmla="*/ 162503 h 438913"/>
                    <a:gd name="csX84" fmla="*/ 314122 w 318476"/>
                    <a:gd name="csY84" fmla="*/ 147265 h 438913"/>
                    <a:gd name="csX85" fmla="*/ 318476 w 318476"/>
                    <a:gd name="csY85" fmla="*/ 124791 h 438913"/>
                    <a:gd name="csX86" fmla="*/ 299268 w 318476"/>
                    <a:gd name="csY86" fmla="*/ 122230 h 438913"/>
                    <a:gd name="csX87" fmla="*/ 302885 w 318476"/>
                    <a:gd name="csY87" fmla="*/ 102285 h 438913"/>
                    <a:gd name="csX88" fmla="*/ 287295 w 318476"/>
                    <a:gd name="csY88" fmla="*/ 101549 h 438913"/>
                    <a:gd name="csX89" fmla="*/ 295266 w 318476"/>
                    <a:gd name="csY89" fmla="*/ 73985 h 438913"/>
                    <a:gd name="csX90" fmla="*/ 277850 w 318476"/>
                    <a:gd name="csY90" fmla="*/ 48949 h 438913"/>
                    <a:gd name="csX91" fmla="*/ 281500 w 318476"/>
                    <a:gd name="csY91" fmla="*/ 37712 h 438913"/>
                    <a:gd name="csX92" fmla="*/ 289824 w 318476"/>
                    <a:gd name="csY92" fmla="*/ 32654 h 438913"/>
                    <a:gd name="csX93" fmla="*/ 282204 w 318476"/>
                    <a:gd name="csY93" fmla="*/ 28300 h 438913"/>
                    <a:gd name="csX94" fmla="*/ 274585 w 318476"/>
                    <a:gd name="csY94" fmla="*/ 29389 h 438913"/>
                    <a:gd name="csX95" fmla="*/ 251375 w 318476"/>
                    <a:gd name="csY95" fmla="*/ 52599 h 438913"/>
                    <a:gd name="csX96" fmla="*/ 239049 w 318476"/>
                    <a:gd name="csY96" fmla="*/ 48245 h 438913"/>
                    <a:gd name="csX97" fmla="*/ 226340 w 318476"/>
                    <a:gd name="csY97" fmla="*/ 51511 h 438913"/>
                    <a:gd name="csX98" fmla="*/ 227076 w 318476"/>
                    <a:gd name="csY98" fmla="*/ 62748 h 438913"/>
                    <a:gd name="csX99" fmla="*/ 214366 w 318476"/>
                    <a:gd name="csY99" fmla="*/ 76546 h 438913"/>
                    <a:gd name="csX100" fmla="*/ 192597 w 318476"/>
                    <a:gd name="csY100" fmla="*/ 77634 h 438913"/>
                    <a:gd name="csX101" fmla="*/ 188243 w 318476"/>
                    <a:gd name="csY101" fmla="*/ 68926 h 438913"/>
                    <a:gd name="csX102" fmla="*/ 179919 w 318476"/>
                    <a:gd name="csY102" fmla="*/ 59482 h 438913"/>
                    <a:gd name="csX103" fmla="*/ 191893 w 318476"/>
                    <a:gd name="csY103" fmla="*/ 51511 h 438913"/>
                    <a:gd name="csX104" fmla="*/ 185714 w 318476"/>
                    <a:gd name="csY104" fmla="*/ 38801 h 4389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</a:cxnLst>
                  <a:rect l="l" t="t" r="r" b="b"/>
                  <a:pathLst>
                    <a:path w="318476" h="438913">
                      <a:moveTo>
                        <a:pt x="185714" y="38801"/>
                      </a:moveTo>
                      <a:lnTo>
                        <a:pt x="190804" y="25739"/>
                      </a:lnTo>
                      <a:lnTo>
                        <a:pt x="216928" y="11973"/>
                      </a:lnTo>
                      <a:lnTo>
                        <a:pt x="202041" y="11973"/>
                      </a:lnTo>
                      <a:lnTo>
                        <a:pt x="199512" y="8708"/>
                      </a:lnTo>
                      <a:lnTo>
                        <a:pt x="206395" y="3617"/>
                      </a:lnTo>
                      <a:lnTo>
                        <a:pt x="194422" y="0"/>
                      </a:lnTo>
                      <a:lnTo>
                        <a:pt x="173004" y="17415"/>
                      </a:lnTo>
                      <a:lnTo>
                        <a:pt x="159974" y="20681"/>
                      </a:lnTo>
                      <a:lnTo>
                        <a:pt x="150530" y="43891"/>
                      </a:lnTo>
                      <a:lnTo>
                        <a:pt x="138557" y="46420"/>
                      </a:lnTo>
                      <a:lnTo>
                        <a:pt x="129849" y="53303"/>
                      </a:lnTo>
                      <a:lnTo>
                        <a:pt x="111729" y="54040"/>
                      </a:lnTo>
                      <a:lnTo>
                        <a:pt x="99756" y="59482"/>
                      </a:lnTo>
                      <a:lnTo>
                        <a:pt x="99756" y="64572"/>
                      </a:lnTo>
                      <a:lnTo>
                        <a:pt x="89575" y="70719"/>
                      </a:lnTo>
                      <a:lnTo>
                        <a:pt x="87783" y="77634"/>
                      </a:lnTo>
                      <a:lnTo>
                        <a:pt x="77250" y="78338"/>
                      </a:lnTo>
                      <a:lnTo>
                        <a:pt x="85222" y="84517"/>
                      </a:lnTo>
                      <a:lnTo>
                        <a:pt x="82692" y="89575"/>
                      </a:lnTo>
                      <a:lnTo>
                        <a:pt x="91048" y="97227"/>
                      </a:lnTo>
                      <a:lnTo>
                        <a:pt x="79075" y="110256"/>
                      </a:lnTo>
                      <a:lnTo>
                        <a:pt x="81604" y="125495"/>
                      </a:lnTo>
                      <a:lnTo>
                        <a:pt x="89575" y="150530"/>
                      </a:lnTo>
                      <a:lnTo>
                        <a:pt x="94666" y="156709"/>
                      </a:lnTo>
                      <a:lnTo>
                        <a:pt x="92137" y="171948"/>
                      </a:lnTo>
                      <a:lnTo>
                        <a:pt x="99756" y="181744"/>
                      </a:lnTo>
                      <a:lnTo>
                        <a:pt x="88487" y="181744"/>
                      </a:lnTo>
                      <a:lnTo>
                        <a:pt x="79779" y="196983"/>
                      </a:lnTo>
                      <a:lnTo>
                        <a:pt x="70367" y="201336"/>
                      </a:lnTo>
                      <a:lnTo>
                        <a:pt x="66013" y="225251"/>
                      </a:lnTo>
                      <a:lnTo>
                        <a:pt x="48950" y="227076"/>
                      </a:lnTo>
                      <a:lnTo>
                        <a:pt x="35888" y="221281"/>
                      </a:lnTo>
                      <a:lnTo>
                        <a:pt x="29005" y="224547"/>
                      </a:lnTo>
                      <a:lnTo>
                        <a:pt x="21385" y="233959"/>
                      </a:lnTo>
                      <a:lnTo>
                        <a:pt x="21385" y="247021"/>
                      </a:lnTo>
                      <a:lnTo>
                        <a:pt x="19561" y="262259"/>
                      </a:lnTo>
                      <a:lnTo>
                        <a:pt x="6883" y="266613"/>
                      </a:lnTo>
                      <a:lnTo>
                        <a:pt x="4354" y="302181"/>
                      </a:lnTo>
                      <a:lnTo>
                        <a:pt x="0" y="307239"/>
                      </a:lnTo>
                      <a:lnTo>
                        <a:pt x="5058" y="325391"/>
                      </a:lnTo>
                      <a:lnTo>
                        <a:pt x="12678" y="327920"/>
                      </a:lnTo>
                      <a:lnTo>
                        <a:pt x="29005" y="318476"/>
                      </a:lnTo>
                      <a:lnTo>
                        <a:pt x="49686" y="326832"/>
                      </a:lnTo>
                      <a:lnTo>
                        <a:pt x="70367" y="328657"/>
                      </a:lnTo>
                      <a:lnTo>
                        <a:pt x="71455" y="328657"/>
                      </a:lnTo>
                      <a:lnTo>
                        <a:pt x="77250" y="348601"/>
                      </a:lnTo>
                      <a:lnTo>
                        <a:pt x="42067" y="361279"/>
                      </a:lnTo>
                      <a:lnTo>
                        <a:pt x="51511" y="363104"/>
                      </a:lnTo>
                      <a:lnTo>
                        <a:pt x="62748" y="376902"/>
                      </a:lnTo>
                      <a:lnTo>
                        <a:pt x="49686" y="388875"/>
                      </a:lnTo>
                      <a:lnTo>
                        <a:pt x="55833" y="400112"/>
                      </a:lnTo>
                      <a:lnTo>
                        <a:pt x="62748" y="401937"/>
                      </a:lnTo>
                      <a:lnTo>
                        <a:pt x="80868" y="395758"/>
                      </a:lnTo>
                      <a:lnTo>
                        <a:pt x="105903" y="378695"/>
                      </a:lnTo>
                      <a:lnTo>
                        <a:pt x="114258" y="383048"/>
                      </a:lnTo>
                      <a:lnTo>
                        <a:pt x="124759" y="372548"/>
                      </a:lnTo>
                      <a:lnTo>
                        <a:pt x="134940" y="375077"/>
                      </a:lnTo>
                      <a:lnTo>
                        <a:pt x="148706" y="363840"/>
                      </a:lnTo>
                      <a:lnTo>
                        <a:pt x="151267" y="367458"/>
                      </a:lnTo>
                      <a:lnTo>
                        <a:pt x="153059" y="368194"/>
                      </a:lnTo>
                      <a:lnTo>
                        <a:pt x="208220" y="419705"/>
                      </a:lnTo>
                      <a:lnTo>
                        <a:pt x="227780" y="438913"/>
                      </a:lnTo>
                      <a:lnTo>
                        <a:pt x="237577" y="432766"/>
                      </a:lnTo>
                      <a:lnTo>
                        <a:pt x="227076" y="423322"/>
                      </a:lnTo>
                      <a:lnTo>
                        <a:pt x="222722" y="410260"/>
                      </a:lnTo>
                      <a:lnTo>
                        <a:pt x="241578" y="381256"/>
                      </a:lnTo>
                      <a:lnTo>
                        <a:pt x="257169" y="369987"/>
                      </a:lnTo>
                      <a:lnTo>
                        <a:pt x="265173" y="370723"/>
                      </a:lnTo>
                      <a:lnTo>
                        <a:pt x="269143" y="365633"/>
                      </a:lnTo>
                      <a:lnTo>
                        <a:pt x="285470" y="361279"/>
                      </a:lnTo>
                      <a:lnTo>
                        <a:pt x="282941" y="344984"/>
                      </a:lnTo>
                      <a:lnTo>
                        <a:pt x="294178" y="338069"/>
                      </a:lnTo>
                      <a:lnTo>
                        <a:pt x="298531" y="326095"/>
                      </a:lnTo>
                      <a:lnTo>
                        <a:pt x="291648" y="316683"/>
                      </a:lnTo>
                      <a:lnTo>
                        <a:pt x="296002" y="303622"/>
                      </a:lnTo>
                      <a:lnTo>
                        <a:pt x="289824" y="294177"/>
                      </a:lnTo>
                      <a:lnTo>
                        <a:pt x="291648" y="284029"/>
                      </a:lnTo>
                      <a:lnTo>
                        <a:pt x="285470" y="267702"/>
                      </a:lnTo>
                      <a:lnTo>
                        <a:pt x="296707" y="240138"/>
                      </a:lnTo>
                      <a:lnTo>
                        <a:pt x="292353" y="204954"/>
                      </a:lnTo>
                      <a:lnTo>
                        <a:pt x="298531" y="198775"/>
                      </a:lnTo>
                      <a:lnTo>
                        <a:pt x="296707" y="184273"/>
                      </a:lnTo>
                      <a:lnTo>
                        <a:pt x="306151" y="162503"/>
                      </a:lnTo>
                      <a:lnTo>
                        <a:pt x="314122" y="147265"/>
                      </a:lnTo>
                      <a:lnTo>
                        <a:pt x="318476" y="124791"/>
                      </a:lnTo>
                      <a:lnTo>
                        <a:pt x="299268" y="122230"/>
                      </a:lnTo>
                      <a:lnTo>
                        <a:pt x="302885" y="102285"/>
                      </a:lnTo>
                      <a:lnTo>
                        <a:pt x="287295" y="101549"/>
                      </a:lnTo>
                      <a:lnTo>
                        <a:pt x="295266" y="73985"/>
                      </a:lnTo>
                      <a:lnTo>
                        <a:pt x="277850" y="48949"/>
                      </a:lnTo>
                      <a:lnTo>
                        <a:pt x="281500" y="37712"/>
                      </a:lnTo>
                      <a:lnTo>
                        <a:pt x="289824" y="32654"/>
                      </a:lnTo>
                      <a:lnTo>
                        <a:pt x="282204" y="28300"/>
                      </a:lnTo>
                      <a:lnTo>
                        <a:pt x="274585" y="29389"/>
                      </a:lnTo>
                      <a:lnTo>
                        <a:pt x="251375" y="52599"/>
                      </a:lnTo>
                      <a:lnTo>
                        <a:pt x="239049" y="48245"/>
                      </a:lnTo>
                      <a:lnTo>
                        <a:pt x="226340" y="51511"/>
                      </a:lnTo>
                      <a:lnTo>
                        <a:pt x="227076" y="62748"/>
                      </a:lnTo>
                      <a:lnTo>
                        <a:pt x="214366" y="76546"/>
                      </a:lnTo>
                      <a:lnTo>
                        <a:pt x="192597" y="77634"/>
                      </a:lnTo>
                      <a:lnTo>
                        <a:pt x="188243" y="68926"/>
                      </a:lnTo>
                      <a:lnTo>
                        <a:pt x="179919" y="59482"/>
                      </a:lnTo>
                      <a:lnTo>
                        <a:pt x="191893" y="51511"/>
                      </a:lnTo>
                      <a:lnTo>
                        <a:pt x="185714" y="38801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7" name="Forma Livre: Forma 286">
                  <a:extLst>
                    <a:ext uri="{FF2B5EF4-FFF2-40B4-BE49-F238E27FC236}">
                      <a16:creationId xmlns:a16="http://schemas.microsoft.com/office/drawing/2014/main" id="{0CC2011D-A25F-7C6F-9B94-08573E8EA0A4}"/>
                    </a:ext>
                  </a:extLst>
                </p:cNvPr>
                <p:cNvSpPr/>
                <p:nvPr/>
              </p:nvSpPr>
              <p:spPr>
                <a:xfrm>
                  <a:off x="2735072" y="4244336"/>
                  <a:ext cx="318476" cy="438913"/>
                </a:xfrm>
                <a:custGeom>
                  <a:avLst/>
                  <a:gdLst>
                    <a:gd name="csX0" fmla="*/ 185714 w 318476"/>
                    <a:gd name="csY0" fmla="*/ 38801 h 438913"/>
                    <a:gd name="csX1" fmla="*/ 190804 w 318476"/>
                    <a:gd name="csY1" fmla="*/ 25739 h 438913"/>
                    <a:gd name="csX2" fmla="*/ 216928 w 318476"/>
                    <a:gd name="csY2" fmla="*/ 11973 h 438913"/>
                    <a:gd name="csX3" fmla="*/ 202041 w 318476"/>
                    <a:gd name="csY3" fmla="*/ 11973 h 438913"/>
                    <a:gd name="csX4" fmla="*/ 199512 w 318476"/>
                    <a:gd name="csY4" fmla="*/ 8708 h 438913"/>
                    <a:gd name="csX5" fmla="*/ 206395 w 318476"/>
                    <a:gd name="csY5" fmla="*/ 3617 h 438913"/>
                    <a:gd name="csX6" fmla="*/ 194422 w 318476"/>
                    <a:gd name="csY6" fmla="*/ 0 h 438913"/>
                    <a:gd name="csX7" fmla="*/ 173004 w 318476"/>
                    <a:gd name="csY7" fmla="*/ 17415 h 438913"/>
                    <a:gd name="csX8" fmla="*/ 159974 w 318476"/>
                    <a:gd name="csY8" fmla="*/ 20681 h 438913"/>
                    <a:gd name="csX9" fmla="*/ 150530 w 318476"/>
                    <a:gd name="csY9" fmla="*/ 43891 h 438913"/>
                    <a:gd name="csX10" fmla="*/ 138557 w 318476"/>
                    <a:gd name="csY10" fmla="*/ 46420 h 438913"/>
                    <a:gd name="csX11" fmla="*/ 129849 w 318476"/>
                    <a:gd name="csY11" fmla="*/ 53303 h 438913"/>
                    <a:gd name="csX12" fmla="*/ 111729 w 318476"/>
                    <a:gd name="csY12" fmla="*/ 54040 h 438913"/>
                    <a:gd name="csX13" fmla="*/ 99756 w 318476"/>
                    <a:gd name="csY13" fmla="*/ 59482 h 438913"/>
                    <a:gd name="csX14" fmla="*/ 99756 w 318476"/>
                    <a:gd name="csY14" fmla="*/ 64572 h 438913"/>
                    <a:gd name="csX15" fmla="*/ 89575 w 318476"/>
                    <a:gd name="csY15" fmla="*/ 70719 h 438913"/>
                    <a:gd name="csX16" fmla="*/ 87783 w 318476"/>
                    <a:gd name="csY16" fmla="*/ 77634 h 438913"/>
                    <a:gd name="csX17" fmla="*/ 77250 w 318476"/>
                    <a:gd name="csY17" fmla="*/ 78338 h 438913"/>
                    <a:gd name="csX18" fmla="*/ 85222 w 318476"/>
                    <a:gd name="csY18" fmla="*/ 84517 h 438913"/>
                    <a:gd name="csX19" fmla="*/ 82692 w 318476"/>
                    <a:gd name="csY19" fmla="*/ 89575 h 438913"/>
                    <a:gd name="csX20" fmla="*/ 91048 w 318476"/>
                    <a:gd name="csY20" fmla="*/ 97227 h 438913"/>
                    <a:gd name="csX21" fmla="*/ 79075 w 318476"/>
                    <a:gd name="csY21" fmla="*/ 110256 h 438913"/>
                    <a:gd name="csX22" fmla="*/ 81604 w 318476"/>
                    <a:gd name="csY22" fmla="*/ 125495 h 438913"/>
                    <a:gd name="csX23" fmla="*/ 89575 w 318476"/>
                    <a:gd name="csY23" fmla="*/ 150530 h 438913"/>
                    <a:gd name="csX24" fmla="*/ 94666 w 318476"/>
                    <a:gd name="csY24" fmla="*/ 156709 h 438913"/>
                    <a:gd name="csX25" fmla="*/ 92137 w 318476"/>
                    <a:gd name="csY25" fmla="*/ 171948 h 438913"/>
                    <a:gd name="csX26" fmla="*/ 99756 w 318476"/>
                    <a:gd name="csY26" fmla="*/ 181744 h 438913"/>
                    <a:gd name="csX27" fmla="*/ 88487 w 318476"/>
                    <a:gd name="csY27" fmla="*/ 181744 h 438913"/>
                    <a:gd name="csX28" fmla="*/ 79779 w 318476"/>
                    <a:gd name="csY28" fmla="*/ 196983 h 438913"/>
                    <a:gd name="csX29" fmla="*/ 70367 w 318476"/>
                    <a:gd name="csY29" fmla="*/ 201336 h 438913"/>
                    <a:gd name="csX30" fmla="*/ 66013 w 318476"/>
                    <a:gd name="csY30" fmla="*/ 225251 h 438913"/>
                    <a:gd name="csX31" fmla="*/ 48950 w 318476"/>
                    <a:gd name="csY31" fmla="*/ 227076 h 438913"/>
                    <a:gd name="csX32" fmla="*/ 35888 w 318476"/>
                    <a:gd name="csY32" fmla="*/ 221281 h 438913"/>
                    <a:gd name="csX33" fmla="*/ 29005 w 318476"/>
                    <a:gd name="csY33" fmla="*/ 224547 h 438913"/>
                    <a:gd name="csX34" fmla="*/ 21385 w 318476"/>
                    <a:gd name="csY34" fmla="*/ 233959 h 438913"/>
                    <a:gd name="csX35" fmla="*/ 21385 w 318476"/>
                    <a:gd name="csY35" fmla="*/ 247021 h 438913"/>
                    <a:gd name="csX36" fmla="*/ 19561 w 318476"/>
                    <a:gd name="csY36" fmla="*/ 262259 h 438913"/>
                    <a:gd name="csX37" fmla="*/ 6883 w 318476"/>
                    <a:gd name="csY37" fmla="*/ 266613 h 438913"/>
                    <a:gd name="csX38" fmla="*/ 4354 w 318476"/>
                    <a:gd name="csY38" fmla="*/ 302181 h 438913"/>
                    <a:gd name="csX39" fmla="*/ 0 w 318476"/>
                    <a:gd name="csY39" fmla="*/ 307239 h 438913"/>
                    <a:gd name="csX40" fmla="*/ 5058 w 318476"/>
                    <a:gd name="csY40" fmla="*/ 325391 h 438913"/>
                    <a:gd name="csX41" fmla="*/ 12678 w 318476"/>
                    <a:gd name="csY41" fmla="*/ 327920 h 438913"/>
                    <a:gd name="csX42" fmla="*/ 29005 w 318476"/>
                    <a:gd name="csY42" fmla="*/ 318476 h 438913"/>
                    <a:gd name="csX43" fmla="*/ 49686 w 318476"/>
                    <a:gd name="csY43" fmla="*/ 326832 h 438913"/>
                    <a:gd name="csX44" fmla="*/ 70367 w 318476"/>
                    <a:gd name="csY44" fmla="*/ 328657 h 438913"/>
                    <a:gd name="csX45" fmla="*/ 71455 w 318476"/>
                    <a:gd name="csY45" fmla="*/ 328657 h 438913"/>
                    <a:gd name="csX46" fmla="*/ 77250 w 318476"/>
                    <a:gd name="csY46" fmla="*/ 348601 h 438913"/>
                    <a:gd name="csX47" fmla="*/ 42067 w 318476"/>
                    <a:gd name="csY47" fmla="*/ 361279 h 438913"/>
                    <a:gd name="csX48" fmla="*/ 51511 w 318476"/>
                    <a:gd name="csY48" fmla="*/ 363104 h 438913"/>
                    <a:gd name="csX49" fmla="*/ 62748 w 318476"/>
                    <a:gd name="csY49" fmla="*/ 376902 h 438913"/>
                    <a:gd name="csX50" fmla="*/ 49686 w 318476"/>
                    <a:gd name="csY50" fmla="*/ 388875 h 438913"/>
                    <a:gd name="csX51" fmla="*/ 55833 w 318476"/>
                    <a:gd name="csY51" fmla="*/ 400112 h 438913"/>
                    <a:gd name="csX52" fmla="*/ 62748 w 318476"/>
                    <a:gd name="csY52" fmla="*/ 401937 h 438913"/>
                    <a:gd name="csX53" fmla="*/ 80868 w 318476"/>
                    <a:gd name="csY53" fmla="*/ 395758 h 438913"/>
                    <a:gd name="csX54" fmla="*/ 105903 w 318476"/>
                    <a:gd name="csY54" fmla="*/ 378695 h 438913"/>
                    <a:gd name="csX55" fmla="*/ 114258 w 318476"/>
                    <a:gd name="csY55" fmla="*/ 383048 h 438913"/>
                    <a:gd name="csX56" fmla="*/ 124759 w 318476"/>
                    <a:gd name="csY56" fmla="*/ 372548 h 438913"/>
                    <a:gd name="csX57" fmla="*/ 134940 w 318476"/>
                    <a:gd name="csY57" fmla="*/ 375077 h 438913"/>
                    <a:gd name="csX58" fmla="*/ 148706 w 318476"/>
                    <a:gd name="csY58" fmla="*/ 363840 h 438913"/>
                    <a:gd name="csX59" fmla="*/ 151267 w 318476"/>
                    <a:gd name="csY59" fmla="*/ 367458 h 438913"/>
                    <a:gd name="csX60" fmla="*/ 153059 w 318476"/>
                    <a:gd name="csY60" fmla="*/ 368194 h 438913"/>
                    <a:gd name="csX61" fmla="*/ 208220 w 318476"/>
                    <a:gd name="csY61" fmla="*/ 419705 h 438913"/>
                    <a:gd name="csX62" fmla="*/ 227780 w 318476"/>
                    <a:gd name="csY62" fmla="*/ 438913 h 438913"/>
                    <a:gd name="csX63" fmla="*/ 237577 w 318476"/>
                    <a:gd name="csY63" fmla="*/ 432766 h 438913"/>
                    <a:gd name="csX64" fmla="*/ 227076 w 318476"/>
                    <a:gd name="csY64" fmla="*/ 423322 h 438913"/>
                    <a:gd name="csX65" fmla="*/ 222722 w 318476"/>
                    <a:gd name="csY65" fmla="*/ 410260 h 438913"/>
                    <a:gd name="csX66" fmla="*/ 241578 w 318476"/>
                    <a:gd name="csY66" fmla="*/ 381256 h 438913"/>
                    <a:gd name="csX67" fmla="*/ 257169 w 318476"/>
                    <a:gd name="csY67" fmla="*/ 369987 h 438913"/>
                    <a:gd name="csX68" fmla="*/ 265173 w 318476"/>
                    <a:gd name="csY68" fmla="*/ 370723 h 438913"/>
                    <a:gd name="csX69" fmla="*/ 269143 w 318476"/>
                    <a:gd name="csY69" fmla="*/ 365633 h 438913"/>
                    <a:gd name="csX70" fmla="*/ 285470 w 318476"/>
                    <a:gd name="csY70" fmla="*/ 361279 h 438913"/>
                    <a:gd name="csX71" fmla="*/ 282941 w 318476"/>
                    <a:gd name="csY71" fmla="*/ 344984 h 438913"/>
                    <a:gd name="csX72" fmla="*/ 294178 w 318476"/>
                    <a:gd name="csY72" fmla="*/ 338069 h 438913"/>
                    <a:gd name="csX73" fmla="*/ 298531 w 318476"/>
                    <a:gd name="csY73" fmla="*/ 326095 h 438913"/>
                    <a:gd name="csX74" fmla="*/ 291648 w 318476"/>
                    <a:gd name="csY74" fmla="*/ 316683 h 438913"/>
                    <a:gd name="csX75" fmla="*/ 296002 w 318476"/>
                    <a:gd name="csY75" fmla="*/ 303622 h 438913"/>
                    <a:gd name="csX76" fmla="*/ 289824 w 318476"/>
                    <a:gd name="csY76" fmla="*/ 294177 h 438913"/>
                    <a:gd name="csX77" fmla="*/ 291648 w 318476"/>
                    <a:gd name="csY77" fmla="*/ 284029 h 438913"/>
                    <a:gd name="csX78" fmla="*/ 285470 w 318476"/>
                    <a:gd name="csY78" fmla="*/ 267702 h 438913"/>
                    <a:gd name="csX79" fmla="*/ 296707 w 318476"/>
                    <a:gd name="csY79" fmla="*/ 240138 h 438913"/>
                    <a:gd name="csX80" fmla="*/ 292353 w 318476"/>
                    <a:gd name="csY80" fmla="*/ 204954 h 438913"/>
                    <a:gd name="csX81" fmla="*/ 298531 w 318476"/>
                    <a:gd name="csY81" fmla="*/ 198775 h 438913"/>
                    <a:gd name="csX82" fmla="*/ 296707 w 318476"/>
                    <a:gd name="csY82" fmla="*/ 184273 h 438913"/>
                    <a:gd name="csX83" fmla="*/ 306151 w 318476"/>
                    <a:gd name="csY83" fmla="*/ 162503 h 438913"/>
                    <a:gd name="csX84" fmla="*/ 314122 w 318476"/>
                    <a:gd name="csY84" fmla="*/ 147265 h 438913"/>
                    <a:gd name="csX85" fmla="*/ 318476 w 318476"/>
                    <a:gd name="csY85" fmla="*/ 124791 h 438913"/>
                    <a:gd name="csX86" fmla="*/ 299268 w 318476"/>
                    <a:gd name="csY86" fmla="*/ 122230 h 438913"/>
                    <a:gd name="csX87" fmla="*/ 302885 w 318476"/>
                    <a:gd name="csY87" fmla="*/ 102285 h 438913"/>
                    <a:gd name="csX88" fmla="*/ 287295 w 318476"/>
                    <a:gd name="csY88" fmla="*/ 101549 h 438913"/>
                    <a:gd name="csX89" fmla="*/ 295266 w 318476"/>
                    <a:gd name="csY89" fmla="*/ 73985 h 438913"/>
                    <a:gd name="csX90" fmla="*/ 277850 w 318476"/>
                    <a:gd name="csY90" fmla="*/ 48949 h 438913"/>
                    <a:gd name="csX91" fmla="*/ 281500 w 318476"/>
                    <a:gd name="csY91" fmla="*/ 37712 h 438913"/>
                    <a:gd name="csX92" fmla="*/ 289824 w 318476"/>
                    <a:gd name="csY92" fmla="*/ 32654 h 438913"/>
                    <a:gd name="csX93" fmla="*/ 282204 w 318476"/>
                    <a:gd name="csY93" fmla="*/ 28300 h 438913"/>
                    <a:gd name="csX94" fmla="*/ 274585 w 318476"/>
                    <a:gd name="csY94" fmla="*/ 29389 h 438913"/>
                    <a:gd name="csX95" fmla="*/ 251375 w 318476"/>
                    <a:gd name="csY95" fmla="*/ 52599 h 438913"/>
                    <a:gd name="csX96" fmla="*/ 239049 w 318476"/>
                    <a:gd name="csY96" fmla="*/ 48245 h 438913"/>
                    <a:gd name="csX97" fmla="*/ 226340 w 318476"/>
                    <a:gd name="csY97" fmla="*/ 51511 h 438913"/>
                    <a:gd name="csX98" fmla="*/ 227076 w 318476"/>
                    <a:gd name="csY98" fmla="*/ 62748 h 438913"/>
                    <a:gd name="csX99" fmla="*/ 214366 w 318476"/>
                    <a:gd name="csY99" fmla="*/ 76546 h 438913"/>
                    <a:gd name="csX100" fmla="*/ 192597 w 318476"/>
                    <a:gd name="csY100" fmla="*/ 77634 h 438913"/>
                    <a:gd name="csX101" fmla="*/ 188243 w 318476"/>
                    <a:gd name="csY101" fmla="*/ 68926 h 438913"/>
                    <a:gd name="csX102" fmla="*/ 179919 w 318476"/>
                    <a:gd name="csY102" fmla="*/ 59482 h 438913"/>
                    <a:gd name="csX103" fmla="*/ 191893 w 318476"/>
                    <a:gd name="csY103" fmla="*/ 51511 h 438913"/>
                    <a:gd name="csX104" fmla="*/ 185714 w 318476"/>
                    <a:gd name="csY104" fmla="*/ 38801 h 4389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</a:cxnLst>
                  <a:rect l="l" t="t" r="r" b="b"/>
                  <a:pathLst>
                    <a:path w="318476" h="438913">
                      <a:moveTo>
                        <a:pt x="185714" y="38801"/>
                      </a:moveTo>
                      <a:lnTo>
                        <a:pt x="190804" y="25739"/>
                      </a:lnTo>
                      <a:lnTo>
                        <a:pt x="216928" y="11973"/>
                      </a:lnTo>
                      <a:lnTo>
                        <a:pt x="202041" y="11973"/>
                      </a:lnTo>
                      <a:lnTo>
                        <a:pt x="199512" y="8708"/>
                      </a:lnTo>
                      <a:lnTo>
                        <a:pt x="206395" y="3617"/>
                      </a:lnTo>
                      <a:lnTo>
                        <a:pt x="194422" y="0"/>
                      </a:lnTo>
                      <a:lnTo>
                        <a:pt x="173004" y="17415"/>
                      </a:lnTo>
                      <a:lnTo>
                        <a:pt x="159974" y="20681"/>
                      </a:lnTo>
                      <a:lnTo>
                        <a:pt x="150530" y="43891"/>
                      </a:lnTo>
                      <a:lnTo>
                        <a:pt x="138557" y="46420"/>
                      </a:lnTo>
                      <a:lnTo>
                        <a:pt x="129849" y="53303"/>
                      </a:lnTo>
                      <a:lnTo>
                        <a:pt x="111729" y="54040"/>
                      </a:lnTo>
                      <a:lnTo>
                        <a:pt x="99756" y="59482"/>
                      </a:lnTo>
                      <a:lnTo>
                        <a:pt x="99756" y="64572"/>
                      </a:lnTo>
                      <a:lnTo>
                        <a:pt x="89575" y="70719"/>
                      </a:lnTo>
                      <a:lnTo>
                        <a:pt x="87783" y="77634"/>
                      </a:lnTo>
                      <a:lnTo>
                        <a:pt x="77250" y="78338"/>
                      </a:lnTo>
                      <a:lnTo>
                        <a:pt x="85222" y="84517"/>
                      </a:lnTo>
                      <a:lnTo>
                        <a:pt x="82692" y="89575"/>
                      </a:lnTo>
                      <a:lnTo>
                        <a:pt x="91048" y="97227"/>
                      </a:lnTo>
                      <a:lnTo>
                        <a:pt x="79075" y="110256"/>
                      </a:lnTo>
                      <a:lnTo>
                        <a:pt x="81604" y="125495"/>
                      </a:lnTo>
                      <a:lnTo>
                        <a:pt x="89575" y="150530"/>
                      </a:lnTo>
                      <a:lnTo>
                        <a:pt x="94666" y="156709"/>
                      </a:lnTo>
                      <a:lnTo>
                        <a:pt x="92137" y="171948"/>
                      </a:lnTo>
                      <a:lnTo>
                        <a:pt x="99756" y="181744"/>
                      </a:lnTo>
                      <a:lnTo>
                        <a:pt x="88487" y="181744"/>
                      </a:lnTo>
                      <a:lnTo>
                        <a:pt x="79779" y="196983"/>
                      </a:lnTo>
                      <a:lnTo>
                        <a:pt x="70367" y="201336"/>
                      </a:lnTo>
                      <a:lnTo>
                        <a:pt x="66013" y="225251"/>
                      </a:lnTo>
                      <a:lnTo>
                        <a:pt x="48950" y="227076"/>
                      </a:lnTo>
                      <a:lnTo>
                        <a:pt x="35888" y="221281"/>
                      </a:lnTo>
                      <a:lnTo>
                        <a:pt x="29005" y="224547"/>
                      </a:lnTo>
                      <a:lnTo>
                        <a:pt x="21385" y="233959"/>
                      </a:lnTo>
                      <a:lnTo>
                        <a:pt x="21385" y="247021"/>
                      </a:lnTo>
                      <a:lnTo>
                        <a:pt x="19561" y="262259"/>
                      </a:lnTo>
                      <a:lnTo>
                        <a:pt x="6883" y="266613"/>
                      </a:lnTo>
                      <a:lnTo>
                        <a:pt x="4354" y="302181"/>
                      </a:lnTo>
                      <a:lnTo>
                        <a:pt x="0" y="307239"/>
                      </a:lnTo>
                      <a:lnTo>
                        <a:pt x="5058" y="325391"/>
                      </a:lnTo>
                      <a:lnTo>
                        <a:pt x="12678" y="327920"/>
                      </a:lnTo>
                      <a:lnTo>
                        <a:pt x="29005" y="318476"/>
                      </a:lnTo>
                      <a:lnTo>
                        <a:pt x="49686" y="326832"/>
                      </a:lnTo>
                      <a:lnTo>
                        <a:pt x="70367" y="328657"/>
                      </a:lnTo>
                      <a:lnTo>
                        <a:pt x="71455" y="328657"/>
                      </a:lnTo>
                      <a:lnTo>
                        <a:pt x="77250" y="348601"/>
                      </a:lnTo>
                      <a:lnTo>
                        <a:pt x="42067" y="361279"/>
                      </a:lnTo>
                      <a:lnTo>
                        <a:pt x="51511" y="363104"/>
                      </a:lnTo>
                      <a:lnTo>
                        <a:pt x="62748" y="376902"/>
                      </a:lnTo>
                      <a:lnTo>
                        <a:pt x="49686" y="388875"/>
                      </a:lnTo>
                      <a:lnTo>
                        <a:pt x="55833" y="400112"/>
                      </a:lnTo>
                      <a:lnTo>
                        <a:pt x="62748" y="401937"/>
                      </a:lnTo>
                      <a:lnTo>
                        <a:pt x="80868" y="395758"/>
                      </a:lnTo>
                      <a:lnTo>
                        <a:pt x="105903" y="378695"/>
                      </a:lnTo>
                      <a:lnTo>
                        <a:pt x="114258" y="383048"/>
                      </a:lnTo>
                      <a:lnTo>
                        <a:pt x="124759" y="372548"/>
                      </a:lnTo>
                      <a:lnTo>
                        <a:pt x="134940" y="375077"/>
                      </a:lnTo>
                      <a:lnTo>
                        <a:pt x="148706" y="363840"/>
                      </a:lnTo>
                      <a:lnTo>
                        <a:pt x="151267" y="367458"/>
                      </a:lnTo>
                      <a:lnTo>
                        <a:pt x="153059" y="368194"/>
                      </a:lnTo>
                      <a:lnTo>
                        <a:pt x="208220" y="419705"/>
                      </a:lnTo>
                      <a:lnTo>
                        <a:pt x="227780" y="438913"/>
                      </a:lnTo>
                      <a:lnTo>
                        <a:pt x="237577" y="432766"/>
                      </a:lnTo>
                      <a:lnTo>
                        <a:pt x="227076" y="423322"/>
                      </a:lnTo>
                      <a:lnTo>
                        <a:pt x="222722" y="410260"/>
                      </a:lnTo>
                      <a:lnTo>
                        <a:pt x="241578" y="381256"/>
                      </a:lnTo>
                      <a:lnTo>
                        <a:pt x="257169" y="369987"/>
                      </a:lnTo>
                      <a:lnTo>
                        <a:pt x="265173" y="370723"/>
                      </a:lnTo>
                      <a:lnTo>
                        <a:pt x="269143" y="365633"/>
                      </a:lnTo>
                      <a:lnTo>
                        <a:pt x="285470" y="361279"/>
                      </a:lnTo>
                      <a:lnTo>
                        <a:pt x="282941" y="344984"/>
                      </a:lnTo>
                      <a:lnTo>
                        <a:pt x="294178" y="338069"/>
                      </a:lnTo>
                      <a:lnTo>
                        <a:pt x="298531" y="326095"/>
                      </a:lnTo>
                      <a:lnTo>
                        <a:pt x="291648" y="316683"/>
                      </a:lnTo>
                      <a:lnTo>
                        <a:pt x="296002" y="303622"/>
                      </a:lnTo>
                      <a:lnTo>
                        <a:pt x="289824" y="294177"/>
                      </a:lnTo>
                      <a:lnTo>
                        <a:pt x="291648" y="284029"/>
                      </a:lnTo>
                      <a:lnTo>
                        <a:pt x="285470" y="267702"/>
                      </a:lnTo>
                      <a:lnTo>
                        <a:pt x="296707" y="240138"/>
                      </a:lnTo>
                      <a:lnTo>
                        <a:pt x="292353" y="204954"/>
                      </a:lnTo>
                      <a:lnTo>
                        <a:pt x="298531" y="198775"/>
                      </a:lnTo>
                      <a:lnTo>
                        <a:pt x="296707" y="184273"/>
                      </a:lnTo>
                      <a:lnTo>
                        <a:pt x="306151" y="162503"/>
                      </a:lnTo>
                      <a:lnTo>
                        <a:pt x="314122" y="147265"/>
                      </a:lnTo>
                      <a:lnTo>
                        <a:pt x="318476" y="124791"/>
                      </a:lnTo>
                      <a:lnTo>
                        <a:pt x="299268" y="122230"/>
                      </a:lnTo>
                      <a:lnTo>
                        <a:pt x="302885" y="102285"/>
                      </a:lnTo>
                      <a:lnTo>
                        <a:pt x="287295" y="101549"/>
                      </a:lnTo>
                      <a:lnTo>
                        <a:pt x="295266" y="73985"/>
                      </a:lnTo>
                      <a:lnTo>
                        <a:pt x="277850" y="48949"/>
                      </a:lnTo>
                      <a:lnTo>
                        <a:pt x="281500" y="37712"/>
                      </a:lnTo>
                      <a:lnTo>
                        <a:pt x="289824" y="32654"/>
                      </a:lnTo>
                      <a:lnTo>
                        <a:pt x="282204" y="28300"/>
                      </a:lnTo>
                      <a:lnTo>
                        <a:pt x="274585" y="29389"/>
                      </a:lnTo>
                      <a:lnTo>
                        <a:pt x="251375" y="52599"/>
                      </a:lnTo>
                      <a:lnTo>
                        <a:pt x="239049" y="48245"/>
                      </a:lnTo>
                      <a:lnTo>
                        <a:pt x="226340" y="51511"/>
                      </a:lnTo>
                      <a:lnTo>
                        <a:pt x="227076" y="62748"/>
                      </a:lnTo>
                      <a:lnTo>
                        <a:pt x="214366" y="76546"/>
                      </a:lnTo>
                      <a:lnTo>
                        <a:pt x="192597" y="77634"/>
                      </a:lnTo>
                      <a:lnTo>
                        <a:pt x="188243" y="68926"/>
                      </a:lnTo>
                      <a:lnTo>
                        <a:pt x="179919" y="59482"/>
                      </a:lnTo>
                      <a:lnTo>
                        <a:pt x="191893" y="51511"/>
                      </a:lnTo>
                      <a:lnTo>
                        <a:pt x="185714" y="38801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8" name="Forma Livre: Forma 287">
                  <a:extLst>
                    <a:ext uri="{FF2B5EF4-FFF2-40B4-BE49-F238E27FC236}">
                      <a16:creationId xmlns:a16="http://schemas.microsoft.com/office/drawing/2014/main" id="{F828E9AB-476A-538F-F3F3-276B68C3733E}"/>
                    </a:ext>
                  </a:extLst>
                </p:cNvPr>
                <p:cNvSpPr/>
                <p:nvPr/>
              </p:nvSpPr>
              <p:spPr>
                <a:xfrm>
                  <a:off x="2735072" y="4244336"/>
                  <a:ext cx="318476" cy="438913"/>
                </a:xfrm>
                <a:custGeom>
                  <a:avLst/>
                  <a:gdLst>
                    <a:gd name="csX0" fmla="*/ 185714 w 318476"/>
                    <a:gd name="csY0" fmla="*/ 38801 h 438913"/>
                    <a:gd name="csX1" fmla="*/ 190804 w 318476"/>
                    <a:gd name="csY1" fmla="*/ 25739 h 438913"/>
                    <a:gd name="csX2" fmla="*/ 216928 w 318476"/>
                    <a:gd name="csY2" fmla="*/ 11973 h 438913"/>
                    <a:gd name="csX3" fmla="*/ 202041 w 318476"/>
                    <a:gd name="csY3" fmla="*/ 11973 h 438913"/>
                    <a:gd name="csX4" fmla="*/ 199512 w 318476"/>
                    <a:gd name="csY4" fmla="*/ 8708 h 438913"/>
                    <a:gd name="csX5" fmla="*/ 206395 w 318476"/>
                    <a:gd name="csY5" fmla="*/ 3617 h 438913"/>
                    <a:gd name="csX6" fmla="*/ 194422 w 318476"/>
                    <a:gd name="csY6" fmla="*/ 0 h 438913"/>
                    <a:gd name="csX7" fmla="*/ 173004 w 318476"/>
                    <a:gd name="csY7" fmla="*/ 17415 h 438913"/>
                    <a:gd name="csX8" fmla="*/ 159974 w 318476"/>
                    <a:gd name="csY8" fmla="*/ 20681 h 438913"/>
                    <a:gd name="csX9" fmla="*/ 150530 w 318476"/>
                    <a:gd name="csY9" fmla="*/ 43891 h 438913"/>
                    <a:gd name="csX10" fmla="*/ 138557 w 318476"/>
                    <a:gd name="csY10" fmla="*/ 46420 h 438913"/>
                    <a:gd name="csX11" fmla="*/ 129849 w 318476"/>
                    <a:gd name="csY11" fmla="*/ 53303 h 438913"/>
                    <a:gd name="csX12" fmla="*/ 111729 w 318476"/>
                    <a:gd name="csY12" fmla="*/ 54040 h 438913"/>
                    <a:gd name="csX13" fmla="*/ 99756 w 318476"/>
                    <a:gd name="csY13" fmla="*/ 59482 h 438913"/>
                    <a:gd name="csX14" fmla="*/ 99756 w 318476"/>
                    <a:gd name="csY14" fmla="*/ 64572 h 438913"/>
                    <a:gd name="csX15" fmla="*/ 89575 w 318476"/>
                    <a:gd name="csY15" fmla="*/ 70719 h 438913"/>
                    <a:gd name="csX16" fmla="*/ 87783 w 318476"/>
                    <a:gd name="csY16" fmla="*/ 77634 h 438913"/>
                    <a:gd name="csX17" fmla="*/ 77250 w 318476"/>
                    <a:gd name="csY17" fmla="*/ 78338 h 438913"/>
                    <a:gd name="csX18" fmla="*/ 85222 w 318476"/>
                    <a:gd name="csY18" fmla="*/ 84517 h 438913"/>
                    <a:gd name="csX19" fmla="*/ 82692 w 318476"/>
                    <a:gd name="csY19" fmla="*/ 89575 h 438913"/>
                    <a:gd name="csX20" fmla="*/ 91048 w 318476"/>
                    <a:gd name="csY20" fmla="*/ 97227 h 438913"/>
                    <a:gd name="csX21" fmla="*/ 79075 w 318476"/>
                    <a:gd name="csY21" fmla="*/ 110256 h 438913"/>
                    <a:gd name="csX22" fmla="*/ 81604 w 318476"/>
                    <a:gd name="csY22" fmla="*/ 125495 h 438913"/>
                    <a:gd name="csX23" fmla="*/ 89575 w 318476"/>
                    <a:gd name="csY23" fmla="*/ 150530 h 438913"/>
                    <a:gd name="csX24" fmla="*/ 94666 w 318476"/>
                    <a:gd name="csY24" fmla="*/ 156709 h 438913"/>
                    <a:gd name="csX25" fmla="*/ 92137 w 318476"/>
                    <a:gd name="csY25" fmla="*/ 171948 h 438913"/>
                    <a:gd name="csX26" fmla="*/ 99756 w 318476"/>
                    <a:gd name="csY26" fmla="*/ 181744 h 438913"/>
                    <a:gd name="csX27" fmla="*/ 88487 w 318476"/>
                    <a:gd name="csY27" fmla="*/ 181744 h 438913"/>
                    <a:gd name="csX28" fmla="*/ 79779 w 318476"/>
                    <a:gd name="csY28" fmla="*/ 196983 h 438913"/>
                    <a:gd name="csX29" fmla="*/ 70367 w 318476"/>
                    <a:gd name="csY29" fmla="*/ 201336 h 438913"/>
                    <a:gd name="csX30" fmla="*/ 66013 w 318476"/>
                    <a:gd name="csY30" fmla="*/ 225251 h 438913"/>
                    <a:gd name="csX31" fmla="*/ 48950 w 318476"/>
                    <a:gd name="csY31" fmla="*/ 227076 h 438913"/>
                    <a:gd name="csX32" fmla="*/ 35888 w 318476"/>
                    <a:gd name="csY32" fmla="*/ 221281 h 438913"/>
                    <a:gd name="csX33" fmla="*/ 29005 w 318476"/>
                    <a:gd name="csY33" fmla="*/ 224547 h 438913"/>
                    <a:gd name="csX34" fmla="*/ 21385 w 318476"/>
                    <a:gd name="csY34" fmla="*/ 233959 h 438913"/>
                    <a:gd name="csX35" fmla="*/ 21385 w 318476"/>
                    <a:gd name="csY35" fmla="*/ 247021 h 438913"/>
                    <a:gd name="csX36" fmla="*/ 19561 w 318476"/>
                    <a:gd name="csY36" fmla="*/ 262259 h 438913"/>
                    <a:gd name="csX37" fmla="*/ 6883 w 318476"/>
                    <a:gd name="csY37" fmla="*/ 266613 h 438913"/>
                    <a:gd name="csX38" fmla="*/ 4354 w 318476"/>
                    <a:gd name="csY38" fmla="*/ 302181 h 438913"/>
                    <a:gd name="csX39" fmla="*/ 0 w 318476"/>
                    <a:gd name="csY39" fmla="*/ 307239 h 438913"/>
                    <a:gd name="csX40" fmla="*/ 5058 w 318476"/>
                    <a:gd name="csY40" fmla="*/ 325391 h 438913"/>
                    <a:gd name="csX41" fmla="*/ 12678 w 318476"/>
                    <a:gd name="csY41" fmla="*/ 327920 h 438913"/>
                    <a:gd name="csX42" fmla="*/ 29005 w 318476"/>
                    <a:gd name="csY42" fmla="*/ 318476 h 438913"/>
                    <a:gd name="csX43" fmla="*/ 49686 w 318476"/>
                    <a:gd name="csY43" fmla="*/ 326832 h 438913"/>
                    <a:gd name="csX44" fmla="*/ 70367 w 318476"/>
                    <a:gd name="csY44" fmla="*/ 328657 h 438913"/>
                    <a:gd name="csX45" fmla="*/ 71455 w 318476"/>
                    <a:gd name="csY45" fmla="*/ 328657 h 438913"/>
                    <a:gd name="csX46" fmla="*/ 77250 w 318476"/>
                    <a:gd name="csY46" fmla="*/ 348601 h 438913"/>
                    <a:gd name="csX47" fmla="*/ 42067 w 318476"/>
                    <a:gd name="csY47" fmla="*/ 361279 h 438913"/>
                    <a:gd name="csX48" fmla="*/ 51511 w 318476"/>
                    <a:gd name="csY48" fmla="*/ 363104 h 438913"/>
                    <a:gd name="csX49" fmla="*/ 62748 w 318476"/>
                    <a:gd name="csY49" fmla="*/ 376902 h 438913"/>
                    <a:gd name="csX50" fmla="*/ 49686 w 318476"/>
                    <a:gd name="csY50" fmla="*/ 388875 h 438913"/>
                    <a:gd name="csX51" fmla="*/ 55833 w 318476"/>
                    <a:gd name="csY51" fmla="*/ 400112 h 438913"/>
                    <a:gd name="csX52" fmla="*/ 62748 w 318476"/>
                    <a:gd name="csY52" fmla="*/ 401937 h 438913"/>
                    <a:gd name="csX53" fmla="*/ 80868 w 318476"/>
                    <a:gd name="csY53" fmla="*/ 395758 h 438913"/>
                    <a:gd name="csX54" fmla="*/ 105903 w 318476"/>
                    <a:gd name="csY54" fmla="*/ 378695 h 438913"/>
                    <a:gd name="csX55" fmla="*/ 114258 w 318476"/>
                    <a:gd name="csY55" fmla="*/ 383048 h 438913"/>
                    <a:gd name="csX56" fmla="*/ 124759 w 318476"/>
                    <a:gd name="csY56" fmla="*/ 372548 h 438913"/>
                    <a:gd name="csX57" fmla="*/ 134940 w 318476"/>
                    <a:gd name="csY57" fmla="*/ 375077 h 438913"/>
                    <a:gd name="csX58" fmla="*/ 148706 w 318476"/>
                    <a:gd name="csY58" fmla="*/ 363840 h 438913"/>
                    <a:gd name="csX59" fmla="*/ 151267 w 318476"/>
                    <a:gd name="csY59" fmla="*/ 367458 h 438913"/>
                    <a:gd name="csX60" fmla="*/ 153059 w 318476"/>
                    <a:gd name="csY60" fmla="*/ 368194 h 438913"/>
                    <a:gd name="csX61" fmla="*/ 208220 w 318476"/>
                    <a:gd name="csY61" fmla="*/ 419705 h 438913"/>
                    <a:gd name="csX62" fmla="*/ 227780 w 318476"/>
                    <a:gd name="csY62" fmla="*/ 438913 h 438913"/>
                    <a:gd name="csX63" fmla="*/ 237577 w 318476"/>
                    <a:gd name="csY63" fmla="*/ 432766 h 438913"/>
                    <a:gd name="csX64" fmla="*/ 227076 w 318476"/>
                    <a:gd name="csY64" fmla="*/ 423322 h 438913"/>
                    <a:gd name="csX65" fmla="*/ 222722 w 318476"/>
                    <a:gd name="csY65" fmla="*/ 410260 h 438913"/>
                    <a:gd name="csX66" fmla="*/ 241578 w 318476"/>
                    <a:gd name="csY66" fmla="*/ 381256 h 438913"/>
                    <a:gd name="csX67" fmla="*/ 257169 w 318476"/>
                    <a:gd name="csY67" fmla="*/ 369987 h 438913"/>
                    <a:gd name="csX68" fmla="*/ 265173 w 318476"/>
                    <a:gd name="csY68" fmla="*/ 370723 h 438913"/>
                    <a:gd name="csX69" fmla="*/ 269143 w 318476"/>
                    <a:gd name="csY69" fmla="*/ 365633 h 438913"/>
                    <a:gd name="csX70" fmla="*/ 285470 w 318476"/>
                    <a:gd name="csY70" fmla="*/ 361279 h 438913"/>
                    <a:gd name="csX71" fmla="*/ 282941 w 318476"/>
                    <a:gd name="csY71" fmla="*/ 344984 h 438913"/>
                    <a:gd name="csX72" fmla="*/ 294178 w 318476"/>
                    <a:gd name="csY72" fmla="*/ 338069 h 438913"/>
                    <a:gd name="csX73" fmla="*/ 298531 w 318476"/>
                    <a:gd name="csY73" fmla="*/ 326095 h 438913"/>
                    <a:gd name="csX74" fmla="*/ 291648 w 318476"/>
                    <a:gd name="csY74" fmla="*/ 316683 h 438913"/>
                    <a:gd name="csX75" fmla="*/ 296002 w 318476"/>
                    <a:gd name="csY75" fmla="*/ 303622 h 438913"/>
                    <a:gd name="csX76" fmla="*/ 289824 w 318476"/>
                    <a:gd name="csY76" fmla="*/ 294177 h 438913"/>
                    <a:gd name="csX77" fmla="*/ 291648 w 318476"/>
                    <a:gd name="csY77" fmla="*/ 284029 h 438913"/>
                    <a:gd name="csX78" fmla="*/ 285470 w 318476"/>
                    <a:gd name="csY78" fmla="*/ 267702 h 438913"/>
                    <a:gd name="csX79" fmla="*/ 296707 w 318476"/>
                    <a:gd name="csY79" fmla="*/ 240138 h 438913"/>
                    <a:gd name="csX80" fmla="*/ 292353 w 318476"/>
                    <a:gd name="csY80" fmla="*/ 204954 h 438913"/>
                    <a:gd name="csX81" fmla="*/ 298531 w 318476"/>
                    <a:gd name="csY81" fmla="*/ 198775 h 438913"/>
                    <a:gd name="csX82" fmla="*/ 296707 w 318476"/>
                    <a:gd name="csY82" fmla="*/ 184273 h 438913"/>
                    <a:gd name="csX83" fmla="*/ 306151 w 318476"/>
                    <a:gd name="csY83" fmla="*/ 162503 h 438913"/>
                    <a:gd name="csX84" fmla="*/ 314122 w 318476"/>
                    <a:gd name="csY84" fmla="*/ 147265 h 438913"/>
                    <a:gd name="csX85" fmla="*/ 318476 w 318476"/>
                    <a:gd name="csY85" fmla="*/ 124791 h 438913"/>
                    <a:gd name="csX86" fmla="*/ 299268 w 318476"/>
                    <a:gd name="csY86" fmla="*/ 122230 h 438913"/>
                    <a:gd name="csX87" fmla="*/ 302885 w 318476"/>
                    <a:gd name="csY87" fmla="*/ 102285 h 438913"/>
                    <a:gd name="csX88" fmla="*/ 287295 w 318476"/>
                    <a:gd name="csY88" fmla="*/ 101549 h 438913"/>
                    <a:gd name="csX89" fmla="*/ 295266 w 318476"/>
                    <a:gd name="csY89" fmla="*/ 73985 h 438913"/>
                    <a:gd name="csX90" fmla="*/ 277850 w 318476"/>
                    <a:gd name="csY90" fmla="*/ 48949 h 438913"/>
                    <a:gd name="csX91" fmla="*/ 281500 w 318476"/>
                    <a:gd name="csY91" fmla="*/ 37712 h 438913"/>
                    <a:gd name="csX92" fmla="*/ 289824 w 318476"/>
                    <a:gd name="csY92" fmla="*/ 32654 h 438913"/>
                    <a:gd name="csX93" fmla="*/ 282204 w 318476"/>
                    <a:gd name="csY93" fmla="*/ 28300 h 438913"/>
                    <a:gd name="csX94" fmla="*/ 274585 w 318476"/>
                    <a:gd name="csY94" fmla="*/ 29389 h 438913"/>
                    <a:gd name="csX95" fmla="*/ 251375 w 318476"/>
                    <a:gd name="csY95" fmla="*/ 52599 h 438913"/>
                    <a:gd name="csX96" fmla="*/ 239049 w 318476"/>
                    <a:gd name="csY96" fmla="*/ 48245 h 438913"/>
                    <a:gd name="csX97" fmla="*/ 226340 w 318476"/>
                    <a:gd name="csY97" fmla="*/ 51511 h 438913"/>
                    <a:gd name="csX98" fmla="*/ 227076 w 318476"/>
                    <a:gd name="csY98" fmla="*/ 62748 h 438913"/>
                    <a:gd name="csX99" fmla="*/ 214366 w 318476"/>
                    <a:gd name="csY99" fmla="*/ 76546 h 438913"/>
                    <a:gd name="csX100" fmla="*/ 192597 w 318476"/>
                    <a:gd name="csY100" fmla="*/ 77634 h 438913"/>
                    <a:gd name="csX101" fmla="*/ 188243 w 318476"/>
                    <a:gd name="csY101" fmla="*/ 68926 h 438913"/>
                    <a:gd name="csX102" fmla="*/ 179919 w 318476"/>
                    <a:gd name="csY102" fmla="*/ 59482 h 438913"/>
                    <a:gd name="csX103" fmla="*/ 191893 w 318476"/>
                    <a:gd name="csY103" fmla="*/ 51511 h 438913"/>
                    <a:gd name="csX104" fmla="*/ 185714 w 318476"/>
                    <a:gd name="csY104" fmla="*/ 38801 h 4389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</a:cxnLst>
                  <a:rect l="l" t="t" r="r" b="b"/>
                  <a:pathLst>
                    <a:path w="318476" h="438913">
                      <a:moveTo>
                        <a:pt x="185714" y="38801"/>
                      </a:moveTo>
                      <a:lnTo>
                        <a:pt x="190804" y="25739"/>
                      </a:lnTo>
                      <a:lnTo>
                        <a:pt x="216928" y="11973"/>
                      </a:lnTo>
                      <a:lnTo>
                        <a:pt x="202041" y="11973"/>
                      </a:lnTo>
                      <a:lnTo>
                        <a:pt x="199512" y="8708"/>
                      </a:lnTo>
                      <a:lnTo>
                        <a:pt x="206395" y="3617"/>
                      </a:lnTo>
                      <a:lnTo>
                        <a:pt x="194422" y="0"/>
                      </a:lnTo>
                      <a:lnTo>
                        <a:pt x="173004" y="17415"/>
                      </a:lnTo>
                      <a:lnTo>
                        <a:pt x="159974" y="20681"/>
                      </a:lnTo>
                      <a:lnTo>
                        <a:pt x="150530" y="43891"/>
                      </a:lnTo>
                      <a:lnTo>
                        <a:pt x="138557" y="46420"/>
                      </a:lnTo>
                      <a:lnTo>
                        <a:pt x="129849" y="53303"/>
                      </a:lnTo>
                      <a:lnTo>
                        <a:pt x="111729" y="54040"/>
                      </a:lnTo>
                      <a:lnTo>
                        <a:pt x="99756" y="59482"/>
                      </a:lnTo>
                      <a:lnTo>
                        <a:pt x="99756" y="64572"/>
                      </a:lnTo>
                      <a:lnTo>
                        <a:pt x="89575" y="70719"/>
                      </a:lnTo>
                      <a:lnTo>
                        <a:pt x="87783" y="77634"/>
                      </a:lnTo>
                      <a:lnTo>
                        <a:pt x="77250" y="78338"/>
                      </a:lnTo>
                      <a:lnTo>
                        <a:pt x="85222" y="84517"/>
                      </a:lnTo>
                      <a:lnTo>
                        <a:pt x="82692" y="89575"/>
                      </a:lnTo>
                      <a:lnTo>
                        <a:pt x="91048" y="97227"/>
                      </a:lnTo>
                      <a:lnTo>
                        <a:pt x="79075" y="110256"/>
                      </a:lnTo>
                      <a:lnTo>
                        <a:pt x="81604" y="125495"/>
                      </a:lnTo>
                      <a:lnTo>
                        <a:pt x="89575" y="150530"/>
                      </a:lnTo>
                      <a:lnTo>
                        <a:pt x="94666" y="156709"/>
                      </a:lnTo>
                      <a:lnTo>
                        <a:pt x="92137" y="171948"/>
                      </a:lnTo>
                      <a:lnTo>
                        <a:pt x="99756" y="181744"/>
                      </a:lnTo>
                      <a:lnTo>
                        <a:pt x="88487" y="181744"/>
                      </a:lnTo>
                      <a:lnTo>
                        <a:pt x="79779" y="196983"/>
                      </a:lnTo>
                      <a:lnTo>
                        <a:pt x="70367" y="201336"/>
                      </a:lnTo>
                      <a:lnTo>
                        <a:pt x="66013" y="225251"/>
                      </a:lnTo>
                      <a:lnTo>
                        <a:pt x="48950" y="227076"/>
                      </a:lnTo>
                      <a:lnTo>
                        <a:pt x="35888" y="221281"/>
                      </a:lnTo>
                      <a:lnTo>
                        <a:pt x="29005" y="224547"/>
                      </a:lnTo>
                      <a:lnTo>
                        <a:pt x="21385" y="233959"/>
                      </a:lnTo>
                      <a:lnTo>
                        <a:pt x="21385" y="247021"/>
                      </a:lnTo>
                      <a:lnTo>
                        <a:pt x="19561" y="262259"/>
                      </a:lnTo>
                      <a:lnTo>
                        <a:pt x="6883" y="266613"/>
                      </a:lnTo>
                      <a:lnTo>
                        <a:pt x="4354" y="302181"/>
                      </a:lnTo>
                      <a:lnTo>
                        <a:pt x="0" y="307239"/>
                      </a:lnTo>
                      <a:lnTo>
                        <a:pt x="5058" y="325391"/>
                      </a:lnTo>
                      <a:lnTo>
                        <a:pt x="12678" y="327920"/>
                      </a:lnTo>
                      <a:lnTo>
                        <a:pt x="29005" y="318476"/>
                      </a:lnTo>
                      <a:lnTo>
                        <a:pt x="49686" y="326832"/>
                      </a:lnTo>
                      <a:lnTo>
                        <a:pt x="70367" y="328657"/>
                      </a:lnTo>
                      <a:lnTo>
                        <a:pt x="71455" y="328657"/>
                      </a:lnTo>
                      <a:lnTo>
                        <a:pt x="77250" y="348601"/>
                      </a:lnTo>
                      <a:lnTo>
                        <a:pt x="42067" y="361279"/>
                      </a:lnTo>
                      <a:lnTo>
                        <a:pt x="51511" y="363104"/>
                      </a:lnTo>
                      <a:lnTo>
                        <a:pt x="62748" y="376902"/>
                      </a:lnTo>
                      <a:lnTo>
                        <a:pt x="49686" y="388875"/>
                      </a:lnTo>
                      <a:lnTo>
                        <a:pt x="55833" y="400112"/>
                      </a:lnTo>
                      <a:lnTo>
                        <a:pt x="62748" y="401937"/>
                      </a:lnTo>
                      <a:lnTo>
                        <a:pt x="80868" y="395758"/>
                      </a:lnTo>
                      <a:lnTo>
                        <a:pt x="105903" y="378695"/>
                      </a:lnTo>
                      <a:lnTo>
                        <a:pt x="114258" y="383048"/>
                      </a:lnTo>
                      <a:lnTo>
                        <a:pt x="124759" y="372548"/>
                      </a:lnTo>
                      <a:lnTo>
                        <a:pt x="134940" y="375077"/>
                      </a:lnTo>
                      <a:lnTo>
                        <a:pt x="148706" y="363840"/>
                      </a:lnTo>
                      <a:lnTo>
                        <a:pt x="151267" y="367458"/>
                      </a:lnTo>
                      <a:lnTo>
                        <a:pt x="153059" y="368194"/>
                      </a:lnTo>
                      <a:lnTo>
                        <a:pt x="208220" y="419705"/>
                      </a:lnTo>
                      <a:lnTo>
                        <a:pt x="227780" y="438913"/>
                      </a:lnTo>
                      <a:lnTo>
                        <a:pt x="237577" y="432766"/>
                      </a:lnTo>
                      <a:lnTo>
                        <a:pt x="227076" y="423322"/>
                      </a:lnTo>
                      <a:lnTo>
                        <a:pt x="222722" y="410260"/>
                      </a:lnTo>
                      <a:lnTo>
                        <a:pt x="241578" y="381256"/>
                      </a:lnTo>
                      <a:lnTo>
                        <a:pt x="257169" y="369987"/>
                      </a:lnTo>
                      <a:lnTo>
                        <a:pt x="265173" y="370723"/>
                      </a:lnTo>
                      <a:lnTo>
                        <a:pt x="269143" y="365633"/>
                      </a:lnTo>
                      <a:lnTo>
                        <a:pt x="285470" y="361279"/>
                      </a:lnTo>
                      <a:lnTo>
                        <a:pt x="282941" y="344984"/>
                      </a:lnTo>
                      <a:lnTo>
                        <a:pt x="294178" y="338069"/>
                      </a:lnTo>
                      <a:lnTo>
                        <a:pt x="298531" y="326095"/>
                      </a:lnTo>
                      <a:lnTo>
                        <a:pt x="291648" y="316683"/>
                      </a:lnTo>
                      <a:lnTo>
                        <a:pt x="296002" y="303622"/>
                      </a:lnTo>
                      <a:lnTo>
                        <a:pt x="289824" y="294177"/>
                      </a:lnTo>
                      <a:lnTo>
                        <a:pt x="291648" y="284029"/>
                      </a:lnTo>
                      <a:lnTo>
                        <a:pt x="285470" y="267702"/>
                      </a:lnTo>
                      <a:lnTo>
                        <a:pt x="296707" y="240138"/>
                      </a:lnTo>
                      <a:lnTo>
                        <a:pt x="292353" y="204954"/>
                      </a:lnTo>
                      <a:lnTo>
                        <a:pt x="298531" y="198775"/>
                      </a:lnTo>
                      <a:lnTo>
                        <a:pt x="296707" y="184273"/>
                      </a:lnTo>
                      <a:lnTo>
                        <a:pt x="306151" y="162503"/>
                      </a:lnTo>
                      <a:lnTo>
                        <a:pt x="314122" y="147265"/>
                      </a:lnTo>
                      <a:lnTo>
                        <a:pt x="318476" y="124791"/>
                      </a:lnTo>
                      <a:lnTo>
                        <a:pt x="299268" y="122230"/>
                      </a:lnTo>
                      <a:lnTo>
                        <a:pt x="302885" y="102285"/>
                      </a:lnTo>
                      <a:lnTo>
                        <a:pt x="287295" y="101549"/>
                      </a:lnTo>
                      <a:lnTo>
                        <a:pt x="295266" y="73985"/>
                      </a:lnTo>
                      <a:lnTo>
                        <a:pt x="277850" y="48949"/>
                      </a:lnTo>
                      <a:lnTo>
                        <a:pt x="281500" y="37712"/>
                      </a:lnTo>
                      <a:lnTo>
                        <a:pt x="289824" y="32654"/>
                      </a:lnTo>
                      <a:lnTo>
                        <a:pt x="282204" y="28300"/>
                      </a:lnTo>
                      <a:lnTo>
                        <a:pt x="274585" y="29389"/>
                      </a:lnTo>
                      <a:lnTo>
                        <a:pt x="251375" y="52599"/>
                      </a:lnTo>
                      <a:lnTo>
                        <a:pt x="239049" y="48245"/>
                      </a:lnTo>
                      <a:lnTo>
                        <a:pt x="226340" y="51511"/>
                      </a:lnTo>
                      <a:lnTo>
                        <a:pt x="227076" y="62748"/>
                      </a:lnTo>
                      <a:lnTo>
                        <a:pt x="214366" y="76546"/>
                      </a:lnTo>
                      <a:lnTo>
                        <a:pt x="192597" y="77634"/>
                      </a:lnTo>
                      <a:lnTo>
                        <a:pt x="188243" y="68926"/>
                      </a:lnTo>
                      <a:lnTo>
                        <a:pt x="179919" y="59482"/>
                      </a:lnTo>
                      <a:lnTo>
                        <a:pt x="191893" y="51511"/>
                      </a:lnTo>
                      <a:lnTo>
                        <a:pt x="185714" y="38801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9052AAFE-A9AA-47A5-915A-0811506908EB}"/>
                    </a:ext>
                  </a:extLst>
                </p:cNvPr>
                <p:cNvSpPr/>
                <p:nvPr/>
              </p:nvSpPr>
              <p:spPr>
                <a:xfrm>
                  <a:off x="2735072" y="4244336"/>
                  <a:ext cx="318476" cy="438913"/>
                </a:xfrm>
                <a:custGeom>
                  <a:avLst/>
                  <a:gdLst>
                    <a:gd name="csX0" fmla="*/ 185714 w 318476"/>
                    <a:gd name="csY0" fmla="*/ 38801 h 438913"/>
                    <a:gd name="csX1" fmla="*/ 190804 w 318476"/>
                    <a:gd name="csY1" fmla="*/ 25739 h 438913"/>
                    <a:gd name="csX2" fmla="*/ 216928 w 318476"/>
                    <a:gd name="csY2" fmla="*/ 11973 h 438913"/>
                    <a:gd name="csX3" fmla="*/ 202041 w 318476"/>
                    <a:gd name="csY3" fmla="*/ 11973 h 438913"/>
                    <a:gd name="csX4" fmla="*/ 199512 w 318476"/>
                    <a:gd name="csY4" fmla="*/ 8708 h 438913"/>
                    <a:gd name="csX5" fmla="*/ 206395 w 318476"/>
                    <a:gd name="csY5" fmla="*/ 3617 h 438913"/>
                    <a:gd name="csX6" fmla="*/ 194422 w 318476"/>
                    <a:gd name="csY6" fmla="*/ 0 h 438913"/>
                    <a:gd name="csX7" fmla="*/ 173004 w 318476"/>
                    <a:gd name="csY7" fmla="*/ 17415 h 438913"/>
                    <a:gd name="csX8" fmla="*/ 159974 w 318476"/>
                    <a:gd name="csY8" fmla="*/ 20681 h 438913"/>
                    <a:gd name="csX9" fmla="*/ 150530 w 318476"/>
                    <a:gd name="csY9" fmla="*/ 43891 h 438913"/>
                    <a:gd name="csX10" fmla="*/ 138557 w 318476"/>
                    <a:gd name="csY10" fmla="*/ 46420 h 438913"/>
                    <a:gd name="csX11" fmla="*/ 129849 w 318476"/>
                    <a:gd name="csY11" fmla="*/ 53303 h 438913"/>
                    <a:gd name="csX12" fmla="*/ 111729 w 318476"/>
                    <a:gd name="csY12" fmla="*/ 54040 h 438913"/>
                    <a:gd name="csX13" fmla="*/ 99756 w 318476"/>
                    <a:gd name="csY13" fmla="*/ 59482 h 438913"/>
                    <a:gd name="csX14" fmla="*/ 99756 w 318476"/>
                    <a:gd name="csY14" fmla="*/ 64572 h 438913"/>
                    <a:gd name="csX15" fmla="*/ 89575 w 318476"/>
                    <a:gd name="csY15" fmla="*/ 70719 h 438913"/>
                    <a:gd name="csX16" fmla="*/ 87783 w 318476"/>
                    <a:gd name="csY16" fmla="*/ 77634 h 438913"/>
                    <a:gd name="csX17" fmla="*/ 77250 w 318476"/>
                    <a:gd name="csY17" fmla="*/ 78338 h 438913"/>
                    <a:gd name="csX18" fmla="*/ 85222 w 318476"/>
                    <a:gd name="csY18" fmla="*/ 84517 h 438913"/>
                    <a:gd name="csX19" fmla="*/ 82692 w 318476"/>
                    <a:gd name="csY19" fmla="*/ 89575 h 438913"/>
                    <a:gd name="csX20" fmla="*/ 91048 w 318476"/>
                    <a:gd name="csY20" fmla="*/ 97227 h 438913"/>
                    <a:gd name="csX21" fmla="*/ 79075 w 318476"/>
                    <a:gd name="csY21" fmla="*/ 110256 h 438913"/>
                    <a:gd name="csX22" fmla="*/ 81604 w 318476"/>
                    <a:gd name="csY22" fmla="*/ 125495 h 438913"/>
                    <a:gd name="csX23" fmla="*/ 89575 w 318476"/>
                    <a:gd name="csY23" fmla="*/ 150530 h 438913"/>
                    <a:gd name="csX24" fmla="*/ 94666 w 318476"/>
                    <a:gd name="csY24" fmla="*/ 156709 h 438913"/>
                    <a:gd name="csX25" fmla="*/ 92137 w 318476"/>
                    <a:gd name="csY25" fmla="*/ 171948 h 438913"/>
                    <a:gd name="csX26" fmla="*/ 99756 w 318476"/>
                    <a:gd name="csY26" fmla="*/ 181744 h 438913"/>
                    <a:gd name="csX27" fmla="*/ 88487 w 318476"/>
                    <a:gd name="csY27" fmla="*/ 181744 h 438913"/>
                    <a:gd name="csX28" fmla="*/ 79779 w 318476"/>
                    <a:gd name="csY28" fmla="*/ 196983 h 438913"/>
                    <a:gd name="csX29" fmla="*/ 70367 w 318476"/>
                    <a:gd name="csY29" fmla="*/ 201336 h 438913"/>
                    <a:gd name="csX30" fmla="*/ 66013 w 318476"/>
                    <a:gd name="csY30" fmla="*/ 225251 h 438913"/>
                    <a:gd name="csX31" fmla="*/ 48950 w 318476"/>
                    <a:gd name="csY31" fmla="*/ 227076 h 438913"/>
                    <a:gd name="csX32" fmla="*/ 35888 w 318476"/>
                    <a:gd name="csY32" fmla="*/ 221281 h 438913"/>
                    <a:gd name="csX33" fmla="*/ 29005 w 318476"/>
                    <a:gd name="csY33" fmla="*/ 224547 h 438913"/>
                    <a:gd name="csX34" fmla="*/ 21385 w 318476"/>
                    <a:gd name="csY34" fmla="*/ 233959 h 438913"/>
                    <a:gd name="csX35" fmla="*/ 21385 w 318476"/>
                    <a:gd name="csY35" fmla="*/ 247021 h 438913"/>
                    <a:gd name="csX36" fmla="*/ 19561 w 318476"/>
                    <a:gd name="csY36" fmla="*/ 262259 h 438913"/>
                    <a:gd name="csX37" fmla="*/ 6883 w 318476"/>
                    <a:gd name="csY37" fmla="*/ 266613 h 438913"/>
                    <a:gd name="csX38" fmla="*/ 4354 w 318476"/>
                    <a:gd name="csY38" fmla="*/ 302181 h 438913"/>
                    <a:gd name="csX39" fmla="*/ 0 w 318476"/>
                    <a:gd name="csY39" fmla="*/ 307239 h 438913"/>
                    <a:gd name="csX40" fmla="*/ 5058 w 318476"/>
                    <a:gd name="csY40" fmla="*/ 325391 h 438913"/>
                    <a:gd name="csX41" fmla="*/ 12678 w 318476"/>
                    <a:gd name="csY41" fmla="*/ 327920 h 438913"/>
                    <a:gd name="csX42" fmla="*/ 29005 w 318476"/>
                    <a:gd name="csY42" fmla="*/ 318476 h 438913"/>
                    <a:gd name="csX43" fmla="*/ 49686 w 318476"/>
                    <a:gd name="csY43" fmla="*/ 326832 h 438913"/>
                    <a:gd name="csX44" fmla="*/ 70367 w 318476"/>
                    <a:gd name="csY44" fmla="*/ 328657 h 438913"/>
                    <a:gd name="csX45" fmla="*/ 71455 w 318476"/>
                    <a:gd name="csY45" fmla="*/ 328657 h 438913"/>
                    <a:gd name="csX46" fmla="*/ 77250 w 318476"/>
                    <a:gd name="csY46" fmla="*/ 348601 h 438913"/>
                    <a:gd name="csX47" fmla="*/ 42067 w 318476"/>
                    <a:gd name="csY47" fmla="*/ 361279 h 438913"/>
                    <a:gd name="csX48" fmla="*/ 51511 w 318476"/>
                    <a:gd name="csY48" fmla="*/ 363104 h 438913"/>
                    <a:gd name="csX49" fmla="*/ 62748 w 318476"/>
                    <a:gd name="csY49" fmla="*/ 376902 h 438913"/>
                    <a:gd name="csX50" fmla="*/ 49686 w 318476"/>
                    <a:gd name="csY50" fmla="*/ 388875 h 438913"/>
                    <a:gd name="csX51" fmla="*/ 55833 w 318476"/>
                    <a:gd name="csY51" fmla="*/ 400112 h 438913"/>
                    <a:gd name="csX52" fmla="*/ 62748 w 318476"/>
                    <a:gd name="csY52" fmla="*/ 401937 h 438913"/>
                    <a:gd name="csX53" fmla="*/ 80868 w 318476"/>
                    <a:gd name="csY53" fmla="*/ 395758 h 438913"/>
                    <a:gd name="csX54" fmla="*/ 105903 w 318476"/>
                    <a:gd name="csY54" fmla="*/ 378695 h 438913"/>
                    <a:gd name="csX55" fmla="*/ 114258 w 318476"/>
                    <a:gd name="csY55" fmla="*/ 383048 h 438913"/>
                    <a:gd name="csX56" fmla="*/ 124759 w 318476"/>
                    <a:gd name="csY56" fmla="*/ 372548 h 438913"/>
                    <a:gd name="csX57" fmla="*/ 134940 w 318476"/>
                    <a:gd name="csY57" fmla="*/ 375077 h 438913"/>
                    <a:gd name="csX58" fmla="*/ 148706 w 318476"/>
                    <a:gd name="csY58" fmla="*/ 363840 h 438913"/>
                    <a:gd name="csX59" fmla="*/ 151267 w 318476"/>
                    <a:gd name="csY59" fmla="*/ 367458 h 438913"/>
                    <a:gd name="csX60" fmla="*/ 153059 w 318476"/>
                    <a:gd name="csY60" fmla="*/ 368194 h 438913"/>
                    <a:gd name="csX61" fmla="*/ 208220 w 318476"/>
                    <a:gd name="csY61" fmla="*/ 419705 h 438913"/>
                    <a:gd name="csX62" fmla="*/ 227780 w 318476"/>
                    <a:gd name="csY62" fmla="*/ 438913 h 438913"/>
                    <a:gd name="csX63" fmla="*/ 237577 w 318476"/>
                    <a:gd name="csY63" fmla="*/ 432766 h 438913"/>
                    <a:gd name="csX64" fmla="*/ 227076 w 318476"/>
                    <a:gd name="csY64" fmla="*/ 423322 h 438913"/>
                    <a:gd name="csX65" fmla="*/ 222722 w 318476"/>
                    <a:gd name="csY65" fmla="*/ 410260 h 438913"/>
                    <a:gd name="csX66" fmla="*/ 241578 w 318476"/>
                    <a:gd name="csY66" fmla="*/ 381256 h 438913"/>
                    <a:gd name="csX67" fmla="*/ 257169 w 318476"/>
                    <a:gd name="csY67" fmla="*/ 369987 h 438913"/>
                    <a:gd name="csX68" fmla="*/ 265173 w 318476"/>
                    <a:gd name="csY68" fmla="*/ 370723 h 438913"/>
                    <a:gd name="csX69" fmla="*/ 269143 w 318476"/>
                    <a:gd name="csY69" fmla="*/ 365633 h 438913"/>
                    <a:gd name="csX70" fmla="*/ 285470 w 318476"/>
                    <a:gd name="csY70" fmla="*/ 361279 h 438913"/>
                    <a:gd name="csX71" fmla="*/ 282941 w 318476"/>
                    <a:gd name="csY71" fmla="*/ 344984 h 438913"/>
                    <a:gd name="csX72" fmla="*/ 294178 w 318476"/>
                    <a:gd name="csY72" fmla="*/ 338069 h 438913"/>
                    <a:gd name="csX73" fmla="*/ 298531 w 318476"/>
                    <a:gd name="csY73" fmla="*/ 326095 h 438913"/>
                    <a:gd name="csX74" fmla="*/ 291648 w 318476"/>
                    <a:gd name="csY74" fmla="*/ 316683 h 438913"/>
                    <a:gd name="csX75" fmla="*/ 296002 w 318476"/>
                    <a:gd name="csY75" fmla="*/ 303622 h 438913"/>
                    <a:gd name="csX76" fmla="*/ 289824 w 318476"/>
                    <a:gd name="csY76" fmla="*/ 294177 h 438913"/>
                    <a:gd name="csX77" fmla="*/ 291648 w 318476"/>
                    <a:gd name="csY77" fmla="*/ 284029 h 438913"/>
                    <a:gd name="csX78" fmla="*/ 285470 w 318476"/>
                    <a:gd name="csY78" fmla="*/ 267702 h 438913"/>
                    <a:gd name="csX79" fmla="*/ 296707 w 318476"/>
                    <a:gd name="csY79" fmla="*/ 240138 h 438913"/>
                    <a:gd name="csX80" fmla="*/ 292353 w 318476"/>
                    <a:gd name="csY80" fmla="*/ 204954 h 438913"/>
                    <a:gd name="csX81" fmla="*/ 298531 w 318476"/>
                    <a:gd name="csY81" fmla="*/ 198775 h 438913"/>
                    <a:gd name="csX82" fmla="*/ 296707 w 318476"/>
                    <a:gd name="csY82" fmla="*/ 184273 h 438913"/>
                    <a:gd name="csX83" fmla="*/ 306151 w 318476"/>
                    <a:gd name="csY83" fmla="*/ 162503 h 438913"/>
                    <a:gd name="csX84" fmla="*/ 314122 w 318476"/>
                    <a:gd name="csY84" fmla="*/ 147265 h 438913"/>
                    <a:gd name="csX85" fmla="*/ 318476 w 318476"/>
                    <a:gd name="csY85" fmla="*/ 124791 h 438913"/>
                    <a:gd name="csX86" fmla="*/ 299268 w 318476"/>
                    <a:gd name="csY86" fmla="*/ 122230 h 438913"/>
                    <a:gd name="csX87" fmla="*/ 302885 w 318476"/>
                    <a:gd name="csY87" fmla="*/ 102285 h 438913"/>
                    <a:gd name="csX88" fmla="*/ 287295 w 318476"/>
                    <a:gd name="csY88" fmla="*/ 101549 h 438913"/>
                    <a:gd name="csX89" fmla="*/ 295266 w 318476"/>
                    <a:gd name="csY89" fmla="*/ 73985 h 438913"/>
                    <a:gd name="csX90" fmla="*/ 277850 w 318476"/>
                    <a:gd name="csY90" fmla="*/ 48949 h 438913"/>
                    <a:gd name="csX91" fmla="*/ 281500 w 318476"/>
                    <a:gd name="csY91" fmla="*/ 37712 h 438913"/>
                    <a:gd name="csX92" fmla="*/ 289824 w 318476"/>
                    <a:gd name="csY92" fmla="*/ 32654 h 438913"/>
                    <a:gd name="csX93" fmla="*/ 282204 w 318476"/>
                    <a:gd name="csY93" fmla="*/ 28300 h 438913"/>
                    <a:gd name="csX94" fmla="*/ 274585 w 318476"/>
                    <a:gd name="csY94" fmla="*/ 29389 h 438913"/>
                    <a:gd name="csX95" fmla="*/ 251375 w 318476"/>
                    <a:gd name="csY95" fmla="*/ 52599 h 438913"/>
                    <a:gd name="csX96" fmla="*/ 239049 w 318476"/>
                    <a:gd name="csY96" fmla="*/ 48245 h 438913"/>
                    <a:gd name="csX97" fmla="*/ 226340 w 318476"/>
                    <a:gd name="csY97" fmla="*/ 51511 h 438913"/>
                    <a:gd name="csX98" fmla="*/ 227076 w 318476"/>
                    <a:gd name="csY98" fmla="*/ 62748 h 438913"/>
                    <a:gd name="csX99" fmla="*/ 214366 w 318476"/>
                    <a:gd name="csY99" fmla="*/ 76546 h 438913"/>
                    <a:gd name="csX100" fmla="*/ 192597 w 318476"/>
                    <a:gd name="csY100" fmla="*/ 77634 h 438913"/>
                    <a:gd name="csX101" fmla="*/ 188243 w 318476"/>
                    <a:gd name="csY101" fmla="*/ 68926 h 438913"/>
                    <a:gd name="csX102" fmla="*/ 179919 w 318476"/>
                    <a:gd name="csY102" fmla="*/ 59482 h 438913"/>
                    <a:gd name="csX103" fmla="*/ 191893 w 318476"/>
                    <a:gd name="csY103" fmla="*/ 51511 h 438913"/>
                    <a:gd name="csX104" fmla="*/ 185714 w 318476"/>
                    <a:gd name="csY104" fmla="*/ 38801 h 43891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</a:cxnLst>
                  <a:rect l="l" t="t" r="r" b="b"/>
                  <a:pathLst>
                    <a:path w="318476" h="438913">
                      <a:moveTo>
                        <a:pt x="185714" y="38801"/>
                      </a:moveTo>
                      <a:lnTo>
                        <a:pt x="190804" y="25739"/>
                      </a:lnTo>
                      <a:lnTo>
                        <a:pt x="216928" y="11973"/>
                      </a:lnTo>
                      <a:lnTo>
                        <a:pt x="202041" y="11973"/>
                      </a:lnTo>
                      <a:lnTo>
                        <a:pt x="199512" y="8708"/>
                      </a:lnTo>
                      <a:lnTo>
                        <a:pt x="206395" y="3617"/>
                      </a:lnTo>
                      <a:lnTo>
                        <a:pt x="194422" y="0"/>
                      </a:lnTo>
                      <a:lnTo>
                        <a:pt x="173004" y="17415"/>
                      </a:lnTo>
                      <a:lnTo>
                        <a:pt x="159974" y="20681"/>
                      </a:lnTo>
                      <a:lnTo>
                        <a:pt x="150530" y="43891"/>
                      </a:lnTo>
                      <a:lnTo>
                        <a:pt x="138557" y="46420"/>
                      </a:lnTo>
                      <a:lnTo>
                        <a:pt x="129849" y="53303"/>
                      </a:lnTo>
                      <a:lnTo>
                        <a:pt x="111729" y="54040"/>
                      </a:lnTo>
                      <a:lnTo>
                        <a:pt x="99756" y="59482"/>
                      </a:lnTo>
                      <a:lnTo>
                        <a:pt x="99756" y="64572"/>
                      </a:lnTo>
                      <a:lnTo>
                        <a:pt x="89575" y="70719"/>
                      </a:lnTo>
                      <a:lnTo>
                        <a:pt x="87783" y="77634"/>
                      </a:lnTo>
                      <a:lnTo>
                        <a:pt x="77250" y="78338"/>
                      </a:lnTo>
                      <a:lnTo>
                        <a:pt x="85222" y="84517"/>
                      </a:lnTo>
                      <a:lnTo>
                        <a:pt x="82692" y="89575"/>
                      </a:lnTo>
                      <a:lnTo>
                        <a:pt x="91048" y="97227"/>
                      </a:lnTo>
                      <a:lnTo>
                        <a:pt x="79075" y="110256"/>
                      </a:lnTo>
                      <a:lnTo>
                        <a:pt x="81604" y="125495"/>
                      </a:lnTo>
                      <a:lnTo>
                        <a:pt x="89575" y="150530"/>
                      </a:lnTo>
                      <a:lnTo>
                        <a:pt x="94666" y="156709"/>
                      </a:lnTo>
                      <a:lnTo>
                        <a:pt x="92137" y="171948"/>
                      </a:lnTo>
                      <a:lnTo>
                        <a:pt x="99756" y="181744"/>
                      </a:lnTo>
                      <a:lnTo>
                        <a:pt x="88487" y="181744"/>
                      </a:lnTo>
                      <a:lnTo>
                        <a:pt x="79779" y="196983"/>
                      </a:lnTo>
                      <a:lnTo>
                        <a:pt x="70367" y="201336"/>
                      </a:lnTo>
                      <a:lnTo>
                        <a:pt x="66013" y="225251"/>
                      </a:lnTo>
                      <a:lnTo>
                        <a:pt x="48950" y="227076"/>
                      </a:lnTo>
                      <a:lnTo>
                        <a:pt x="35888" y="221281"/>
                      </a:lnTo>
                      <a:lnTo>
                        <a:pt x="29005" y="224547"/>
                      </a:lnTo>
                      <a:lnTo>
                        <a:pt x="21385" y="233959"/>
                      </a:lnTo>
                      <a:lnTo>
                        <a:pt x="21385" y="247021"/>
                      </a:lnTo>
                      <a:lnTo>
                        <a:pt x="19561" y="262259"/>
                      </a:lnTo>
                      <a:lnTo>
                        <a:pt x="6883" y="266613"/>
                      </a:lnTo>
                      <a:lnTo>
                        <a:pt x="4354" y="302181"/>
                      </a:lnTo>
                      <a:lnTo>
                        <a:pt x="0" y="307239"/>
                      </a:lnTo>
                      <a:lnTo>
                        <a:pt x="5058" y="325391"/>
                      </a:lnTo>
                      <a:lnTo>
                        <a:pt x="12678" y="327920"/>
                      </a:lnTo>
                      <a:lnTo>
                        <a:pt x="29005" y="318476"/>
                      </a:lnTo>
                      <a:lnTo>
                        <a:pt x="49686" y="326832"/>
                      </a:lnTo>
                      <a:lnTo>
                        <a:pt x="70367" y="328657"/>
                      </a:lnTo>
                      <a:lnTo>
                        <a:pt x="71455" y="328657"/>
                      </a:lnTo>
                      <a:lnTo>
                        <a:pt x="77250" y="348601"/>
                      </a:lnTo>
                      <a:lnTo>
                        <a:pt x="42067" y="361279"/>
                      </a:lnTo>
                      <a:lnTo>
                        <a:pt x="51511" y="363104"/>
                      </a:lnTo>
                      <a:lnTo>
                        <a:pt x="62748" y="376902"/>
                      </a:lnTo>
                      <a:lnTo>
                        <a:pt x="49686" y="388875"/>
                      </a:lnTo>
                      <a:lnTo>
                        <a:pt x="55833" y="400112"/>
                      </a:lnTo>
                      <a:lnTo>
                        <a:pt x="62748" y="401937"/>
                      </a:lnTo>
                      <a:lnTo>
                        <a:pt x="80868" y="395758"/>
                      </a:lnTo>
                      <a:lnTo>
                        <a:pt x="105903" y="378695"/>
                      </a:lnTo>
                      <a:lnTo>
                        <a:pt x="114258" y="383048"/>
                      </a:lnTo>
                      <a:lnTo>
                        <a:pt x="124759" y="372548"/>
                      </a:lnTo>
                      <a:lnTo>
                        <a:pt x="134940" y="375077"/>
                      </a:lnTo>
                      <a:lnTo>
                        <a:pt x="148706" y="363840"/>
                      </a:lnTo>
                      <a:lnTo>
                        <a:pt x="151267" y="367458"/>
                      </a:lnTo>
                      <a:lnTo>
                        <a:pt x="153059" y="368194"/>
                      </a:lnTo>
                      <a:lnTo>
                        <a:pt x="208220" y="419705"/>
                      </a:lnTo>
                      <a:lnTo>
                        <a:pt x="227780" y="438913"/>
                      </a:lnTo>
                      <a:lnTo>
                        <a:pt x="237577" y="432766"/>
                      </a:lnTo>
                      <a:lnTo>
                        <a:pt x="227076" y="423322"/>
                      </a:lnTo>
                      <a:lnTo>
                        <a:pt x="222722" y="410260"/>
                      </a:lnTo>
                      <a:lnTo>
                        <a:pt x="241578" y="381256"/>
                      </a:lnTo>
                      <a:lnTo>
                        <a:pt x="257169" y="369987"/>
                      </a:lnTo>
                      <a:lnTo>
                        <a:pt x="265173" y="370723"/>
                      </a:lnTo>
                      <a:lnTo>
                        <a:pt x="269143" y="365633"/>
                      </a:lnTo>
                      <a:lnTo>
                        <a:pt x="285470" y="361279"/>
                      </a:lnTo>
                      <a:lnTo>
                        <a:pt x="282941" y="344984"/>
                      </a:lnTo>
                      <a:lnTo>
                        <a:pt x="294178" y="338069"/>
                      </a:lnTo>
                      <a:lnTo>
                        <a:pt x="298531" y="326095"/>
                      </a:lnTo>
                      <a:lnTo>
                        <a:pt x="291648" y="316683"/>
                      </a:lnTo>
                      <a:lnTo>
                        <a:pt x="296002" y="303622"/>
                      </a:lnTo>
                      <a:lnTo>
                        <a:pt x="289824" y="294177"/>
                      </a:lnTo>
                      <a:lnTo>
                        <a:pt x="291648" y="284029"/>
                      </a:lnTo>
                      <a:lnTo>
                        <a:pt x="285470" y="267702"/>
                      </a:lnTo>
                      <a:lnTo>
                        <a:pt x="296707" y="240138"/>
                      </a:lnTo>
                      <a:lnTo>
                        <a:pt x="292353" y="204954"/>
                      </a:lnTo>
                      <a:lnTo>
                        <a:pt x="298531" y="198775"/>
                      </a:lnTo>
                      <a:lnTo>
                        <a:pt x="296707" y="184273"/>
                      </a:lnTo>
                      <a:lnTo>
                        <a:pt x="306151" y="162503"/>
                      </a:lnTo>
                      <a:lnTo>
                        <a:pt x="314122" y="147265"/>
                      </a:lnTo>
                      <a:lnTo>
                        <a:pt x="318476" y="124791"/>
                      </a:lnTo>
                      <a:lnTo>
                        <a:pt x="299268" y="122230"/>
                      </a:lnTo>
                      <a:lnTo>
                        <a:pt x="302885" y="102285"/>
                      </a:lnTo>
                      <a:lnTo>
                        <a:pt x="287295" y="101549"/>
                      </a:lnTo>
                      <a:lnTo>
                        <a:pt x="295266" y="73985"/>
                      </a:lnTo>
                      <a:lnTo>
                        <a:pt x="277850" y="48949"/>
                      </a:lnTo>
                      <a:lnTo>
                        <a:pt x="281500" y="37712"/>
                      </a:lnTo>
                      <a:lnTo>
                        <a:pt x="289824" y="32654"/>
                      </a:lnTo>
                      <a:lnTo>
                        <a:pt x="282204" y="28300"/>
                      </a:lnTo>
                      <a:lnTo>
                        <a:pt x="274585" y="29389"/>
                      </a:lnTo>
                      <a:lnTo>
                        <a:pt x="251375" y="52599"/>
                      </a:lnTo>
                      <a:lnTo>
                        <a:pt x="239049" y="48245"/>
                      </a:lnTo>
                      <a:lnTo>
                        <a:pt x="226340" y="51511"/>
                      </a:lnTo>
                      <a:lnTo>
                        <a:pt x="227076" y="62748"/>
                      </a:lnTo>
                      <a:lnTo>
                        <a:pt x="214366" y="76546"/>
                      </a:lnTo>
                      <a:lnTo>
                        <a:pt x="192597" y="77634"/>
                      </a:lnTo>
                      <a:lnTo>
                        <a:pt x="188243" y="68926"/>
                      </a:lnTo>
                      <a:lnTo>
                        <a:pt x="179919" y="59482"/>
                      </a:lnTo>
                      <a:lnTo>
                        <a:pt x="191893" y="51511"/>
                      </a:lnTo>
                      <a:lnTo>
                        <a:pt x="185714" y="38801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7B5D56EF-DD7A-5356-D967-577E4A7564AE}"/>
                    </a:ext>
                  </a:extLst>
                </p:cNvPr>
                <p:cNvSpPr/>
                <p:nvPr/>
              </p:nvSpPr>
              <p:spPr>
                <a:xfrm>
                  <a:off x="2572184" y="5976138"/>
                  <a:ext cx="478482" cy="331538"/>
                </a:xfrm>
                <a:custGeom>
                  <a:avLst/>
                  <a:gdLst>
                    <a:gd name="csX0" fmla="*/ 327216 w 478482"/>
                    <a:gd name="csY0" fmla="*/ 36976 h 331538"/>
                    <a:gd name="csX1" fmla="*/ 290208 w 478482"/>
                    <a:gd name="csY1" fmla="*/ 34447 h 331538"/>
                    <a:gd name="csX2" fmla="*/ 289471 w 478482"/>
                    <a:gd name="csY2" fmla="*/ 34447 h 331538"/>
                    <a:gd name="csX3" fmla="*/ 257553 w 478482"/>
                    <a:gd name="csY3" fmla="*/ 36272 h 331538"/>
                    <a:gd name="csX4" fmla="*/ 230694 w 478482"/>
                    <a:gd name="csY4" fmla="*/ 29357 h 331538"/>
                    <a:gd name="csX5" fmla="*/ 206779 w 478482"/>
                    <a:gd name="csY5" fmla="*/ 15591 h 331538"/>
                    <a:gd name="csX6" fmla="*/ 185009 w 478482"/>
                    <a:gd name="csY6" fmla="*/ 6883 h 331538"/>
                    <a:gd name="csX7" fmla="*/ 170475 w 478482"/>
                    <a:gd name="csY7" fmla="*/ 6883 h 331538"/>
                    <a:gd name="csX8" fmla="*/ 126584 w 478482"/>
                    <a:gd name="csY8" fmla="*/ 6147 h 331538"/>
                    <a:gd name="csX9" fmla="*/ 124791 w 478482"/>
                    <a:gd name="csY9" fmla="*/ 6147 h 331538"/>
                    <a:gd name="csX10" fmla="*/ 118964 w 478482"/>
                    <a:gd name="csY10" fmla="*/ 6147 h 331538"/>
                    <a:gd name="csX11" fmla="*/ 105198 w 478482"/>
                    <a:gd name="csY11" fmla="*/ 6147 h 331538"/>
                    <a:gd name="csX12" fmla="*/ 89607 w 478482"/>
                    <a:gd name="csY12" fmla="*/ 15591 h 331538"/>
                    <a:gd name="csX13" fmla="*/ 81988 w 478482"/>
                    <a:gd name="csY13" fmla="*/ 38065 h 331538"/>
                    <a:gd name="csX14" fmla="*/ 85253 w 478482"/>
                    <a:gd name="csY14" fmla="*/ 44980 h 331538"/>
                    <a:gd name="csX15" fmla="*/ 87783 w 478482"/>
                    <a:gd name="csY15" fmla="*/ 50774 h 331538"/>
                    <a:gd name="csX16" fmla="*/ 72544 w 478482"/>
                    <a:gd name="csY16" fmla="*/ 56217 h 331538"/>
                    <a:gd name="csX17" fmla="*/ 63100 w 478482"/>
                    <a:gd name="csY17" fmla="*/ 73280 h 331538"/>
                    <a:gd name="csX18" fmla="*/ 54392 w 478482"/>
                    <a:gd name="csY18" fmla="*/ 71456 h 331538"/>
                    <a:gd name="csX19" fmla="*/ 53335 w 478482"/>
                    <a:gd name="csY19" fmla="*/ 81988 h 331538"/>
                    <a:gd name="csX20" fmla="*/ 51863 w 478482"/>
                    <a:gd name="csY20" fmla="*/ 89607 h 331538"/>
                    <a:gd name="csX21" fmla="*/ 50070 w 478482"/>
                    <a:gd name="csY21" fmla="*/ 95754 h 331538"/>
                    <a:gd name="csX22" fmla="*/ 43891 w 478482"/>
                    <a:gd name="csY22" fmla="*/ 102637 h 331538"/>
                    <a:gd name="csX23" fmla="*/ 37008 w 478482"/>
                    <a:gd name="csY23" fmla="*/ 117171 h 331538"/>
                    <a:gd name="csX24" fmla="*/ 28653 w 478482"/>
                    <a:gd name="csY24" fmla="*/ 124055 h 331538"/>
                    <a:gd name="csX25" fmla="*/ 1793 w 478482"/>
                    <a:gd name="csY25" fmla="*/ 129145 h 331538"/>
                    <a:gd name="csX26" fmla="*/ 0 w 478482"/>
                    <a:gd name="csY26" fmla="*/ 136028 h 331538"/>
                    <a:gd name="csX27" fmla="*/ 10501 w 478482"/>
                    <a:gd name="csY27" fmla="*/ 138557 h 331538"/>
                    <a:gd name="csX28" fmla="*/ 9412 w 478482"/>
                    <a:gd name="csY28" fmla="*/ 147265 h 331538"/>
                    <a:gd name="csX29" fmla="*/ 15591 w 478482"/>
                    <a:gd name="csY29" fmla="*/ 145472 h 331538"/>
                    <a:gd name="csX30" fmla="*/ 21770 w 478482"/>
                    <a:gd name="csY30" fmla="*/ 152355 h 331538"/>
                    <a:gd name="csX31" fmla="*/ 14854 w 478482"/>
                    <a:gd name="csY31" fmla="*/ 157413 h 331538"/>
                    <a:gd name="csX32" fmla="*/ 10501 w 478482"/>
                    <a:gd name="csY32" fmla="*/ 172300 h 331538"/>
                    <a:gd name="csX33" fmla="*/ 25035 w 478482"/>
                    <a:gd name="csY33" fmla="*/ 187539 h 331538"/>
                    <a:gd name="csX34" fmla="*/ 22474 w 478482"/>
                    <a:gd name="csY34" fmla="*/ 198071 h 331538"/>
                    <a:gd name="csX35" fmla="*/ 28653 w 478482"/>
                    <a:gd name="csY35" fmla="*/ 195510 h 331538"/>
                    <a:gd name="csX36" fmla="*/ 34447 w 478482"/>
                    <a:gd name="csY36" fmla="*/ 199864 h 331538"/>
                    <a:gd name="csX37" fmla="*/ 35536 w 478482"/>
                    <a:gd name="csY37" fmla="*/ 204218 h 331538"/>
                    <a:gd name="csX38" fmla="*/ 55128 w 478482"/>
                    <a:gd name="csY38" fmla="*/ 211837 h 331538"/>
                    <a:gd name="csX39" fmla="*/ 66365 w 478482"/>
                    <a:gd name="csY39" fmla="*/ 210749 h 331538"/>
                    <a:gd name="csX40" fmla="*/ 73985 w 478482"/>
                    <a:gd name="csY40" fmla="*/ 215103 h 331538"/>
                    <a:gd name="csX41" fmla="*/ 87783 w 478482"/>
                    <a:gd name="csY41" fmla="*/ 213662 h 331538"/>
                    <a:gd name="csX42" fmla="*/ 100844 w 478482"/>
                    <a:gd name="csY42" fmla="*/ 204954 h 331538"/>
                    <a:gd name="csX43" fmla="*/ 108464 w 478482"/>
                    <a:gd name="csY43" fmla="*/ 228164 h 331538"/>
                    <a:gd name="csX44" fmla="*/ 102637 w 478482"/>
                    <a:gd name="csY44" fmla="*/ 236872 h 331538"/>
                    <a:gd name="csX45" fmla="*/ 100108 w 478482"/>
                    <a:gd name="csY45" fmla="*/ 240874 h 331538"/>
                    <a:gd name="csX46" fmla="*/ 104110 w 478482"/>
                    <a:gd name="csY46" fmla="*/ 240138 h 331538"/>
                    <a:gd name="csX47" fmla="*/ 113906 w 478482"/>
                    <a:gd name="csY47" fmla="*/ 247757 h 331538"/>
                    <a:gd name="csX48" fmla="*/ 126584 w 478482"/>
                    <a:gd name="csY48" fmla="*/ 247021 h 331538"/>
                    <a:gd name="csX49" fmla="*/ 124791 w 478482"/>
                    <a:gd name="csY49" fmla="*/ 254640 h 331538"/>
                    <a:gd name="csX50" fmla="*/ 133499 w 478482"/>
                    <a:gd name="csY50" fmla="*/ 264436 h 331538"/>
                    <a:gd name="csX51" fmla="*/ 157797 w 478482"/>
                    <a:gd name="csY51" fmla="*/ 265877 h 331538"/>
                    <a:gd name="csX52" fmla="*/ 167210 w 478482"/>
                    <a:gd name="csY52" fmla="*/ 255729 h 331538"/>
                    <a:gd name="csX53" fmla="*/ 179183 w 478482"/>
                    <a:gd name="csY53" fmla="*/ 260819 h 331538"/>
                    <a:gd name="csX54" fmla="*/ 181744 w 478482"/>
                    <a:gd name="csY54" fmla="*/ 269527 h 331538"/>
                    <a:gd name="csX55" fmla="*/ 189363 w 478482"/>
                    <a:gd name="csY55" fmla="*/ 276410 h 331538"/>
                    <a:gd name="csX56" fmla="*/ 195510 w 478482"/>
                    <a:gd name="csY56" fmla="*/ 282204 h 331538"/>
                    <a:gd name="csX57" fmla="*/ 211837 w 478482"/>
                    <a:gd name="csY57" fmla="*/ 282204 h 331538"/>
                    <a:gd name="csX58" fmla="*/ 228901 w 478482"/>
                    <a:gd name="csY58" fmla="*/ 331538 h 331538"/>
                    <a:gd name="csX59" fmla="*/ 246316 w 478482"/>
                    <a:gd name="csY59" fmla="*/ 289119 h 331538"/>
                    <a:gd name="csX60" fmla="*/ 243755 w 478482"/>
                    <a:gd name="csY60" fmla="*/ 273881 h 331538"/>
                    <a:gd name="csX61" fmla="*/ 246316 w 478482"/>
                    <a:gd name="csY61" fmla="*/ 265877 h 331538"/>
                    <a:gd name="csX62" fmla="*/ 238697 w 478482"/>
                    <a:gd name="csY62" fmla="*/ 258290 h 331538"/>
                    <a:gd name="csX63" fmla="*/ 251375 w 478482"/>
                    <a:gd name="csY63" fmla="*/ 243755 h 331538"/>
                    <a:gd name="csX64" fmla="*/ 265909 w 478482"/>
                    <a:gd name="csY64" fmla="*/ 240138 h 331538"/>
                    <a:gd name="csX65" fmla="*/ 276410 w 478482"/>
                    <a:gd name="csY65" fmla="*/ 231430 h 331538"/>
                    <a:gd name="csX66" fmla="*/ 288383 w 478482"/>
                    <a:gd name="csY66" fmla="*/ 244492 h 331538"/>
                    <a:gd name="csX67" fmla="*/ 301445 w 478482"/>
                    <a:gd name="csY67" fmla="*/ 251375 h 331538"/>
                    <a:gd name="csX68" fmla="*/ 312682 w 478482"/>
                    <a:gd name="csY68" fmla="*/ 250670 h 331538"/>
                    <a:gd name="csX69" fmla="*/ 324655 w 478482"/>
                    <a:gd name="csY69" fmla="*/ 257554 h 331538"/>
                    <a:gd name="csX70" fmla="*/ 358046 w 478482"/>
                    <a:gd name="csY70" fmla="*/ 240874 h 331538"/>
                    <a:gd name="csX71" fmla="*/ 359838 w 478482"/>
                    <a:gd name="csY71" fmla="*/ 239401 h 331538"/>
                    <a:gd name="csX72" fmla="*/ 386698 w 478482"/>
                    <a:gd name="csY72" fmla="*/ 204218 h 331538"/>
                    <a:gd name="csX73" fmla="*/ 409908 w 478482"/>
                    <a:gd name="csY73" fmla="*/ 173036 h 331538"/>
                    <a:gd name="csX74" fmla="*/ 410645 w 478482"/>
                    <a:gd name="csY74" fmla="*/ 137117 h 331538"/>
                    <a:gd name="csX75" fmla="*/ 418264 w 478482"/>
                    <a:gd name="csY75" fmla="*/ 105198 h 331538"/>
                    <a:gd name="csX76" fmla="*/ 429501 w 478482"/>
                    <a:gd name="csY76" fmla="*/ 81988 h 331538"/>
                    <a:gd name="csX77" fmla="*/ 455240 w 478482"/>
                    <a:gd name="csY77" fmla="*/ 54392 h 331538"/>
                    <a:gd name="csX78" fmla="*/ 459594 w 478482"/>
                    <a:gd name="csY78" fmla="*/ 36272 h 331538"/>
                    <a:gd name="csX79" fmla="*/ 470127 w 478482"/>
                    <a:gd name="csY79" fmla="*/ 33711 h 331538"/>
                    <a:gd name="csX80" fmla="*/ 478483 w 478482"/>
                    <a:gd name="csY80" fmla="*/ 19945 h 331538"/>
                    <a:gd name="csX81" fmla="*/ 474481 w 478482"/>
                    <a:gd name="csY81" fmla="*/ 16327 h 331538"/>
                    <a:gd name="csX82" fmla="*/ 477746 w 478482"/>
                    <a:gd name="csY82" fmla="*/ 0 h 331538"/>
                    <a:gd name="csX83" fmla="*/ 456329 w 478482"/>
                    <a:gd name="csY83" fmla="*/ 8708 h 331538"/>
                    <a:gd name="csX84" fmla="*/ 452711 w 478482"/>
                    <a:gd name="csY84" fmla="*/ 9412 h 331538"/>
                    <a:gd name="csX85" fmla="*/ 448357 w 478482"/>
                    <a:gd name="csY85" fmla="*/ 11237 h 331538"/>
                    <a:gd name="csX86" fmla="*/ 386698 w 478482"/>
                    <a:gd name="csY86" fmla="*/ 35536 h 331538"/>
                    <a:gd name="csX87" fmla="*/ 385610 w 478482"/>
                    <a:gd name="csY87" fmla="*/ 35536 h 331538"/>
                    <a:gd name="csX88" fmla="*/ 355484 w 478482"/>
                    <a:gd name="csY88" fmla="*/ 29357 h 331538"/>
                    <a:gd name="csX89" fmla="*/ 336628 w 478482"/>
                    <a:gd name="csY89" fmla="*/ 38065 h 331538"/>
                    <a:gd name="csX90" fmla="*/ 327216 w 478482"/>
                    <a:gd name="csY90" fmla="*/ 36976 h 3315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</a:cxnLst>
                  <a:rect l="l" t="t" r="r" b="b"/>
                  <a:pathLst>
                    <a:path w="478482" h="331538">
                      <a:moveTo>
                        <a:pt x="327216" y="36976"/>
                      </a:moveTo>
                      <a:lnTo>
                        <a:pt x="290208" y="34447"/>
                      </a:lnTo>
                      <a:lnTo>
                        <a:pt x="289471" y="34447"/>
                      </a:lnTo>
                      <a:lnTo>
                        <a:pt x="257553" y="36272"/>
                      </a:lnTo>
                      <a:lnTo>
                        <a:pt x="230694" y="29357"/>
                      </a:lnTo>
                      <a:lnTo>
                        <a:pt x="206779" y="15591"/>
                      </a:lnTo>
                      <a:lnTo>
                        <a:pt x="185009" y="6883"/>
                      </a:lnTo>
                      <a:lnTo>
                        <a:pt x="170475" y="6883"/>
                      </a:lnTo>
                      <a:lnTo>
                        <a:pt x="126584" y="6147"/>
                      </a:lnTo>
                      <a:lnTo>
                        <a:pt x="124791" y="6147"/>
                      </a:lnTo>
                      <a:lnTo>
                        <a:pt x="118964" y="6147"/>
                      </a:lnTo>
                      <a:lnTo>
                        <a:pt x="105198" y="6147"/>
                      </a:lnTo>
                      <a:lnTo>
                        <a:pt x="89607" y="15591"/>
                      </a:lnTo>
                      <a:lnTo>
                        <a:pt x="81988" y="38065"/>
                      </a:lnTo>
                      <a:lnTo>
                        <a:pt x="85253" y="44980"/>
                      </a:lnTo>
                      <a:lnTo>
                        <a:pt x="87783" y="50774"/>
                      </a:lnTo>
                      <a:lnTo>
                        <a:pt x="72544" y="56217"/>
                      </a:lnTo>
                      <a:lnTo>
                        <a:pt x="63100" y="73280"/>
                      </a:lnTo>
                      <a:lnTo>
                        <a:pt x="54392" y="71456"/>
                      </a:lnTo>
                      <a:lnTo>
                        <a:pt x="53335" y="81988"/>
                      </a:lnTo>
                      <a:lnTo>
                        <a:pt x="51863" y="89607"/>
                      </a:lnTo>
                      <a:lnTo>
                        <a:pt x="50070" y="95754"/>
                      </a:lnTo>
                      <a:lnTo>
                        <a:pt x="43891" y="102637"/>
                      </a:lnTo>
                      <a:lnTo>
                        <a:pt x="37008" y="117171"/>
                      </a:lnTo>
                      <a:lnTo>
                        <a:pt x="28653" y="124055"/>
                      </a:lnTo>
                      <a:lnTo>
                        <a:pt x="1793" y="129145"/>
                      </a:lnTo>
                      <a:lnTo>
                        <a:pt x="0" y="136028"/>
                      </a:lnTo>
                      <a:lnTo>
                        <a:pt x="10501" y="138557"/>
                      </a:lnTo>
                      <a:lnTo>
                        <a:pt x="9412" y="147265"/>
                      </a:lnTo>
                      <a:lnTo>
                        <a:pt x="15591" y="145472"/>
                      </a:lnTo>
                      <a:lnTo>
                        <a:pt x="21770" y="152355"/>
                      </a:lnTo>
                      <a:lnTo>
                        <a:pt x="14854" y="157413"/>
                      </a:lnTo>
                      <a:lnTo>
                        <a:pt x="10501" y="172300"/>
                      </a:lnTo>
                      <a:lnTo>
                        <a:pt x="25035" y="187539"/>
                      </a:lnTo>
                      <a:lnTo>
                        <a:pt x="22474" y="198071"/>
                      </a:lnTo>
                      <a:lnTo>
                        <a:pt x="28653" y="195510"/>
                      </a:lnTo>
                      <a:lnTo>
                        <a:pt x="34447" y="199864"/>
                      </a:lnTo>
                      <a:lnTo>
                        <a:pt x="35536" y="204218"/>
                      </a:lnTo>
                      <a:lnTo>
                        <a:pt x="55128" y="211837"/>
                      </a:lnTo>
                      <a:lnTo>
                        <a:pt x="66365" y="210749"/>
                      </a:lnTo>
                      <a:lnTo>
                        <a:pt x="73985" y="215103"/>
                      </a:lnTo>
                      <a:lnTo>
                        <a:pt x="87783" y="213662"/>
                      </a:lnTo>
                      <a:lnTo>
                        <a:pt x="100844" y="204954"/>
                      </a:lnTo>
                      <a:lnTo>
                        <a:pt x="108464" y="228164"/>
                      </a:lnTo>
                      <a:lnTo>
                        <a:pt x="102637" y="236872"/>
                      </a:lnTo>
                      <a:lnTo>
                        <a:pt x="100108" y="240874"/>
                      </a:lnTo>
                      <a:lnTo>
                        <a:pt x="104110" y="240138"/>
                      </a:lnTo>
                      <a:lnTo>
                        <a:pt x="113906" y="247757"/>
                      </a:lnTo>
                      <a:lnTo>
                        <a:pt x="126584" y="247021"/>
                      </a:lnTo>
                      <a:lnTo>
                        <a:pt x="124791" y="254640"/>
                      </a:lnTo>
                      <a:lnTo>
                        <a:pt x="133499" y="264436"/>
                      </a:lnTo>
                      <a:lnTo>
                        <a:pt x="157797" y="265877"/>
                      </a:lnTo>
                      <a:lnTo>
                        <a:pt x="167210" y="255729"/>
                      </a:lnTo>
                      <a:lnTo>
                        <a:pt x="179183" y="260819"/>
                      </a:lnTo>
                      <a:lnTo>
                        <a:pt x="181744" y="269527"/>
                      </a:lnTo>
                      <a:lnTo>
                        <a:pt x="189363" y="276410"/>
                      </a:lnTo>
                      <a:lnTo>
                        <a:pt x="195510" y="282204"/>
                      </a:lnTo>
                      <a:lnTo>
                        <a:pt x="211837" y="282204"/>
                      </a:lnTo>
                      <a:lnTo>
                        <a:pt x="228901" y="331538"/>
                      </a:lnTo>
                      <a:lnTo>
                        <a:pt x="246316" y="289119"/>
                      </a:lnTo>
                      <a:lnTo>
                        <a:pt x="243755" y="273881"/>
                      </a:lnTo>
                      <a:lnTo>
                        <a:pt x="246316" y="265877"/>
                      </a:lnTo>
                      <a:lnTo>
                        <a:pt x="238697" y="258290"/>
                      </a:lnTo>
                      <a:lnTo>
                        <a:pt x="251375" y="243755"/>
                      </a:lnTo>
                      <a:lnTo>
                        <a:pt x="265909" y="240138"/>
                      </a:lnTo>
                      <a:lnTo>
                        <a:pt x="276410" y="231430"/>
                      </a:lnTo>
                      <a:lnTo>
                        <a:pt x="288383" y="244492"/>
                      </a:lnTo>
                      <a:lnTo>
                        <a:pt x="301445" y="251375"/>
                      </a:lnTo>
                      <a:lnTo>
                        <a:pt x="312682" y="250670"/>
                      </a:lnTo>
                      <a:lnTo>
                        <a:pt x="324655" y="257554"/>
                      </a:lnTo>
                      <a:lnTo>
                        <a:pt x="358046" y="240874"/>
                      </a:lnTo>
                      <a:lnTo>
                        <a:pt x="359838" y="239401"/>
                      </a:lnTo>
                      <a:lnTo>
                        <a:pt x="386698" y="204218"/>
                      </a:lnTo>
                      <a:lnTo>
                        <a:pt x="409908" y="173036"/>
                      </a:lnTo>
                      <a:lnTo>
                        <a:pt x="410645" y="137117"/>
                      </a:lnTo>
                      <a:lnTo>
                        <a:pt x="418264" y="105198"/>
                      </a:lnTo>
                      <a:lnTo>
                        <a:pt x="429501" y="81988"/>
                      </a:lnTo>
                      <a:lnTo>
                        <a:pt x="455240" y="54392"/>
                      </a:lnTo>
                      <a:lnTo>
                        <a:pt x="459594" y="36272"/>
                      </a:lnTo>
                      <a:lnTo>
                        <a:pt x="470127" y="33711"/>
                      </a:lnTo>
                      <a:lnTo>
                        <a:pt x="478483" y="19945"/>
                      </a:lnTo>
                      <a:lnTo>
                        <a:pt x="474481" y="16327"/>
                      </a:lnTo>
                      <a:lnTo>
                        <a:pt x="477746" y="0"/>
                      </a:lnTo>
                      <a:lnTo>
                        <a:pt x="456329" y="8708"/>
                      </a:lnTo>
                      <a:lnTo>
                        <a:pt x="452711" y="9412"/>
                      </a:lnTo>
                      <a:lnTo>
                        <a:pt x="448357" y="11237"/>
                      </a:lnTo>
                      <a:lnTo>
                        <a:pt x="386698" y="35536"/>
                      </a:lnTo>
                      <a:lnTo>
                        <a:pt x="385610" y="35536"/>
                      </a:lnTo>
                      <a:lnTo>
                        <a:pt x="355484" y="29357"/>
                      </a:lnTo>
                      <a:lnTo>
                        <a:pt x="336628" y="38065"/>
                      </a:lnTo>
                      <a:lnTo>
                        <a:pt x="327216" y="3697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1" name="Forma Livre: Forma 290">
                  <a:extLst>
                    <a:ext uri="{FF2B5EF4-FFF2-40B4-BE49-F238E27FC236}">
                      <a16:creationId xmlns:a16="http://schemas.microsoft.com/office/drawing/2014/main" id="{B2EEF293-9FC7-90B4-14F2-59EB80808A29}"/>
                    </a:ext>
                  </a:extLst>
                </p:cNvPr>
                <p:cNvSpPr/>
                <p:nvPr/>
              </p:nvSpPr>
              <p:spPr>
                <a:xfrm>
                  <a:off x="2769519" y="4608176"/>
                  <a:ext cx="260818" cy="321037"/>
                </a:xfrm>
                <a:custGeom>
                  <a:avLst/>
                  <a:gdLst>
                    <a:gd name="csX0" fmla="*/ 118612 w 260818"/>
                    <a:gd name="csY0" fmla="*/ 4354 h 321037"/>
                    <a:gd name="csX1" fmla="*/ 116819 w 260818"/>
                    <a:gd name="csY1" fmla="*/ 3618 h 321037"/>
                    <a:gd name="csX2" fmla="*/ 114258 w 260818"/>
                    <a:gd name="csY2" fmla="*/ 0 h 321037"/>
                    <a:gd name="csX3" fmla="*/ 100492 w 260818"/>
                    <a:gd name="csY3" fmla="*/ 11237 h 321037"/>
                    <a:gd name="csX4" fmla="*/ 90312 w 260818"/>
                    <a:gd name="csY4" fmla="*/ 8708 h 321037"/>
                    <a:gd name="csX5" fmla="*/ 79811 w 260818"/>
                    <a:gd name="csY5" fmla="*/ 19208 h 321037"/>
                    <a:gd name="csX6" fmla="*/ 71455 w 260818"/>
                    <a:gd name="csY6" fmla="*/ 14855 h 321037"/>
                    <a:gd name="csX7" fmla="*/ 46420 w 260818"/>
                    <a:gd name="csY7" fmla="*/ 31918 h 321037"/>
                    <a:gd name="csX8" fmla="*/ 28300 w 260818"/>
                    <a:gd name="csY8" fmla="*/ 38097 h 321037"/>
                    <a:gd name="csX9" fmla="*/ 30093 w 260818"/>
                    <a:gd name="csY9" fmla="*/ 39538 h 321037"/>
                    <a:gd name="csX10" fmla="*/ 39537 w 260818"/>
                    <a:gd name="csY10" fmla="*/ 51863 h 321037"/>
                    <a:gd name="csX11" fmla="*/ 48982 w 260818"/>
                    <a:gd name="csY11" fmla="*/ 55865 h 321037"/>
                    <a:gd name="csX12" fmla="*/ 48982 w 260818"/>
                    <a:gd name="csY12" fmla="*/ 82692 h 321037"/>
                    <a:gd name="csX13" fmla="*/ 60955 w 260818"/>
                    <a:gd name="csY13" fmla="*/ 92137 h 321037"/>
                    <a:gd name="csX14" fmla="*/ 35183 w 260818"/>
                    <a:gd name="csY14" fmla="*/ 93961 h 321037"/>
                    <a:gd name="csX15" fmla="*/ 33359 w 260818"/>
                    <a:gd name="csY15" fmla="*/ 99020 h 321037"/>
                    <a:gd name="csX16" fmla="*/ 29005 w 260818"/>
                    <a:gd name="csY16" fmla="*/ 110993 h 321037"/>
                    <a:gd name="csX17" fmla="*/ 31566 w 260818"/>
                    <a:gd name="csY17" fmla="*/ 128408 h 321037"/>
                    <a:gd name="csX18" fmla="*/ 34447 w 260818"/>
                    <a:gd name="csY18" fmla="*/ 133499 h 321037"/>
                    <a:gd name="csX19" fmla="*/ 16327 w 260818"/>
                    <a:gd name="csY19" fmla="*/ 159975 h 321037"/>
                    <a:gd name="csX20" fmla="*/ 17768 w 260818"/>
                    <a:gd name="csY20" fmla="*/ 174861 h 321037"/>
                    <a:gd name="csX21" fmla="*/ 1441 w 260818"/>
                    <a:gd name="csY21" fmla="*/ 190068 h 321037"/>
                    <a:gd name="csX22" fmla="*/ 736 w 260818"/>
                    <a:gd name="csY22" fmla="*/ 208220 h 321037"/>
                    <a:gd name="csX23" fmla="*/ 0 w 260818"/>
                    <a:gd name="csY23" fmla="*/ 223106 h 321037"/>
                    <a:gd name="csX24" fmla="*/ 736 w 260818"/>
                    <a:gd name="csY24" fmla="*/ 252111 h 321037"/>
                    <a:gd name="csX25" fmla="*/ 5795 w 260818"/>
                    <a:gd name="csY25" fmla="*/ 255729 h 321037"/>
                    <a:gd name="csX26" fmla="*/ 10149 w 260818"/>
                    <a:gd name="csY26" fmla="*/ 260819 h 321037"/>
                    <a:gd name="csX27" fmla="*/ 5795 w 260818"/>
                    <a:gd name="csY27" fmla="*/ 260819 h 321037"/>
                    <a:gd name="csX28" fmla="*/ 7619 w 260818"/>
                    <a:gd name="csY28" fmla="*/ 268438 h 321037"/>
                    <a:gd name="csX29" fmla="*/ 3265 w 260818"/>
                    <a:gd name="csY29" fmla="*/ 272056 h 321037"/>
                    <a:gd name="csX30" fmla="*/ 4354 w 260818"/>
                    <a:gd name="csY30" fmla="*/ 283325 h 321037"/>
                    <a:gd name="csX31" fmla="*/ 17063 w 260818"/>
                    <a:gd name="csY31" fmla="*/ 298531 h 321037"/>
                    <a:gd name="csX32" fmla="*/ 18856 w 260818"/>
                    <a:gd name="csY32" fmla="*/ 305447 h 321037"/>
                    <a:gd name="csX33" fmla="*/ 13798 w 260818"/>
                    <a:gd name="csY33" fmla="*/ 307239 h 321037"/>
                    <a:gd name="csX34" fmla="*/ 23210 w 260818"/>
                    <a:gd name="csY34" fmla="*/ 314154 h 321037"/>
                    <a:gd name="csX35" fmla="*/ 19593 w 260818"/>
                    <a:gd name="csY35" fmla="*/ 316683 h 321037"/>
                    <a:gd name="csX36" fmla="*/ 30093 w 260818"/>
                    <a:gd name="csY36" fmla="*/ 321037 h 321037"/>
                    <a:gd name="csX37" fmla="*/ 34447 w 260818"/>
                    <a:gd name="csY37" fmla="*/ 304710 h 321037"/>
                    <a:gd name="csX38" fmla="*/ 45332 w 260818"/>
                    <a:gd name="csY38" fmla="*/ 305447 h 321037"/>
                    <a:gd name="csX39" fmla="*/ 65309 w 260818"/>
                    <a:gd name="csY39" fmla="*/ 295266 h 321037"/>
                    <a:gd name="csX40" fmla="*/ 78371 w 260818"/>
                    <a:gd name="csY40" fmla="*/ 296002 h 321037"/>
                    <a:gd name="csX41" fmla="*/ 89255 w 260818"/>
                    <a:gd name="csY41" fmla="*/ 281500 h 321037"/>
                    <a:gd name="csX42" fmla="*/ 102285 w 260818"/>
                    <a:gd name="csY42" fmla="*/ 277146 h 321037"/>
                    <a:gd name="csX43" fmla="*/ 110993 w 260818"/>
                    <a:gd name="csY43" fmla="*/ 260819 h 321037"/>
                    <a:gd name="csX44" fmla="*/ 119349 w 260818"/>
                    <a:gd name="csY44" fmla="*/ 264084 h 321037"/>
                    <a:gd name="csX45" fmla="*/ 130586 w 260818"/>
                    <a:gd name="csY45" fmla="*/ 255729 h 321037"/>
                    <a:gd name="csX46" fmla="*/ 136028 w 260818"/>
                    <a:gd name="csY46" fmla="*/ 251375 h 321037"/>
                    <a:gd name="csX47" fmla="*/ 134939 w 260818"/>
                    <a:gd name="csY47" fmla="*/ 240138 h 321037"/>
                    <a:gd name="csX48" fmla="*/ 143647 w 260818"/>
                    <a:gd name="csY48" fmla="*/ 225635 h 321037"/>
                    <a:gd name="csX49" fmla="*/ 146913 w 260818"/>
                    <a:gd name="csY49" fmla="*/ 213662 h 321037"/>
                    <a:gd name="csX50" fmla="*/ 159238 w 260818"/>
                    <a:gd name="csY50" fmla="*/ 201337 h 321037"/>
                    <a:gd name="csX51" fmla="*/ 174477 w 260818"/>
                    <a:gd name="csY51" fmla="*/ 196246 h 321037"/>
                    <a:gd name="csX52" fmla="*/ 183921 w 260818"/>
                    <a:gd name="csY52" fmla="*/ 203866 h 321037"/>
                    <a:gd name="csX53" fmla="*/ 190804 w 260818"/>
                    <a:gd name="csY53" fmla="*/ 203866 h 321037"/>
                    <a:gd name="csX54" fmla="*/ 208956 w 260818"/>
                    <a:gd name="csY54" fmla="*/ 194422 h 321037"/>
                    <a:gd name="csX55" fmla="*/ 220929 w 260818"/>
                    <a:gd name="csY55" fmla="*/ 190068 h 321037"/>
                    <a:gd name="csX56" fmla="*/ 231430 w 260818"/>
                    <a:gd name="csY56" fmla="*/ 177390 h 321037"/>
                    <a:gd name="csX57" fmla="*/ 245932 w 260818"/>
                    <a:gd name="csY57" fmla="*/ 172300 h 321037"/>
                    <a:gd name="csX58" fmla="*/ 257906 w 260818"/>
                    <a:gd name="csY58" fmla="*/ 145472 h 321037"/>
                    <a:gd name="csX59" fmla="*/ 260819 w 260818"/>
                    <a:gd name="csY59" fmla="*/ 135292 h 321037"/>
                    <a:gd name="csX60" fmla="*/ 244140 w 260818"/>
                    <a:gd name="csY60" fmla="*/ 124791 h 321037"/>
                    <a:gd name="csX61" fmla="*/ 232166 w 260818"/>
                    <a:gd name="csY61" fmla="*/ 104110 h 321037"/>
                    <a:gd name="csX62" fmla="*/ 204602 w 260818"/>
                    <a:gd name="csY62" fmla="*/ 100844 h 321037"/>
                    <a:gd name="csX63" fmla="*/ 208220 w 260818"/>
                    <a:gd name="csY63" fmla="*/ 77634 h 321037"/>
                    <a:gd name="csX64" fmla="*/ 203129 w 260818"/>
                    <a:gd name="csY64" fmla="*/ 68926 h 321037"/>
                    <a:gd name="csX65" fmla="*/ 193365 w 260818"/>
                    <a:gd name="csY65" fmla="*/ 75073 h 321037"/>
                    <a:gd name="csX66" fmla="*/ 173773 w 260818"/>
                    <a:gd name="csY66" fmla="*/ 55865 h 321037"/>
                    <a:gd name="csX67" fmla="*/ 118612 w 260818"/>
                    <a:gd name="csY67" fmla="*/ 4354 h 3210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0818" h="321037">
                      <a:moveTo>
                        <a:pt x="118612" y="4354"/>
                      </a:moveTo>
                      <a:lnTo>
                        <a:pt x="116819" y="3618"/>
                      </a:lnTo>
                      <a:lnTo>
                        <a:pt x="114258" y="0"/>
                      </a:lnTo>
                      <a:lnTo>
                        <a:pt x="100492" y="11237"/>
                      </a:lnTo>
                      <a:lnTo>
                        <a:pt x="90312" y="8708"/>
                      </a:lnTo>
                      <a:lnTo>
                        <a:pt x="79811" y="19208"/>
                      </a:lnTo>
                      <a:lnTo>
                        <a:pt x="71455" y="14855"/>
                      </a:lnTo>
                      <a:lnTo>
                        <a:pt x="46420" y="31918"/>
                      </a:lnTo>
                      <a:lnTo>
                        <a:pt x="28300" y="38097"/>
                      </a:lnTo>
                      <a:lnTo>
                        <a:pt x="30093" y="39538"/>
                      </a:lnTo>
                      <a:lnTo>
                        <a:pt x="39537" y="51863"/>
                      </a:lnTo>
                      <a:lnTo>
                        <a:pt x="48982" y="55865"/>
                      </a:lnTo>
                      <a:lnTo>
                        <a:pt x="48982" y="82692"/>
                      </a:lnTo>
                      <a:lnTo>
                        <a:pt x="60955" y="92137"/>
                      </a:lnTo>
                      <a:lnTo>
                        <a:pt x="35183" y="93961"/>
                      </a:lnTo>
                      <a:lnTo>
                        <a:pt x="33359" y="99020"/>
                      </a:lnTo>
                      <a:lnTo>
                        <a:pt x="29005" y="110993"/>
                      </a:lnTo>
                      <a:lnTo>
                        <a:pt x="31566" y="128408"/>
                      </a:lnTo>
                      <a:lnTo>
                        <a:pt x="34447" y="133499"/>
                      </a:lnTo>
                      <a:lnTo>
                        <a:pt x="16327" y="159975"/>
                      </a:lnTo>
                      <a:lnTo>
                        <a:pt x="17768" y="174861"/>
                      </a:lnTo>
                      <a:lnTo>
                        <a:pt x="1441" y="190068"/>
                      </a:lnTo>
                      <a:lnTo>
                        <a:pt x="736" y="208220"/>
                      </a:lnTo>
                      <a:lnTo>
                        <a:pt x="0" y="223106"/>
                      </a:lnTo>
                      <a:lnTo>
                        <a:pt x="736" y="252111"/>
                      </a:lnTo>
                      <a:lnTo>
                        <a:pt x="5795" y="255729"/>
                      </a:lnTo>
                      <a:lnTo>
                        <a:pt x="10149" y="260819"/>
                      </a:lnTo>
                      <a:lnTo>
                        <a:pt x="5795" y="260819"/>
                      </a:lnTo>
                      <a:lnTo>
                        <a:pt x="7619" y="268438"/>
                      </a:lnTo>
                      <a:lnTo>
                        <a:pt x="3265" y="272056"/>
                      </a:lnTo>
                      <a:lnTo>
                        <a:pt x="4354" y="283325"/>
                      </a:lnTo>
                      <a:lnTo>
                        <a:pt x="17063" y="298531"/>
                      </a:lnTo>
                      <a:lnTo>
                        <a:pt x="18856" y="305447"/>
                      </a:lnTo>
                      <a:lnTo>
                        <a:pt x="13798" y="307239"/>
                      </a:lnTo>
                      <a:lnTo>
                        <a:pt x="23210" y="314154"/>
                      </a:lnTo>
                      <a:lnTo>
                        <a:pt x="19593" y="316683"/>
                      </a:lnTo>
                      <a:lnTo>
                        <a:pt x="30093" y="321037"/>
                      </a:lnTo>
                      <a:lnTo>
                        <a:pt x="34447" y="304710"/>
                      </a:lnTo>
                      <a:lnTo>
                        <a:pt x="45332" y="305447"/>
                      </a:lnTo>
                      <a:lnTo>
                        <a:pt x="65309" y="295266"/>
                      </a:lnTo>
                      <a:lnTo>
                        <a:pt x="78371" y="296002"/>
                      </a:lnTo>
                      <a:lnTo>
                        <a:pt x="89255" y="281500"/>
                      </a:lnTo>
                      <a:lnTo>
                        <a:pt x="102285" y="277146"/>
                      </a:lnTo>
                      <a:lnTo>
                        <a:pt x="110993" y="260819"/>
                      </a:lnTo>
                      <a:lnTo>
                        <a:pt x="119349" y="264084"/>
                      </a:lnTo>
                      <a:lnTo>
                        <a:pt x="130586" y="255729"/>
                      </a:lnTo>
                      <a:lnTo>
                        <a:pt x="136028" y="251375"/>
                      </a:lnTo>
                      <a:lnTo>
                        <a:pt x="134939" y="240138"/>
                      </a:lnTo>
                      <a:lnTo>
                        <a:pt x="143647" y="225635"/>
                      </a:lnTo>
                      <a:lnTo>
                        <a:pt x="146913" y="213662"/>
                      </a:lnTo>
                      <a:lnTo>
                        <a:pt x="159238" y="201337"/>
                      </a:lnTo>
                      <a:lnTo>
                        <a:pt x="174477" y="196246"/>
                      </a:lnTo>
                      <a:lnTo>
                        <a:pt x="183921" y="203866"/>
                      </a:lnTo>
                      <a:lnTo>
                        <a:pt x="190804" y="203866"/>
                      </a:lnTo>
                      <a:lnTo>
                        <a:pt x="208956" y="194422"/>
                      </a:lnTo>
                      <a:lnTo>
                        <a:pt x="220929" y="190068"/>
                      </a:lnTo>
                      <a:lnTo>
                        <a:pt x="231430" y="177390"/>
                      </a:lnTo>
                      <a:lnTo>
                        <a:pt x="245932" y="172300"/>
                      </a:lnTo>
                      <a:lnTo>
                        <a:pt x="257906" y="145472"/>
                      </a:lnTo>
                      <a:lnTo>
                        <a:pt x="260819" y="135292"/>
                      </a:lnTo>
                      <a:lnTo>
                        <a:pt x="244140" y="124791"/>
                      </a:lnTo>
                      <a:lnTo>
                        <a:pt x="232166" y="104110"/>
                      </a:lnTo>
                      <a:lnTo>
                        <a:pt x="204602" y="100844"/>
                      </a:lnTo>
                      <a:lnTo>
                        <a:pt x="208220" y="77634"/>
                      </a:lnTo>
                      <a:lnTo>
                        <a:pt x="203129" y="68926"/>
                      </a:lnTo>
                      <a:lnTo>
                        <a:pt x="193365" y="75073"/>
                      </a:lnTo>
                      <a:lnTo>
                        <a:pt x="173773" y="55865"/>
                      </a:lnTo>
                      <a:lnTo>
                        <a:pt x="118612" y="435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1AF71A8E-07AF-35F6-ED65-6DF42A5A1BB1}"/>
                    </a:ext>
                  </a:extLst>
                </p:cNvPr>
                <p:cNvSpPr/>
                <p:nvPr/>
              </p:nvSpPr>
              <p:spPr>
                <a:xfrm>
                  <a:off x="2769519" y="4608176"/>
                  <a:ext cx="260818" cy="321037"/>
                </a:xfrm>
                <a:custGeom>
                  <a:avLst/>
                  <a:gdLst>
                    <a:gd name="csX0" fmla="*/ 118612 w 260818"/>
                    <a:gd name="csY0" fmla="*/ 4354 h 321037"/>
                    <a:gd name="csX1" fmla="*/ 116819 w 260818"/>
                    <a:gd name="csY1" fmla="*/ 3618 h 321037"/>
                    <a:gd name="csX2" fmla="*/ 114258 w 260818"/>
                    <a:gd name="csY2" fmla="*/ 0 h 321037"/>
                    <a:gd name="csX3" fmla="*/ 100492 w 260818"/>
                    <a:gd name="csY3" fmla="*/ 11237 h 321037"/>
                    <a:gd name="csX4" fmla="*/ 90312 w 260818"/>
                    <a:gd name="csY4" fmla="*/ 8708 h 321037"/>
                    <a:gd name="csX5" fmla="*/ 79811 w 260818"/>
                    <a:gd name="csY5" fmla="*/ 19208 h 321037"/>
                    <a:gd name="csX6" fmla="*/ 71455 w 260818"/>
                    <a:gd name="csY6" fmla="*/ 14855 h 321037"/>
                    <a:gd name="csX7" fmla="*/ 46420 w 260818"/>
                    <a:gd name="csY7" fmla="*/ 31918 h 321037"/>
                    <a:gd name="csX8" fmla="*/ 28300 w 260818"/>
                    <a:gd name="csY8" fmla="*/ 38097 h 321037"/>
                    <a:gd name="csX9" fmla="*/ 30093 w 260818"/>
                    <a:gd name="csY9" fmla="*/ 39538 h 321037"/>
                    <a:gd name="csX10" fmla="*/ 39537 w 260818"/>
                    <a:gd name="csY10" fmla="*/ 51863 h 321037"/>
                    <a:gd name="csX11" fmla="*/ 48982 w 260818"/>
                    <a:gd name="csY11" fmla="*/ 55865 h 321037"/>
                    <a:gd name="csX12" fmla="*/ 48982 w 260818"/>
                    <a:gd name="csY12" fmla="*/ 82692 h 321037"/>
                    <a:gd name="csX13" fmla="*/ 60955 w 260818"/>
                    <a:gd name="csY13" fmla="*/ 92137 h 321037"/>
                    <a:gd name="csX14" fmla="*/ 35183 w 260818"/>
                    <a:gd name="csY14" fmla="*/ 93961 h 321037"/>
                    <a:gd name="csX15" fmla="*/ 33359 w 260818"/>
                    <a:gd name="csY15" fmla="*/ 99020 h 321037"/>
                    <a:gd name="csX16" fmla="*/ 29005 w 260818"/>
                    <a:gd name="csY16" fmla="*/ 110993 h 321037"/>
                    <a:gd name="csX17" fmla="*/ 31566 w 260818"/>
                    <a:gd name="csY17" fmla="*/ 128408 h 321037"/>
                    <a:gd name="csX18" fmla="*/ 34447 w 260818"/>
                    <a:gd name="csY18" fmla="*/ 133499 h 321037"/>
                    <a:gd name="csX19" fmla="*/ 16327 w 260818"/>
                    <a:gd name="csY19" fmla="*/ 159975 h 321037"/>
                    <a:gd name="csX20" fmla="*/ 17768 w 260818"/>
                    <a:gd name="csY20" fmla="*/ 174861 h 321037"/>
                    <a:gd name="csX21" fmla="*/ 1441 w 260818"/>
                    <a:gd name="csY21" fmla="*/ 190068 h 321037"/>
                    <a:gd name="csX22" fmla="*/ 736 w 260818"/>
                    <a:gd name="csY22" fmla="*/ 208220 h 321037"/>
                    <a:gd name="csX23" fmla="*/ 0 w 260818"/>
                    <a:gd name="csY23" fmla="*/ 223106 h 321037"/>
                    <a:gd name="csX24" fmla="*/ 736 w 260818"/>
                    <a:gd name="csY24" fmla="*/ 252111 h 321037"/>
                    <a:gd name="csX25" fmla="*/ 5795 w 260818"/>
                    <a:gd name="csY25" fmla="*/ 255729 h 321037"/>
                    <a:gd name="csX26" fmla="*/ 10149 w 260818"/>
                    <a:gd name="csY26" fmla="*/ 260819 h 321037"/>
                    <a:gd name="csX27" fmla="*/ 5795 w 260818"/>
                    <a:gd name="csY27" fmla="*/ 260819 h 321037"/>
                    <a:gd name="csX28" fmla="*/ 7619 w 260818"/>
                    <a:gd name="csY28" fmla="*/ 268438 h 321037"/>
                    <a:gd name="csX29" fmla="*/ 3265 w 260818"/>
                    <a:gd name="csY29" fmla="*/ 272056 h 321037"/>
                    <a:gd name="csX30" fmla="*/ 4354 w 260818"/>
                    <a:gd name="csY30" fmla="*/ 283325 h 321037"/>
                    <a:gd name="csX31" fmla="*/ 17063 w 260818"/>
                    <a:gd name="csY31" fmla="*/ 298531 h 321037"/>
                    <a:gd name="csX32" fmla="*/ 18856 w 260818"/>
                    <a:gd name="csY32" fmla="*/ 305447 h 321037"/>
                    <a:gd name="csX33" fmla="*/ 13798 w 260818"/>
                    <a:gd name="csY33" fmla="*/ 307239 h 321037"/>
                    <a:gd name="csX34" fmla="*/ 23210 w 260818"/>
                    <a:gd name="csY34" fmla="*/ 314154 h 321037"/>
                    <a:gd name="csX35" fmla="*/ 19593 w 260818"/>
                    <a:gd name="csY35" fmla="*/ 316683 h 321037"/>
                    <a:gd name="csX36" fmla="*/ 30093 w 260818"/>
                    <a:gd name="csY36" fmla="*/ 321037 h 321037"/>
                    <a:gd name="csX37" fmla="*/ 34447 w 260818"/>
                    <a:gd name="csY37" fmla="*/ 304710 h 321037"/>
                    <a:gd name="csX38" fmla="*/ 45332 w 260818"/>
                    <a:gd name="csY38" fmla="*/ 305447 h 321037"/>
                    <a:gd name="csX39" fmla="*/ 65309 w 260818"/>
                    <a:gd name="csY39" fmla="*/ 295266 h 321037"/>
                    <a:gd name="csX40" fmla="*/ 78371 w 260818"/>
                    <a:gd name="csY40" fmla="*/ 296002 h 321037"/>
                    <a:gd name="csX41" fmla="*/ 89255 w 260818"/>
                    <a:gd name="csY41" fmla="*/ 281500 h 321037"/>
                    <a:gd name="csX42" fmla="*/ 102285 w 260818"/>
                    <a:gd name="csY42" fmla="*/ 277146 h 321037"/>
                    <a:gd name="csX43" fmla="*/ 110993 w 260818"/>
                    <a:gd name="csY43" fmla="*/ 260819 h 321037"/>
                    <a:gd name="csX44" fmla="*/ 119349 w 260818"/>
                    <a:gd name="csY44" fmla="*/ 264084 h 321037"/>
                    <a:gd name="csX45" fmla="*/ 130586 w 260818"/>
                    <a:gd name="csY45" fmla="*/ 255729 h 321037"/>
                    <a:gd name="csX46" fmla="*/ 136028 w 260818"/>
                    <a:gd name="csY46" fmla="*/ 251375 h 321037"/>
                    <a:gd name="csX47" fmla="*/ 134939 w 260818"/>
                    <a:gd name="csY47" fmla="*/ 240138 h 321037"/>
                    <a:gd name="csX48" fmla="*/ 143647 w 260818"/>
                    <a:gd name="csY48" fmla="*/ 225635 h 321037"/>
                    <a:gd name="csX49" fmla="*/ 146913 w 260818"/>
                    <a:gd name="csY49" fmla="*/ 213662 h 321037"/>
                    <a:gd name="csX50" fmla="*/ 159238 w 260818"/>
                    <a:gd name="csY50" fmla="*/ 201337 h 321037"/>
                    <a:gd name="csX51" fmla="*/ 174477 w 260818"/>
                    <a:gd name="csY51" fmla="*/ 196246 h 321037"/>
                    <a:gd name="csX52" fmla="*/ 183921 w 260818"/>
                    <a:gd name="csY52" fmla="*/ 203866 h 321037"/>
                    <a:gd name="csX53" fmla="*/ 190804 w 260818"/>
                    <a:gd name="csY53" fmla="*/ 203866 h 321037"/>
                    <a:gd name="csX54" fmla="*/ 208956 w 260818"/>
                    <a:gd name="csY54" fmla="*/ 194422 h 321037"/>
                    <a:gd name="csX55" fmla="*/ 220929 w 260818"/>
                    <a:gd name="csY55" fmla="*/ 190068 h 321037"/>
                    <a:gd name="csX56" fmla="*/ 231430 w 260818"/>
                    <a:gd name="csY56" fmla="*/ 177390 h 321037"/>
                    <a:gd name="csX57" fmla="*/ 245932 w 260818"/>
                    <a:gd name="csY57" fmla="*/ 172300 h 321037"/>
                    <a:gd name="csX58" fmla="*/ 257906 w 260818"/>
                    <a:gd name="csY58" fmla="*/ 145472 h 321037"/>
                    <a:gd name="csX59" fmla="*/ 260819 w 260818"/>
                    <a:gd name="csY59" fmla="*/ 135292 h 321037"/>
                    <a:gd name="csX60" fmla="*/ 244140 w 260818"/>
                    <a:gd name="csY60" fmla="*/ 124791 h 321037"/>
                    <a:gd name="csX61" fmla="*/ 232166 w 260818"/>
                    <a:gd name="csY61" fmla="*/ 104110 h 321037"/>
                    <a:gd name="csX62" fmla="*/ 204602 w 260818"/>
                    <a:gd name="csY62" fmla="*/ 100844 h 321037"/>
                    <a:gd name="csX63" fmla="*/ 208220 w 260818"/>
                    <a:gd name="csY63" fmla="*/ 77634 h 321037"/>
                    <a:gd name="csX64" fmla="*/ 203129 w 260818"/>
                    <a:gd name="csY64" fmla="*/ 68926 h 321037"/>
                    <a:gd name="csX65" fmla="*/ 193365 w 260818"/>
                    <a:gd name="csY65" fmla="*/ 75073 h 321037"/>
                    <a:gd name="csX66" fmla="*/ 173773 w 260818"/>
                    <a:gd name="csY66" fmla="*/ 55865 h 321037"/>
                    <a:gd name="csX67" fmla="*/ 118612 w 260818"/>
                    <a:gd name="csY67" fmla="*/ 4354 h 3210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0818" h="321037">
                      <a:moveTo>
                        <a:pt x="118612" y="4354"/>
                      </a:moveTo>
                      <a:lnTo>
                        <a:pt x="116819" y="3618"/>
                      </a:lnTo>
                      <a:lnTo>
                        <a:pt x="114258" y="0"/>
                      </a:lnTo>
                      <a:lnTo>
                        <a:pt x="100492" y="11237"/>
                      </a:lnTo>
                      <a:lnTo>
                        <a:pt x="90312" y="8708"/>
                      </a:lnTo>
                      <a:lnTo>
                        <a:pt x="79811" y="19208"/>
                      </a:lnTo>
                      <a:lnTo>
                        <a:pt x="71455" y="14855"/>
                      </a:lnTo>
                      <a:lnTo>
                        <a:pt x="46420" y="31918"/>
                      </a:lnTo>
                      <a:lnTo>
                        <a:pt x="28300" y="38097"/>
                      </a:lnTo>
                      <a:lnTo>
                        <a:pt x="30093" y="39538"/>
                      </a:lnTo>
                      <a:lnTo>
                        <a:pt x="39537" y="51863"/>
                      </a:lnTo>
                      <a:lnTo>
                        <a:pt x="48982" y="55865"/>
                      </a:lnTo>
                      <a:lnTo>
                        <a:pt x="48982" y="82692"/>
                      </a:lnTo>
                      <a:lnTo>
                        <a:pt x="60955" y="92137"/>
                      </a:lnTo>
                      <a:lnTo>
                        <a:pt x="35183" y="93961"/>
                      </a:lnTo>
                      <a:lnTo>
                        <a:pt x="33359" y="99020"/>
                      </a:lnTo>
                      <a:lnTo>
                        <a:pt x="29005" y="110993"/>
                      </a:lnTo>
                      <a:lnTo>
                        <a:pt x="31566" y="128408"/>
                      </a:lnTo>
                      <a:lnTo>
                        <a:pt x="34447" y="133499"/>
                      </a:lnTo>
                      <a:lnTo>
                        <a:pt x="16327" y="159975"/>
                      </a:lnTo>
                      <a:lnTo>
                        <a:pt x="17768" y="174861"/>
                      </a:lnTo>
                      <a:lnTo>
                        <a:pt x="1441" y="190068"/>
                      </a:lnTo>
                      <a:lnTo>
                        <a:pt x="736" y="208220"/>
                      </a:lnTo>
                      <a:lnTo>
                        <a:pt x="0" y="223106"/>
                      </a:lnTo>
                      <a:lnTo>
                        <a:pt x="736" y="252111"/>
                      </a:lnTo>
                      <a:lnTo>
                        <a:pt x="5795" y="255729"/>
                      </a:lnTo>
                      <a:lnTo>
                        <a:pt x="10149" y="260819"/>
                      </a:lnTo>
                      <a:lnTo>
                        <a:pt x="5795" y="260819"/>
                      </a:lnTo>
                      <a:lnTo>
                        <a:pt x="7619" y="268438"/>
                      </a:lnTo>
                      <a:lnTo>
                        <a:pt x="3265" y="272056"/>
                      </a:lnTo>
                      <a:lnTo>
                        <a:pt x="4354" y="283325"/>
                      </a:lnTo>
                      <a:lnTo>
                        <a:pt x="17063" y="298531"/>
                      </a:lnTo>
                      <a:lnTo>
                        <a:pt x="18856" y="305447"/>
                      </a:lnTo>
                      <a:lnTo>
                        <a:pt x="13798" y="307239"/>
                      </a:lnTo>
                      <a:lnTo>
                        <a:pt x="23210" y="314154"/>
                      </a:lnTo>
                      <a:lnTo>
                        <a:pt x="19593" y="316683"/>
                      </a:lnTo>
                      <a:lnTo>
                        <a:pt x="30093" y="321037"/>
                      </a:lnTo>
                      <a:lnTo>
                        <a:pt x="34447" y="304710"/>
                      </a:lnTo>
                      <a:lnTo>
                        <a:pt x="45332" y="305447"/>
                      </a:lnTo>
                      <a:lnTo>
                        <a:pt x="65309" y="295266"/>
                      </a:lnTo>
                      <a:lnTo>
                        <a:pt x="78371" y="296002"/>
                      </a:lnTo>
                      <a:lnTo>
                        <a:pt x="89255" y="281500"/>
                      </a:lnTo>
                      <a:lnTo>
                        <a:pt x="102285" y="277146"/>
                      </a:lnTo>
                      <a:lnTo>
                        <a:pt x="110993" y="260819"/>
                      </a:lnTo>
                      <a:lnTo>
                        <a:pt x="119349" y="264084"/>
                      </a:lnTo>
                      <a:lnTo>
                        <a:pt x="130586" y="255729"/>
                      </a:lnTo>
                      <a:lnTo>
                        <a:pt x="136028" y="251375"/>
                      </a:lnTo>
                      <a:lnTo>
                        <a:pt x="134939" y="240138"/>
                      </a:lnTo>
                      <a:lnTo>
                        <a:pt x="143647" y="225635"/>
                      </a:lnTo>
                      <a:lnTo>
                        <a:pt x="146913" y="213662"/>
                      </a:lnTo>
                      <a:lnTo>
                        <a:pt x="159238" y="201337"/>
                      </a:lnTo>
                      <a:lnTo>
                        <a:pt x="174477" y="196246"/>
                      </a:lnTo>
                      <a:lnTo>
                        <a:pt x="183921" y="203866"/>
                      </a:lnTo>
                      <a:lnTo>
                        <a:pt x="190804" y="203866"/>
                      </a:lnTo>
                      <a:lnTo>
                        <a:pt x="208956" y="194422"/>
                      </a:lnTo>
                      <a:lnTo>
                        <a:pt x="220929" y="190068"/>
                      </a:lnTo>
                      <a:lnTo>
                        <a:pt x="231430" y="177390"/>
                      </a:lnTo>
                      <a:lnTo>
                        <a:pt x="245932" y="172300"/>
                      </a:lnTo>
                      <a:lnTo>
                        <a:pt x="257906" y="145472"/>
                      </a:lnTo>
                      <a:lnTo>
                        <a:pt x="260819" y="135292"/>
                      </a:lnTo>
                      <a:lnTo>
                        <a:pt x="244140" y="124791"/>
                      </a:lnTo>
                      <a:lnTo>
                        <a:pt x="232166" y="104110"/>
                      </a:lnTo>
                      <a:lnTo>
                        <a:pt x="204602" y="100844"/>
                      </a:lnTo>
                      <a:lnTo>
                        <a:pt x="208220" y="77634"/>
                      </a:lnTo>
                      <a:lnTo>
                        <a:pt x="203129" y="68926"/>
                      </a:lnTo>
                      <a:lnTo>
                        <a:pt x="193365" y="75073"/>
                      </a:lnTo>
                      <a:lnTo>
                        <a:pt x="173773" y="55865"/>
                      </a:lnTo>
                      <a:lnTo>
                        <a:pt x="118612" y="435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B1009F71-F10D-E577-1EB1-6418AAD83C40}"/>
                    </a:ext>
                  </a:extLst>
                </p:cNvPr>
                <p:cNvSpPr/>
                <p:nvPr/>
              </p:nvSpPr>
              <p:spPr>
                <a:xfrm>
                  <a:off x="2769519" y="4608176"/>
                  <a:ext cx="260818" cy="321037"/>
                </a:xfrm>
                <a:custGeom>
                  <a:avLst/>
                  <a:gdLst>
                    <a:gd name="csX0" fmla="*/ 118612 w 260818"/>
                    <a:gd name="csY0" fmla="*/ 4354 h 321037"/>
                    <a:gd name="csX1" fmla="*/ 116819 w 260818"/>
                    <a:gd name="csY1" fmla="*/ 3618 h 321037"/>
                    <a:gd name="csX2" fmla="*/ 114258 w 260818"/>
                    <a:gd name="csY2" fmla="*/ 0 h 321037"/>
                    <a:gd name="csX3" fmla="*/ 100492 w 260818"/>
                    <a:gd name="csY3" fmla="*/ 11237 h 321037"/>
                    <a:gd name="csX4" fmla="*/ 90312 w 260818"/>
                    <a:gd name="csY4" fmla="*/ 8708 h 321037"/>
                    <a:gd name="csX5" fmla="*/ 79811 w 260818"/>
                    <a:gd name="csY5" fmla="*/ 19208 h 321037"/>
                    <a:gd name="csX6" fmla="*/ 71455 w 260818"/>
                    <a:gd name="csY6" fmla="*/ 14855 h 321037"/>
                    <a:gd name="csX7" fmla="*/ 46420 w 260818"/>
                    <a:gd name="csY7" fmla="*/ 31918 h 321037"/>
                    <a:gd name="csX8" fmla="*/ 28300 w 260818"/>
                    <a:gd name="csY8" fmla="*/ 38097 h 321037"/>
                    <a:gd name="csX9" fmla="*/ 30093 w 260818"/>
                    <a:gd name="csY9" fmla="*/ 39538 h 321037"/>
                    <a:gd name="csX10" fmla="*/ 39537 w 260818"/>
                    <a:gd name="csY10" fmla="*/ 51863 h 321037"/>
                    <a:gd name="csX11" fmla="*/ 48982 w 260818"/>
                    <a:gd name="csY11" fmla="*/ 55865 h 321037"/>
                    <a:gd name="csX12" fmla="*/ 48982 w 260818"/>
                    <a:gd name="csY12" fmla="*/ 82692 h 321037"/>
                    <a:gd name="csX13" fmla="*/ 60955 w 260818"/>
                    <a:gd name="csY13" fmla="*/ 92137 h 321037"/>
                    <a:gd name="csX14" fmla="*/ 35183 w 260818"/>
                    <a:gd name="csY14" fmla="*/ 93961 h 321037"/>
                    <a:gd name="csX15" fmla="*/ 33359 w 260818"/>
                    <a:gd name="csY15" fmla="*/ 99020 h 321037"/>
                    <a:gd name="csX16" fmla="*/ 29005 w 260818"/>
                    <a:gd name="csY16" fmla="*/ 110993 h 321037"/>
                    <a:gd name="csX17" fmla="*/ 31566 w 260818"/>
                    <a:gd name="csY17" fmla="*/ 128408 h 321037"/>
                    <a:gd name="csX18" fmla="*/ 34447 w 260818"/>
                    <a:gd name="csY18" fmla="*/ 133499 h 321037"/>
                    <a:gd name="csX19" fmla="*/ 16327 w 260818"/>
                    <a:gd name="csY19" fmla="*/ 159975 h 321037"/>
                    <a:gd name="csX20" fmla="*/ 17768 w 260818"/>
                    <a:gd name="csY20" fmla="*/ 174861 h 321037"/>
                    <a:gd name="csX21" fmla="*/ 1441 w 260818"/>
                    <a:gd name="csY21" fmla="*/ 190068 h 321037"/>
                    <a:gd name="csX22" fmla="*/ 736 w 260818"/>
                    <a:gd name="csY22" fmla="*/ 208220 h 321037"/>
                    <a:gd name="csX23" fmla="*/ 0 w 260818"/>
                    <a:gd name="csY23" fmla="*/ 223106 h 321037"/>
                    <a:gd name="csX24" fmla="*/ 736 w 260818"/>
                    <a:gd name="csY24" fmla="*/ 252111 h 321037"/>
                    <a:gd name="csX25" fmla="*/ 5795 w 260818"/>
                    <a:gd name="csY25" fmla="*/ 255729 h 321037"/>
                    <a:gd name="csX26" fmla="*/ 10149 w 260818"/>
                    <a:gd name="csY26" fmla="*/ 260819 h 321037"/>
                    <a:gd name="csX27" fmla="*/ 5795 w 260818"/>
                    <a:gd name="csY27" fmla="*/ 260819 h 321037"/>
                    <a:gd name="csX28" fmla="*/ 7619 w 260818"/>
                    <a:gd name="csY28" fmla="*/ 268438 h 321037"/>
                    <a:gd name="csX29" fmla="*/ 3265 w 260818"/>
                    <a:gd name="csY29" fmla="*/ 272056 h 321037"/>
                    <a:gd name="csX30" fmla="*/ 4354 w 260818"/>
                    <a:gd name="csY30" fmla="*/ 283325 h 321037"/>
                    <a:gd name="csX31" fmla="*/ 17063 w 260818"/>
                    <a:gd name="csY31" fmla="*/ 298531 h 321037"/>
                    <a:gd name="csX32" fmla="*/ 18856 w 260818"/>
                    <a:gd name="csY32" fmla="*/ 305447 h 321037"/>
                    <a:gd name="csX33" fmla="*/ 13798 w 260818"/>
                    <a:gd name="csY33" fmla="*/ 307239 h 321037"/>
                    <a:gd name="csX34" fmla="*/ 23210 w 260818"/>
                    <a:gd name="csY34" fmla="*/ 314154 h 321037"/>
                    <a:gd name="csX35" fmla="*/ 19593 w 260818"/>
                    <a:gd name="csY35" fmla="*/ 316683 h 321037"/>
                    <a:gd name="csX36" fmla="*/ 30093 w 260818"/>
                    <a:gd name="csY36" fmla="*/ 321037 h 321037"/>
                    <a:gd name="csX37" fmla="*/ 34447 w 260818"/>
                    <a:gd name="csY37" fmla="*/ 304710 h 321037"/>
                    <a:gd name="csX38" fmla="*/ 45332 w 260818"/>
                    <a:gd name="csY38" fmla="*/ 305447 h 321037"/>
                    <a:gd name="csX39" fmla="*/ 65309 w 260818"/>
                    <a:gd name="csY39" fmla="*/ 295266 h 321037"/>
                    <a:gd name="csX40" fmla="*/ 78371 w 260818"/>
                    <a:gd name="csY40" fmla="*/ 296002 h 321037"/>
                    <a:gd name="csX41" fmla="*/ 89255 w 260818"/>
                    <a:gd name="csY41" fmla="*/ 281500 h 321037"/>
                    <a:gd name="csX42" fmla="*/ 102285 w 260818"/>
                    <a:gd name="csY42" fmla="*/ 277146 h 321037"/>
                    <a:gd name="csX43" fmla="*/ 110993 w 260818"/>
                    <a:gd name="csY43" fmla="*/ 260819 h 321037"/>
                    <a:gd name="csX44" fmla="*/ 119349 w 260818"/>
                    <a:gd name="csY44" fmla="*/ 264084 h 321037"/>
                    <a:gd name="csX45" fmla="*/ 130586 w 260818"/>
                    <a:gd name="csY45" fmla="*/ 255729 h 321037"/>
                    <a:gd name="csX46" fmla="*/ 136028 w 260818"/>
                    <a:gd name="csY46" fmla="*/ 251375 h 321037"/>
                    <a:gd name="csX47" fmla="*/ 134939 w 260818"/>
                    <a:gd name="csY47" fmla="*/ 240138 h 321037"/>
                    <a:gd name="csX48" fmla="*/ 143647 w 260818"/>
                    <a:gd name="csY48" fmla="*/ 225635 h 321037"/>
                    <a:gd name="csX49" fmla="*/ 146913 w 260818"/>
                    <a:gd name="csY49" fmla="*/ 213662 h 321037"/>
                    <a:gd name="csX50" fmla="*/ 159238 w 260818"/>
                    <a:gd name="csY50" fmla="*/ 201337 h 321037"/>
                    <a:gd name="csX51" fmla="*/ 174477 w 260818"/>
                    <a:gd name="csY51" fmla="*/ 196246 h 321037"/>
                    <a:gd name="csX52" fmla="*/ 183921 w 260818"/>
                    <a:gd name="csY52" fmla="*/ 203866 h 321037"/>
                    <a:gd name="csX53" fmla="*/ 190804 w 260818"/>
                    <a:gd name="csY53" fmla="*/ 203866 h 321037"/>
                    <a:gd name="csX54" fmla="*/ 208956 w 260818"/>
                    <a:gd name="csY54" fmla="*/ 194422 h 321037"/>
                    <a:gd name="csX55" fmla="*/ 220929 w 260818"/>
                    <a:gd name="csY55" fmla="*/ 190068 h 321037"/>
                    <a:gd name="csX56" fmla="*/ 231430 w 260818"/>
                    <a:gd name="csY56" fmla="*/ 177390 h 321037"/>
                    <a:gd name="csX57" fmla="*/ 245932 w 260818"/>
                    <a:gd name="csY57" fmla="*/ 172300 h 321037"/>
                    <a:gd name="csX58" fmla="*/ 257906 w 260818"/>
                    <a:gd name="csY58" fmla="*/ 145472 h 321037"/>
                    <a:gd name="csX59" fmla="*/ 260819 w 260818"/>
                    <a:gd name="csY59" fmla="*/ 135292 h 321037"/>
                    <a:gd name="csX60" fmla="*/ 244140 w 260818"/>
                    <a:gd name="csY60" fmla="*/ 124791 h 321037"/>
                    <a:gd name="csX61" fmla="*/ 232166 w 260818"/>
                    <a:gd name="csY61" fmla="*/ 104110 h 321037"/>
                    <a:gd name="csX62" fmla="*/ 204602 w 260818"/>
                    <a:gd name="csY62" fmla="*/ 100844 h 321037"/>
                    <a:gd name="csX63" fmla="*/ 208220 w 260818"/>
                    <a:gd name="csY63" fmla="*/ 77634 h 321037"/>
                    <a:gd name="csX64" fmla="*/ 203129 w 260818"/>
                    <a:gd name="csY64" fmla="*/ 68926 h 321037"/>
                    <a:gd name="csX65" fmla="*/ 193365 w 260818"/>
                    <a:gd name="csY65" fmla="*/ 75073 h 321037"/>
                    <a:gd name="csX66" fmla="*/ 173773 w 260818"/>
                    <a:gd name="csY66" fmla="*/ 55865 h 321037"/>
                    <a:gd name="csX67" fmla="*/ 118612 w 260818"/>
                    <a:gd name="csY67" fmla="*/ 4354 h 3210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0818" h="321037">
                      <a:moveTo>
                        <a:pt x="118612" y="4354"/>
                      </a:moveTo>
                      <a:lnTo>
                        <a:pt x="116819" y="3618"/>
                      </a:lnTo>
                      <a:lnTo>
                        <a:pt x="114258" y="0"/>
                      </a:lnTo>
                      <a:lnTo>
                        <a:pt x="100492" y="11237"/>
                      </a:lnTo>
                      <a:lnTo>
                        <a:pt x="90312" y="8708"/>
                      </a:lnTo>
                      <a:lnTo>
                        <a:pt x="79811" y="19208"/>
                      </a:lnTo>
                      <a:lnTo>
                        <a:pt x="71455" y="14855"/>
                      </a:lnTo>
                      <a:lnTo>
                        <a:pt x="46420" y="31918"/>
                      </a:lnTo>
                      <a:lnTo>
                        <a:pt x="28300" y="38097"/>
                      </a:lnTo>
                      <a:lnTo>
                        <a:pt x="30093" y="39538"/>
                      </a:lnTo>
                      <a:lnTo>
                        <a:pt x="39537" y="51863"/>
                      </a:lnTo>
                      <a:lnTo>
                        <a:pt x="48982" y="55865"/>
                      </a:lnTo>
                      <a:lnTo>
                        <a:pt x="48982" y="82692"/>
                      </a:lnTo>
                      <a:lnTo>
                        <a:pt x="60955" y="92137"/>
                      </a:lnTo>
                      <a:lnTo>
                        <a:pt x="35183" y="93961"/>
                      </a:lnTo>
                      <a:lnTo>
                        <a:pt x="33359" y="99020"/>
                      </a:lnTo>
                      <a:lnTo>
                        <a:pt x="29005" y="110993"/>
                      </a:lnTo>
                      <a:lnTo>
                        <a:pt x="31566" y="128408"/>
                      </a:lnTo>
                      <a:lnTo>
                        <a:pt x="34447" y="133499"/>
                      </a:lnTo>
                      <a:lnTo>
                        <a:pt x="16327" y="159975"/>
                      </a:lnTo>
                      <a:lnTo>
                        <a:pt x="17768" y="174861"/>
                      </a:lnTo>
                      <a:lnTo>
                        <a:pt x="1441" y="190068"/>
                      </a:lnTo>
                      <a:lnTo>
                        <a:pt x="736" y="208220"/>
                      </a:lnTo>
                      <a:lnTo>
                        <a:pt x="0" y="223106"/>
                      </a:lnTo>
                      <a:lnTo>
                        <a:pt x="736" y="252111"/>
                      </a:lnTo>
                      <a:lnTo>
                        <a:pt x="5795" y="255729"/>
                      </a:lnTo>
                      <a:lnTo>
                        <a:pt x="10149" y="260819"/>
                      </a:lnTo>
                      <a:lnTo>
                        <a:pt x="5795" y="260819"/>
                      </a:lnTo>
                      <a:lnTo>
                        <a:pt x="7619" y="268438"/>
                      </a:lnTo>
                      <a:lnTo>
                        <a:pt x="3265" y="272056"/>
                      </a:lnTo>
                      <a:lnTo>
                        <a:pt x="4354" y="283325"/>
                      </a:lnTo>
                      <a:lnTo>
                        <a:pt x="17063" y="298531"/>
                      </a:lnTo>
                      <a:lnTo>
                        <a:pt x="18856" y="305447"/>
                      </a:lnTo>
                      <a:lnTo>
                        <a:pt x="13798" y="307239"/>
                      </a:lnTo>
                      <a:lnTo>
                        <a:pt x="23210" y="314154"/>
                      </a:lnTo>
                      <a:lnTo>
                        <a:pt x="19593" y="316683"/>
                      </a:lnTo>
                      <a:lnTo>
                        <a:pt x="30093" y="321037"/>
                      </a:lnTo>
                      <a:lnTo>
                        <a:pt x="34447" y="304710"/>
                      </a:lnTo>
                      <a:lnTo>
                        <a:pt x="45332" y="305447"/>
                      </a:lnTo>
                      <a:lnTo>
                        <a:pt x="65309" y="295266"/>
                      </a:lnTo>
                      <a:lnTo>
                        <a:pt x="78371" y="296002"/>
                      </a:lnTo>
                      <a:lnTo>
                        <a:pt x="89255" y="281500"/>
                      </a:lnTo>
                      <a:lnTo>
                        <a:pt x="102285" y="277146"/>
                      </a:lnTo>
                      <a:lnTo>
                        <a:pt x="110993" y="260819"/>
                      </a:lnTo>
                      <a:lnTo>
                        <a:pt x="119349" y="264084"/>
                      </a:lnTo>
                      <a:lnTo>
                        <a:pt x="130586" y="255729"/>
                      </a:lnTo>
                      <a:lnTo>
                        <a:pt x="136028" y="251375"/>
                      </a:lnTo>
                      <a:lnTo>
                        <a:pt x="134939" y="240138"/>
                      </a:lnTo>
                      <a:lnTo>
                        <a:pt x="143647" y="225635"/>
                      </a:lnTo>
                      <a:lnTo>
                        <a:pt x="146913" y="213662"/>
                      </a:lnTo>
                      <a:lnTo>
                        <a:pt x="159238" y="201337"/>
                      </a:lnTo>
                      <a:lnTo>
                        <a:pt x="174477" y="196246"/>
                      </a:lnTo>
                      <a:lnTo>
                        <a:pt x="183921" y="203866"/>
                      </a:lnTo>
                      <a:lnTo>
                        <a:pt x="190804" y="203866"/>
                      </a:lnTo>
                      <a:lnTo>
                        <a:pt x="208956" y="194422"/>
                      </a:lnTo>
                      <a:lnTo>
                        <a:pt x="220929" y="190068"/>
                      </a:lnTo>
                      <a:lnTo>
                        <a:pt x="231430" y="177390"/>
                      </a:lnTo>
                      <a:lnTo>
                        <a:pt x="245932" y="172300"/>
                      </a:lnTo>
                      <a:lnTo>
                        <a:pt x="257906" y="145472"/>
                      </a:lnTo>
                      <a:lnTo>
                        <a:pt x="260819" y="135292"/>
                      </a:lnTo>
                      <a:lnTo>
                        <a:pt x="244140" y="124791"/>
                      </a:lnTo>
                      <a:lnTo>
                        <a:pt x="232166" y="104110"/>
                      </a:lnTo>
                      <a:lnTo>
                        <a:pt x="204602" y="100844"/>
                      </a:lnTo>
                      <a:lnTo>
                        <a:pt x="208220" y="77634"/>
                      </a:lnTo>
                      <a:lnTo>
                        <a:pt x="203129" y="68926"/>
                      </a:lnTo>
                      <a:lnTo>
                        <a:pt x="193365" y="75073"/>
                      </a:lnTo>
                      <a:lnTo>
                        <a:pt x="173773" y="55865"/>
                      </a:lnTo>
                      <a:lnTo>
                        <a:pt x="118612" y="435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4" name="Forma Livre: Forma 293">
                  <a:extLst>
                    <a:ext uri="{FF2B5EF4-FFF2-40B4-BE49-F238E27FC236}">
                      <a16:creationId xmlns:a16="http://schemas.microsoft.com/office/drawing/2014/main" id="{9E5C0767-BDF9-A300-E961-14678D79AC04}"/>
                    </a:ext>
                  </a:extLst>
                </p:cNvPr>
                <p:cNvSpPr/>
                <p:nvPr/>
              </p:nvSpPr>
              <p:spPr>
                <a:xfrm>
                  <a:off x="2769519" y="4608176"/>
                  <a:ext cx="260818" cy="321037"/>
                </a:xfrm>
                <a:custGeom>
                  <a:avLst/>
                  <a:gdLst>
                    <a:gd name="csX0" fmla="*/ 118612 w 260818"/>
                    <a:gd name="csY0" fmla="*/ 4354 h 321037"/>
                    <a:gd name="csX1" fmla="*/ 116819 w 260818"/>
                    <a:gd name="csY1" fmla="*/ 3618 h 321037"/>
                    <a:gd name="csX2" fmla="*/ 114258 w 260818"/>
                    <a:gd name="csY2" fmla="*/ 0 h 321037"/>
                    <a:gd name="csX3" fmla="*/ 100492 w 260818"/>
                    <a:gd name="csY3" fmla="*/ 11237 h 321037"/>
                    <a:gd name="csX4" fmla="*/ 90312 w 260818"/>
                    <a:gd name="csY4" fmla="*/ 8708 h 321037"/>
                    <a:gd name="csX5" fmla="*/ 79811 w 260818"/>
                    <a:gd name="csY5" fmla="*/ 19208 h 321037"/>
                    <a:gd name="csX6" fmla="*/ 71455 w 260818"/>
                    <a:gd name="csY6" fmla="*/ 14855 h 321037"/>
                    <a:gd name="csX7" fmla="*/ 46420 w 260818"/>
                    <a:gd name="csY7" fmla="*/ 31918 h 321037"/>
                    <a:gd name="csX8" fmla="*/ 28300 w 260818"/>
                    <a:gd name="csY8" fmla="*/ 38097 h 321037"/>
                    <a:gd name="csX9" fmla="*/ 30093 w 260818"/>
                    <a:gd name="csY9" fmla="*/ 39538 h 321037"/>
                    <a:gd name="csX10" fmla="*/ 39537 w 260818"/>
                    <a:gd name="csY10" fmla="*/ 51863 h 321037"/>
                    <a:gd name="csX11" fmla="*/ 48982 w 260818"/>
                    <a:gd name="csY11" fmla="*/ 55865 h 321037"/>
                    <a:gd name="csX12" fmla="*/ 48982 w 260818"/>
                    <a:gd name="csY12" fmla="*/ 82692 h 321037"/>
                    <a:gd name="csX13" fmla="*/ 60955 w 260818"/>
                    <a:gd name="csY13" fmla="*/ 92137 h 321037"/>
                    <a:gd name="csX14" fmla="*/ 35183 w 260818"/>
                    <a:gd name="csY14" fmla="*/ 93961 h 321037"/>
                    <a:gd name="csX15" fmla="*/ 33359 w 260818"/>
                    <a:gd name="csY15" fmla="*/ 99020 h 321037"/>
                    <a:gd name="csX16" fmla="*/ 29005 w 260818"/>
                    <a:gd name="csY16" fmla="*/ 110993 h 321037"/>
                    <a:gd name="csX17" fmla="*/ 31566 w 260818"/>
                    <a:gd name="csY17" fmla="*/ 128408 h 321037"/>
                    <a:gd name="csX18" fmla="*/ 34447 w 260818"/>
                    <a:gd name="csY18" fmla="*/ 133499 h 321037"/>
                    <a:gd name="csX19" fmla="*/ 16327 w 260818"/>
                    <a:gd name="csY19" fmla="*/ 159975 h 321037"/>
                    <a:gd name="csX20" fmla="*/ 17768 w 260818"/>
                    <a:gd name="csY20" fmla="*/ 174861 h 321037"/>
                    <a:gd name="csX21" fmla="*/ 1441 w 260818"/>
                    <a:gd name="csY21" fmla="*/ 190068 h 321037"/>
                    <a:gd name="csX22" fmla="*/ 736 w 260818"/>
                    <a:gd name="csY22" fmla="*/ 208220 h 321037"/>
                    <a:gd name="csX23" fmla="*/ 0 w 260818"/>
                    <a:gd name="csY23" fmla="*/ 223106 h 321037"/>
                    <a:gd name="csX24" fmla="*/ 736 w 260818"/>
                    <a:gd name="csY24" fmla="*/ 252111 h 321037"/>
                    <a:gd name="csX25" fmla="*/ 5795 w 260818"/>
                    <a:gd name="csY25" fmla="*/ 255729 h 321037"/>
                    <a:gd name="csX26" fmla="*/ 10149 w 260818"/>
                    <a:gd name="csY26" fmla="*/ 260819 h 321037"/>
                    <a:gd name="csX27" fmla="*/ 5795 w 260818"/>
                    <a:gd name="csY27" fmla="*/ 260819 h 321037"/>
                    <a:gd name="csX28" fmla="*/ 7619 w 260818"/>
                    <a:gd name="csY28" fmla="*/ 268438 h 321037"/>
                    <a:gd name="csX29" fmla="*/ 3265 w 260818"/>
                    <a:gd name="csY29" fmla="*/ 272056 h 321037"/>
                    <a:gd name="csX30" fmla="*/ 4354 w 260818"/>
                    <a:gd name="csY30" fmla="*/ 283325 h 321037"/>
                    <a:gd name="csX31" fmla="*/ 17063 w 260818"/>
                    <a:gd name="csY31" fmla="*/ 298531 h 321037"/>
                    <a:gd name="csX32" fmla="*/ 18856 w 260818"/>
                    <a:gd name="csY32" fmla="*/ 305447 h 321037"/>
                    <a:gd name="csX33" fmla="*/ 13798 w 260818"/>
                    <a:gd name="csY33" fmla="*/ 307239 h 321037"/>
                    <a:gd name="csX34" fmla="*/ 23210 w 260818"/>
                    <a:gd name="csY34" fmla="*/ 314154 h 321037"/>
                    <a:gd name="csX35" fmla="*/ 19593 w 260818"/>
                    <a:gd name="csY35" fmla="*/ 316683 h 321037"/>
                    <a:gd name="csX36" fmla="*/ 30093 w 260818"/>
                    <a:gd name="csY36" fmla="*/ 321037 h 321037"/>
                    <a:gd name="csX37" fmla="*/ 34447 w 260818"/>
                    <a:gd name="csY37" fmla="*/ 304710 h 321037"/>
                    <a:gd name="csX38" fmla="*/ 45332 w 260818"/>
                    <a:gd name="csY38" fmla="*/ 305447 h 321037"/>
                    <a:gd name="csX39" fmla="*/ 65309 w 260818"/>
                    <a:gd name="csY39" fmla="*/ 295266 h 321037"/>
                    <a:gd name="csX40" fmla="*/ 78371 w 260818"/>
                    <a:gd name="csY40" fmla="*/ 296002 h 321037"/>
                    <a:gd name="csX41" fmla="*/ 89255 w 260818"/>
                    <a:gd name="csY41" fmla="*/ 281500 h 321037"/>
                    <a:gd name="csX42" fmla="*/ 102285 w 260818"/>
                    <a:gd name="csY42" fmla="*/ 277146 h 321037"/>
                    <a:gd name="csX43" fmla="*/ 110993 w 260818"/>
                    <a:gd name="csY43" fmla="*/ 260819 h 321037"/>
                    <a:gd name="csX44" fmla="*/ 119349 w 260818"/>
                    <a:gd name="csY44" fmla="*/ 264084 h 321037"/>
                    <a:gd name="csX45" fmla="*/ 130586 w 260818"/>
                    <a:gd name="csY45" fmla="*/ 255729 h 321037"/>
                    <a:gd name="csX46" fmla="*/ 136028 w 260818"/>
                    <a:gd name="csY46" fmla="*/ 251375 h 321037"/>
                    <a:gd name="csX47" fmla="*/ 134939 w 260818"/>
                    <a:gd name="csY47" fmla="*/ 240138 h 321037"/>
                    <a:gd name="csX48" fmla="*/ 143647 w 260818"/>
                    <a:gd name="csY48" fmla="*/ 225635 h 321037"/>
                    <a:gd name="csX49" fmla="*/ 146913 w 260818"/>
                    <a:gd name="csY49" fmla="*/ 213662 h 321037"/>
                    <a:gd name="csX50" fmla="*/ 159238 w 260818"/>
                    <a:gd name="csY50" fmla="*/ 201337 h 321037"/>
                    <a:gd name="csX51" fmla="*/ 174477 w 260818"/>
                    <a:gd name="csY51" fmla="*/ 196246 h 321037"/>
                    <a:gd name="csX52" fmla="*/ 183921 w 260818"/>
                    <a:gd name="csY52" fmla="*/ 203866 h 321037"/>
                    <a:gd name="csX53" fmla="*/ 190804 w 260818"/>
                    <a:gd name="csY53" fmla="*/ 203866 h 321037"/>
                    <a:gd name="csX54" fmla="*/ 208956 w 260818"/>
                    <a:gd name="csY54" fmla="*/ 194422 h 321037"/>
                    <a:gd name="csX55" fmla="*/ 220929 w 260818"/>
                    <a:gd name="csY55" fmla="*/ 190068 h 321037"/>
                    <a:gd name="csX56" fmla="*/ 231430 w 260818"/>
                    <a:gd name="csY56" fmla="*/ 177390 h 321037"/>
                    <a:gd name="csX57" fmla="*/ 245932 w 260818"/>
                    <a:gd name="csY57" fmla="*/ 172300 h 321037"/>
                    <a:gd name="csX58" fmla="*/ 257906 w 260818"/>
                    <a:gd name="csY58" fmla="*/ 145472 h 321037"/>
                    <a:gd name="csX59" fmla="*/ 260819 w 260818"/>
                    <a:gd name="csY59" fmla="*/ 135292 h 321037"/>
                    <a:gd name="csX60" fmla="*/ 244140 w 260818"/>
                    <a:gd name="csY60" fmla="*/ 124791 h 321037"/>
                    <a:gd name="csX61" fmla="*/ 232166 w 260818"/>
                    <a:gd name="csY61" fmla="*/ 104110 h 321037"/>
                    <a:gd name="csX62" fmla="*/ 204602 w 260818"/>
                    <a:gd name="csY62" fmla="*/ 100844 h 321037"/>
                    <a:gd name="csX63" fmla="*/ 208220 w 260818"/>
                    <a:gd name="csY63" fmla="*/ 77634 h 321037"/>
                    <a:gd name="csX64" fmla="*/ 203129 w 260818"/>
                    <a:gd name="csY64" fmla="*/ 68926 h 321037"/>
                    <a:gd name="csX65" fmla="*/ 193365 w 260818"/>
                    <a:gd name="csY65" fmla="*/ 75073 h 321037"/>
                    <a:gd name="csX66" fmla="*/ 173773 w 260818"/>
                    <a:gd name="csY66" fmla="*/ 55865 h 321037"/>
                    <a:gd name="csX67" fmla="*/ 118612 w 260818"/>
                    <a:gd name="csY67" fmla="*/ 4354 h 3210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0818" h="321037">
                      <a:moveTo>
                        <a:pt x="118612" y="4354"/>
                      </a:moveTo>
                      <a:lnTo>
                        <a:pt x="116819" y="3618"/>
                      </a:lnTo>
                      <a:lnTo>
                        <a:pt x="114258" y="0"/>
                      </a:lnTo>
                      <a:lnTo>
                        <a:pt x="100492" y="11237"/>
                      </a:lnTo>
                      <a:lnTo>
                        <a:pt x="90312" y="8708"/>
                      </a:lnTo>
                      <a:lnTo>
                        <a:pt x="79811" y="19208"/>
                      </a:lnTo>
                      <a:lnTo>
                        <a:pt x="71455" y="14855"/>
                      </a:lnTo>
                      <a:lnTo>
                        <a:pt x="46420" y="31918"/>
                      </a:lnTo>
                      <a:lnTo>
                        <a:pt x="28300" y="38097"/>
                      </a:lnTo>
                      <a:lnTo>
                        <a:pt x="30093" y="39538"/>
                      </a:lnTo>
                      <a:lnTo>
                        <a:pt x="39537" y="51863"/>
                      </a:lnTo>
                      <a:lnTo>
                        <a:pt x="48982" y="55865"/>
                      </a:lnTo>
                      <a:lnTo>
                        <a:pt x="48982" y="82692"/>
                      </a:lnTo>
                      <a:lnTo>
                        <a:pt x="60955" y="92137"/>
                      </a:lnTo>
                      <a:lnTo>
                        <a:pt x="35183" y="93961"/>
                      </a:lnTo>
                      <a:lnTo>
                        <a:pt x="33359" y="99020"/>
                      </a:lnTo>
                      <a:lnTo>
                        <a:pt x="29005" y="110993"/>
                      </a:lnTo>
                      <a:lnTo>
                        <a:pt x="31566" y="128408"/>
                      </a:lnTo>
                      <a:lnTo>
                        <a:pt x="34447" y="133499"/>
                      </a:lnTo>
                      <a:lnTo>
                        <a:pt x="16327" y="159975"/>
                      </a:lnTo>
                      <a:lnTo>
                        <a:pt x="17768" y="174861"/>
                      </a:lnTo>
                      <a:lnTo>
                        <a:pt x="1441" y="190068"/>
                      </a:lnTo>
                      <a:lnTo>
                        <a:pt x="736" y="208220"/>
                      </a:lnTo>
                      <a:lnTo>
                        <a:pt x="0" y="223106"/>
                      </a:lnTo>
                      <a:lnTo>
                        <a:pt x="736" y="252111"/>
                      </a:lnTo>
                      <a:lnTo>
                        <a:pt x="5795" y="255729"/>
                      </a:lnTo>
                      <a:lnTo>
                        <a:pt x="10149" y="260819"/>
                      </a:lnTo>
                      <a:lnTo>
                        <a:pt x="5795" y="260819"/>
                      </a:lnTo>
                      <a:lnTo>
                        <a:pt x="7619" y="268438"/>
                      </a:lnTo>
                      <a:lnTo>
                        <a:pt x="3265" y="272056"/>
                      </a:lnTo>
                      <a:lnTo>
                        <a:pt x="4354" y="283325"/>
                      </a:lnTo>
                      <a:lnTo>
                        <a:pt x="17063" y="298531"/>
                      </a:lnTo>
                      <a:lnTo>
                        <a:pt x="18856" y="305447"/>
                      </a:lnTo>
                      <a:lnTo>
                        <a:pt x="13798" y="307239"/>
                      </a:lnTo>
                      <a:lnTo>
                        <a:pt x="23210" y="314154"/>
                      </a:lnTo>
                      <a:lnTo>
                        <a:pt x="19593" y="316683"/>
                      </a:lnTo>
                      <a:lnTo>
                        <a:pt x="30093" y="321037"/>
                      </a:lnTo>
                      <a:lnTo>
                        <a:pt x="34447" y="304710"/>
                      </a:lnTo>
                      <a:lnTo>
                        <a:pt x="45332" y="305447"/>
                      </a:lnTo>
                      <a:lnTo>
                        <a:pt x="65309" y="295266"/>
                      </a:lnTo>
                      <a:lnTo>
                        <a:pt x="78371" y="296002"/>
                      </a:lnTo>
                      <a:lnTo>
                        <a:pt x="89255" y="281500"/>
                      </a:lnTo>
                      <a:lnTo>
                        <a:pt x="102285" y="277146"/>
                      </a:lnTo>
                      <a:lnTo>
                        <a:pt x="110993" y="260819"/>
                      </a:lnTo>
                      <a:lnTo>
                        <a:pt x="119349" y="264084"/>
                      </a:lnTo>
                      <a:lnTo>
                        <a:pt x="130586" y="255729"/>
                      </a:lnTo>
                      <a:lnTo>
                        <a:pt x="136028" y="251375"/>
                      </a:lnTo>
                      <a:lnTo>
                        <a:pt x="134939" y="240138"/>
                      </a:lnTo>
                      <a:lnTo>
                        <a:pt x="143647" y="225635"/>
                      </a:lnTo>
                      <a:lnTo>
                        <a:pt x="146913" y="213662"/>
                      </a:lnTo>
                      <a:lnTo>
                        <a:pt x="159238" y="201337"/>
                      </a:lnTo>
                      <a:lnTo>
                        <a:pt x="174477" y="196246"/>
                      </a:lnTo>
                      <a:lnTo>
                        <a:pt x="183921" y="203866"/>
                      </a:lnTo>
                      <a:lnTo>
                        <a:pt x="190804" y="203866"/>
                      </a:lnTo>
                      <a:lnTo>
                        <a:pt x="208956" y="194422"/>
                      </a:lnTo>
                      <a:lnTo>
                        <a:pt x="220929" y="190068"/>
                      </a:lnTo>
                      <a:lnTo>
                        <a:pt x="231430" y="177390"/>
                      </a:lnTo>
                      <a:lnTo>
                        <a:pt x="245932" y="172300"/>
                      </a:lnTo>
                      <a:lnTo>
                        <a:pt x="257906" y="145472"/>
                      </a:lnTo>
                      <a:lnTo>
                        <a:pt x="260819" y="135292"/>
                      </a:lnTo>
                      <a:lnTo>
                        <a:pt x="244140" y="124791"/>
                      </a:lnTo>
                      <a:lnTo>
                        <a:pt x="232166" y="104110"/>
                      </a:lnTo>
                      <a:lnTo>
                        <a:pt x="204602" y="100844"/>
                      </a:lnTo>
                      <a:lnTo>
                        <a:pt x="208220" y="77634"/>
                      </a:lnTo>
                      <a:lnTo>
                        <a:pt x="203129" y="68926"/>
                      </a:lnTo>
                      <a:lnTo>
                        <a:pt x="193365" y="75073"/>
                      </a:lnTo>
                      <a:lnTo>
                        <a:pt x="173773" y="55865"/>
                      </a:lnTo>
                      <a:lnTo>
                        <a:pt x="118612" y="435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5" name="Forma Livre: Forma 294">
                  <a:extLst>
                    <a:ext uri="{FF2B5EF4-FFF2-40B4-BE49-F238E27FC236}">
                      <a16:creationId xmlns:a16="http://schemas.microsoft.com/office/drawing/2014/main" id="{CC60B78B-A42A-DA8B-72F3-B5B949E72F55}"/>
                    </a:ext>
                  </a:extLst>
                </p:cNvPr>
                <p:cNvSpPr/>
                <p:nvPr/>
              </p:nvSpPr>
              <p:spPr>
                <a:xfrm>
                  <a:off x="1591272" y="5103690"/>
                  <a:ext cx="525639" cy="394317"/>
                </a:xfrm>
                <a:custGeom>
                  <a:avLst/>
                  <a:gdLst>
                    <a:gd name="csX0" fmla="*/ 255376 w 525639"/>
                    <a:gd name="csY0" fmla="*/ 0 h 394317"/>
                    <a:gd name="csX1" fmla="*/ 134971 w 525639"/>
                    <a:gd name="csY1" fmla="*/ 0 h 394317"/>
                    <a:gd name="csX2" fmla="*/ 134971 w 525639"/>
                    <a:gd name="csY2" fmla="*/ 9796 h 394317"/>
                    <a:gd name="csX3" fmla="*/ 131706 w 525639"/>
                    <a:gd name="csY3" fmla="*/ 8708 h 394317"/>
                    <a:gd name="csX4" fmla="*/ 123702 w 525639"/>
                    <a:gd name="csY4" fmla="*/ 23210 h 394317"/>
                    <a:gd name="csX5" fmla="*/ 125527 w 525639"/>
                    <a:gd name="csY5" fmla="*/ 28652 h 394317"/>
                    <a:gd name="csX6" fmla="*/ 122262 w 525639"/>
                    <a:gd name="csY6" fmla="*/ 30125 h 394317"/>
                    <a:gd name="csX7" fmla="*/ 116083 w 525639"/>
                    <a:gd name="csY7" fmla="*/ 67133 h 394317"/>
                    <a:gd name="csX8" fmla="*/ 111729 w 525639"/>
                    <a:gd name="csY8" fmla="*/ 70751 h 394317"/>
                    <a:gd name="csX9" fmla="*/ 109936 w 525639"/>
                    <a:gd name="csY9" fmla="*/ 75105 h 394317"/>
                    <a:gd name="csX10" fmla="*/ 107375 w 525639"/>
                    <a:gd name="csY10" fmla="*/ 86342 h 394317"/>
                    <a:gd name="csX11" fmla="*/ 105582 w 525639"/>
                    <a:gd name="csY11" fmla="*/ 94698 h 394317"/>
                    <a:gd name="csX12" fmla="*/ 107375 w 525639"/>
                    <a:gd name="csY12" fmla="*/ 108464 h 394317"/>
                    <a:gd name="csX13" fmla="*/ 101581 w 525639"/>
                    <a:gd name="csY13" fmla="*/ 116467 h 394317"/>
                    <a:gd name="csX14" fmla="*/ 81636 w 525639"/>
                    <a:gd name="csY14" fmla="*/ 118996 h 394317"/>
                    <a:gd name="csX15" fmla="*/ 74017 w 525639"/>
                    <a:gd name="csY15" fmla="*/ 123350 h 394317"/>
                    <a:gd name="csX16" fmla="*/ 68574 w 525639"/>
                    <a:gd name="csY16" fmla="*/ 133499 h 394317"/>
                    <a:gd name="csX17" fmla="*/ 53335 w 525639"/>
                    <a:gd name="csY17" fmla="*/ 137853 h 394317"/>
                    <a:gd name="csX18" fmla="*/ 48245 w 525639"/>
                    <a:gd name="csY18" fmla="*/ 138589 h 394317"/>
                    <a:gd name="csX19" fmla="*/ 43891 w 525639"/>
                    <a:gd name="csY19" fmla="*/ 149826 h 394317"/>
                    <a:gd name="csX20" fmla="*/ 32654 w 525639"/>
                    <a:gd name="csY20" fmla="*/ 157445 h 394317"/>
                    <a:gd name="csX21" fmla="*/ 30125 w 525639"/>
                    <a:gd name="csY21" fmla="*/ 163624 h 394317"/>
                    <a:gd name="csX22" fmla="*/ 22154 w 525639"/>
                    <a:gd name="csY22" fmla="*/ 159270 h 394317"/>
                    <a:gd name="csX23" fmla="*/ 13798 w 525639"/>
                    <a:gd name="csY23" fmla="*/ 163624 h 394317"/>
                    <a:gd name="csX24" fmla="*/ 19593 w 525639"/>
                    <a:gd name="csY24" fmla="*/ 168682 h 394317"/>
                    <a:gd name="csX25" fmla="*/ 18888 w 525639"/>
                    <a:gd name="csY25" fmla="*/ 178126 h 394317"/>
                    <a:gd name="csX26" fmla="*/ 8356 w 525639"/>
                    <a:gd name="csY26" fmla="*/ 187570 h 394317"/>
                    <a:gd name="csX27" fmla="*/ 8356 w 525639"/>
                    <a:gd name="csY27" fmla="*/ 198807 h 394317"/>
                    <a:gd name="csX28" fmla="*/ 0 w 525639"/>
                    <a:gd name="csY28" fmla="*/ 221281 h 394317"/>
                    <a:gd name="csX29" fmla="*/ 14534 w 525639"/>
                    <a:gd name="csY29" fmla="*/ 223842 h 394317"/>
                    <a:gd name="csX30" fmla="*/ 17064 w 525639"/>
                    <a:gd name="csY30" fmla="*/ 232550 h 394317"/>
                    <a:gd name="csX31" fmla="*/ 30125 w 525639"/>
                    <a:gd name="csY31" fmla="*/ 268438 h 394317"/>
                    <a:gd name="csX32" fmla="*/ 74017 w 525639"/>
                    <a:gd name="csY32" fmla="*/ 285854 h 394317"/>
                    <a:gd name="csX33" fmla="*/ 72928 w 525639"/>
                    <a:gd name="csY33" fmla="*/ 278971 h 394317"/>
                    <a:gd name="csX34" fmla="*/ 89255 w 525639"/>
                    <a:gd name="csY34" fmla="*/ 251407 h 394317"/>
                    <a:gd name="csX35" fmla="*/ 87783 w 525639"/>
                    <a:gd name="csY35" fmla="*/ 245228 h 394317"/>
                    <a:gd name="csX36" fmla="*/ 92873 w 525639"/>
                    <a:gd name="csY36" fmla="*/ 236872 h 394317"/>
                    <a:gd name="csX37" fmla="*/ 87783 w 525639"/>
                    <a:gd name="csY37" fmla="*/ 223842 h 394317"/>
                    <a:gd name="csX38" fmla="*/ 120437 w 525639"/>
                    <a:gd name="csY38" fmla="*/ 222018 h 394317"/>
                    <a:gd name="csX39" fmla="*/ 143647 w 525639"/>
                    <a:gd name="csY39" fmla="*/ 232550 h 394317"/>
                    <a:gd name="csX40" fmla="*/ 158182 w 525639"/>
                    <a:gd name="csY40" fmla="*/ 232550 h 394317"/>
                    <a:gd name="csX41" fmla="*/ 166889 w 525639"/>
                    <a:gd name="csY41" fmla="*/ 239433 h 394317"/>
                    <a:gd name="csX42" fmla="*/ 171243 w 525639"/>
                    <a:gd name="csY42" fmla="*/ 243787 h 394317"/>
                    <a:gd name="csX43" fmla="*/ 188275 w 525639"/>
                    <a:gd name="csY43" fmla="*/ 254672 h 394317"/>
                    <a:gd name="csX44" fmla="*/ 204602 w 525639"/>
                    <a:gd name="csY44" fmla="*/ 274617 h 394317"/>
                    <a:gd name="csX45" fmla="*/ 223843 w 525639"/>
                    <a:gd name="csY45" fmla="*/ 278234 h 394317"/>
                    <a:gd name="csX46" fmla="*/ 232166 w 525639"/>
                    <a:gd name="csY46" fmla="*/ 288415 h 394317"/>
                    <a:gd name="csX47" fmla="*/ 232166 w 525639"/>
                    <a:gd name="csY47" fmla="*/ 289119 h 394317"/>
                    <a:gd name="csX48" fmla="*/ 238345 w 525639"/>
                    <a:gd name="csY48" fmla="*/ 286590 h 394317"/>
                    <a:gd name="csX49" fmla="*/ 239081 w 525639"/>
                    <a:gd name="csY49" fmla="*/ 277146 h 394317"/>
                    <a:gd name="csX50" fmla="*/ 244140 w 525639"/>
                    <a:gd name="csY50" fmla="*/ 276442 h 394317"/>
                    <a:gd name="csX51" fmla="*/ 247053 w 525639"/>
                    <a:gd name="csY51" fmla="*/ 253200 h 394317"/>
                    <a:gd name="csX52" fmla="*/ 259026 w 525639"/>
                    <a:gd name="csY52" fmla="*/ 252111 h 394317"/>
                    <a:gd name="csX53" fmla="*/ 264821 w 525639"/>
                    <a:gd name="csY53" fmla="*/ 245228 h 394317"/>
                    <a:gd name="csX54" fmla="*/ 262291 w 525639"/>
                    <a:gd name="csY54" fmla="*/ 232550 h 394317"/>
                    <a:gd name="csX55" fmla="*/ 270999 w 525639"/>
                    <a:gd name="csY55" fmla="*/ 233254 h 394317"/>
                    <a:gd name="csX56" fmla="*/ 277882 w 525639"/>
                    <a:gd name="csY56" fmla="*/ 241226 h 394317"/>
                    <a:gd name="csX57" fmla="*/ 274617 w 525639"/>
                    <a:gd name="csY57" fmla="*/ 250670 h 394317"/>
                    <a:gd name="csX58" fmla="*/ 281148 w 525639"/>
                    <a:gd name="csY58" fmla="*/ 263380 h 394317"/>
                    <a:gd name="csX59" fmla="*/ 288031 w 525639"/>
                    <a:gd name="csY59" fmla="*/ 266997 h 394317"/>
                    <a:gd name="csX60" fmla="*/ 294946 w 525639"/>
                    <a:gd name="csY60" fmla="*/ 260114 h 394317"/>
                    <a:gd name="csX61" fmla="*/ 301093 w 525639"/>
                    <a:gd name="csY61" fmla="*/ 272088 h 394317"/>
                    <a:gd name="csX62" fmla="*/ 287327 w 525639"/>
                    <a:gd name="csY62" fmla="*/ 290944 h 394317"/>
                    <a:gd name="csX63" fmla="*/ 288031 w 525639"/>
                    <a:gd name="csY63" fmla="*/ 306535 h 394317"/>
                    <a:gd name="csX64" fmla="*/ 314154 w 525639"/>
                    <a:gd name="csY64" fmla="*/ 315243 h 394317"/>
                    <a:gd name="csX65" fmla="*/ 314154 w 525639"/>
                    <a:gd name="csY65" fmla="*/ 321773 h 394317"/>
                    <a:gd name="csX66" fmla="*/ 300388 w 525639"/>
                    <a:gd name="csY66" fmla="*/ 336660 h 394317"/>
                    <a:gd name="csX67" fmla="*/ 317420 w 525639"/>
                    <a:gd name="csY67" fmla="*/ 341718 h 394317"/>
                    <a:gd name="csX68" fmla="*/ 316683 w 525639"/>
                    <a:gd name="csY68" fmla="*/ 348601 h 394317"/>
                    <a:gd name="csX69" fmla="*/ 322510 w 525639"/>
                    <a:gd name="csY69" fmla="*/ 356221 h 394317"/>
                    <a:gd name="csX70" fmla="*/ 337365 w 525639"/>
                    <a:gd name="csY70" fmla="*/ 361695 h 394317"/>
                    <a:gd name="csX71" fmla="*/ 344280 w 525639"/>
                    <a:gd name="csY71" fmla="*/ 358046 h 394317"/>
                    <a:gd name="csX72" fmla="*/ 353692 w 525639"/>
                    <a:gd name="csY72" fmla="*/ 369283 h 394317"/>
                    <a:gd name="csX73" fmla="*/ 344984 w 525639"/>
                    <a:gd name="csY73" fmla="*/ 389964 h 394317"/>
                    <a:gd name="csX74" fmla="*/ 347545 w 525639"/>
                    <a:gd name="csY74" fmla="*/ 394318 h 394317"/>
                    <a:gd name="csX75" fmla="*/ 372548 w 525639"/>
                    <a:gd name="csY75" fmla="*/ 388171 h 394317"/>
                    <a:gd name="csX76" fmla="*/ 377638 w 525639"/>
                    <a:gd name="csY76" fmla="*/ 381256 h 394317"/>
                    <a:gd name="csX77" fmla="*/ 371844 w 525639"/>
                    <a:gd name="csY77" fmla="*/ 360607 h 394317"/>
                    <a:gd name="csX78" fmla="*/ 373284 w 525639"/>
                    <a:gd name="csY78" fmla="*/ 346072 h 394317"/>
                    <a:gd name="csX79" fmla="*/ 363840 w 525639"/>
                    <a:gd name="csY79" fmla="*/ 343543 h 394317"/>
                    <a:gd name="csX80" fmla="*/ 363136 w 525639"/>
                    <a:gd name="csY80" fmla="*/ 338453 h 394317"/>
                    <a:gd name="csX81" fmla="*/ 379463 w 525639"/>
                    <a:gd name="csY81" fmla="*/ 317772 h 394317"/>
                    <a:gd name="csX82" fmla="*/ 372548 w 525639"/>
                    <a:gd name="csY82" fmla="*/ 295298 h 394317"/>
                    <a:gd name="csX83" fmla="*/ 390700 w 525639"/>
                    <a:gd name="csY83" fmla="*/ 292769 h 394317"/>
                    <a:gd name="csX84" fmla="*/ 393229 w 525639"/>
                    <a:gd name="csY84" fmla="*/ 300356 h 394317"/>
                    <a:gd name="csX85" fmla="*/ 401937 w 525639"/>
                    <a:gd name="csY85" fmla="*/ 302917 h 394317"/>
                    <a:gd name="csX86" fmla="*/ 422618 w 525639"/>
                    <a:gd name="csY86" fmla="*/ 298563 h 394317"/>
                    <a:gd name="csX87" fmla="*/ 429501 w 525639"/>
                    <a:gd name="csY87" fmla="*/ 309064 h 394317"/>
                    <a:gd name="csX88" fmla="*/ 445828 w 525639"/>
                    <a:gd name="csY88" fmla="*/ 309064 h 394317"/>
                    <a:gd name="csX89" fmla="*/ 471600 w 525639"/>
                    <a:gd name="csY89" fmla="*/ 299652 h 394317"/>
                    <a:gd name="csX90" fmla="*/ 502429 w 525639"/>
                    <a:gd name="csY90" fmla="*/ 275353 h 394317"/>
                    <a:gd name="csX91" fmla="*/ 510401 w 525639"/>
                    <a:gd name="csY91" fmla="*/ 265909 h 394317"/>
                    <a:gd name="csX92" fmla="*/ 513666 w 525639"/>
                    <a:gd name="csY92" fmla="*/ 246316 h 394317"/>
                    <a:gd name="csX93" fmla="*/ 518756 w 525639"/>
                    <a:gd name="csY93" fmla="*/ 239433 h 394317"/>
                    <a:gd name="csX94" fmla="*/ 514403 w 525639"/>
                    <a:gd name="csY94" fmla="*/ 206779 h 394317"/>
                    <a:gd name="csX95" fmla="*/ 525639 w 525639"/>
                    <a:gd name="csY95" fmla="*/ 191188 h 394317"/>
                    <a:gd name="csX96" fmla="*/ 522374 w 525639"/>
                    <a:gd name="csY96" fmla="*/ 185009 h 394317"/>
                    <a:gd name="csX97" fmla="*/ 518020 w 525639"/>
                    <a:gd name="csY97" fmla="*/ 183569 h 394317"/>
                    <a:gd name="csX98" fmla="*/ 522374 w 525639"/>
                    <a:gd name="csY98" fmla="*/ 170507 h 394317"/>
                    <a:gd name="csX99" fmla="*/ 509312 w 525639"/>
                    <a:gd name="csY99" fmla="*/ 165417 h 394317"/>
                    <a:gd name="csX100" fmla="*/ 507519 w 525639"/>
                    <a:gd name="csY100" fmla="*/ 160358 h 394317"/>
                    <a:gd name="csX101" fmla="*/ 499164 w 525639"/>
                    <a:gd name="csY101" fmla="*/ 154916 h 394317"/>
                    <a:gd name="csX102" fmla="*/ 504254 w 525639"/>
                    <a:gd name="csY102" fmla="*/ 142943 h 394317"/>
                    <a:gd name="csX103" fmla="*/ 489720 w 525639"/>
                    <a:gd name="csY103" fmla="*/ 125879 h 394317"/>
                    <a:gd name="csX104" fmla="*/ 487927 w 525639"/>
                    <a:gd name="csY104" fmla="*/ 110288 h 394317"/>
                    <a:gd name="csX105" fmla="*/ 481012 w 525639"/>
                    <a:gd name="csY105" fmla="*/ 97227 h 394317"/>
                    <a:gd name="csX106" fmla="*/ 470511 w 525639"/>
                    <a:gd name="csY106" fmla="*/ 94698 h 394317"/>
                    <a:gd name="csX107" fmla="*/ 456713 w 525639"/>
                    <a:gd name="csY107" fmla="*/ 102669 h 394317"/>
                    <a:gd name="csX108" fmla="*/ 445828 w 525639"/>
                    <a:gd name="csY108" fmla="*/ 117171 h 394317"/>
                    <a:gd name="csX109" fmla="*/ 437857 w 525639"/>
                    <a:gd name="csY109" fmla="*/ 107759 h 394317"/>
                    <a:gd name="csX110" fmla="*/ 425884 w 525639"/>
                    <a:gd name="csY110" fmla="*/ 105935 h 394317"/>
                    <a:gd name="csX111" fmla="*/ 424059 w 525639"/>
                    <a:gd name="csY111" fmla="*/ 111025 h 394317"/>
                    <a:gd name="csX112" fmla="*/ 404498 w 525639"/>
                    <a:gd name="csY112" fmla="*/ 122262 h 394317"/>
                    <a:gd name="csX113" fmla="*/ 412117 w 525639"/>
                    <a:gd name="csY113" fmla="*/ 130233 h 394317"/>
                    <a:gd name="csX114" fmla="*/ 416471 w 525639"/>
                    <a:gd name="csY114" fmla="*/ 144031 h 394317"/>
                    <a:gd name="csX115" fmla="*/ 423354 w 525639"/>
                    <a:gd name="csY115" fmla="*/ 146560 h 394317"/>
                    <a:gd name="csX116" fmla="*/ 424059 w 525639"/>
                    <a:gd name="csY116" fmla="*/ 154916 h 394317"/>
                    <a:gd name="csX117" fmla="*/ 414647 w 525639"/>
                    <a:gd name="csY117" fmla="*/ 158534 h 394317"/>
                    <a:gd name="csX118" fmla="*/ 396495 w 525639"/>
                    <a:gd name="csY118" fmla="*/ 173036 h 394317"/>
                    <a:gd name="csX119" fmla="*/ 398319 w 525639"/>
                    <a:gd name="csY119" fmla="*/ 181040 h 394317"/>
                    <a:gd name="csX120" fmla="*/ 389612 w 525639"/>
                    <a:gd name="csY120" fmla="*/ 187570 h 394317"/>
                    <a:gd name="csX121" fmla="*/ 376902 w 525639"/>
                    <a:gd name="csY121" fmla="*/ 186098 h 394317"/>
                    <a:gd name="csX122" fmla="*/ 343191 w 525639"/>
                    <a:gd name="csY122" fmla="*/ 204250 h 394317"/>
                    <a:gd name="csX123" fmla="*/ 351163 w 525639"/>
                    <a:gd name="csY123" fmla="*/ 209308 h 394317"/>
                    <a:gd name="csX124" fmla="*/ 362400 w 525639"/>
                    <a:gd name="csY124" fmla="*/ 235784 h 394317"/>
                    <a:gd name="csX125" fmla="*/ 350074 w 525639"/>
                    <a:gd name="csY125" fmla="*/ 241963 h 394317"/>
                    <a:gd name="csX126" fmla="*/ 339926 w 525639"/>
                    <a:gd name="csY126" fmla="*/ 256465 h 394317"/>
                    <a:gd name="csX127" fmla="*/ 337365 w 525639"/>
                    <a:gd name="csY127" fmla="*/ 260819 h 394317"/>
                    <a:gd name="csX128" fmla="*/ 328657 w 525639"/>
                    <a:gd name="csY128" fmla="*/ 260819 h 394317"/>
                    <a:gd name="csX129" fmla="*/ 326128 w 525639"/>
                    <a:gd name="csY129" fmla="*/ 276442 h 394317"/>
                    <a:gd name="csX130" fmla="*/ 322510 w 525639"/>
                    <a:gd name="csY130" fmla="*/ 276442 h 394317"/>
                    <a:gd name="csX131" fmla="*/ 307271 w 525639"/>
                    <a:gd name="csY131" fmla="*/ 272088 h 394317"/>
                    <a:gd name="csX132" fmla="*/ 298563 w 525639"/>
                    <a:gd name="csY132" fmla="*/ 250670 h 394317"/>
                    <a:gd name="csX133" fmla="*/ 294210 w 525639"/>
                    <a:gd name="csY133" fmla="*/ 248141 h 394317"/>
                    <a:gd name="csX134" fmla="*/ 287327 w 525639"/>
                    <a:gd name="csY134" fmla="*/ 251407 h 394317"/>
                    <a:gd name="csX135" fmla="*/ 270263 w 525639"/>
                    <a:gd name="csY135" fmla="*/ 220577 h 394317"/>
                    <a:gd name="csX136" fmla="*/ 264084 w 525639"/>
                    <a:gd name="csY136" fmla="*/ 223842 h 394317"/>
                    <a:gd name="csX137" fmla="*/ 259026 w 525639"/>
                    <a:gd name="csY137" fmla="*/ 218016 h 394317"/>
                    <a:gd name="csX138" fmla="*/ 251023 w 525639"/>
                    <a:gd name="csY138" fmla="*/ 228196 h 394317"/>
                    <a:gd name="csX139" fmla="*/ 247053 w 525639"/>
                    <a:gd name="csY139" fmla="*/ 226372 h 394317"/>
                    <a:gd name="csX140" fmla="*/ 233255 w 525639"/>
                    <a:gd name="csY140" fmla="*/ 225635 h 394317"/>
                    <a:gd name="csX141" fmla="*/ 226372 w 525639"/>
                    <a:gd name="csY141" fmla="*/ 236872 h 394317"/>
                    <a:gd name="csX142" fmla="*/ 212574 w 525639"/>
                    <a:gd name="csY142" fmla="*/ 238345 h 394317"/>
                    <a:gd name="csX143" fmla="*/ 211485 w 525639"/>
                    <a:gd name="csY143" fmla="*/ 216223 h 394317"/>
                    <a:gd name="csX144" fmla="*/ 193365 w 525639"/>
                    <a:gd name="csY144" fmla="*/ 195542 h 394317"/>
                    <a:gd name="csX145" fmla="*/ 187539 w 525639"/>
                    <a:gd name="csY145" fmla="*/ 177390 h 394317"/>
                    <a:gd name="csX146" fmla="*/ 173036 w 525639"/>
                    <a:gd name="csY146" fmla="*/ 167978 h 394317"/>
                    <a:gd name="csX147" fmla="*/ 163240 w 525639"/>
                    <a:gd name="csY147" fmla="*/ 153444 h 394317"/>
                    <a:gd name="csX148" fmla="*/ 150562 w 525639"/>
                    <a:gd name="csY148" fmla="*/ 151651 h 394317"/>
                    <a:gd name="csX149" fmla="*/ 140030 w 525639"/>
                    <a:gd name="csY149" fmla="*/ 165417 h 394317"/>
                    <a:gd name="csX150" fmla="*/ 107375 w 525639"/>
                    <a:gd name="csY150" fmla="*/ 179215 h 394317"/>
                    <a:gd name="csX151" fmla="*/ 95402 w 525639"/>
                    <a:gd name="csY151" fmla="*/ 194454 h 394317"/>
                    <a:gd name="csX152" fmla="*/ 83429 w 525639"/>
                    <a:gd name="csY152" fmla="*/ 189363 h 394317"/>
                    <a:gd name="csX153" fmla="*/ 82340 w 525639"/>
                    <a:gd name="csY153" fmla="*/ 179215 h 394317"/>
                    <a:gd name="csX154" fmla="*/ 116083 w 525639"/>
                    <a:gd name="csY154" fmla="*/ 167242 h 394317"/>
                    <a:gd name="csX155" fmla="*/ 122262 w 525639"/>
                    <a:gd name="csY155" fmla="*/ 165417 h 394317"/>
                    <a:gd name="csX156" fmla="*/ 148738 w 525639"/>
                    <a:gd name="csY156" fmla="*/ 144031 h 394317"/>
                    <a:gd name="csX157" fmla="*/ 164328 w 525639"/>
                    <a:gd name="csY157" fmla="*/ 147297 h 394317"/>
                    <a:gd name="csX158" fmla="*/ 171243 w 525639"/>
                    <a:gd name="csY158" fmla="*/ 153444 h 394317"/>
                    <a:gd name="csX159" fmla="*/ 182480 w 525639"/>
                    <a:gd name="csY159" fmla="*/ 149090 h 394317"/>
                    <a:gd name="csX160" fmla="*/ 188275 w 525639"/>
                    <a:gd name="csY160" fmla="*/ 156709 h 394317"/>
                    <a:gd name="csX161" fmla="*/ 190100 w 525639"/>
                    <a:gd name="csY161" fmla="*/ 150914 h 394317"/>
                    <a:gd name="csX162" fmla="*/ 185746 w 525639"/>
                    <a:gd name="csY162" fmla="*/ 147297 h 394317"/>
                    <a:gd name="csX163" fmla="*/ 197719 w 525639"/>
                    <a:gd name="csY163" fmla="*/ 140382 h 394317"/>
                    <a:gd name="csX164" fmla="*/ 187539 w 525639"/>
                    <a:gd name="csY164" fmla="*/ 130970 h 394317"/>
                    <a:gd name="csX165" fmla="*/ 205691 w 525639"/>
                    <a:gd name="csY165" fmla="*/ 124086 h 394317"/>
                    <a:gd name="csX166" fmla="*/ 198808 w 525639"/>
                    <a:gd name="csY166" fmla="*/ 115379 h 394317"/>
                    <a:gd name="csX167" fmla="*/ 216928 w 525639"/>
                    <a:gd name="csY167" fmla="*/ 96490 h 394317"/>
                    <a:gd name="csX168" fmla="*/ 214046 w 525639"/>
                    <a:gd name="csY168" fmla="*/ 85254 h 394317"/>
                    <a:gd name="csX169" fmla="*/ 231462 w 525639"/>
                    <a:gd name="csY169" fmla="*/ 77634 h 394317"/>
                    <a:gd name="csX170" fmla="*/ 234727 w 525639"/>
                    <a:gd name="csY170" fmla="*/ 66397 h 394317"/>
                    <a:gd name="csX171" fmla="*/ 244140 w 525639"/>
                    <a:gd name="csY171" fmla="*/ 60218 h 394317"/>
                    <a:gd name="csX172" fmla="*/ 242699 w 525639"/>
                    <a:gd name="csY172" fmla="*/ 47541 h 394317"/>
                    <a:gd name="csX173" fmla="*/ 252847 w 525639"/>
                    <a:gd name="csY173" fmla="*/ 29389 h 394317"/>
                    <a:gd name="csX174" fmla="*/ 247757 w 525639"/>
                    <a:gd name="csY174" fmla="*/ 15623 h 394317"/>
                    <a:gd name="csX175" fmla="*/ 255376 w 525639"/>
                    <a:gd name="csY175" fmla="*/ 0 h 39431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</a:cxnLst>
                  <a:rect l="l" t="t" r="r" b="b"/>
                  <a:pathLst>
                    <a:path w="525639" h="394317">
                      <a:moveTo>
                        <a:pt x="255376" y="0"/>
                      </a:moveTo>
                      <a:lnTo>
                        <a:pt x="134971" y="0"/>
                      </a:lnTo>
                      <a:lnTo>
                        <a:pt x="134971" y="9796"/>
                      </a:lnTo>
                      <a:lnTo>
                        <a:pt x="131706" y="8708"/>
                      </a:lnTo>
                      <a:lnTo>
                        <a:pt x="123702" y="23210"/>
                      </a:lnTo>
                      <a:lnTo>
                        <a:pt x="125527" y="28652"/>
                      </a:lnTo>
                      <a:lnTo>
                        <a:pt x="122262" y="30125"/>
                      </a:lnTo>
                      <a:lnTo>
                        <a:pt x="116083" y="67133"/>
                      </a:lnTo>
                      <a:lnTo>
                        <a:pt x="111729" y="70751"/>
                      </a:lnTo>
                      <a:lnTo>
                        <a:pt x="109936" y="75105"/>
                      </a:lnTo>
                      <a:lnTo>
                        <a:pt x="107375" y="86342"/>
                      </a:lnTo>
                      <a:lnTo>
                        <a:pt x="105582" y="94698"/>
                      </a:lnTo>
                      <a:lnTo>
                        <a:pt x="107375" y="108464"/>
                      </a:lnTo>
                      <a:lnTo>
                        <a:pt x="101581" y="116467"/>
                      </a:lnTo>
                      <a:lnTo>
                        <a:pt x="81636" y="118996"/>
                      </a:lnTo>
                      <a:lnTo>
                        <a:pt x="74017" y="123350"/>
                      </a:lnTo>
                      <a:lnTo>
                        <a:pt x="68574" y="133499"/>
                      </a:lnTo>
                      <a:lnTo>
                        <a:pt x="53335" y="137853"/>
                      </a:lnTo>
                      <a:lnTo>
                        <a:pt x="48245" y="138589"/>
                      </a:lnTo>
                      <a:lnTo>
                        <a:pt x="43891" y="149826"/>
                      </a:lnTo>
                      <a:lnTo>
                        <a:pt x="32654" y="157445"/>
                      </a:lnTo>
                      <a:lnTo>
                        <a:pt x="30125" y="163624"/>
                      </a:lnTo>
                      <a:lnTo>
                        <a:pt x="22154" y="159270"/>
                      </a:lnTo>
                      <a:lnTo>
                        <a:pt x="13798" y="163624"/>
                      </a:lnTo>
                      <a:lnTo>
                        <a:pt x="19593" y="168682"/>
                      </a:lnTo>
                      <a:lnTo>
                        <a:pt x="18888" y="178126"/>
                      </a:lnTo>
                      <a:lnTo>
                        <a:pt x="8356" y="187570"/>
                      </a:lnTo>
                      <a:lnTo>
                        <a:pt x="8356" y="198807"/>
                      </a:lnTo>
                      <a:lnTo>
                        <a:pt x="0" y="221281"/>
                      </a:lnTo>
                      <a:lnTo>
                        <a:pt x="14534" y="223842"/>
                      </a:lnTo>
                      <a:lnTo>
                        <a:pt x="17064" y="232550"/>
                      </a:lnTo>
                      <a:lnTo>
                        <a:pt x="30125" y="268438"/>
                      </a:lnTo>
                      <a:lnTo>
                        <a:pt x="74017" y="285854"/>
                      </a:lnTo>
                      <a:lnTo>
                        <a:pt x="72928" y="278971"/>
                      </a:lnTo>
                      <a:lnTo>
                        <a:pt x="89255" y="251407"/>
                      </a:lnTo>
                      <a:lnTo>
                        <a:pt x="87783" y="245228"/>
                      </a:lnTo>
                      <a:lnTo>
                        <a:pt x="92873" y="236872"/>
                      </a:lnTo>
                      <a:lnTo>
                        <a:pt x="87783" y="223842"/>
                      </a:lnTo>
                      <a:lnTo>
                        <a:pt x="120437" y="222018"/>
                      </a:lnTo>
                      <a:lnTo>
                        <a:pt x="143647" y="232550"/>
                      </a:lnTo>
                      <a:lnTo>
                        <a:pt x="158182" y="232550"/>
                      </a:lnTo>
                      <a:lnTo>
                        <a:pt x="166889" y="239433"/>
                      </a:lnTo>
                      <a:lnTo>
                        <a:pt x="171243" y="243787"/>
                      </a:lnTo>
                      <a:lnTo>
                        <a:pt x="188275" y="254672"/>
                      </a:lnTo>
                      <a:lnTo>
                        <a:pt x="204602" y="274617"/>
                      </a:lnTo>
                      <a:lnTo>
                        <a:pt x="223843" y="278234"/>
                      </a:lnTo>
                      <a:lnTo>
                        <a:pt x="232166" y="288415"/>
                      </a:lnTo>
                      <a:lnTo>
                        <a:pt x="232166" y="289119"/>
                      </a:lnTo>
                      <a:lnTo>
                        <a:pt x="238345" y="286590"/>
                      </a:lnTo>
                      <a:lnTo>
                        <a:pt x="239081" y="277146"/>
                      </a:lnTo>
                      <a:lnTo>
                        <a:pt x="244140" y="276442"/>
                      </a:lnTo>
                      <a:lnTo>
                        <a:pt x="247053" y="253200"/>
                      </a:lnTo>
                      <a:lnTo>
                        <a:pt x="259026" y="252111"/>
                      </a:lnTo>
                      <a:lnTo>
                        <a:pt x="264821" y="245228"/>
                      </a:lnTo>
                      <a:lnTo>
                        <a:pt x="262291" y="232550"/>
                      </a:lnTo>
                      <a:lnTo>
                        <a:pt x="270999" y="233254"/>
                      </a:lnTo>
                      <a:lnTo>
                        <a:pt x="277882" y="241226"/>
                      </a:lnTo>
                      <a:lnTo>
                        <a:pt x="274617" y="250670"/>
                      </a:lnTo>
                      <a:lnTo>
                        <a:pt x="281148" y="263380"/>
                      </a:lnTo>
                      <a:lnTo>
                        <a:pt x="288031" y="266997"/>
                      </a:lnTo>
                      <a:lnTo>
                        <a:pt x="294946" y="260114"/>
                      </a:lnTo>
                      <a:lnTo>
                        <a:pt x="301093" y="272088"/>
                      </a:lnTo>
                      <a:lnTo>
                        <a:pt x="287327" y="290944"/>
                      </a:lnTo>
                      <a:lnTo>
                        <a:pt x="288031" y="306535"/>
                      </a:lnTo>
                      <a:lnTo>
                        <a:pt x="314154" y="315243"/>
                      </a:lnTo>
                      <a:lnTo>
                        <a:pt x="314154" y="321773"/>
                      </a:lnTo>
                      <a:lnTo>
                        <a:pt x="300388" y="336660"/>
                      </a:lnTo>
                      <a:lnTo>
                        <a:pt x="317420" y="341718"/>
                      </a:lnTo>
                      <a:lnTo>
                        <a:pt x="316683" y="348601"/>
                      </a:lnTo>
                      <a:lnTo>
                        <a:pt x="322510" y="356221"/>
                      </a:lnTo>
                      <a:lnTo>
                        <a:pt x="337365" y="361695"/>
                      </a:lnTo>
                      <a:lnTo>
                        <a:pt x="344280" y="358046"/>
                      </a:lnTo>
                      <a:lnTo>
                        <a:pt x="353692" y="369283"/>
                      </a:lnTo>
                      <a:lnTo>
                        <a:pt x="344984" y="389964"/>
                      </a:lnTo>
                      <a:lnTo>
                        <a:pt x="347545" y="394318"/>
                      </a:lnTo>
                      <a:lnTo>
                        <a:pt x="372548" y="388171"/>
                      </a:lnTo>
                      <a:lnTo>
                        <a:pt x="377638" y="381256"/>
                      </a:lnTo>
                      <a:lnTo>
                        <a:pt x="371844" y="360607"/>
                      </a:lnTo>
                      <a:lnTo>
                        <a:pt x="373284" y="346072"/>
                      </a:lnTo>
                      <a:lnTo>
                        <a:pt x="363840" y="343543"/>
                      </a:lnTo>
                      <a:lnTo>
                        <a:pt x="363136" y="338453"/>
                      </a:lnTo>
                      <a:lnTo>
                        <a:pt x="379463" y="317772"/>
                      </a:lnTo>
                      <a:lnTo>
                        <a:pt x="372548" y="295298"/>
                      </a:lnTo>
                      <a:lnTo>
                        <a:pt x="390700" y="292769"/>
                      </a:lnTo>
                      <a:lnTo>
                        <a:pt x="393229" y="300356"/>
                      </a:lnTo>
                      <a:lnTo>
                        <a:pt x="401937" y="302917"/>
                      </a:lnTo>
                      <a:lnTo>
                        <a:pt x="422618" y="298563"/>
                      </a:lnTo>
                      <a:lnTo>
                        <a:pt x="429501" y="309064"/>
                      </a:lnTo>
                      <a:lnTo>
                        <a:pt x="445828" y="309064"/>
                      </a:lnTo>
                      <a:lnTo>
                        <a:pt x="471600" y="299652"/>
                      </a:lnTo>
                      <a:lnTo>
                        <a:pt x="502429" y="275353"/>
                      </a:lnTo>
                      <a:lnTo>
                        <a:pt x="510401" y="265909"/>
                      </a:lnTo>
                      <a:lnTo>
                        <a:pt x="513666" y="246316"/>
                      </a:lnTo>
                      <a:lnTo>
                        <a:pt x="518756" y="239433"/>
                      </a:lnTo>
                      <a:lnTo>
                        <a:pt x="514403" y="206779"/>
                      </a:lnTo>
                      <a:lnTo>
                        <a:pt x="525639" y="191188"/>
                      </a:lnTo>
                      <a:lnTo>
                        <a:pt x="522374" y="185009"/>
                      </a:lnTo>
                      <a:lnTo>
                        <a:pt x="518020" y="183569"/>
                      </a:lnTo>
                      <a:lnTo>
                        <a:pt x="522374" y="170507"/>
                      </a:lnTo>
                      <a:lnTo>
                        <a:pt x="509312" y="165417"/>
                      </a:lnTo>
                      <a:lnTo>
                        <a:pt x="507519" y="160358"/>
                      </a:lnTo>
                      <a:lnTo>
                        <a:pt x="499164" y="154916"/>
                      </a:lnTo>
                      <a:lnTo>
                        <a:pt x="504254" y="142943"/>
                      </a:lnTo>
                      <a:lnTo>
                        <a:pt x="489720" y="125879"/>
                      </a:lnTo>
                      <a:lnTo>
                        <a:pt x="487927" y="110288"/>
                      </a:lnTo>
                      <a:lnTo>
                        <a:pt x="481012" y="97227"/>
                      </a:lnTo>
                      <a:lnTo>
                        <a:pt x="470511" y="94698"/>
                      </a:lnTo>
                      <a:lnTo>
                        <a:pt x="456713" y="102669"/>
                      </a:lnTo>
                      <a:lnTo>
                        <a:pt x="445828" y="117171"/>
                      </a:lnTo>
                      <a:lnTo>
                        <a:pt x="437857" y="107759"/>
                      </a:lnTo>
                      <a:lnTo>
                        <a:pt x="425884" y="105935"/>
                      </a:lnTo>
                      <a:lnTo>
                        <a:pt x="424059" y="111025"/>
                      </a:lnTo>
                      <a:lnTo>
                        <a:pt x="404498" y="122262"/>
                      </a:lnTo>
                      <a:lnTo>
                        <a:pt x="412117" y="130233"/>
                      </a:lnTo>
                      <a:lnTo>
                        <a:pt x="416471" y="144031"/>
                      </a:lnTo>
                      <a:lnTo>
                        <a:pt x="423354" y="146560"/>
                      </a:lnTo>
                      <a:lnTo>
                        <a:pt x="424059" y="154916"/>
                      </a:lnTo>
                      <a:lnTo>
                        <a:pt x="414647" y="158534"/>
                      </a:lnTo>
                      <a:lnTo>
                        <a:pt x="396495" y="173036"/>
                      </a:lnTo>
                      <a:lnTo>
                        <a:pt x="398319" y="181040"/>
                      </a:lnTo>
                      <a:lnTo>
                        <a:pt x="389612" y="187570"/>
                      </a:lnTo>
                      <a:lnTo>
                        <a:pt x="376902" y="186098"/>
                      </a:lnTo>
                      <a:lnTo>
                        <a:pt x="343191" y="204250"/>
                      </a:lnTo>
                      <a:lnTo>
                        <a:pt x="351163" y="209308"/>
                      </a:lnTo>
                      <a:lnTo>
                        <a:pt x="362400" y="235784"/>
                      </a:lnTo>
                      <a:lnTo>
                        <a:pt x="350074" y="241963"/>
                      </a:lnTo>
                      <a:lnTo>
                        <a:pt x="339926" y="256465"/>
                      </a:lnTo>
                      <a:lnTo>
                        <a:pt x="337365" y="260819"/>
                      </a:lnTo>
                      <a:lnTo>
                        <a:pt x="328657" y="260819"/>
                      </a:lnTo>
                      <a:lnTo>
                        <a:pt x="326128" y="276442"/>
                      </a:lnTo>
                      <a:lnTo>
                        <a:pt x="322510" y="276442"/>
                      </a:lnTo>
                      <a:lnTo>
                        <a:pt x="307271" y="272088"/>
                      </a:lnTo>
                      <a:lnTo>
                        <a:pt x="298563" y="250670"/>
                      </a:lnTo>
                      <a:lnTo>
                        <a:pt x="294210" y="248141"/>
                      </a:lnTo>
                      <a:lnTo>
                        <a:pt x="287327" y="251407"/>
                      </a:lnTo>
                      <a:lnTo>
                        <a:pt x="270263" y="220577"/>
                      </a:lnTo>
                      <a:lnTo>
                        <a:pt x="264084" y="223842"/>
                      </a:lnTo>
                      <a:lnTo>
                        <a:pt x="259026" y="218016"/>
                      </a:lnTo>
                      <a:lnTo>
                        <a:pt x="251023" y="228196"/>
                      </a:lnTo>
                      <a:lnTo>
                        <a:pt x="247053" y="226372"/>
                      </a:lnTo>
                      <a:lnTo>
                        <a:pt x="233255" y="225635"/>
                      </a:lnTo>
                      <a:lnTo>
                        <a:pt x="226372" y="236872"/>
                      </a:lnTo>
                      <a:lnTo>
                        <a:pt x="212574" y="238345"/>
                      </a:lnTo>
                      <a:lnTo>
                        <a:pt x="211485" y="216223"/>
                      </a:lnTo>
                      <a:lnTo>
                        <a:pt x="193365" y="195542"/>
                      </a:lnTo>
                      <a:lnTo>
                        <a:pt x="187539" y="177390"/>
                      </a:lnTo>
                      <a:lnTo>
                        <a:pt x="173036" y="167978"/>
                      </a:lnTo>
                      <a:lnTo>
                        <a:pt x="163240" y="153444"/>
                      </a:lnTo>
                      <a:lnTo>
                        <a:pt x="150562" y="151651"/>
                      </a:lnTo>
                      <a:lnTo>
                        <a:pt x="140030" y="165417"/>
                      </a:lnTo>
                      <a:lnTo>
                        <a:pt x="107375" y="179215"/>
                      </a:lnTo>
                      <a:lnTo>
                        <a:pt x="95402" y="194454"/>
                      </a:lnTo>
                      <a:lnTo>
                        <a:pt x="83429" y="189363"/>
                      </a:lnTo>
                      <a:lnTo>
                        <a:pt x="82340" y="179215"/>
                      </a:lnTo>
                      <a:lnTo>
                        <a:pt x="116083" y="167242"/>
                      </a:lnTo>
                      <a:lnTo>
                        <a:pt x="122262" y="165417"/>
                      </a:lnTo>
                      <a:lnTo>
                        <a:pt x="148738" y="144031"/>
                      </a:lnTo>
                      <a:lnTo>
                        <a:pt x="164328" y="147297"/>
                      </a:lnTo>
                      <a:lnTo>
                        <a:pt x="171243" y="153444"/>
                      </a:lnTo>
                      <a:lnTo>
                        <a:pt x="182480" y="149090"/>
                      </a:lnTo>
                      <a:lnTo>
                        <a:pt x="188275" y="156709"/>
                      </a:lnTo>
                      <a:lnTo>
                        <a:pt x="190100" y="150914"/>
                      </a:lnTo>
                      <a:lnTo>
                        <a:pt x="185746" y="147297"/>
                      </a:lnTo>
                      <a:lnTo>
                        <a:pt x="197719" y="140382"/>
                      </a:lnTo>
                      <a:lnTo>
                        <a:pt x="187539" y="130970"/>
                      </a:lnTo>
                      <a:lnTo>
                        <a:pt x="205691" y="124086"/>
                      </a:lnTo>
                      <a:lnTo>
                        <a:pt x="198808" y="115379"/>
                      </a:lnTo>
                      <a:lnTo>
                        <a:pt x="216928" y="96490"/>
                      </a:lnTo>
                      <a:lnTo>
                        <a:pt x="214046" y="85254"/>
                      </a:lnTo>
                      <a:lnTo>
                        <a:pt x="231462" y="77634"/>
                      </a:lnTo>
                      <a:lnTo>
                        <a:pt x="234727" y="66397"/>
                      </a:lnTo>
                      <a:lnTo>
                        <a:pt x="244140" y="60218"/>
                      </a:lnTo>
                      <a:lnTo>
                        <a:pt x="242699" y="47541"/>
                      </a:lnTo>
                      <a:lnTo>
                        <a:pt x="252847" y="29389"/>
                      </a:lnTo>
                      <a:lnTo>
                        <a:pt x="247757" y="15623"/>
                      </a:lnTo>
                      <a:lnTo>
                        <a:pt x="255376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6" name="Forma Livre: Forma 295">
                  <a:extLst>
                    <a:ext uri="{FF2B5EF4-FFF2-40B4-BE49-F238E27FC236}">
                      <a16:creationId xmlns:a16="http://schemas.microsoft.com/office/drawing/2014/main" id="{EA44CC2A-07BD-5D1E-4ACC-00A69807AE36}"/>
                    </a:ext>
                  </a:extLst>
                </p:cNvPr>
                <p:cNvSpPr/>
                <p:nvPr/>
              </p:nvSpPr>
              <p:spPr>
                <a:xfrm>
                  <a:off x="1591272" y="5103690"/>
                  <a:ext cx="525639" cy="394317"/>
                </a:xfrm>
                <a:custGeom>
                  <a:avLst/>
                  <a:gdLst>
                    <a:gd name="csX0" fmla="*/ 255376 w 525639"/>
                    <a:gd name="csY0" fmla="*/ 0 h 394317"/>
                    <a:gd name="csX1" fmla="*/ 134971 w 525639"/>
                    <a:gd name="csY1" fmla="*/ 0 h 394317"/>
                    <a:gd name="csX2" fmla="*/ 134971 w 525639"/>
                    <a:gd name="csY2" fmla="*/ 9796 h 394317"/>
                    <a:gd name="csX3" fmla="*/ 131706 w 525639"/>
                    <a:gd name="csY3" fmla="*/ 8708 h 394317"/>
                    <a:gd name="csX4" fmla="*/ 123702 w 525639"/>
                    <a:gd name="csY4" fmla="*/ 23210 h 394317"/>
                    <a:gd name="csX5" fmla="*/ 125527 w 525639"/>
                    <a:gd name="csY5" fmla="*/ 28652 h 394317"/>
                    <a:gd name="csX6" fmla="*/ 122262 w 525639"/>
                    <a:gd name="csY6" fmla="*/ 30125 h 394317"/>
                    <a:gd name="csX7" fmla="*/ 116083 w 525639"/>
                    <a:gd name="csY7" fmla="*/ 67133 h 394317"/>
                    <a:gd name="csX8" fmla="*/ 111729 w 525639"/>
                    <a:gd name="csY8" fmla="*/ 70751 h 394317"/>
                    <a:gd name="csX9" fmla="*/ 109936 w 525639"/>
                    <a:gd name="csY9" fmla="*/ 75105 h 394317"/>
                    <a:gd name="csX10" fmla="*/ 107375 w 525639"/>
                    <a:gd name="csY10" fmla="*/ 86342 h 394317"/>
                    <a:gd name="csX11" fmla="*/ 105582 w 525639"/>
                    <a:gd name="csY11" fmla="*/ 94698 h 394317"/>
                    <a:gd name="csX12" fmla="*/ 107375 w 525639"/>
                    <a:gd name="csY12" fmla="*/ 108464 h 394317"/>
                    <a:gd name="csX13" fmla="*/ 101581 w 525639"/>
                    <a:gd name="csY13" fmla="*/ 116467 h 394317"/>
                    <a:gd name="csX14" fmla="*/ 81636 w 525639"/>
                    <a:gd name="csY14" fmla="*/ 118996 h 394317"/>
                    <a:gd name="csX15" fmla="*/ 74017 w 525639"/>
                    <a:gd name="csY15" fmla="*/ 123350 h 394317"/>
                    <a:gd name="csX16" fmla="*/ 68574 w 525639"/>
                    <a:gd name="csY16" fmla="*/ 133499 h 394317"/>
                    <a:gd name="csX17" fmla="*/ 53335 w 525639"/>
                    <a:gd name="csY17" fmla="*/ 137853 h 394317"/>
                    <a:gd name="csX18" fmla="*/ 48245 w 525639"/>
                    <a:gd name="csY18" fmla="*/ 138589 h 394317"/>
                    <a:gd name="csX19" fmla="*/ 43891 w 525639"/>
                    <a:gd name="csY19" fmla="*/ 149826 h 394317"/>
                    <a:gd name="csX20" fmla="*/ 32654 w 525639"/>
                    <a:gd name="csY20" fmla="*/ 157445 h 394317"/>
                    <a:gd name="csX21" fmla="*/ 30125 w 525639"/>
                    <a:gd name="csY21" fmla="*/ 163624 h 394317"/>
                    <a:gd name="csX22" fmla="*/ 22154 w 525639"/>
                    <a:gd name="csY22" fmla="*/ 159270 h 394317"/>
                    <a:gd name="csX23" fmla="*/ 13798 w 525639"/>
                    <a:gd name="csY23" fmla="*/ 163624 h 394317"/>
                    <a:gd name="csX24" fmla="*/ 19593 w 525639"/>
                    <a:gd name="csY24" fmla="*/ 168682 h 394317"/>
                    <a:gd name="csX25" fmla="*/ 18888 w 525639"/>
                    <a:gd name="csY25" fmla="*/ 178126 h 394317"/>
                    <a:gd name="csX26" fmla="*/ 8356 w 525639"/>
                    <a:gd name="csY26" fmla="*/ 187570 h 394317"/>
                    <a:gd name="csX27" fmla="*/ 8356 w 525639"/>
                    <a:gd name="csY27" fmla="*/ 198807 h 394317"/>
                    <a:gd name="csX28" fmla="*/ 0 w 525639"/>
                    <a:gd name="csY28" fmla="*/ 221281 h 394317"/>
                    <a:gd name="csX29" fmla="*/ 14534 w 525639"/>
                    <a:gd name="csY29" fmla="*/ 223842 h 394317"/>
                    <a:gd name="csX30" fmla="*/ 17064 w 525639"/>
                    <a:gd name="csY30" fmla="*/ 232550 h 394317"/>
                    <a:gd name="csX31" fmla="*/ 30125 w 525639"/>
                    <a:gd name="csY31" fmla="*/ 268438 h 394317"/>
                    <a:gd name="csX32" fmla="*/ 74017 w 525639"/>
                    <a:gd name="csY32" fmla="*/ 285854 h 394317"/>
                    <a:gd name="csX33" fmla="*/ 72928 w 525639"/>
                    <a:gd name="csY33" fmla="*/ 278971 h 394317"/>
                    <a:gd name="csX34" fmla="*/ 89255 w 525639"/>
                    <a:gd name="csY34" fmla="*/ 251407 h 394317"/>
                    <a:gd name="csX35" fmla="*/ 87783 w 525639"/>
                    <a:gd name="csY35" fmla="*/ 245228 h 394317"/>
                    <a:gd name="csX36" fmla="*/ 92873 w 525639"/>
                    <a:gd name="csY36" fmla="*/ 236872 h 394317"/>
                    <a:gd name="csX37" fmla="*/ 87783 w 525639"/>
                    <a:gd name="csY37" fmla="*/ 223842 h 394317"/>
                    <a:gd name="csX38" fmla="*/ 120437 w 525639"/>
                    <a:gd name="csY38" fmla="*/ 222018 h 394317"/>
                    <a:gd name="csX39" fmla="*/ 143647 w 525639"/>
                    <a:gd name="csY39" fmla="*/ 232550 h 394317"/>
                    <a:gd name="csX40" fmla="*/ 158182 w 525639"/>
                    <a:gd name="csY40" fmla="*/ 232550 h 394317"/>
                    <a:gd name="csX41" fmla="*/ 166889 w 525639"/>
                    <a:gd name="csY41" fmla="*/ 239433 h 394317"/>
                    <a:gd name="csX42" fmla="*/ 171243 w 525639"/>
                    <a:gd name="csY42" fmla="*/ 243787 h 394317"/>
                    <a:gd name="csX43" fmla="*/ 188275 w 525639"/>
                    <a:gd name="csY43" fmla="*/ 254672 h 394317"/>
                    <a:gd name="csX44" fmla="*/ 204602 w 525639"/>
                    <a:gd name="csY44" fmla="*/ 274617 h 394317"/>
                    <a:gd name="csX45" fmla="*/ 223843 w 525639"/>
                    <a:gd name="csY45" fmla="*/ 278234 h 394317"/>
                    <a:gd name="csX46" fmla="*/ 232166 w 525639"/>
                    <a:gd name="csY46" fmla="*/ 288415 h 394317"/>
                    <a:gd name="csX47" fmla="*/ 232166 w 525639"/>
                    <a:gd name="csY47" fmla="*/ 289119 h 394317"/>
                    <a:gd name="csX48" fmla="*/ 238345 w 525639"/>
                    <a:gd name="csY48" fmla="*/ 286590 h 394317"/>
                    <a:gd name="csX49" fmla="*/ 239081 w 525639"/>
                    <a:gd name="csY49" fmla="*/ 277146 h 394317"/>
                    <a:gd name="csX50" fmla="*/ 244140 w 525639"/>
                    <a:gd name="csY50" fmla="*/ 276442 h 394317"/>
                    <a:gd name="csX51" fmla="*/ 247053 w 525639"/>
                    <a:gd name="csY51" fmla="*/ 253200 h 394317"/>
                    <a:gd name="csX52" fmla="*/ 259026 w 525639"/>
                    <a:gd name="csY52" fmla="*/ 252111 h 394317"/>
                    <a:gd name="csX53" fmla="*/ 264821 w 525639"/>
                    <a:gd name="csY53" fmla="*/ 245228 h 394317"/>
                    <a:gd name="csX54" fmla="*/ 262291 w 525639"/>
                    <a:gd name="csY54" fmla="*/ 232550 h 394317"/>
                    <a:gd name="csX55" fmla="*/ 270999 w 525639"/>
                    <a:gd name="csY55" fmla="*/ 233254 h 394317"/>
                    <a:gd name="csX56" fmla="*/ 277882 w 525639"/>
                    <a:gd name="csY56" fmla="*/ 241226 h 394317"/>
                    <a:gd name="csX57" fmla="*/ 274617 w 525639"/>
                    <a:gd name="csY57" fmla="*/ 250670 h 394317"/>
                    <a:gd name="csX58" fmla="*/ 281148 w 525639"/>
                    <a:gd name="csY58" fmla="*/ 263380 h 394317"/>
                    <a:gd name="csX59" fmla="*/ 288031 w 525639"/>
                    <a:gd name="csY59" fmla="*/ 266997 h 394317"/>
                    <a:gd name="csX60" fmla="*/ 294946 w 525639"/>
                    <a:gd name="csY60" fmla="*/ 260114 h 394317"/>
                    <a:gd name="csX61" fmla="*/ 301093 w 525639"/>
                    <a:gd name="csY61" fmla="*/ 272088 h 394317"/>
                    <a:gd name="csX62" fmla="*/ 287327 w 525639"/>
                    <a:gd name="csY62" fmla="*/ 290944 h 394317"/>
                    <a:gd name="csX63" fmla="*/ 288031 w 525639"/>
                    <a:gd name="csY63" fmla="*/ 306535 h 394317"/>
                    <a:gd name="csX64" fmla="*/ 314154 w 525639"/>
                    <a:gd name="csY64" fmla="*/ 315243 h 394317"/>
                    <a:gd name="csX65" fmla="*/ 314154 w 525639"/>
                    <a:gd name="csY65" fmla="*/ 321773 h 394317"/>
                    <a:gd name="csX66" fmla="*/ 300388 w 525639"/>
                    <a:gd name="csY66" fmla="*/ 336660 h 394317"/>
                    <a:gd name="csX67" fmla="*/ 317420 w 525639"/>
                    <a:gd name="csY67" fmla="*/ 341718 h 394317"/>
                    <a:gd name="csX68" fmla="*/ 316683 w 525639"/>
                    <a:gd name="csY68" fmla="*/ 348601 h 394317"/>
                    <a:gd name="csX69" fmla="*/ 322510 w 525639"/>
                    <a:gd name="csY69" fmla="*/ 356221 h 394317"/>
                    <a:gd name="csX70" fmla="*/ 337365 w 525639"/>
                    <a:gd name="csY70" fmla="*/ 361695 h 394317"/>
                    <a:gd name="csX71" fmla="*/ 344280 w 525639"/>
                    <a:gd name="csY71" fmla="*/ 358046 h 394317"/>
                    <a:gd name="csX72" fmla="*/ 353692 w 525639"/>
                    <a:gd name="csY72" fmla="*/ 369283 h 394317"/>
                    <a:gd name="csX73" fmla="*/ 344984 w 525639"/>
                    <a:gd name="csY73" fmla="*/ 389964 h 394317"/>
                    <a:gd name="csX74" fmla="*/ 347545 w 525639"/>
                    <a:gd name="csY74" fmla="*/ 394318 h 394317"/>
                    <a:gd name="csX75" fmla="*/ 372548 w 525639"/>
                    <a:gd name="csY75" fmla="*/ 388171 h 394317"/>
                    <a:gd name="csX76" fmla="*/ 377638 w 525639"/>
                    <a:gd name="csY76" fmla="*/ 381256 h 394317"/>
                    <a:gd name="csX77" fmla="*/ 371844 w 525639"/>
                    <a:gd name="csY77" fmla="*/ 360607 h 394317"/>
                    <a:gd name="csX78" fmla="*/ 373284 w 525639"/>
                    <a:gd name="csY78" fmla="*/ 346072 h 394317"/>
                    <a:gd name="csX79" fmla="*/ 363840 w 525639"/>
                    <a:gd name="csY79" fmla="*/ 343543 h 394317"/>
                    <a:gd name="csX80" fmla="*/ 363136 w 525639"/>
                    <a:gd name="csY80" fmla="*/ 338453 h 394317"/>
                    <a:gd name="csX81" fmla="*/ 379463 w 525639"/>
                    <a:gd name="csY81" fmla="*/ 317772 h 394317"/>
                    <a:gd name="csX82" fmla="*/ 372548 w 525639"/>
                    <a:gd name="csY82" fmla="*/ 295298 h 394317"/>
                    <a:gd name="csX83" fmla="*/ 390700 w 525639"/>
                    <a:gd name="csY83" fmla="*/ 292769 h 394317"/>
                    <a:gd name="csX84" fmla="*/ 393229 w 525639"/>
                    <a:gd name="csY84" fmla="*/ 300356 h 394317"/>
                    <a:gd name="csX85" fmla="*/ 401937 w 525639"/>
                    <a:gd name="csY85" fmla="*/ 302917 h 394317"/>
                    <a:gd name="csX86" fmla="*/ 422618 w 525639"/>
                    <a:gd name="csY86" fmla="*/ 298563 h 394317"/>
                    <a:gd name="csX87" fmla="*/ 429501 w 525639"/>
                    <a:gd name="csY87" fmla="*/ 309064 h 394317"/>
                    <a:gd name="csX88" fmla="*/ 445828 w 525639"/>
                    <a:gd name="csY88" fmla="*/ 309064 h 394317"/>
                    <a:gd name="csX89" fmla="*/ 471600 w 525639"/>
                    <a:gd name="csY89" fmla="*/ 299652 h 394317"/>
                    <a:gd name="csX90" fmla="*/ 502429 w 525639"/>
                    <a:gd name="csY90" fmla="*/ 275353 h 394317"/>
                    <a:gd name="csX91" fmla="*/ 510401 w 525639"/>
                    <a:gd name="csY91" fmla="*/ 265909 h 394317"/>
                    <a:gd name="csX92" fmla="*/ 513666 w 525639"/>
                    <a:gd name="csY92" fmla="*/ 246316 h 394317"/>
                    <a:gd name="csX93" fmla="*/ 518756 w 525639"/>
                    <a:gd name="csY93" fmla="*/ 239433 h 394317"/>
                    <a:gd name="csX94" fmla="*/ 514403 w 525639"/>
                    <a:gd name="csY94" fmla="*/ 206779 h 394317"/>
                    <a:gd name="csX95" fmla="*/ 525639 w 525639"/>
                    <a:gd name="csY95" fmla="*/ 191188 h 394317"/>
                    <a:gd name="csX96" fmla="*/ 522374 w 525639"/>
                    <a:gd name="csY96" fmla="*/ 185009 h 394317"/>
                    <a:gd name="csX97" fmla="*/ 518020 w 525639"/>
                    <a:gd name="csY97" fmla="*/ 183569 h 394317"/>
                    <a:gd name="csX98" fmla="*/ 522374 w 525639"/>
                    <a:gd name="csY98" fmla="*/ 170507 h 394317"/>
                    <a:gd name="csX99" fmla="*/ 509312 w 525639"/>
                    <a:gd name="csY99" fmla="*/ 165417 h 394317"/>
                    <a:gd name="csX100" fmla="*/ 507519 w 525639"/>
                    <a:gd name="csY100" fmla="*/ 160358 h 394317"/>
                    <a:gd name="csX101" fmla="*/ 499164 w 525639"/>
                    <a:gd name="csY101" fmla="*/ 154916 h 394317"/>
                    <a:gd name="csX102" fmla="*/ 504254 w 525639"/>
                    <a:gd name="csY102" fmla="*/ 142943 h 394317"/>
                    <a:gd name="csX103" fmla="*/ 489720 w 525639"/>
                    <a:gd name="csY103" fmla="*/ 125879 h 394317"/>
                    <a:gd name="csX104" fmla="*/ 487927 w 525639"/>
                    <a:gd name="csY104" fmla="*/ 110288 h 394317"/>
                    <a:gd name="csX105" fmla="*/ 481012 w 525639"/>
                    <a:gd name="csY105" fmla="*/ 97227 h 394317"/>
                    <a:gd name="csX106" fmla="*/ 470511 w 525639"/>
                    <a:gd name="csY106" fmla="*/ 94698 h 394317"/>
                    <a:gd name="csX107" fmla="*/ 456713 w 525639"/>
                    <a:gd name="csY107" fmla="*/ 102669 h 394317"/>
                    <a:gd name="csX108" fmla="*/ 445828 w 525639"/>
                    <a:gd name="csY108" fmla="*/ 117171 h 394317"/>
                    <a:gd name="csX109" fmla="*/ 437857 w 525639"/>
                    <a:gd name="csY109" fmla="*/ 107759 h 394317"/>
                    <a:gd name="csX110" fmla="*/ 425884 w 525639"/>
                    <a:gd name="csY110" fmla="*/ 105935 h 394317"/>
                    <a:gd name="csX111" fmla="*/ 424059 w 525639"/>
                    <a:gd name="csY111" fmla="*/ 111025 h 394317"/>
                    <a:gd name="csX112" fmla="*/ 404498 w 525639"/>
                    <a:gd name="csY112" fmla="*/ 122262 h 394317"/>
                    <a:gd name="csX113" fmla="*/ 412117 w 525639"/>
                    <a:gd name="csY113" fmla="*/ 130233 h 394317"/>
                    <a:gd name="csX114" fmla="*/ 416471 w 525639"/>
                    <a:gd name="csY114" fmla="*/ 144031 h 394317"/>
                    <a:gd name="csX115" fmla="*/ 423354 w 525639"/>
                    <a:gd name="csY115" fmla="*/ 146560 h 394317"/>
                    <a:gd name="csX116" fmla="*/ 424059 w 525639"/>
                    <a:gd name="csY116" fmla="*/ 154916 h 394317"/>
                    <a:gd name="csX117" fmla="*/ 414647 w 525639"/>
                    <a:gd name="csY117" fmla="*/ 158534 h 394317"/>
                    <a:gd name="csX118" fmla="*/ 396495 w 525639"/>
                    <a:gd name="csY118" fmla="*/ 173036 h 394317"/>
                    <a:gd name="csX119" fmla="*/ 398319 w 525639"/>
                    <a:gd name="csY119" fmla="*/ 181040 h 394317"/>
                    <a:gd name="csX120" fmla="*/ 389612 w 525639"/>
                    <a:gd name="csY120" fmla="*/ 187570 h 394317"/>
                    <a:gd name="csX121" fmla="*/ 376902 w 525639"/>
                    <a:gd name="csY121" fmla="*/ 186098 h 394317"/>
                    <a:gd name="csX122" fmla="*/ 343191 w 525639"/>
                    <a:gd name="csY122" fmla="*/ 204250 h 394317"/>
                    <a:gd name="csX123" fmla="*/ 351163 w 525639"/>
                    <a:gd name="csY123" fmla="*/ 209308 h 394317"/>
                    <a:gd name="csX124" fmla="*/ 362400 w 525639"/>
                    <a:gd name="csY124" fmla="*/ 235784 h 394317"/>
                    <a:gd name="csX125" fmla="*/ 350074 w 525639"/>
                    <a:gd name="csY125" fmla="*/ 241963 h 394317"/>
                    <a:gd name="csX126" fmla="*/ 339926 w 525639"/>
                    <a:gd name="csY126" fmla="*/ 256465 h 394317"/>
                    <a:gd name="csX127" fmla="*/ 337365 w 525639"/>
                    <a:gd name="csY127" fmla="*/ 260819 h 394317"/>
                    <a:gd name="csX128" fmla="*/ 328657 w 525639"/>
                    <a:gd name="csY128" fmla="*/ 260819 h 394317"/>
                    <a:gd name="csX129" fmla="*/ 326128 w 525639"/>
                    <a:gd name="csY129" fmla="*/ 276442 h 394317"/>
                    <a:gd name="csX130" fmla="*/ 322510 w 525639"/>
                    <a:gd name="csY130" fmla="*/ 276442 h 394317"/>
                    <a:gd name="csX131" fmla="*/ 307271 w 525639"/>
                    <a:gd name="csY131" fmla="*/ 272088 h 394317"/>
                    <a:gd name="csX132" fmla="*/ 298563 w 525639"/>
                    <a:gd name="csY132" fmla="*/ 250670 h 394317"/>
                    <a:gd name="csX133" fmla="*/ 294210 w 525639"/>
                    <a:gd name="csY133" fmla="*/ 248141 h 394317"/>
                    <a:gd name="csX134" fmla="*/ 287327 w 525639"/>
                    <a:gd name="csY134" fmla="*/ 251407 h 394317"/>
                    <a:gd name="csX135" fmla="*/ 270263 w 525639"/>
                    <a:gd name="csY135" fmla="*/ 220577 h 394317"/>
                    <a:gd name="csX136" fmla="*/ 264084 w 525639"/>
                    <a:gd name="csY136" fmla="*/ 223842 h 394317"/>
                    <a:gd name="csX137" fmla="*/ 259026 w 525639"/>
                    <a:gd name="csY137" fmla="*/ 218016 h 394317"/>
                    <a:gd name="csX138" fmla="*/ 251023 w 525639"/>
                    <a:gd name="csY138" fmla="*/ 228196 h 394317"/>
                    <a:gd name="csX139" fmla="*/ 247053 w 525639"/>
                    <a:gd name="csY139" fmla="*/ 226372 h 394317"/>
                    <a:gd name="csX140" fmla="*/ 233255 w 525639"/>
                    <a:gd name="csY140" fmla="*/ 225635 h 394317"/>
                    <a:gd name="csX141" fmla="*/ 226372 w 525639"/>
                    <a:gd name="csY141" fmla="*/ 236872 h 394317"/>
                    <a:gd name="csX142" fmla="*/ 212574 w 525639"/>
                    <a:gd name="csY142" fmla="*/ 238345 h 394317"/>
                    <a:gd name="csX143" fmla="*/ 211485 w 525639"/>
                    <a:gd name="csY143" fmla="*/ 216223 h 394317"/>
                    <a:gd name="csX144" fmla="*/ 193365 w 525639"/>
                    <a:gd name="csY144" fmla="*/ 195542 h 394317"/>
                    <a:gd name="csX145" fmla="*/ 187539 w 525639"/>
                    <a:gd name="csY145" fmla="*/ 177390 h 394317"/>
                    <a:gd name="csX146" fmla="*/ 173036 w 525639"/>
                    <a:gd name="csY146" fmla="*/ 167978 h 394317"/>
                    <a:gd name="csX147" fmla="*/ 163240 w 525639"/>
                    <a:gd name="csY147" fmla="*/ 153444 h 394317"/>
                    <a:gd name="csX148" fmla="*/ 150562 w 525639"/>
                    <a:gd name="csY148" fmla="*/ 151651 h 394317"/>
                    <a:gd name="csX149" fmla="*/ 140030 w 525639"/>
                    <a:gd name="csY149" fmla="*/ 165417 h 394317"/>
                    <a:gd name="csX150" fmla="*/ 107375 w 525639"/>
                    <a:gd name="csY150" fmla="*/ 179215 h 394317"/>
                    <a:gd name="csX151" fmla="*/ 95402 w 525639"/>
                    <a:gd name="csY151" fmla="*/ 194454 h 394317"/>
                    <a:gd name="csX152" fmla="*/ 83429 w 525639"/>
                    <a:gd name="csY152" fmla="*/ 189363 h 394317"/>
                    <a:gd name="csX153" fmla="*/ 82340 w 525639"/>
                    <a:gd name="csY153" fmla="*/ 179215 h 394317"/>
                    <a:gd name="csX154" fmla="*/ 116083 w 525639"/>
                    <a:gd name="csY154" fmla="*/ 167242 h 394317"/>
                    <a:gd name="csX155" fmla="*/ 122262 w 525639"/>
                    <a:gd name="csY155" fmla="*/ 165417 h 394317"/>
                    <a:gd name="csX156" fmla="*/ 148738 w 525639"/>
                    <a:gd name="csY156" fmla="*/ 144031 h 394317"/>
                    <a:gd name="csX157" fmla="*/ 164328 w 525639"/>
                    <a:gd name="csY157" fmla="*/ 147297 h 394317"/>
                    <a:gd name="csX158" fmla="*/ 171243 w 525639"/>
                    <a:gd name="csY158" fmla="*/ 153444 h 394317"/>
                    <a:gd name="csX159" fmla="*/ 182480 w 525639"/>
                    <a:gd name="csY159" fmla="*/ 149090 h 394317"/>
                    <a:gd name="csX160" fmla="*/ 188275 w 525639"/>
                    <a:gd name="csY160" fmla="*/ 156709 h 394317"/>
                    <a:gd name="csX161" fmla="*/ 190100 w 525639"/>
                    <a:gd name="csY161" fmla="*/ 150914 h 394317"/>
                    <a:gd name="csX162" fmla="*/ 185746 w 525639"/>
                    <a:gd name="csY162" fmla="*/ 147297 h 394317"/>
                    <a:gd name="csX163" fmla="*/ 197719 w 525639"/>
                    <a:gd name="csY163" fmla="*/ 140382 h 394317"/>
                    <a:gd name="csX164" fmla="*/ 187539 w 525639"/>
                    <a:gd name="csY164" fmla="*/ 130970 h 394317"/>
                    <a:gd name="csX165" fmla="*/ 205691 w 525639"/>
                    <a:gd name="csY165" fmla="*/ 124086 h 394317"/>
                    <a:gd name="csX166" fmla="*/ 198808 w 525639"/>
                    <a:gd name="csY166" fmla="*/ 115379 h 394317"/>
                    <a:gd name="csX167" fmla="*/ 216928 w 525639"/>
                    <a:gd name="csY167" fmla="*/ 96490 h 394317"/>
                    <a:gd name="csX168" fmla="*/ 214046 w 525639"/>
                    <a:gd name="csY168" fmla="*/ 85254 h 394317"/>
                    <a:gd name="csX169" fmla="*/ 231462 w 525639"/>
                    <a:gd name="csY169" fmla="*/ 77634 h 394317"/>
                    <a:gd name="csX170" fmla="*/ 234727 w 525639"/>
                    <a:gd name="csY170" fmla="*/ 66397 h 394317"/>
                    <a:gd name="csX171" fmla="*/ 244140 w 525639"/>
                    <a:gd name="csY171" fmla="*/ 60218 h 394317"/>
                    <a:gd name="csX172" fmla="*/ 242699 w 525639"/>
                    <a:gd name="csY172" fmla="*/ 47541 h 394317"/>
                    <a:gd name="csX173" fmla="*/ 252847 w 525639"/>
                    <a:gd name="csY173" fmla="*/ 29389 h 394317"/>
                    <a:gd name="csX174" fmla="*/ 247757 w 525639"/>
                    <a:gd name="csY174" fmla="*/ 15623 h 394317"/>
                    <a:gd name="csX175" fmla="*/ 255376 w 525639"/>
                    <a:gd name="csY175" fmla="*/ 0 h 39431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</a:cxnLst>
                  <a:rect l="l" t="t" r="r" b="b"/>
                  <a:pathLst>
                    <a:path w="525639" h="394317">
                      <a:moveTo>
                        <a:pt x="255376" y="0"/>
                      </a:moveTo>
                      <a:lnTo>
                        <a:pt x="134971" y="0"/>
                      </a:lnTo>
                      <a:lnTo>
                        <a:pt x="134971" y="9796"/>
                      </a:lnTo>
                      <a:lnTo>
                        <a:pt x="131706" y="8708"/>
                      </a:lnTo>
                      <a:lnTo>
                        <a:pt x="123702" y="23210"/>
                      </a:lnTo>
                      <a:lnTo>
                        <a:pt x="125527" y="28652"/>
                      </a:lnTo>
                      <a:lnTo>
                        <a:pt x="122262" y="30125"/>
                      </a:lnTo>
                      <a:lnTo>
                        <a:pt x="116083" y="67133"/>
                      </a:lnTo>
                      <a:lnTo>
                        <a:pt x="111729" y="70751"/>
                      </a:lnTo>
                      <a:lnTo>
                        <a:pt x="109936" y="75105"/>
                      </a:lnTo>
                      <a:lnTo>
                        <a:pt x="107375" y="86342"/>
                      </a:lnTo>
                      <a:lnTo>
                        <a:pt x="105582" y="94698"/>
                      </a:lnTo>
                      <a:lnTo>
                        <a:pt x="107375" y="108464"/>
                      </a:lnTo>
                      <a:lnTo>
                        <a:pt x="101581" y="116467"/>
                      </a:lnTo>
                      <a:lnTo>
                        <a:pt x="81636" y="118996"/>
                      </a:lnTo>
                      <a:lnTo>
                        <a:pt x="74017" y="123350"/>
                      </a:lnTo>
                      <a:lnTo>
                        <a:pt x="68574" y="133499"/>
                      </a:lnTo>
                      <a:lnTo>
                        <a:pt x="53335" y="137853"/>
                      </a:lnTo>
                      <a:lnTo>
                        <a:pt x="48245" y="138589"/>
                      </a:lnTo>
                      <a:lnTo>
                        <a:pt x="43891" y="149826"/>
                      </a:lnTo>
                      <a:lnTo>
                        <a:pt x="32654" y="157445"/>
                      </a:lnTo>
                      <a:lnTo>
                        <a:pt x="30125" y="163624"/>
                      </a:lnTo>
                      <a:lnTo>
                        <a:pt x="22154" y="159270"/>
                      </a:lnTo>
                      <a:lnTo>
                        <a:pt x="13798" y="163624"/>
                      </a:lnTo>
                      <a:lnTo>
                        <a:pt x="19593" y="168682"/>
                      </a:lnTo>
                      <a:lnTo>
                        <a:pt x="18888" y="178126"/>
                      </a:lnTo>
                      <a:lnTo>
                        <a:pt x="8356" y="187570"/>
                      </a:lnTo>
                      <a:lnTo>
                        <a:pt x="8356" y="198807"/>
                      </a:lnTo>
                      <a:lnTo>
                        <a:pt x="0" y="221281"/>
                      </a:lnTo>
                      <a:lnTo>
                        <a:pt x="14534" y="223842"/>
                      </a:lnTo>
                      <a:lnTo>
                        <a:pt x="17064" y="232550"/>
                      </a:lnTo>
                      <a:lnTo>
                        <a:pt x="30125" y="268438"/>
                      </a:lnTo>
                      <a:lnTo>
                        <a:pt x="74017" y="285854"/>
                      </a:lnTo>
                      <a:lnTo>
                        <a:pt x="72928" y="278971"/>
                      </a:lnTo>
                      <a:lnTo>
                        <a:pt x="89255" y="251407"/>
                      </a:lnTo>
                      <a:lnTo>
                        <a:pt x="87783" y="245228"/>
                      </a:lnTo>
                      <a:lnTo>
                        <a:pt x="92873" y="236872"/>
                      </a:lnTo>
                      <a:lnTo>
                        <a:pt x="87783" y="223842"/>
                      </a:lnTo>
                      <a:lnTo>
                        <a:pt x="120437" y="222018"/>
                      </a:lnTo>
                      <a:lnTo>
                        <a:pt x="143647" y="232550"/>
                      </a:lnTo>
                      <a:lnTo>
                        <a:pt x="158182" y="232550"/>
                      </a:lnTo>
                      <a:lnTo>
                        <a:pt x="166889" y="239433"/>
                      </a:lnTo>
                      <a:lnTo>
                        <a:pt x="171243" y="243787"/>
                      </a:lnTo>
                      <a:lnTo>
                        <a:pt x="188275" y="254672"/>
                      </a:lnTo>
                      <a:lnTo>
                        <a:pt x="204602" y="274617"/>
                      </a:lnTo>
                      <a:lnTo>
                        <a:pt x="223843" y="278234"/>
                      </a:lnTo>
                      <a:lnTo>
                        <a:pt x="232166" y="288415"/>
                      </a:lnTo>
                      <a:lnTo>
                        <a:pt x="232166" y="289119"/>
                      </a:lnTo>
                      <a:lnTo>
                        <a:pt x="238345" y="286590"/>
                      </a:lnTo>
                      <a:lnTo>
                        <a:pt x="239081" y="277146"/>
                      </a:lnTo>
                      <a:lnTo>
                        <a:pt x="244140" y="276442"/>
                      </a:lnTo>
                      <a:lnTo>
                        <a:pt x="247053" y="253200"/>
                      </a:lnTo>
                      <a:lnTo>
                        <a:pt x="259026" y="252111"/>
                      </a:lnTo>
                      <a:lnTo>
                        <a:pt x="264821" y="245228"/>
                      </a:lnTo>
                      <a:lnTo>
                        <a:pt x="262291" y="232550"/>
                      </a:lnTo>
                      <a:lnTo>
                        <a:pt x="270999" y="233254"/>
                      </a:lnTo>
                      <a:lnTo>
                        <a:pt x="277882" y="241226"/>
                      </a:lnTo>
                      <a:lnTo>
                        <a:pt x="274617" y="250670"/>
                      </a:lnTo>
                      <a:lnTo>
                        <a:pt x="281148" y="263380"/>
                      </a:lnTo>
                      <a:lnTo>
                        <a:pt x="288031" y="266997"/>
                      </a:lnTo>
                      <a:lnTo>
                        <a:pt x="294946" y="260114"/>
                      </a:lnTo>
                      <a:lnTo>
                        <a:pt x="301093" y="272088"/>
                      </a:lnTo>
                      <a:lnTo>
                        <a:pt x="287327" y="290944"/>
                      </a:lnTo>
                      <a:lnTo>
                        <a:pt x="288031" y="306535"/>
                      </a:lnTo>
                      <a:lnTo>
                        <a:pt x="314154" y="315243"/>
                      </a:lnTo>
                      <a:lnTo>
                        <a:pt x="314154" y="321773"/>
                      </a:lnTo>
                      <a:lnTo>
                        <a:pt x="300388" y="336660"/>
                      </a:lnTo>
                      <a:lnTo>
                        <a:pt x="317420" y="341718"/>
                      </a:lnTo>
                      <a:lnTo>
                        <a:pt x="316683" y="348601"/>
                      </a:lnTo>
                      <a:lnTo>
                        <a:pt x="322510" y="356221"/>
                      </a:lnTo>
                      <a:lnTo>
                        <a:pt x="337365" y="361695"/>
                      </a:lnTo>
                      <a:lnTo>
                        <a:pt x="344280" y="358046"/>
                      </a:lnTo>
                      <a:lnTo>
                        <a:pt x="353692" y="369283"/>
                      </a:lnTo>
                      <a:lnTo>
                        <a:pt x="344984" y="389964"/>
                      </a:lnTo>
                      <a:lnTo>
                        <a:pt x="347545" y="394318"/>
                      </a:lnTo>
                      <a:lnTo>
                        <a:pt x="372548" y="388171"/>
                      </a:lnTo>
                      <a:lnTo>
                        <a:pt x="377638" y="381256"/>
                      </a:lnTo>
                      <a:lnTo>
                        <a:pt x="371844" y="360607"/>
                      </a:lnTo>
                      <a:lnTo>
                        <a:pt x="373284" y="346072"/>
                      </a:lnTo>
                      <a:lnTo>
                        <a:pt x="363840" y="343543"/>
                      </a:lnTo>
                      <a:lnTo>
                        <a:pt x="363136" y="338453"/>
                      </a:lnTo>
                      <a:lnTo>
                        <a:pt x="379463" y="317772"/>
                      </a:lnTo>
                      <a:lnTo>
                        <a:pt x="372548" y="295298"/>
                      </a:lnTo>
                      <a:lnTo>
                        <a:pt x="390700" y="292769"/>
                      </a:lnTo>
                      <a:lnTo>
                        <a:pt x="393229" y="300356"/>
                      </a:lnTo>
                      <a:lnTo>
                        <a:pt x="401937" y="302917"/>
                      </a:lnTo>
                      <a:lnTo>
                        <a:pt x="422618" y="298563"/>
                      </a:lnTo>
                      <a:lnTo>
                        <a:pt x="429501" y="309064"/>
                      </a:lnTo>
                      <a:lnTo>
                        <a:pt x="445828" y="309064"/>
                      </a:lnTo>
                      <a:lnTo>
                        <a:pt x="471600" y="299652"/>
                      </a:lnTo>
                      <a:lnTo>
                        <a:pt x="502429" y="275353"/>
                      </a:lnTo>
                      <a:lnTo>
                        <a:pt x="510401" y="265909"/>
                      </a:lnTo>
                      <a:lnTo>
                        <a:pt x="513666" y="246316"/>
                      </a:lnTo>
                      <a:lnTo>
                        <a:pt x="518756" y="239433"/>
                      </a:lnTo>
                      <a:lnTo>
                        <a:pt x="514403" y="206779"/>
                      </a:lnTo>
                      <a:lnTo>
                        <a:pt x="525639" y="191188"/>
                      </a:lnTo>
                      <a:lnTo>
                        <a:pt x="522374" y="185009"/>
                      </a:lnTo>
                      <a:lnTo>
                        <a:pt x="518020" y="183569"/>
                      </a:lnTo>
                      <a:lnTo>
                        <a:pt x="522374" y="170507"/>
                      </a:lnTo>
                      <a:lnTo>
                        <a:pt x="509312" y="165417"/>
                      </a:lnTo>
                      <a:lnTo>
                        <a:pt x="507519" y="160358"/>
                      </a:lnTo>
                      <a:lnTo>
                        <a:pt x="499164" y="154916"/>
                      </a:lnTo>
                      <a:lnTo>
                        <a:pt x="504254" y="142943"/>
                      </a:lnTo>
                      <a:lnTo>
                        <a:pt x="489720" y="125879"/>
                      </a:lnTo>
                      <a:lnTo>
                        <a:pt x="487927" y="110288"/>
                      </a:lnTo>
                      <a:lnTo>
                        <a:pt x="481012" y="97227"/>
                      </a:lnTo>
                      <a:lnTo>
                        <a:pt x="470511" y="94698"/>
                      </a:lnTo>
                      <a:lnTo>
                        <a:pt x="456713" y="102669"/>
                      </a:lnTo>
                      <a:lnTo>
                        <a:pt x="445828" y="117171"/>
                      </a:lnTo>
                      <a:lnTo>
                        <a:pt x="437857" y="107759"/>
                      </a:lnTo>
                      <a:lnTo>
                        <a:pt x="425884" y="105935"/>
                      </a:lnTo>
                      <a:lnTo>
                        <a:pt x="424059" y="111025"/>
                      </a:lnTo>
                      <a:lnTo>
                        <a:pt x="404498" y="122262"/>
                      </a:lnTo>
                      <a:lnTo>
                        <a:pt x="412117" y="130233"/>
                      </a:lnTo>
                      <a:lnTo>
                        <a:pt x="416471" y="144031"/>
                      </a:lnTo>
                      <a:lnTo>
                        <a:pt x="423354" y="146560"/>
                      </a:lnTo>
                      <a:lnTo>
                        <a:pt x="424059" y="154916"/>
                      </a:lnTo>
                      <a:lnTo>
                        <a:pt x="414647" y="158534"/>
                      </a:lnTo>
                      <a:lnTo>
                        <a:pt x="396495" y="173036"/>
                      </a:lnTo>
                      <a:lnTo>
                        <a:pt x="398319" y="181040"/>
                      </a:lnTo>
                      <a:lnTo>
                        <a:pt x="389612" y="187570"/>
                      </a:lnTo>
                      <a:lnTo>
                        <a:pt x="376902" y="186098"/>
                      </a:lnTo>
                      <a:lnTo>
                        <a:pt x="343191" y="204250"/>
                      </a:lnTo>
                      <a:lnTo>
                        <a:pt x="351163" y="209308"/>
                      </a:lnTo>
                      <a:lnTo>
                        <a:pt x="362400" y="235784"/>
                      </a:lnTo>
                      <a:lnTo>
                        <a:pt x="350074" y="241963"/>
                      </a:lnTo>
                      <a:lnTo>
                        <a:pt x="339926" y="256465"/>
                      </a:lnTo>
                      <a:lnTo>
                        <a:pt x="337365" y="260819"/>
                      </a:lnTo>
                      <a:lnTo>
                        <a:pt x="328657" y="260819"/>
                      </a:lnTo>
                      <a:lnTo>
                        <a:pt x="326128" y="276442"/>
                      </a:lnTo>
                      <a:lnTo>
                        <a:pt x="322510" y="276442"/>
                      </a:lnTo>
                      <a:lnTo>
                        <a:pt x="307271" y="272088"/>
                      </a:lnTo>
                      <a:lnTo>
                        <a:pt x="298563" y="250670"/>
                      </a:lnTo>
                      <a:lnTo>
                        <a:pt x="294210" y="248141"/>
                      </a:lnTo>
                      <a:lnTo>
                        <a:pt x="287327" y="251407"/>
                      </a:lnTo>
                      <a:lnTo>
                        <a:pt x="270263" y="220577"/>
                      </a:lnTo>
                      <a:lnTo>
                        <a:pt x="264084" y="223842"/>
                      </a:lnTo>
                      <a:lnTo>
                        <a:pt x="259026" y="218016"/>
                      </a:lnTo>
                      <a:lnTo>
                        <a:pt x="251023" y="228196"/>
                      </a:lnTo>
                      <a:lnTo>
                        <a:pt x="247053" y="226372"/>
                      </a:lnTo>
                      <a:lnTo>
                        <a:pt x="233255" y="225635"/>
                      </a:lnTo>
                      <a:lnTo>
                        <a:pt x="226372" y="236872"/>
                      </a:lnTo>
                      <a:lnTo>
                        <a:pt x="212574" y="238345"/>
                      </a:lnTo>
                      <a:lnTo>
                        <a:pt x="211485" y="216223"/>
                      </a:lnTo>
                      <a:lnTo>
                        <a:pt x="193365" y="195542"/>
                      </a:lnTo>
                      <a:lnTo>
                        <a:pt x="187539" y="177390"/>
                      </a:lnTo>
                      <a:lnTo>
                        <a:pt x="173036" y="167978"/>
                      </a:lnTo>
                      <a:lnTo>
                        <a:pt x="163240" y="153444"/>
                      </a:lnTo>
                      <a:lnTo>
                        <a:pt x="150562" y="151651"/>
                      </a:lnTo>
                      <a:lnTo>
                        <a:pt x="140030" y="165417"/>
                      </a:lnTo>
                      <a:lnTo>
                        <a:pt x="107375" y="179215"/>
                      </a:lnTo>
                      <a:lnTo>
                        <a:pt x="95402" y="194454"/>
                      </a:lnTo>
                      <a:lnTo>
                        <a:pt x="83429" y="189363"/>
                      </a:lnTo>
                      <a:lnTo>
                        <a:pt x="82340" y="179215"/>
                      </a:lnTo>
                      <a:lnTo>
                        <a:pt x="116083" y="167242"/>
                      </a:lnTo>
                      <a:lnTo>
                        <a:pt x="122262" y="165417"/>
                      </a:lnTo>
                      <a:lnTo>
                        <a:pt x="148738" y="144031"/>
                      </a:lnTo>
                      <a:lnTo>
                        <a:pt x="164328" y="147297"/>
                      </a:lnTo>
                      <a:lnTo>
                        <a:pt x="171243" y="153444"/>
                      </a:lnTo>
                      <a:lnTo>
                        <a:pt x="182480" y="149090"/>
                      </a:lnTo>
                      <a:lnTo>
                        <a:pt x="188275" y="156709"/>
                      </a:lnTo>
                      <a:lnTo>
                        <a:pt x="190100" y="150914"/>
                      </a:lnTo>
                      <a:lnTo>
                        <a:pt x="185746" y="147297"/>
                      </a:lnTo>
                      <a:lnTo>
                        <a:pt x="197719" y="140382"/>
                      </a:lnTo>
                      <a:lnTo>
                        <a:pt x="187539" y="130970"/>
                      </a:lnTo>
                      <a:lnTo>
                        <a:pt x="205691" y="124086"/>
                      </a:lnTo>
                      <a:lnTo>
                        <a:pt x="198808" y="115379"/>
                      </a:lnTo>
                      <a:lnTo>
                        <a:pt x="216928" y="96490"/>
                      </a:lnTo>
                      <a:lnTo>
                        <a:pt x="214046" y="85254"/>
                      </a:lnTo>
                      <a:lnTo>
                        <a:pt x="231462" y="77634"/>
                      </a:lnTo>
                      <a:lnTo>
                        <a:pt x="234727" y="66397"/>
                      </a:lnTo>
                      <a:lnTo>
                        <a:pt x="244140" y="60218"/>
                      </a:lnTo>
                      <a:lnTo>
                        <a:pt x="242699" y="47541"/>
                      </a:lnTo>
                      <a:lnTo>
                        <a:pt x="252847" y="29389"/>
                      </a:lnTo>
                      <a:lnTo>
                        <a:pt x="247757" y="15623"/>
                      </a:lnTo>
                      <a:lnTo>
                        <a:pt x="255376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7" name="Forma Livre: Forma 296">
                  <a:extLst>
                    <a:ext uri="{FF2B5EF4-FFF2-40B4-BE49-F238E27FC236}">
                      <a16:creationId xmlns:a16="http://schemas.microsoft.com/office/drawing/2014/main" id="{B61D5360-22FC-A9C9-E9E0-5849F7BEE740}"/>
                    </a:ext>
                  </a:extLst>
                </p:cNvPr>
                <p:cNvSpPr/>
                <p:nvPr/>
              </p:nvSpPr>
              <p:spPr>
                <a:xfrm>
                  <a:off x="1591272" y="5103690"/>
                  <a:ext cx="525639" cy="394317"/>
                </a:xfrm>
                <a:custGeom>
                  <a:avLst/>
                  <a:gdLst>
                    <a:gd name="csX0" fmla="*/ 255376 w 525639"/>
                    <a:gd name="csY0" fmla="*/ 0 h 394317"/>
                    <a:gd name="csX1" fmla="*/ 134971 w 525639"/>
                    <a:gd name="csY1" fmla="*/ 0 h 394317"/>
                    <a:gd name="csX2" fmla="*/ 134971 w 525639"/>
                    <a:gd name="csY2" fmla="*/ 9796 h 394317"/>
                    <a:gd name="csX3" fmla="*/ 131706 w 525639"/>
                    <a:gd name="csY3" fmla="*/ 8708 h 394317"/>
                    <a:gd name="csX4" fmla="*/ 123702 w 525639"/>
                    <a:gd name="csY4" fmla="*/ 23210 h 394317"/>
                    <a:gd name="csX5" fmla="*/ 125527 w 525639"/>
                    <a:gd name="csY5" fmla="*/ 28652 h 394317"/>
                    <a:gd name="csX6" fmla="*/ 122262 w 525639"/>
                    <a:gd name="csY6" fmla="*/ 30125 h 394317"/>
                    <a:gd name="csX7" fmla="*/ 116083 w 525639"/>
                    <a:gd name="csY7" fmla="*/ 67133 h 394317"/>
                    <a:gd name="csX8" fmla="*/ 111729 w 525639"/>
                    <a:gd name="csY8" fmla="*/ 70751 h 394317"/>
                    <a:gd name="csX9" fmla="*/ 109936 w 525639"/>
                    <a:gd name="csY9" fmla="*/ 75105 h 394317"/>
                    <a:gd name="csX10" fmla="*/ 107375 w 525639"/>
                    <a:gd name="csY10" fmla="*/ 86342 h 394317"/>
                    <a:gd name="csX11" fmla="*/ 105582 w 525639"/>
                    <a:gd name="csY11" fmla="*/ 94698 h 394317"/>
                    <a:gd name="csX12" fmla="*/ 107375 w 525639"/>
                    <a:gd name="csY12" fmla="*/ 108464 h 394317"/>
                    <a:gd name="csX13" fmla="*/ 101581 w 525639"/>
                    <a:gd name="csY13" fmla="*/ 116467 h 394317"/>
                    <a:gd name="csX14" fmla="*/ 81636 w 525639"/>
                    <a:gd name="csY14" fmla="*/ 118996 h 394317"/>
                    <a:gd name="csX15" fmla="*/ 74017 w 525639"/>
                    <a:gd name="csY15" fmla="*/ 123350 h 394317"/>
                    <a:gd name="csX16" fmla="*/ 68574 w 525639"/>
                    <a:gd name="csY16" fmla="*/ 133499 h 394317"/>
                    <a:gd name="csX17" fmla="*/ 53335 w 525639"/>
                    <a:gd name="csY17" fmla="*/ 137853 h 394317"/>
                    <a:gd name="csX18" fmla="*/ 48245 w 525639"/>
                    <a:gd name="csY18" fmla="*/ 138589 h 394317"/>
                    <a:gd name="csX19" fmla="*/ 43891 w 525639"/>
                    <a:gd name="csY19" fmla="*/ 149826 h 394317"/>
                    <a:gd name="csX20" fmla="*/ 32654 w 525639"/>
                    <a:gd name="csY20" fmla="*/ 157445 h 394317"/>
                    <a:gd name="csX21" fmla="*/ 30125 w 525639"/>
                    <a:gd name="csY21" fmla="*/ 163624 h 394317"/>
                    <a:gd name="csX22" fmla="*/ 22154 w 525639"/>
                    <a:gd name="csY22" fmla="*/ 159270 h 394317"/>
                    <a:gd name="csX23" fmla="*/ 13798 w 525639"/>
                    <a:gd name="csY23" fmla="*/ 163624 h 394317"/>
                    <a:gd name="csX24" fmla="*/ 19593 w 525639"/>
                    <a:gd name="csY24" fmla="*/ 168682 h 394317"/>
                    <a:gd name="csX25" fmla="*/ 18888 w 525639"/>
                    <a:gd name="csY25" fmla="*/ 178126 h 394317"/>
                    <a:gd name="csX26" fmla="*/ 8356 w 525639"/>
                    <a:gd name="csY26" fmla="*/ 187570 h 394317"/>
                    <a:gd name="csX27" fmla="*/ 8356 w 525639"/>
                    <a:gd name="csY27" fmla="*/ 198807 h 394317"/>
                    <a:gd name="csX28" fmla="*/ 0 w 525639"/>
                    <a:gd name="csY28" fmla="*/ 221281 h 394317"/>
                    <a:gd name="csX29" fmla="*/ 14534 w 525639"/>
                    <a:gd name="csY29" fmla="*/ 223842 h 394317"/>
                    <a:gd name="csX30" fmla="*/ 17064 w 525639"/>
                    <a:gd name="csY30" fmla="*/ 232550 h 394317"/>
                    <a:gd name="csX31" fmla="*/ 30125 w 525639"/>
                    <a:gd name="csY31" fmla="*/ 268438 h 394317"/>
                    <a:gd name="csX32" fmla="*/ 74017 w 525639"/>
                    <a:gd name="csY32" fmla="*/ 285854 h 394317"/>
                    <a:gd name="csX33" fmla="*/ 72928 w 525639"/>
                    <a:gd name="csY33" fmla="*/ 278971 h 394317"/>
                    <a:gd name="csX34" fmla="*/ 89255 w 525639"/>
                    <a:gd name="csY34" fmla="*/ 251407 h 394317"/>
                    <a:gd name="csX35" fmla="*/ 87783 w 525639"/>
                    <a:gd name="csY35" fmla="*/ 245228 h 394317"/>
                    <a:gd name="csX36" fmla="*/ 92873 w 525639"/>
                    <a:gd name="csY36" fmla="*/ 236872 h 394317"/>
                    <a:gd name="csX37" fmla="*/ 87783 w 525639"/>
                    <a:gd name="csY37" fmla="*/ 223842 h 394317"/>
                    <a:gd name="csX38" fmla="*/ 120437 w 525639"/>
                    <a:gd name="csY38" fmla="*/ 222018 h 394317"/>
                    <a:gd name="csX39" fmla="*/ 143647 w 525639"/>
                    <a:gd name="csY39" fmla="*/ 232550 h 394317"/>
                    <a:gd name="csX40" fmla="*/ 158182 w 525639"/>
                    <a:gd name="csY40" fmla="*/ 232550 h 394317"/>
                    <a:gd name="csX41" fmla="*/ 166889 w 525639"/>
                    <a:gd name="csY41" fmla="*/ 239433 h 394317"/>
                    <a:gd name="csX42" fmla="*/ 171243 w 525639"/>
                    <a:gd name="csY42" fmla="*/ 243787 h 394317"/>
                    <a:gd name="csX43" fmla="*/ 188275 w 525639"/>
                    <a:gd name="csY43" fmla="*/ 254672 h 394317"/>
                    <a:gd name="csX44" fmla="*/ 204602 w 525639"/>
                    <a:gd name="csY44" fmla="*/ 274617 h 394317"/>
                    <a:gd name="csX45" fmla="*/ 223843 w 525639"/>
                    <a:gd name="csY45" fmla="*/ 278234 h 394317"/>
                    <a:gd name="csX46" fmla="*/ 232166 w 525639"/>
                    <a:gd name="csY46" fmla="*/ 288415 h 394317"/>
                    <a:gd name="csX47" fmla="*/ 232166 w 525639"/>
                    <a:gd name="csY47" fmla="*/ 289119 h 394317"/>
                    <a:gd name="csX48" fmla="*/ 238345 w 525639"/>
                    <a:gd name="csY48" fmla="*/ 286590 h 394317"/>
                    <a:gd name="csX49" fmla="*/ 239081 w 525639"/>
                    <a:gd name="csY49" fmla="*/ 277146 h 394317"/>
                    <a:gd name="csX50" fmla="*/ 244140 w 525639"/>
                    <a:gd name="csY50" fmla="*/ 276442 h 394317"/>
                    <a:gd name="csX51" fmla="*/ 247053 w 525639"/>
                    <a:gd name="csY51" fmla="*/ 253200 h 394317"/>
                    <a:gd name="csX52" fmla="*/ 259026 w 525639"/>
                    <a:gd name="csY52" fmla="*/ 252111 h 394317"/>
                    <a:gd name="csX53" fmla="*/ 264821 w 525639"/>
                    <a:gd name="csY53" fmla="*/ 245228 h 394317"/>
                    <a:gd name="csX54" fmla="*/ 262291 w 525639"/>
                    <a:gd name="csY54" fmla="*/ 232550 h 394317"/>
                    <a:gd name="csX55" fmla="*/ 270999 w 525639"/>
                    <a:gd name="csY55" fmla="*/ 233254 h 394317"/>
                    <a:gd name="csX56" fmla="*/ 277882 w 525639"/>
                    <a:gd name="csY56" fmla="*/ 241226 h 394317"/>
                    <a:gd name="csX57" fmla="*/ 274617 w 525639"/>
                    <a:gd name="csY57" fmla="*/ 250670 h 394317"/>
                    <a:gd name="csX58" fmla="*/ 281148 w 525639"/>
                    <a:gd name="csY58" fmla="*/ 263380 h 394317"/>
                    <a:gd name="csX59" fmla="*/ 288031 w 525639"/>
                    <a:gd name="csY59" fmla="*/ 266997 h 394317"/>
                    <a:gd name="csX60" fmla="*/ 294946 w 525639"/>
                    <a:gd name="csY60" fmla="*/ 260114 h 394317"/>
                    <a:gd name="csX61" fmla="*/ 301093 w 525639"/>
                    <a:gd name="csY61" fmla="*/ 272088 h 394317"/>
                    <a:gd name="csX62" fmla="*/ 287327 w 525639"/>
                    <a:gd name="csY62" fmla="*/ 290944 h 394317"/>
                    <a:gd name="csX63" fmla="*/ 288031 w 525639"/>
                    <a:gd name="csY63" fmla="*/ 306535 h 394317"/>
                    <a:gd name="csX64" fmla="*/ 314154 w 525639"/>
                    <a:gd name="csY64" fmla="*/ 315243 h 394317"/>
                    <a:gd name="csX65" fmla="*/ 314154 w 525639"/>
                    <a:gd name="csY65" fmla="*/ 321773 h 394317"/>
                    <a:gd name="csX66" fmla="*/ 300388 w 525639"/>
                    <a:gd name="csY66" fmla="*/ 336660 h 394317"/>
                    <a:gd name="csX67" fmla="*/ 317420 w 525639"/>
                    <a:gd name="csY67" fmla="*/ 341718 h 394317"/>
                    <a:gd name="csX68" fmla="*/ 316683 w 525639"/>
                    <a:gd name="csY68" fmla="*/ 348601 h 394317"/>
                    <a:gd name="csX69" fmla="*/ 322510 w 525639"/>
                    <a:gd name="csY69" fmla="*/ 356221 h 394317"/>
                    <a:gd name="csX70" fmla="*/ 337365 w 525639"/>
                    <a:gd name="csY70" fmla="*/ 361695 h 394317"/>
                    <a:gd name="csX71" fmla="*/ 344280 w 525639"/>
                    <a:gd name="csY71" fmla="*/ 358046 h 394317"/>
                    <a:gd name="csX72" fmla="*/ 353692 w 525639"/>
                    <a:gd name="csY72" fmla="*/ 369283 h 394317"/>
                    <a:gd name="csX73" fmla="*/ 344984 w 525639"/>
                    <a:gd name="csY73" fmla="*/ 389964 h 394317"/>
                    <a:gd name="csX74" fmla="*/ 347545 w 525639"/>
                    <a:gd name="csY74" fmla="*/ 394318 h 394317"/>
                    <a:gd name="csX75" fmla="*/ 372548 w 525639"/>
                    <a:gd name="csY75" fmla="*/ 388171 h 394317"/>
                    <a:gd name="csX76" fmla="*/ 377638 w 525639"/>
                    <a:gd name="csY76" fmla="*/ 381256 h 394317"/>
                    <a:gd name="csX77" fmla="*/ 371844 w 525639"/>
                    <a:gd name="csY77" fmla="*/ 360607 h 394317"/>
                    <a:gd name="csX78" fmla="*/ 373284 w 525639"/>
                    <a:gd name="csY78" fmla="*/ 346072 h 394317"/>
                    <a:gd name="csX79" fmla="*/ 363840 w 525639"/>
                    <a:gd name="csY79" fmla="*/ 343543 h 394317"/>
                    <a:gd name="csX80" fmla="*/ 363136 w 525639"/>
                    <a:gd name="csY80" fmla="*/ 338453 h 394317"/>
                    <a:gd name="csX81" fmla="*/ 379463 w 525639"/>
                    <a:gd name="csY81" fmla="*/ 317772 h 394317"/>
                    <a:gd name="csX82" fmla="*/ 372548 w 525639"/>
                    <a:gd name="csY82" fmla="*/ 295298 h 394317"/>
                    <a:gd name="csX83" fmla="*/ 390700 w 525639"/>
                    <a:gd name="csY83" fmla="*/ 292769 h 394317"/>
                    <a:gd name="csX84" fmla="*/ 393229 w 525639"/>
                    <a:gd name="csY84" fmla="*/ 300356 h 394317"/>
                    <a:gd name="csX85" fmla="*/ 401937 w 525639"/>
                    <a:gd name="csY85" fmla="*/ 302917 h 394317"/>
                    <a:gd name="csX86" fmla="*/ 422618 w 525639"/>
                    <a:gd name="csY86" fmla="*/ 298563 h 394317"/>
                    <a:gd name="csX87" fmla="*/ 429501 w 525639"/>
                    <a:gd name="csY87" fmla="*/ 309064 h 394317"/>
                    <a:gd name="csX88" fmla="*/ 445828 w 525639"/>
                    <a:gd name="csY88" fmla="*/ 309064 h 394317"/>
                    <a:gd name="csX89" fmla="*/ 471600 w 525639"/>
                    <a:gd name="csY89" fmla="*/ 299652 h 394317"/>
                    <a:gd name="csX90" fmla="*/ 502429 w 525639"/>
                    <a:gd name="csY90" fmla="*/ 275353 h 394317"/>
                    <a:gd name="csX91" fmla="*/ 510401 w 525639"/>
                    <a:gd name="csY91" fmla="*/ 265909 h 394317"/>
                    <a:gd name="csX92" fmla="*/ 513666 w 525639"/>
                    <a:gd name="csY92" fmla="*/ 246316 h 394317"/>
                    <a:gd name="csX93" fmla="*/ 518756 w 525639"/>
                    <a:gd name="csY93" fmla="*/ 239433 h 394317"/>
                    <a:gd name="csX94" fmla="*/ 514403 w 525639"/>
                    <a:gd name="csY94" fmla="*/ 206779 h 394317"/>
                    <a:gd name="csX95" fmla="*/ 525639 w 525639"/>
                    <a:gd name="csY95" fmla="*/ 191188 h 394317"/>
                    <a:gd name="csX96" fmla="*/ 522374 w 525639"/>
                    <a:gd name="csY96" fmla="*/ 185009 h 394317"/>
                    <a:gd name="csX97" fmla="*/ 518020 w 525639"/>
                    <a:gd name="csY97" fmla="*/ 183569 h 394317"/>
                    <a:gd name="csX98" fmla="*/ 522374 w 525639"/>
                    <a:gd name="csY98" fmla="*/ 170507 h 394317"/>
                    <a:gd name="csX99" fmla="*/ 509312 w 525639"/>
                    <a:gd name="csY99" fmla="*/ 165417 h 394317"/>
                    <a:gd name="csX100" fmla="*/ 507519 w 525639"/>
                    <a:gd name="csY100" fmla="*/ 160358 h 394317"/>
                    <a:gd name="csX101" fmla="*/ 499164 w 525639"/>
                    <a:gd name="csY101" fmla="*/ 154916 h 394317"/>
                    <a:gd name="csX102" fmla="*/ 504254 w 525639"/>
                    <a:gd name="csY102" fmla="*/ 142943 h 394317"/>
                    <a:gd name="csX103" fmla="*/ 489720 w 525639"/>
                    <a:gd name="csY103" fmla="*/ 125879 h 394317"/>
                    <a:gd name="csX104" fmla="*/ 487927 w 525639"/>
                    <a:gd name="csY104" fmla="*/ 110288 h 394317"/>
                    <a:gd name="csX105" fmla="*/ 481012 w 525639"/>
                    <a:gd name="csY105" fmla="*/ 97227 h 394317"/>
                    <a:gd name="csX106" fmla="*/ 470511 w 525639"/>
                    <a:gd name="csY106" fmla="*/ 94698 h 394317"/>
                    <a:gd name="csX107" fmla="*/ 456713 w 525639"/>
                    <a:gd name="csY107" fmla="*/ 102669 h 394317"/>
                    <a:gd name="csX108" fmla="*/ 445828 w 525639"/>
                    <a:gd name="csY108" fmla="*/ 117171 h 394317"/>
                    <a:gd name="csX109" fmla="*/ 437857 w 525639"/>
                    <a:gd name="csY109" fmla="*/ 107759 h 394317"/>
                    <a:gd name="csX110" fmla="*/ 425884 w 525639"/>
                    <a:gd name="csY110" fmla="*/ 105935 h 394317"/>
                    <a:gd name="csX111" fmla="*/ 424059 w 525639"/>
                    <a:gd name="csY111" fmla="*/ 111025 h 394317"/>
                    <a:gd name="csX112" fmla="*/ 404498 w 525639"/>
                    <a:gd name="csY112" fmla="*/ 122262 h 394317"/>
                    <a:gd name="csX113" fmla="*/ 412117 w 525639"/>
                    <a:gd name="csY113" fmla="*/ 130233 h 394317"/>
                    <a:gd name="csX114" fmla="*/ 416471 w 525639"/>
                    <a:gd name="csY114" fmla="*/ 144031 h 394317"/>
                    <a:gd name="csX115" fmla="*/ 423354 w 525639"/>
                    <a:gd name="csY115" fmla="*/ 146560 h 394317"/>
                    <a:gd name="csX116" fmla="*/ 424059 w 525639"/>
                    <a:gd name="csY116" fmla="*/ 154916 h 394317"/>
                    <a:gd name="csX117" fmla="*/ 414647 w 525639"/>
                    <a:gd name="csY117" fmla="*/ 158534 h 394317"/>
                    <a:gd name="csX118" fmla="*/ 396495 w 525639"/>
                    <a:gd name="csY118" fmla="*/ 173036 h 394317"/>
                    <a:gd name="csX119" fmla="*/ 398319 w 525639"/>
                    <a:gd name="csY119" fmla="*/ 181040 h 394317"/>
                    <a:gd name="csX120" fmla="*/ 389612 w 525639"/>
                    <a:gd name="csY120" fmla="*/ 187570 h 394317"/>
                    <a:gd name="csX121" fmla="*/ 376902 w 525639"/>
                    <a:gd name="csY121" fmla="*/ 186098 h 394317"/>
                    <a:gd name="csX122" fmla="*/ 343191 w 525639"/>
                    <a:gd name="csY122" fmla="*/ 204250 h 394317"/>
                    <a:gd name="csX123" fmla="*/ 351163 w 525639"/>
                    <a:gd name="csY123" fmla="*/ 209308 h 394317"/>
                    <a:gd name="csX124" fmla="*/ 362400 w 525639"/>
                    <a:gd name="csY124" fmla="*/ 235784 h 394317"/>
                    <a:gd name="csX125" fmla="*/ 350074 w 525639"/>
                    <a:gd name="csY125" fmla="*/ 241963 h 394317"/>
                    <a:gd name="csX126" fmla="*/ 339926 w 525639"/>
                    <a:gd name="csY126" fmla="*/ 256465 h 394317"/>
                    <a:gd name="csX127" fmla="*/ 337365 w 525639"/>
                    <a:gd name="csY127" fmla="*/ 260819 h 394317"/>
                    <a:gd name="csX128" fmla="*/ 328657 w 525639"/>
                    <a:gd name="csY128" fmla="*/ 260819 h 394317"/>
                    <a:gd name="csX129" fmla="*/ 326128 w 525639"/>
                    <a:gd name="csY129" fmla="*/ 276442 h 394317"/>
                    <a:gd name="csX130" fmla="*/ 322510 w 525639"/>
                    <a:gd name="csY130" fmla="*/ 276442 h 394317"/>
                    <a:gd name="csX131" fmla="*/ 307271 w 525639"/>
                    <a:gd name="csY131" fmla="*/ 272088 h 394317"/>
                    <a:gd name="csX132" fmla="*/ 298563 w 525639"/>
                    <a:gd name="csY132" fmla="*/ 250670 h 394317"/>
                    <a:gd name="csX133" fmla="*/ 294210 w 525639"/>
                    <a:gd name="csY133" fmla="*/ 248141 h 394317"/>
                    <a:gd name="csX134" fmla="*/ 287327 w 525639"/>
                    <a:gd name="csY134" fmla="*/ 251407 h 394317"/>
                    <a:gd name="csX135" fmla="*/ 270263 w 525639"/>
                    <a:gd name="csY135" fmla="*/ 220577 h 394317"/>
                    <a:gd name="csX136" fmla="*/ 264084 w 525639"/>
                    <a:gd name="csY136" fmla="*/ 223842 h 394317"/>
                    <a:gd name="csX137" fmla="*/ 259026 w 525639"/>
                    <a:gd name="csY137" fmla="*/ 218016 h 394317"/>
                    <a:gd name="csX138" fmla="*/ 251023 w 525639"/>
                    <a:gd name="csY138" fmla="*/ 228196 h 394317"/>
                    <a:gd name="csX139" fmla="*/ 247053 w 525639"/>
                    <a:gd name="csY139" fmla="*/ 226372 h 394317"/>
                    <a:gd name="csX140" fmla="*/ 233255 w 525639"/>
                    <a:gd name="csY140" fmla="*/ 225635 h 394317"/>
                    <a:gd name="csX141" fmla="*/ 226372 w 525639"/>
                    <a:gd name="csY141" fmla="*/ 236872 h 394317"/>
                    <a:gd name="csX142" fmla="*/ 212574 w 525639"/>
                    <a:gd name="csY142" fmla="*/ 238345 h 394317"/>
                    <a:gd name="csX143" fmla="*/ 211485 w 525639"/>
                    <a:gd name="csY143" fmla="*/ 216223 h 394317"/>
                    <a:gd name="csX144" fmla="*/ 193365 w 525639"/>
                    <a:gd name="csY144" fmla="*/ 195542 h 394317"/>
                    <a:gd name="csX145" fmla="*/ 187539 w 525639"/>
                    <a:gd name="csY145" fmla="*/ 177390 h 394317"/>
                    <a:gd name="csX146" fmla="*/ 173036 w 525639"/>
                    <a:gd name="csY146" fmla="*/ 167978 h 394317"/>
                    <a:gd name="csX147" fmla="*/ 163240 w 525639"/>
                    <a:gd name="csY147" fmla="*/ 153444 h 394317"/>
                    <a:gd name="csX148" fmla="*/ 150562 w 525639"/>
                    <a:gd name="csY148" fmla="*/ 151651 h 394317"/>
                    <a:gd name="csX149" fmla="*/ 140030 w 525639"/>
                    <a:gd name="csY149" fmla="*/ 165417 h 394317"/>
                    <a:gd name="csX150" fmla="*/ 107375 w 525639"/>
                    <a:gd name="csY150" fmla="*/ 179215 h 394317"/>
                    <a:gd name="csX151" fmla="*/ 95402 w 525639"/>
                    <a:gd name="csY151" fmla="*/ 194454 h 394317"/>
                    <a:gd name="csX152" fmla="*/ 83429 w 525639"/>
                    <a:gd name="csY152" fmla="*/ 189363 h 394317"/>
                    <a:gd name="csX153" fmla="*/ 82340 w 525639"/>
                    <a:gd name="csY153" fmla="*/ 179215 h 394317"/>
                    <a:gd name="csX154" fmla="*/ 116083 w 525639"/>
                    <a:gd name="csY154" fmla="*/ 167242 h 394317"/>
                    <a:gd name="csX155" fmla="*/ 122262 w 525639"/>
                    <a:gd name="csY155" fmla="*/ 165417 h 394317"/>
                    <a:gd name="csX156" fmla="*/ 148738 w 525639"/>
                    <a:gd name="csY156" fmla="*/ 144031 h 394317"/>
                    <a:gd name="csX157" fmla="*/ 164328 w 525639"/>
                    <a:gd name="csY157" fmla="*/ 147297 h 394317"/>
                    <a:gd name="csX158" fmla="*/ 171243 w 525639"/>
                    <a:gd name="csY158" fmla="*/ 153444 h 394317"/>
                    <a:gd name="csX159" fmla="*/ 182480 w 525639"/>
                    <a:gd name="csY159" fmla="*/ 149090 h 394317"/>
                    <a:gd name="csX160" fmla="*/ 188275 w 525639"/>
                    <a:gd name="csY160" fmla="*/ 156709 h 394317"/>
                    <a:gd name="csX161" fmla="*/ 190100 w 525639"/>
                    <a:gd name="csY161" fmla="*/ 150914 h 394317"/>
                    <a:gd name="csX162" fmla="*/ 185746 w 525639"/>
                    <a:gd name="csY162" fmla="*/ 147297 h 394317"/>
                    <a:gd name="csX163" fmla="*/ 197719 w 525639"/>
                    <a:gd name="csY163" fmla="*/ 140382 h 394317"/>
                    <a:gd name="csX164" fmla="*/ 187539 w 525639"/>
                    <a:gd name="csY164" fmla="*/ 130970 h 394317"/>
                    <a:gd name="csX165" fmla="*/ 205691 w 525639"/>
                    <a:gd name="csY165" fmla="*/ 124086 h 394317"/>
                    <a:gd name="csX166" fmla="*/ 198808 w 525639"/>
                    <a:gd name="csY166" fmla="*/ 115379 h 394317"/>
                    <a:gd name="csX167" fmla="*/ 216928 w 525639"/>
                    <a:gd name="csY167" fmla="*/ 96490 h 394317"/>
                    <a:gd name="csX168" fmla="*/ 214046 w 525639"/>
                    <a:gd name="csY168" fmla="*/ 85254 h 394317"/>
                    <a:gd name="csX169" fmla="*/ 231462 w 525639"/>
                    <a:gd name="csY169" fmla="*/ 77634 h 394317"/>
                    <a:gd name="csX170" fmla="*/ 234727 w 525639"/>
                    <a:gd name="csY170" fmla="*/ 66397 h 394317"/>
                    <a:gd name="csX171" fmla="*/ 244140 w 525639"/>
                    <a:gd name="csY171" fmla="*/ 60218 h 394317"/>
                    <a:gd name="csX172" fmla="*/ 242699 w 525639"/>
                    <a:gd name="csY172" fmla="*/ 47541 h 394317"/>
                    <a:gd name="csX173" fmla="*/ 252847 w 525639"/>
                    <a:gd name="csY173" fmla="*/ 29389 h 394317"/>
                    <a:gd name="csX174" fmla="*/ 247757 w 525639"/>
                    <a:gd name="csY174" fmla="*/ 15623 h 394317"/>
                    <a:gd name="csX175" fmla="*/ 255376 w 525639"/>
                    <a:gd name="csY175" fmla="*/ 0 h 39431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</a:cxnLst>
                  <a:rect l="l" t="t" r="r" b="b"/>
                  <a:pathLst>
                    <a:path w="525639" h="394317">
                      <a:moveTo>
                        <a:pt x="255376" y="0"/>
                      </a:moveTo>
                      <a:lnTo>
                        <a:pt x="134971" y="0"/>
                      </a:lnTo>
                      <a:lnTo>
                        <a:pt x="134971" y="9796"/>
                      </a:lnTo>
                      <a:lnTo>
                        <a:pt x="131706" y="8708"/>
                      </a:lnTo>
                      <a:lnTo>
                        <a:pt x="123702" y="23210"/>
                      </a:lnTo>
                      <a:lnTo>
                        <a:pt x="125527" y="28652"/>
                      </a:lnTo>
                      <a:lnTo>
                        <a:pt x="122262" y="30125"/>
                      </a:lnTo>
                      <a:lnTo>
                        <a:pt x="116083" y="67133"/>
                      </a:lnTo>
                      <a:lnTo>
                        <a:pt x="111729" y="70751"/>
                      </a:lnTo>
                      <a:lnTo>
                        <a:pt x="109936" y="75105"/>
                      </a:lnTo>
                      <a:lnTo>
                        <a:pt x="107375" y="86342"/>
                      </a:lnTo>
                      <a:lnTo>
                        <a:pt x="105582" y="94698"/>
                      </a:lnTo>
                      <a:lnTo>
                        <a:pt x="107375" y="108464"/>
                      </a:lnTo>
                      <a:lnTo>
                        <a:pt x="101581" y="116467"/>
                      </a:lnTo>
                      <a:lnTo>
                        <a:pt x="81636" y="118996"/>
                      </a:lnTo>
                      <a:lnTo>
                        <a:pt x="74017" y="123350"/>
                      </a:lnTo>
                      <a:lnTo>
                        <a:pt x="68574" y="133499"/>
                      </a:lnTo>
                      <a:lnTo>
                        <a:pt x="53335" y="137853"/>
                      </a:lnTo>
                      <a:lnTo>
                        <a:pt x="48245" y="138589"/>
                      </a:lnTo>
                      <a:lnTo>
                        <a:pt x="43891" y="149826"/>
                      </a:lnTo>
                      <a:lnTo>
                        <a:pt x="32654" y="157445"/>
                      </a:lnTo>
                      <a:lnTo>
                        <a:pt x="30125" y="163624"/>
                      </a:lnTo>
                      <a:lnTo>
                        <a:pt x="22154" y="159270"/>
                      </a:lnTo>
                      <a:lnTo>
                        <a:pt x="13798" y="163624"/>
                      </a:lnTo>
                      <a:lnTo>
                        <a:pt x="19593" y="168682"/>
                      </a:lnTo>
                      <a:lnTo>
                        <a:pt x="18888" y="178126"/>
                      </a:lnTo>
                      <a:lnTo>
                        <a:pt x="8356" y="187570"/>
                      </a:lnTo>
                      <a:lnTo>
                        <a:pt x="8356" y="198807"/>
                      </a:lnTo>
                      <a:lnTo>
                        <a:pt x="0" y="221281"/>
                      </a:lnTo>
                      <a:lnTo>
                        <a:pt x="14534" y="223842"/>
                      </a:lnTo>
                      <a:lnTo>
                        <a:pt x="17064" y="232550"/>
                      </a:lnTo>
                      <a:lnTo>
                        <a:pt x="30125" y="268438"/>
                      </a:lnTo>
                      <a:lnTo>
                        <a:pt x="74017" y="285854"/>
                      </a:lnTo>
                      <a:lnTo>
                        <a:pt x="72928" y="278971"/>
                      </a:lnTo>
                      <a:lnTo>
                        <a:pt x="89255" y="251407"/>
                      </a:lnTo>
                      <a:lnTo>
                        <a:pt x="87783" y="245228"/>
                      </a:lnTo>
                      <a:lnTo>
                        <a:pt x="92873" y="236872"/>
                      </a:lnTo>
                      <a:lnTo>
                        <a:pt x="87783" y="223842"/>
                      </a:lnTo>
                      <a:lnTo>
                        <a:pt x="120437" y="222018"/>
                      </a:lnTo>
                      <a:lnTo>
                        <a:pt x="143647" y="232550"/>
                      </a:lnTo>
                      <a:lnTo>
                        <a:pt x="158182" y="232550"/>
                      </a:lnTo>
                      <a:lnTo>
                        <a:pt x="166889" y="239433"/>
                      </a:lnTo>
                      <a:lnTo>
                        <a:pt x="171243" y="243787"/>
                      </a:lnTo>
                      <a:lnTo>
                        <a:pt x="188275" y="254672"/>
                      </a:lnTo>
                      <a:lnTo>
                        <a:pt x="204602" y="274617"/>
                      </a:lnTo>
                      <a:lnTo>
                        <a:pt x="223843" y="278234"/>
                      </a:lnTo>
                      <a:lnTo>
                        <a:pt x="232166" y="288415"/>
                      </a:lnTo>
                      <a:lnTo>
                        <a:pt x="232166" y="289119"/>
                      </a:lnTo>
                      <a:lnTo>
                        <a:pt x="238345" y="286590"/>
                      </a:lnTo>
                      <a:lnTo>
                        <a:pt x="239081" y="277146"/>
                      </a:lnTo>
                      <a:lnTo>
                        <a:pt x="244140" y="276442"/>
                      </a:lnTo>
                      <a:lnTo>
                        <a:pt x="247053" y="253200"/>
                      </a:lnTo>
                      <a:lnTo>
                        <a:pt x="259026" y="252111"/>
                      </a:lnTo>
                      <a:lnTo>
                        <a:pt x="264821" y="245228"/>
                      </a:lnTo>
                      <a:lnTo>
                        <a:pt x="262291" y="232550"/>
                      </a:lnTo>
                      <a:lnTo>
                        <a:pt x="270999" y="233254"/>
                      </a:lnTo>
                      <a:lnTo>
                        <a:pt x="277882" y="241226"/>
                      </a:lnTo>
                      <a:lnTo>
                        <a:pt x="274617" y="250670"/>
                      </a:lnTo>
                      <a:lnTo>
                        <a:pt x="281148" y="263380"/>
                      </a:lnTo>
                      <a:lnTo>
                        <a:pt x="288031" y="266997"/>
                      </a:lnTo>
                      <a:lnTo>
                        <a:pt x="294946" y="260114"/>
                      </a:lnTo>
                      <a:lnTo>
                        <a:pt x="301093" y="272088"/>
                      </a:lnTo>
                      <a:lnTo>
                        <a:pt x="287327" y="290944"/>
                      </a:lnTo>
                      <a:lnTo>
                        <a:pt x="288031" y="306535"/>
                      </a:lnTo>
                      <a:lnTo>
                        <a:pt x="314154" y="315243"/>
                      </a:lnTo>
                      <a:lnTo>
                        <a:pt x="314154" y="321773"/>
                      </a:lnTo>
                      <a:lnTo>
                        <a:pt x="300388" y="336660"/>
                      </a:lnTo>
                      <a:lnTo>
                        <a:pt x="317420" y="341718"/>
                      </a:lnTo>
                      <a:lnTo>
                        <a:pt x="316683" y="348601"/>
                      </a:lnTo>
                      <a:lnTo>
                        <a:pt x="322510" y="356221"/>
                      </a:lnTo>
                      <a:lnTo>
                        <a:pt x="337365" y="361695"/>
                      </a:lnTo>
                      <a:lnTo>
                        <a:pt x="344280" y="358046"/>
                      </a:lnTo>
                      <a:lnTo>
                        <a:pt x="353692" y="369283"/>
                      </a:lnTo>
                      <a:lnTo>
                        <a:pt x="344984" y="389964"/>
                      </a:lnTo>
                      <a:lnTo>
                        <a:pt x="347545" y="394318"/>
                      </a:lnTo>
                      <a:lnTo>
                        <a:pt x="372548" y="388171"/>
                      </a:lnTo>
                      <a:lnTo>
                        <a:pt x="377638" y="381256"/>
                      </a:lnTo>
                      <a:lnTo>
                        <a:pt x="371844" y="360607"/>
                      </a:lnTo>
                      <a:lnTo>
                        <a:pt x="373284" y="346072"/>
                      </a:lnTo>
                      <a:lnTo>
                        <a:pt x="363840" y="343543"/>
                      </a:lnTo>
                      <a:lnTo>
                        <a:pt x="363136" y="338453"/>
                      </a:lnTo>
                      <a:lnTo>
                        <a:pt x="379463" y="317772"/>
                      </a:lnTo>
                      <a:lnTo>
                        <a:pt x="372548" y="295298"/>
                      </a:lnTo>
                      <a:lnTo>
                        <a:pt x="390700" y="292769"/>
                      </a:lnTo>
                      <a:lnTo>
                        <a:pt x="393229" y="300356"/>
                      </a:lnTo>
                      <a:lnTo>
                        <a:pt x="401937" y="302917"/>
                      </a:lnTo>
                      <a:lnTo>
                        <a:pt x="422618" y="298563"/>
                      </a:lnTo>
                      <a:lnTo>
                        <a:pt x="429501" y="309064"/>
                      </a:lnTo>
                      <a:lnTo>
                        <a:pt x="445828" y="309064"/>
                      </a:lnTo>
                      <a:lnTo>
                        <a:pt x="471600" y="299652"/>
                      </a:lnTo>
                      <a:lnTo>
                        <a:pt x="502429" y="275353"/>
                      </a:lnTo>
                      <a:lnTo>
                        <a:pt x="510401" y="265909"/>
                      </a:lnTo>
                      <a:lnTo>
                        <a:pt x="513666" y="246316"/>
                      </a:lnTo>
                      <a:lnTo>
                        <a:pt x="518756" y="239433"/>
                      </a:lnTo>
                      <a:lnTo>
                        <a:pt x="514403" y="206779"/>
                      </a:lnTo>
                      <a:lnTo>
                        <a:pt x="525639" y="191188"/>
                      </a:lnTo>
                      <a:lnTo>
                        <a:pt x="522374" y="185009"/>
                      </a:lnTo>
                      <a:lnTo>
                        <a:pt x="518020" y="183569"/>
                      </a:lnTo>
                      <a:lnTo>
                        <a:pt x="522374" y="170507"/>
                      </a:lnTo>
                      <a:lnTo>
                        <a:pt x="509312" y="165417"/>
                      </a:lnTo>
                      <a:lnTo>
                        <a:pt x="507519" y="160358"/>
                      </a:lnTo>
                      <a:lnTo>
                        <a:pt x="499164" y="154916"/>
                      </a:lnTo>
                      <a:lnTo>
                        <a:pt x="504254" y="142943"/>
                      </a:lnTo>
                      <a:lnTo>
                        <a:pt x="489720" y="125879"/>
                      </a:lnTo>
                      <a:lnTo>
                        <a:pt x="487927" y="110288"/>
                      </a:lnTo>
                      <a:lnTo>
                        <a:pt x="481012" y="97227"/>
                      </a:lnTo>
                      <a:lnTo>
                        <a:pt x="470511" y="94698"/>
                      </a:lnTo>
                      <a:lnTo>
                        <a:pt x="456713" y="102669"/>
                      </a:lnTo>
                      <a:lnTo>
                        <a:pt x="445828" y="117171"/>
                      </a:lnTo>
                      <a:lnTo>
                        <a:pt x="437857" y="107759"/>
                      </a:lnTo>
                      <a:lnTo>
                        <a:pt x="425884" y="105935"/>
                      </a:lnTo>
                      <a:lnTo>
                        <a:pt x="424059" y="111025"/>
                      </a:lnTo>
                      <a:lnTo>
                        <a:pt x="404498" y="122262"/>
                      </a:lnTo>
                      <a:lnTo>
                        <a:pt x="412117" y="130233"/>
                      </a:lnTo>
                      <a:lnTo>
                        <a:pt x="416471" y="144031"/>
                      </a:lnTo>
                      <a:lnTo>
                        <a:pt x="423354" y="146560"/>
                      </a:lnTo>
                      <a:lnTo>
                        <a:pt x="424059" y="154916"/>
                      </a:lnTo>
                      <a:lnTo>
                        <a:pt x="414647" y="158534"/>
                      </a:lnTo>
                      <a:lnTo>
                        <a:pt x="396495" y="173036"/>
                      </a:lnTo>
                      <a:lnTo>
                        <a:pt x="398319" y="181040"/>
                      </a:lnTo>
                      <a:lnTo>
                        <a:pt x="389612" y="187570"/>
                      </a:lnTo>
                      <a:lnTo>
                        <a:pt x="376902" y="186098"/>
                      </a:lnTo>
                      <a:lnTo>
                        <a:pt x="343191" y="204250"/>
                      </a:lnTo>
                      <a:lnTo>
                        <a:pt x="351163" y="209308"/>
                      </a:lnTo>
                      <a:lnTo>
                        <a:pt x="362400" y="235784"/>
                      </a:lnTo>
                      <a:lnTo>
                        <a:pt x="350074" y="241963"/>
                      </a:lnTo>
                      <a:lnTo>
                        <a:pt x="339926" y="256465"/>
                      </a:lnTo>
                      <a:lnTo>
                        <a:pt x="337365" y="260819"/>
                      </a:lnTo>
                      <a:lnTo>
                        <a:pt x="328657" y="260819"/>
                      </a:lnTo>
                      <a:lnTo>
                        <a:pt x="326128" y="276442"/>
                      </a:lnTo>
                      <a:lnTo>
                        <a:pt x="322510" y="276442"/>
                      </a:lnTo>
                      <a:lnTo>
                        <a:pt x="307271" y="272088"/>
                      </a:lnTo>
                      <a:lnTo>
                        <a:pt x="298563" y="250670"/>
                      </a:lnTo>
                      <a:lnTo>
                        <a:pt x="294210" y="248141"/>
                      </a:lnTo>
                      <a:lnTo>
                        <a:pt x="287327" y="251407"/>
                      </a:lnTo>
                      <a:lnTo>
                        <a:pt x="270263" y="220577"/>
                      </a:lnTo>
                      <a:lnTo>
                        <a:pt x="264084" y="223842"/>
                      </a:lnTo>
                      <a:lnTo>
                        <a:pt x="259026" y="218016"/>
                      </a:lnTo>
                      <a:lnTo>
                        <a:pt x="251023" y="228196"/>
                      </a:lnTo>
                      <a:lnTo>
                        <a:pt x="247053" y="226372"/>
                      </a:lnTo>
                      <a:lnTo>
                        <a:pt x="233255" y="225635"/>
                      </a:lnTo>
                      <a:lnTo>
                        <a:pt x="226372" y="236872"/>
                      </a:lnTo>
                      <a:lnTo>
                        <a:pt x="212574" y="238345"/>
                      </a:lnTo>
                      <a:lnTo>
                        <a:pt x="211485" y="216223"/>
                      </a:lnTo>
                      <a:lnTo>
                        <a:pt x="193365" y="195542"/>
                      </a:lnTo>
                      <a:lnTo>
                        <a:pt x="187539" y="177390"/>
                      </a:lnTo>
                      <a:lnTo>
                        <a:pt x="173036" y="167978"/>
                      </a:lnTo>
                      <a:lnTo>
                        <a:pt x="163240" y="153444"/>
                      </a:lnTo>
                      <a:lnTo>
                        <a:pt x="150562" y="151651"/>
                      </a:lnTo>
                      <a:lnTo>
                        <a:pt x="140030" y="165417"/>
                      </a:lnTo>
                      <a:lnTo>
                        <a:pt x="107375" y="179215"/>
                      </a:lnTo>
                      <a:lnTo>
                        <a:pt x="95402" y="194454"/>
                      </a:lnTo>
                      <a:lnTo>
                        <a:pt x="83429" y="189363"/>
                      </a:lnTo>
                      <a:lnTo>
                        <a:pt x="82340" y="179215"/>
                      </a:lnTo>
                      <a:lnTo>
                        <a:pt x="116083" y="167242"/>
                      </a:lnTo>
                      <a:lnTo>
                        <a:pt x="122262" y="165417"/>
                      </a:lnTo>
                      <a:lnTo>
                        <a:pt x="148738" y="144031"/>
                      </a:lnTo>
                      <a:lnTo>
                        <a:pt x="164328" y="147297"/>
                      </a:lnTo>
                      <a:lnTo>
                        <a:pt x="171243" y="153444"/>
                      </a:lnTo>
                      <a:lnTo>
                        <a:pt x="182480" y="149090"/>
                      </a:lnTo>
                      <a:lnTo>
                        <a:pt x="188275" y="156709"/>
                      </a:lnTo>
                      <a:lnTo>
                        <a:pt x="190100" y="150914"/>
                      </a:lnTo>
                      <a:lnTo>
                        <a:pt x="185746" y="147297"/>
                      </a:lnTo>
                      <a:lnTo>
                        <a:pt x="197719" y="140382"/>
                      </a:lnTo>
                      <a:lnTo>
                        <a:pt x="187539" y="130970"/>
                      </a:lnTo>
                      <a:lnTo>
                        <a:pt x="205691" y="124086"/>
                      </a:lnTo>
                      <a:lnTo>
                        <a:pt x="198808" y="115379"/>
                      </a:lnTo>
                      <a:lnTo>
                        <a:pt x="216928" y="96490"/>
                      </a:lnTo>
                      <a:lnTo>
                        <a:pt x="214046" y="85254"/>
                      </a:lnTo>
                      <a:lnTo>
                        <a:pt x="231462" y="77634"/>
                      </a:lnTo>
                      <a:lnTo>
                        <a:pt x="234727" y="66397"/>
                      </a:lnTo>
                      <a:lnTo>
                        <a:pt x="244140" y="60218"/>
                      </a:lnTo>
                      <a:lnTo>
                        <a:pt x="242699" y="47541"/>
                      </a:lnTo>
                      <a:lnTo>
                        <a:pt x="252847" y="29389"/>
                      </a:lnTo>
                      <a:lnTo>
                        <a:pt x="247757" y="15623"/>
                      </a:lnTo>
                      <a:lnTo>
                        <a:pt x="255376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8" name="Forma Livre: Forma 297">
                  <a:extLst>
                    <a:ext uri="{FF2B5EF4-FFF2-40B4-BE49-F238E27FC236}">
                      <a16:creationId xmlns:a16="http://schemas.microsoft.com/office/drawing/2014/main" id="{C0E1F0D8-788E-0FD9-45E6-63E951DE8B28}"/>
                    </a:ext>
                  </a:extLst>
                </p:cNvPr>
                <p:cNvSpPr/>
                <p:nvPr/>
              </p:nvSpPr>
              <p:spPr>
                <a:xfrm>
                  <a:off x="1591272" y="5103690"/>
                  <a:ext cx="525639" cy="394317"/>
                </a:xfrm>
                <a:custGeom>
                  <a:avLst/>
                  <a:gdLst>
                    <a:gd name="csX0" fmla="*/ 255376 w 525639"/>
                    <a:gd name="csY0" fmla="*/ 0 h 394317"/>
                    <a:gd name="csX1" fmla="*/ 134971 w 525639"/>
                    <a:gd name="csY1" fmla="*/ 0 h 394317"/>
                    <a:gd name="csX2" fmla="*/ 134971 w 525639"/>
                    <a:gd name="csY2" fmla="*/ 9796 h 394317"/>
                    <a:gd name="csX3" fmla="*/ 131706 w 525639"/>
                    <a:gd name="csY3" fmla="*/ 8708 h 394317"/>
                    <a:gd name="csX4" fmla="*/ 123702 w 525639"/>
                    <a:gd name="csY4" fmla="*/ 23210 h 394317"/>
                    <a:gd name="csX5" fmla="*/ 125527 w 525639"/>
                    <a:gd name="csY5" fmla="*/ 28652 h 394317"/>
                    <a:gd name="csX6" fmla="*/ 122262 w 525639"/>
                    <a:gd name="csY6" fmla="*/ 30125 h 394317"/>
                    <a:gd name="csX7" fmla="*/ 116083 w 525639"/>
                    <a:gd name="csY7" fmla="*/ 67133 h 394317"/>
                    <a:gd name="csX8" fmla="*/ 111729 w 525639"/>
                    <a:gd name="csY8" fmla="*/ 70751 h 394317"/>
                    <a:gd name="csX9" fmla="*/ 109936 w 525639"/>
                    <a:gd name="csY9" fmla="*/ 75105 h 394317"/>
                    <a:gd name="csX10" fmla="*/ 107375 w 525639"/>
                    <a:gd name="csY10" fmla="*/ 86342 h 394317"/>
                    <a:gd name="csX11" fmla="*/ 105582 w 525639"/>
                    <a:gd name="csY11" fmla="*/ 94698 h 394317"/>
                    <a:gd name="csX12" fmla="*/ 107375 w 525639"/>
                    <a:gd name="csY12" fmla="*/ 108464 h 394317"/>
                    <a:gd name="csX13" fmla="*/ 101581 w 525639"/>
                    <a:gd name="csY13" fmla="*/ 116467 h 394317"/>
                    <a:gd name="csX14" fmla="*/ 81636 w 525639"/>
                    <a:gd name="csY14" fmla="*/ 118996 h 394317"/>
                    <a:gd name="csX15" fmla="*/ 74017 w 525639"/>
                    <a:gd name="csY15" fmla="*/ 123350 h 394317"/>
                    <a:gd name="csX16" fmla="*/ 68574 w 525639"/>
                    <a:gd name="csY16" fmla="*/ 133499 h 394317"/>
                    <a:gd name="csX17" fmla="*/ 53335 w 525639"/>
                    <a:gd name="csY17" fmla="*/ 137853 h 394317"/>
                    <a:gd name="csX18" fmla="*/ 48245 w 525639"/>
                    <a:gd name="csY18" fmla="*/ 138589 h 394317"/>
                    <a:gd name="csX19" fmla="*/ 43891 w 525639"/>
                    <a:gd name="csY19" fmla="*/ 149826 h 394317"/>
                    <a:gd name="csX20" fmla="*/ 32654 w 525639"/>
                    <a:gd name="csY20" fmla="*/ 157445 h 394317"/>
                    <a:gd name="csX21" fmla="*/ 30125 w 525639"/>
                    <a:gd name="csY21" fmla="*/ 163624 h 394317"/>
                    <a:gd name="csX22" fmla="*/ 22154 w 525639"/>
                    <a:gd name="csY22" fmla="*/ 159270 h 394317"/>
                    <a:gd name="csX23" fmla="*/ 13798 w 525639"/>
                    <a:gd name="csY23" fmla="*/ 163624 h 394317"/>
                    <a:gd name="csX24" fmla="*/ 19593 w 525639"/>
                    <a:gd name="csY24" fmla="*/ 168682 h 394317"/>
                    <a:gd name="csX25" fmla="*/ 18888 w 525639"/>
                    <a:gd name="csY25" fmla="*/ 178126 h 394317"/>
                    <a:gd name="csX26" fmla="*/ 8356 w 525639"/>
                    <a:gd name="csY26" fmla="*/ 187570 h 394317"/>
                    <a:gd name="csX27" fmla="*/ 8356 w 525639"/>
                    <a:gd name="csY27" fmla="*/ 198807 h 394317"/>
                    <a:gd name="csX28" fmla="*/ 0 w 525639"/>
                    <a:gd name="csY28" fmla="*/ 221281 h 394317"/>
                    <a:gd name="csX29" fmla="*/ 14534 w 525639"/>
                    <a:gd name="csY29" fmla="*/ 223842 h 394317"/>
                    <a:gd name="csX30" fmla="*/ 17064 w 525639"/>
                    <a:gd name="csY30" fmla="*/ 232550 h 394317"/>
                    <a:gd name="csX31" fmla="*/ 30125 w 525639"/>
                    <a:gd name="csY31" fmla="*/ 268438 h 394317"/>
                    <a:gd name="csX32" fmla="*/ 74017 w 525639"/>
                    <a:gd name="csY32" fmla="*/ 285854 h 394317"/>
                    <a:gd name="csX33" fmla="*/ 72928 w 525639"/>
                    <a:gd name="csY33" fmla="*/ 278971 h 394317"/>
                    <a:gd name="csX34" fmla="*/ 89255 w 525639"/>
                    <a:gd name="csY34" fmla="*/ 251407 h 394317"/>
                    <a:gd name="csX35" fmla="*/ 87783 w 525639"/>
                    <a:gd name="csY35" fmla="*/ 245228 h 394317"/>
                    <a:gd name="csX36" fmla="*/ 92873 w 525639"/>
                    <a:gd name="csY36" fmla="*/ 236872 h 394317"/>
                    <a:gd name="csX37" fmla="*/ 87783 w 525639"/>
                    <a:gd name="csY37" fmla="*/ 223842 h 394317"/>
                    <a:gd name="csX38" fmla="*/ 120437 w 525639"/>
                    <a:gd name="csY38" fmla="*/ 222018 h 394317"/>
                    <a:gd name="csX39" fmla="*/ 143647 w 525639"/>
                    <a:gd name="csY39" fmla="*/ 232550 h 394317"/>
                    <a:gd name="csX40" fmla="*/ 158182 w 525639"/>
                    <a:gd name="csY40" fmla="*/ 232550 h 394317"/>
                    <a:gd name="csX41" fmla="*/ 166889 w 525639"/>
                    <a:gd name="csY41" fmla="*/ 239433 h 394317"/>
                    <a:gd name="csX42" fmla="*/ 171243 w 525639"/>
                    <a:gd name="csY42" fmla="*/ 243787 h 394317"/>
                    <a:gd name="csX43" fmla="*/ 188275 w 525639"/>
                    <a:gd name="csY43" fmla="*/ 254672 h 394317"/>
                    <a:gd name="csX44" fmla="*/ 204602 w 525639"/>
                    <a:gd name="csY44" fmla="*/ 274617 h 394317"/>
                    <a:gd name="csX45" fmla="*/ 223843 w 525639"/>
                    <a:gd name="csY45" fmla="*/ 278234 h 394317"/>
                    <a:gd name="csX46" fmla="*/ 232166 w 525639"/>
                    <a:gd name="csY46" fmla="*/ 288415 h 394317"/>
                    <a:gd name="csX47" fmla="*/ 232166 w 525639"/>
                    <a:gd name="csY47" fmla="*/ 289119 h 394317"/>
                    <a:gd name="csX48" fmla="*/ 238345 w 525639"/>
                    <a:gd name="csY48" fmla="*/ 286590 h 394317"/>
                    <a:gd name="csX49" fmla="*/ 239081 w 525639"/>
                    <a:gd name="csY49" fmla="*/ 277146 h 394317"/>
                    <a:gd name="csX50" fmla="*/ 244140 w 525639"/>
                    <a:gd name="csY50" fmla="*/ 276442 h 394317"/>
                    <a:gd name="csX51" fmla="*/ 247053 w 525639"/>
                    <a:gd name="csY51" fmla="*/ 253200 h 394317"/>
                    <a:gd name="csX52" fmla="*/ 259026 w 525639"/>
                    <a:gd name="csY52" fmla="*/ 252111 h 394317"/>
                    <a:gd name="csX53" fmla="*/ 264821 w 525639"/>
                    <a:gd name="csY53" fmla="*/ 245228 h 394317"/>
                    <a:gd name="csX54" fmla="*/ 262291 w 525639"/>
                    <a:gd name="csY54" fmla="*/ 232550 h 394317"/>
                    <a:gd name="csX55" fmla="*/ 270999 w 525639"/>
                    <a:gd name="csY55" fmla="*/ 233254 h 394317"/>
                    <a:gd name="csX56" fmla="*/ 277882 w 525639"/>
                    <a:gd name="csY56" fmla="*/ 241226 h 394317"/>
                    <a:gd name="csX57" fmla="*/ 274617 w 525639"/>
                    <a:gd name="csY57" fmla="*/ 250670 h 394317"/>
                    <a:gd name="csX58" fmla="*/ 281148 w 525639"/>
                    <a:gd name="csY58" fmla="*/ 263380 h 394317"/>
                    <a:gd name="csX59" fmla="*/ 288031 w 525639"/>
                    <a:gd name="csY59" fmla="*/ 266997 h 394317"/>
                    <a:gd name="csX60" fmla="*/ 294946 w 525639"/>
                    <a:gd name="csY60" fmla="*/ 260114 h 394317"/>
                    <a:gd name="csX61" fmla="*/ 301093 w 525639"/>
                    <a:gd name="csY61" fmla="*/ 272088 h 394317"/>
                    <a:gd name="csX62" fmla="*/ 287327 w 525639"/>
                    <a:gd name="csY62" fmla="*/ 290944 h 394317"/>
                    <a:gd name="csX63" fmla="*/ 288031 w 525639"/>
                    <a:gd name="csY63" fmla="*/ 306535 h 394317"/>
                    <a:gd name="csX64" fmla="*/ 314154 w 525639"/>
                    <a:gd name="csY64" fmla="*/ 315243 h 394317"/>
                    <a:gd name="csX65" fmla="*/ 314154 w 525639"/>
                    <a:gd name="csY65" fmla="*/ 321773 h 394317"/>
                    <a:gd name="csX66" fmla="*/ 300388 w 525639"/>
                    <a:gd name="csY66" fmla="*/ 336660 h 394317"/>
                    <a:gd name="csX67" fmla="*/ 317420 w 525639"/>
                    <a:gd name="csY67" fmla="*/ 341718 h 394317"/>
                    <a:gd name="csX68" fmla="*/ 316683 w 525639"/>
                    <a:gd name="csY68" fmla="*/ 348601 h 394317"/>
                    <a:gd name="csX69" fmla="*/ 322510 w 525639"/>
                    <a:gd name="csY69" fmla="*/ 356221 h 394317"/>
                    <a:gd name="csX70" fmla="*/ 337365 w 525639"/>
                    <a:gd name="csY70" fmla="*/ 361695 h 394317"/>
                    <a:gd name="csX71" fmla="*/ 344280 w 525639"/>
                    <a:gd name="csY71" fmla="*/ 358046 h 394317"/>
                    <a:gd name="csX72" fmla="*/ 353692 w 525639"/>
                    <a:gd name="csY72" fmla="*/ 369283 h 394317"/>
                    <a:gd name="csX73" fmla="*/ 344984 w 525639"/>
                    <a:gd name="csY73" fmla="*/ 389964 h 394317"/>
                    <a:gd name="csX74" fmla="*/ 347545 w 525639"/>
                    <a:gd name="csY74" fmla="*/ 394318 h 394317"/>
                    <a:gd name="csX75" fmla="*/ 372548 w 525639"/>
                    <a:gd name="csY75" fmla="*/ 388171 h 394317"/>
                    <a:gd name="csX76" fmla="*/ 377638 w 525639"/>
                    <a:gd name="csY76" fmla="*/ 381256 h 394317"/>
                    <a:gd name="csX77" fmla="*/ 371844 w 525639"/>
                    <a:gd name="csY77" fmla="*/ 360607 h 394317"/>
                    <a:gd name="csX78" fmla="*/ 373284 w 525639"/>
                    <a:gd name="csY78" fmla="*/ 346072 h 394317"/>
                    <a:gd name="csX79" fmla="*/ 363840 w 525639"/>
                    <a:gd name="csY79" fmla="*/ 343543 h 394317"/>
                    <a:gd name="csX80" fmla="*/ 363136 w 525639"/>
                    <a:gd name="csY80" fmla="*/ 338453 h 394317"/>
                    <a:gd name="csX81" fmla="*/ 379463 w 525639"/>
                    <a:gd name="csY81" fmla="*/ 317772 h 394317"/>
                    <a:gd name="csX82" fmla="*/ 372548 w 525639"/>
                    <a:gd name="csY82" fmla="*/ 295298 h 394317"/>
                    <a:gd name="csX83" fmla="*/ 390700 w 525639"/>
                    <a:gd name="csY83" fmla="*/ 292769 h 394317"/>
                    <a:gd name="csX84" fmla="*/ 393229 w 525639"/>
                    <a:gd name="csY84" fmla="*/ 300356 h 394317"/>
                    <a:gd name="csX85" fmla="*/ 401937 w 525639"/>
                    <a:gd name="csY85" fmla="*/ 302917 h 394317"/>
                    <a:gd name="csX86" fmla="*/ 422618 w 525639"/>
                    <a:gd name="csY86" fmla="*/ 298563 h 394317"/>
                    <a:gd name="csX87" fmla="*/ 429501 w 525639"/>
                    <a:gd name="csY87" fmla="*/ 309064 h 394317"/>
                    <a:gd name="csX88" fmla="*/ 445828 w 525639"/>
                    <a:gd name="csY88" fmla="*/ 309064 h 394317"/>
                    <a:gd name="csX89" fmla="*/ 471600 w 525639"/>
                    <a:gd name="csY89" fmla="*/ 299652 h 394317"/>
                    <a:gd name="csX90" fmla="*/ 502429 w 525639"/>
                    <a:gd name="csY90" fmla="*/ 275353 h 394317"/>
                    <a:gd name="csX91" fmla="*/ 510401 w 525639"/>
                    <a:gd name="csY91" fmla="*/ 265909 h 394317"/>
                    <a:gd name="csX92" fmla="*/ 513666 w 525639"/>
                    <a:gd name="csY92" fmla="*/ 246316 h 394317"/>
                    <a:gd name="csX93" fmla="*/ 518756 w 525639"/>
                    <a:gd name="csY93" fmla="*/ 239433 h 394317"/>
                    <a:gd name="csX94" fmla="*/ 514403 w 525639"/>
                    <a:gd name="csY94" fmla="*/ 206779 h 394317"/>
                    <a:gd name="csX95" fmla="*/ 525639 w 525639"/>
                    <a:gd name="csY95" fmla="*/ 191188 h 394317"/>
                    <a:gd name="csX96" fmla="*/ 522374 w 525639"/>
                    <a:gd name="csY96" fmla="*/ 185009 h 394317"/>
                    <a:gd name="csX97" fmla="*/ 518020 w 525639"/>
                    <a:gd name="csY97" fmla="*/ 183569 h 394317"/>
                    <a:gd name="csX98" fmla="*/ 522374 w 525639"/>
                    <a:gd name="csY98" fmla="*/ 170507 h 394317"/>
                    <a:gd name="csX99" fmla="*/ 509312 w 525639"/>
                    <a:gd name="csY99" fmla="*/ 165417 h 394317"/>
                    <a:gd name="csX100" fmla="*/ 507519 w 525639"/>
                    <a:gd name="csY100" fmla="*/ 160358 h 394317"/>
                    <a:gd name="csX101" fmla="*/ 499164 w 525639"/>
                    <a:gd name="csY101" fmla="*/ 154916 h 394317"/>
                    <a:gd name="csX102" fmla="*/ 504254 w 525639"/>
                    <a:gd name="csY102" fmla="*/ 142943 h 394317"/>
                    <a:gd name="csX103" fmla="*/ 489720 w 525639"/>
                    <a:gd name="csY103" fmla="*/ 125879 h 394317"/>
                    <a:gd name="csX104" fmla="*/ 487927 w 525639"/>
                    <a:gd name="csY104" fmla="*/ 110288 h 394317"/>
                    <a:gd name="csX105" fmla="*/ 481012 w 525639"/>
                    <a:gd name="csY105" fmla="*/ 97227 h 394317"/>
                    <a:gd name="csX106" fmla="*/ 470511 w 525639"/>
                    <a:gd name="csY106" fmla="*/ 94698 h 394317"/>
                    <a:gd name="csX107" fmla="*/ 456713 w 525639"/>
                    <a:gd name="csY107" fmla="*/ 102669 h 394317"/>
                    <a:gd name="csX108" fmla="*/ 445828 w 525639"/>
                    <a:gd name="csY108" fmla="*/ 117171 h 394317"/>
                    <a:gd name="csX109" fmla="*/ 437857 w 525639"/>
                    <a:gd name="csY109" fmla="*/ 107759 h 394317"/>
                    <a:gd name="csX110" fmla="*/ 425884 w 525639"/>
                    <a:gd name="csY110" fmla="*/ 105935 h 394317"/>
                    <a:gd name="csX111" fmla="*/ 424059 w 525639"/>
                    <a:gd name="csY111" fmla="*/ 111025 h 394317"/>
                    <a:gd name="csX112" fmla="*/ 404498 w 525639"/>
                    <a:gd name="csY112" fmla="*/ 122262 h 394317"/>
                    <a:gd name="csX113" fmla="*/ 412117 w 525639"/>
                    <a:gd name="csY113" fmla="*/ 130233 h 394317"/>
                    <a:gd name="csX114" fmla="*/ 416471 w 525639"/>
                    <a:gd name="csY114" fmla="*/ 144031 h 394317"/>
                    <a:gd name="csX115" fmla="*/ 423354 w 525639"/>
                    <a:gd name="csY115" fmla="*/ 146560 h 394317"/>
                    <a:gd name="csX116" fmla="*/ 424059 w 525639"/>
                    <a:gd name="csY116" fmla="*/ 154916 h 394317"/>
                    <a:gd name="csX117" fmla="*/ 414647 w 525639"/>
                    <a:gd name="csY117" fmla="*/ 158534 h 394317"/>
                    <a:gd name="csX118" fmla="*/ 396495 w 525639"/>
                    <a:gd name="csY118" fmla="*/ 173036 h 394317"/>
                    <a:gd name="csX119" fmla="*/ 398319 w 525639"/>
                    <a:gd name="csY119" fmla="*/ 181040 h 394317"/>
                    <a:gd name="csX120" fmla="*/ 389612 w 525639"/>
                    <a:gd name="csY120" fmla="*/ 187570 h 394317"/>
                    <a:gd name="csX121" fmla="*/ 376902 w 525639"/>
                    <a:gd name="csY121" fmla="*/ 186098 h 394317"/>
                    <a:gd name="csX122" fmla="*/ 343191 w 525639"/>
                    <a:gd name="csY122" fmla="*/ 204250 h 394317"/>
                    <a:gd name="csX123" fmla="*/ 351163 w 525639"/>
                    <a:gd name="csY123" fmla="*/ 209308 h 394317"/>
                    <a:gd name="csX124" fmla="*/ 362400 w 525639"/>
                    <a:gd name="csY124" fmla="*/ 235784 h 394317"/>
                    <a:gd name="csX125" fmla="*/ 350074 w 525639"/>
                    <a:gd name="csY125" fmla="*/ 241963 h 394317"/>
                    <a:gd name="csX126" fmla="*/ 339926 w 525639"/>
                    <a:gd name="csY126" fmla="*/ 256465 h 394317"/>
                    <a:gd name="csX127" fmla="*/ 337365 w 525639"/>
                    <a:gd name="csY127" fmla="*/ 260819 h 394317"/>
                    <a:gd name="csX128" fmla="*/ 328657 w 525639"/>
                    <a:gd name="csY128" fmla="*/ 260819 h 394317"/>
                    <a:gd name="csX129" fmla="*/ 326128 w 525639"/>
                    <a:gd name="csY129" fmla="*/ 276442 h 394317"/>
                    <a:gd name="csX130" fmla="*/ 322510 w 525639"/>
                    <a:gd name="csY130" fmla="*/ 276442 h 394317"/>
                    <a:gd name="csX131" fmla="*/ 307271 w 525639"/>
                    <a:gd name="csY131" fmla="*/ 272088 h 394317"/>
                    <a:gd name="csX132" fmla="*/ 298563 w 525639"/>
                    <a:gd name="csY132" fmla="*/ 250670 h 394317"/>
                    <a:gd name="csX133" fmla="*/ 294210 w 525639"/>
                    <a:gd name="csY133" fmla="*/ 248141 h 394317"/>
                    <a:gd name="csX134" fmla="*/ 287327 w 525639"/>
                    <a:gd name="csY134" fmla="*/ 251407 h 394317"/>
                    <a:gd name="csX135" fmla="*/ 270263 w 525639"/>
                    <a:gd name="csY135" fmla="*/ 220577 h 394317"/>
                    <a:gd name="csX136" fmla="*/ 264084 w 525639"/>
                    <a:gd name="csY136" fmla="*/ 223842 h 394317"/>
                    <a:gd name="csX137" fmla="*/ 259026 w 525639"/>
                    <a:gd name="csY137" fmla="*/ 218016 h 394317"/>
                    <a:gd name="csX138" fmla="*/ 251023 w 525639"/>
                    <a:gd name="csY138" fmla="*/ 228196 h 394317"/>
                    <a:gd name="csX139" fmla="*/ 247053 w 525639"/>
                    <a:gd name="csY139" fmla="*/ 226372 h 394317"/>
                    <a:gd name="csX140" fmla="*/ 233255 w 525639"/>
                    <a:gd name="csY140" fmla="*/ 225635 h 394317"/>
                    <a:gd name="csX141" fmla="*/ 226372 w 525639"/>
                    <a:gd name="csY141" fmla="*/ 236872 h 394317"/>
                    <a:gd name="csX142" fmla="*/ 212574 w 525639"/>
                    <a:gd name="csY142" fmla="*/ 238345 h 394317"/>
                    <a:gd name="csX143" fmla="*/ 211485 w 525639"/>
                    <a:gd name="csY143" fmla="*/ 216223 h 394317"/>
                    <a:gd name="csX144" fmla="*/ 193365 w 525639"/>
                    <a:gd name="csY144" fmla="*/ 195542 h 394317"/>
                    <a:gd name="csX145" fmla="*/ 187539 w 525639"/>
                    <a:gd name="csY145" fmla="*/ 177390 h 394317"/>
                    <a:gd name="csX146" fmla="*/ 173036 w 525639"/>
                    <a:gd name="csY146" fmla="*/ 167978 h 394317"/>
                    <a:gd name="csX147" fmla="*/ 163240 w 525639"/>
                    <a:gd name="csY147" fmla="*/ 153444 h 394317"/>
                    <a:gd name="csX148" fmla="*/ 150562 w 525639"/>
                    <a:gd name="csY148" fmla="*/ 151651 h 394317"/>
                    <a:gd name="csX149" fmla="*/ 140030 w 525639"/>
                    <a:gd name="csY149" fmla="*/ 165417 h 394317"/>
                    <a:gd name="csX150" fmla="*/ 107375 w 525639"/>
                    <a:gd name="csY150" fmla="*/ 179215 h 394317"/>
                    <a:gd name="csX151" fmla="*/ 95402 w 525639"/>
                    <a:gd name="csY151" fmla="*/ 194454 h 394317"/>
                    <a:gd name="csX152" fmla="*/ 83429 w 525639"/>
                    <a:gd name="csY152" fmla="*/ 189363 h 394317"/>
                    <a:gd name="csX153" fmla="*/ 82340 w 525639"/>
                    <a:gd name="csY153" fmla="*/ 179215 h 394317"/>
                    <a:gd name="csX154" fmla="*/ 116083 w 525639"/>
                    <a:gd name="csY154" fmla="*/ 167242 h 394317"/>
                    <a:gd name="csX155" fmla="*/ 122262 w 525639"/>
                    <a:gd name="csY155" fmla="*/ 165417 h 394317"/>
                    <a:gd name="csX156" fmla="*/ 148738 w 525639"/>
                    <a:gd name="csY156" fmla="*/ 144031 h 394317"/>
                    <a:gd name="csX157" fmla="*/ 164328 w 525639"/>
                    <a:gd name="csY157" fmla="*/ 147297 h 394317"/>
                    <a:gd name="csX158" fmla="*/ 171243 w 525639"/>
                    <a:gd name="csY158" fmla="*/ 153444 h 394317"/>
                    <a:gd name="csX159" fmla="*/ 182480 w 525639"/>
                    <a:gd name="csY159" fmla="*/ 149090 h 394317"/>
                    <a:gd name="csX160" fmla="*/ 188275 w 525639"/>
                    <a:gd name="csY160" fmla="*/ 156709 h 394317"/>
                    <a:gd name="csX161" fmla="*/ 190100 w 525639"/>
                    <a:gd name="csY161" fmla="*/ 150914 h 394317"/>
                    <a:gd name="csX162" fmla="*/ 185746 w 525639"/>
                    <a:gd name="csY162" fmla="*/ 147297 h 394317"/>
                    <a:gd name="csX163" fmla="*/ 197719 w 525639"/>
                    <a:gd name="csY163" fmla="*/ 140382 h 394317"/>
                    <a:gd name="csX164" fmla="*/ 187539 w 525639"/>
                    <a:gd name="csY164" fmla="*/ 130970 h 394317"/>
                    <a:gd name="csX165" fmla="*/ 205691 w 525639"/>
                    <a:gd name="csY165" fmla="*/ 124086 h 394317"/>
                    <a:gd name="csX166" fmla="*/ 198808 w 525639"/>
                    <a:gd name="csY166" fmla="*/ 115379 h 394317"/>
                    <a:gd name="csX167" fmla="*/ 216928 w 525639"/>
                    <a:gd name="csY167" fmla="*/ 96490 h 394317"/>
                    <a:gd name="csX168" fmla="*/ 214046 w 525639"/>
                    <a:gd name="csY168" fmla="*/ 85254 h 394317"/>
                    <a:gd name="csX169" fmla="*/ 231462 w 525639"/>
                    <a:gd name="csY169" fmla="*/ 77634 h 394317"/>
                    <a:gd name="csX170" fmla="*/ 234727 w 525639"/>
                    <a:gd name="csY170" fmla="*/ 66397 h 394317"/>
                    <a:gd name="csX171" fmla="*/ 244140 w 525639"/>
                    <a:gd name="csY171" fmla="*/ 60218 h 394317"/>
                    <a:gd name="csX172" fmla="*/ 242699 w 525639"/>
                    <a:gd name="csY172" fmla="*/ 47541 h 394317"/>
                    <a:gd name="csX173" fmla="*/ 252847 w 525639"/>
                    <a:gd name="csY173" fmla="*/ 29389 h 394317"/>
                    <a:gd name="csX174" fmla="*/ 247757 w 525639"/>
                    <a:gd name="csY174" fmla="*/ 15623 h 394317"/>
                    <a:gd name="csX175" fmla="*/ 255376 w 525639"/>
                    <a:gd name="csY175" fmla="*/ 0 h 39431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</a:cxnLst>
                  <a:rect l="l" t="t" r="r" b="b"/>
                  <a:pathLst>
                    <a:path w="525639" h="394317">
                      <a:moveTo>
                        <a:pt x="255376" y="0"/>
                      </a:moveTo>
                      <a:lnTo>
                        <a:pt x="134971" y="0"/>
                      </a:lnTo>
                      <a:lnTo>
                        <a:pt x="134971" y="9796"/>
                      </a:lnTo>
                      <a:lnTo>
                        <a:pt x="131706" y="8708"/>
                      </a:lnTo>
                      <a:lnTo>
                        <a:pt x="123702" y="23210"/>
                      </a:lnTo>
                      <a:lnTo>
                        <a:pt x="125527" y="28652"/>
                      </a:lnTo>
                      <a:lnTo>
                        <a:pt x="122262" y="30125"/>
                      </a:lnTo>
                      <a:lnTo>
                        <a:pt x="116083" y="67133"/>
                      </a:lnTo>
                      <a:lnTo>
                        <a:pt x="111729" y="70751"/>
                      </a:lnTo>
                      <a:lnTo>
                        <a:pt x="109936" y="75105"/>
                      </a:lnTo>
                      <a:lnTo>
                        <a:pt x="107375" y="86342"/>
                      </a:lnTo>
                      <a:lnTo>
                        <a:pt x="105582" y="94698"/>
                      </a:lnTo>
                      <a:lnTo>
                        <a:pt x="107375" y="108464"/>
                      </a:lnTo>
                      <a:lnTo>
                        <a:pt x="101581" y="116467"/>
                      </a:lnTo>
                      <a:lnTo>
                        <a:pt x="81636" y="118996"/>
                      </a:lnTo>
                      <a:lnTo>
                        <a:pt x="74017" y="123350"/>
                      </a:lnTo>
                      <a:lnTo>
                        <a:pt x="68574" y="133499"/>
                      </a:lnTo>
                      <a:lnTo>
                        <a:pt x="53335" y="137853"/>
                      </a:lnTo>
                      <a:lnTo>
                        <a:pt x="48245" y="138589"/>
                      </a:lnTo>
                      <a:lnTo>
                        <a:pt x="43891" y="149826"/>
                      </a:lnTo>
                      <a:lnTo>
                        <a:pt x="32654" y="157445"/>
                      </a:lnTo>
                      <a:lnTo>
                        <a:pt x="30125" y="163624"/>
                      </a:lnTo>
                      <a:lnTo>
                        <a:pt x="22154" y="159270"/>
                      </a:lnTo>
                      <a:lnTo>
                        <a:pt x="13798" y="163624"/>
                      </a:lnTo>
                      <a:lnTo>
                        <a:pt x="19593" y="168682"/>
                      </a:lnTo>
                      <a:lnTo>
                        <a:pt x="18888" y="178126"/>
                      </a:lnTo>
                      <a:lnTo>
                        <a:pt x="8356" y="187570"/>
                      </a:lnTo>
                      <a:lnTo>
                        <a:pt x="8356" y="198807"/>
                      </a:lnTo>
                      <a:lnTo>
                        <a:pt x="0" y="221281"/>
                      </a:lnTo>
                      <a:lnTo>
                        <a:pt x="14534" y="223842"/>
                      </a:lnTo>
                      <a:lnTo>
                        <a:pt x="17064" y="232550"/>
                      </a:lnTo>
                      <a:lnTo>
                        <a:pt x="30125" y="268438"/>
                      </a:lnTo>
                      <a:lnTo>
                        <a:pt x="74017" y="285854"/>
                      </a:lnTo>
                      <a:lnTo>
                        <a:pt x="72928" y="278971"/>
                      </a:lnTo>
                      <a:lnTo>
                        <a:pt x="89255" y="251407"/>
                      </a:lnTo>
                      <a:lnTo>
                        <a:pt x="87783" y="245228"/>
                      </a:lnTo>
                      <a:lnTo>
                        <a:pt x="92873" y="236872"/>
                      </a:lnTo>
                      <a:lnTo>
                        <a:pt x="87783" y="223842"/>
                      </a:lnTo>
                      <a:lnTo>
                        <a:pt x="120437" y="222018"/>
                      </a:lnTo>
                      <a:lnTo>
                        <a:pt x="143647" y="232550"/>
                      </a:lnTo>
                      <a:lnTo>
                        <a:pt x="158182" y="232550"/>
                      </a:lnTo>
                      <a:lnTo>
                        <a:pt x="166889" y="239433"/>
                      </a:lnTo>
                      <a:lnTo>
                        <a:pt x="171243" y="243787"/>
                      </a:lnTo>
                      <a:lnTo>
                        <a:pt x="188275" y="254672"/>
                      </a:lnTo>
                      <a:lnTo>
                        <a:pt x="204602" y="274617"/>
                      </a:lnTo>
                      <a:lnTo>
                        <a:pt x="223843" y="278234"/>
                      </a:lnTo>
                      <a:lnTo>
                        <a:pt x="232166" y="288415"/>
                      </a:lnTo>
                      <a:lnTo>
                        <a:pt x="232166" y="289119"/>
                      </a:lnTo>
                      <a:lnTo>
                        <a:pt x="238345" y="286590"/>
                      </a:lnTo>
                      <a:lnTo>
                        <a:pt x="239081" y="277146"/>
                      </a:lnTo>
                      <a:lnTo>
                        <a:pt x="244140" y="276442"/>
                      </a:lnTo>
                      <a:lnTo>
                        <a:pt x="247053" y="253200"/>
                      </a:lnTo>
                      <a:lnTo>
                        <a:pt x="259026" y="252111"/>
                      </a:lnTo>
                      <a:lnTo>
                        <a:pt x="264821" y="245228"/>
                      </a:lnTo>
                      <a:lnTo>
                        <a:pt x="262291" y="232550"/>
                      </a:lnTo>
                      <a:lnTo>
                        <a:pt x="270999" y="233254"/>
                      </a:lnTo>
                      <a:lnTo>
                        <a:pt x="277882" y="241226"/>
                      </a:lnTo>
                      <a:lnTo>
                        <a:pt x="274617" y="250670"/>
                      </a:lnTo>
                      <a:lnTo>
                        <a:pt x="281148" y="263380"/>
                      </a:lnTo>
                      <a:lnTo>
                        <a:pt x="288031" y="266997"/>
                      </a:lnTo>
                      <a:lnTo>
                        <a:pt x="294946" y="260114"/>
                      </a:lnTo>
                      <a:lnTo>
                        <a:pt x="301093" y="272088"/>
                      </a:lnTo>
                      <a:lnTo>
                        <a:pt x="287327" y="290944"/>
                      </a:lnTo>
                      <a:lnTo>
                        <a:pt x="288031" y="306535"/>
                      </a:lnTo>
                      <a:lnTo>
                        <a:pt x="314154" y="315243"/>
                      </a:lnTo>
                      <a:lnTo>
                        <a:pt x="314154" y="321773"/>
                      </a:lnTo>
                      <a:lnTo>
                        <a:pt x="300388" y="336660"/>
                      </a:lnTo>
                      <a:lnTo>
                        <a:pt x="317420" y="341718"/>
                      </a:lnTo>
                      <a:lnTo>
                        <a:pt x="316683" y="348601"/>
                      </a:lnTo>
                      <a:lnTo>
                        <a:pt x="322510" y="356221"/>
                      </a:lnTo>
                      <a:lnTo>
                        <a:pt x="337365" y="361695"/>
                      </a:lnTo>
                      <a:lnTo>
                        <a:pt x="344280" y="358046"/>
                      </a:lnTo>
                      <a:lnTo>
                        <a:pt x="353692" y="369283"/>
                      </a:lnTo>
                      <a:lnTo>
                        <a:pt x="344984" y="389964"/>
                      </a:lnTo>
                      <a:lnTo>
                        <a:pt x="347545" y="394318"/>
                      </a:lnTo>
                      <a:lnTo>
                        <a:pt x="372548" y="388171"/>
                      </a:lnTo>
                      <a:lnTo>
                        <a:pt x="377638" y="381256"/>
                      </a:lnTo>
                      <a:lnTo>
                        <a:pt x="371844" y="360607"/>
                      </a:lnTo>
                      <a:lnTo>
                        <a:pt x="373284" y="346072"/>
                      </a:lnTo>
                      <a:lnTo>
                        <a:pt x="363840" y="343543"/>
                      </a:lnTo>
                      <a:lnTo>
                        <a:pt x="363136" y="338453"/>
                      </a:lnTo>
                      <a:lnTo>
                        <a:pt x="379463" y="317772"/>
                      </a:lnTo>
                      <a:lnTo>
                        <a:pt x="372548" y="295298"/>
                      </a:lnTo>
                      <a:lnTo>
                        <a:pt x="390700" y="292769"/>
                      </a:lnTo>
                      <a:lnTo>
                        <a:pt x="393229" y="300356"/>
                      </a:lnTo>
                      <a:lnTo>
                        <a:pt x="401937" y="302917"/>
                      </a:lnTo>
                      <a:lnTo>
                        <a:pt x="422618" y="298563"/>
                      </a:lnTo>
                      <a:lnTo>
                        <a:pt x="429501" y="309064"/>
                      </a:lnTo>
                      <a:lnTo>
                        <a:pt x="445828" y="309064"/>
                      </a:lnTo>
                      <a:lnTo>
                        <a:pt x="471600" y="299652"/>
                      </a:lnTo>
                      <a:lnTo>
                        <a:pt x="502429" y="275353"/>
                      </a:lnTo>
                      <a:lnTo>
                        <a:pt x="510401" y="265909"/>
                      </a:lnTo>
                      <a:lnTo>
                        <a:pt x="513666" y="246316"/>
                      </a:lnTo>
                      <a:lnTo>
                        <a:pt x="518756" y="239433"/>
                      </a:lnTo>
                      <a:lnTo>
                        <a:pt x="514403" y="206779"/>
                      </a:lnTo>
                      <a:lnTo>
                        <a:pt x="525639" y="191188"/>
                      </a:lnTo>
                      <a:lnTo>
                        <a:pt x="522374" y="185009"/>
                      </a:lnTo>
                      <a:lnTo>
                        <a:pt x="518020" y="183569"/>
                      </a:lnTo>
                      <a:lnTo>
                        <a:pt x="522374" y="170507"/>
                      </a:lnTo>
                      <a:lnTo>
                        <a:pt x="509312" y="165417"/>
                      </a:lnTo>
                      <a:lnTo>
                        <a:pt x="507519" y="160358"/>
                      </a:lnTo>
                      <a:lnTo>
                        <a:pt x="499164" y="154916"/>
                      </a:lnTo>
                      <a:lnTo>
                        <a:pt x="504254" y="142943"/>
                      </a:lnTo>
                      <a:lnTo>
                        <a:pt x="489720" y="125879"/>
                      </a:lnTo>
                      <a:lnTo>
                        <a:pt x="487927" y="110288"/>
                      </a:lnTo>
                      <a:lnTo>
                        <a:pt x="481012" y="97227"/>
                      </a:lnTo>
                      <a:lnTo>
                        <a:pt x="470511" y="94698"/>
                      </a:lnTo>
                      <a:lnTo>
                        <a:pt x="456713" y="102669"/>
                      </a:lnTo>
                      <a:lnTo>
                        <a:pt x="445828" y="117171"/>
                      </a:lnTo>
                      <a:lnTo>
                        <a:pt x="437857" y="107759"/>
                      </a:lnTo>
                      <a:lnTo>
                        <a:pt x="425884" y="105935"/>
                      </a:lnTo>
                      <a:lnTo>
                        <a:pt x="424059" y="111025"/>
                      </a:lnTo>
                      <a:lnTo>
                        <a:pt x="404498" y="122262"/>
                      </a:lnTo>
                      <a:lnTo>
                        <a:pt x="412117" y="130233"/>
                      </a:lnTo>
                      <a:lnTo>
                        <a:pt x="416471" y="144031"/>
                      </a:lnTo>
                      <a:lnTo>
                        <a:pt x="423354" y="146560"/>
                      </a:lnTo>
                      <a:lnTo>
                        <a:pt x="424059" y="154916"/>
                      </a:lnTo>
                      <a:lnTo>
                        <a:pt x="414647" y="158534"/>
                      </a:lnTo>
                      <a:lnTo>
                        <a:pt x="396495" y="173036"/>
                      </a:lnTo>
                      <a:lnTo>
                        <a:pt x="398319" y="181040"/>
                      </a:lnTo>
                      <a:lnTo>
                        <a:pt x="389612" y="187570"/>
                      </a:lnTo>
                      <a:lnTo>
                        <a:pt x="376902" y="186098"/>
                      </a:lnTo>
                      <a:lnTo>
                        <a:pt x="343191" y="204250"/>
                      </a:lnTo>
                      <a:lnTo>
                        <a:pt x="351163" y="209308"/>
                      </a:lnTo>
                      <a:lnTo>
                        <a:pt x="362400" y="235784"/>
                      </a:lnTo>
                      <a:lnTo>
                        <a:pt x="350074" y="241963"/>
                      </a:lnTo>
                      <a:lnTo>
                        <a:pt x="339926" y="256465"/>
                      </a:lnTo>
                      <a:lnTo>
                        <a:pt x="337365" y="260819"/>
                      </a:lnTo>
                      <a:lnTo>
                        <a:pt x="328657" y="260819"/>
                      </a:lnTo>
                      <a:lnTo>
                        <a:pt x="326128" y="276442"/>
                      </a:lnTo>
                      <a:lnTo>
                        <a:pt x="322510" y="276442"/>
                      </a:lnTo>
                      <a:lnTo>
                        <a:pt x="307271" y="272088"/>
                      </a:lnTo>
                      <a:lnTo>
                        <a:pt x="298563" y="250670"/>
                      </a:lnTo>
                      <a:lnTo>
                        <a:pt x="294210" y="248141"/>
                      </a:lnTo>
                      <a:lnTo>
                        <a:pt x="287327" y="251407"/>
                      </a:lnTo>
                      <a:lnTo>
                        <a:pt x="270263" y="220577"/>
                      </a:lnTo>
                      <a:lnTo>
                        <a:pt x="264084" y="223842"/>
                      </a:lnTo>
                      <a:lnTo>
                        <a:pt x="259026" y="218016"/>
                      </a:lnTo>
                      <a:lnTo>
                        <a:pt x="251023" y="228196"/>
                      </a:lnTo>
                      <a:lnTo>
                        <a:pt x="247053" y="226372"/>
                      </a:lnTo>
                      <a:lnTo>
                        <a:pt x="233255" y="225635"/>
                      </a:lnTo>
                      <a:lnTo>
                        <a:pt x="226372" y="236872"/>
                      </a:lnTo>
                      <a:lnTo>
                        <a:pt x="212574" y="238345"/>
                      </a:lnTo>
                      <a:lnTo>
                        <a:pt x="211485" y="216223"/>
                      </a:lnTo>
                      <a:lnTo>
                        <a:pt x="193365" y="195542"/>
                      </a:lnTo>
                      <a:lnTo>
                        <a:pt x="187539" y="177390"/>
                      </a:lnTo>
                      <a:lnTo>
                        <a:pt x="173036" y="167978"/>
                      </a:lnTo>
                      <a:lnTo>
                        <a:pt x="163240" y="153444"/>
                      </a:lnTo>
                      <a:lnTo>
                        <a:pt x="150562" y="151651"/>
                      </a:lnTo>
                      <a:lnTo>
                        <a:pt x="140030" y="165417"/>
                      </a:lnTo>
                      <a:lnTo>
                        <a:pt x="107375" y="179215"/>
                      </a:lnTo>
                      <a:lnTo>
                        <a:pt x="95402" y="194454"/>
                      </a:lnTo>
                      <a:lnTo>
                        <a:pt x="83429" y="189363"/>
                      </a:lnTo>
                      <a:lnTo>
                        <a:pt x="82340" y="179215"/>
                      </a:lnTo>
                      <a:lnTo>
                        <a:pt x="116083" y="167242"/>
                      </a:lnTo>
                      <a:lnTo>
                        <a:pt x="122262" y="165417"/>
                      </a:lnTo>
                      <a:lnTo>
                        <a:pt x="148738" y="144031"/>
                      </a:lnTo>
                      <a:lnTo>
                        <a:pt x="164328" y="147297"/>
                      </a:lnTo>
                      <a:lnTo>
                        <a:pt x="171243" y="153444"/>
                      </a:lnTo>
                      <a:lnTo>
                        <a:pt x="182480" y="149090"/>
                      </a:lnTo>
                      <a:lnTo>
                        <a:pt x="188275" y="156709"/>
                      </a:lnTo>
                      <a:lnTo>
                        <a:pt x="190100" y="150914"/>
                      </a:lnTo>
                      <a:lnTo>
                        <a:pt x="185746" y="147297"/>
                      </a:lnTo>
                      <a:lnTo>
                        <a:pt x="197719" y="140382"/>
                      </a:lnTo>
                      <a:lnTo>
                        <a:pt x="187539" y="130970"/>
                      </a:lnTo>
                      <a:lnTo>
                        <a:pt x="205691" y="124086"/>
                      </a:lnTo>
                      <a:lnTo>
                        <a:pt x="198808" y="115379"/>
                      </a:lnTo>
                      <a:lnTo>
                        <a:pt x="216928" y="96490"/>
                      </a:lnTo>
                      <a:lnTo>
                        <a:pt x="214046" y="85254"/>
                      </a:lnTo>
                      <a:lnTo>
                        <a:pt x="231462" y="77634"/>
                      </a:lnTo>
                      <a:lnTo>
                        <a:pt x="234727" y="66397"/>
                      </a:lnTo>
                      <a:lnTo>
                        <a:pt x="244140" y="60218"/>
                      </a:lnTo>
                      <a:lnTo>
                        <a:pt x="242699" y="47541"/>
                      </a:lnTo>
                      <a:lnTo>
                        <a:pt x="252847" y="29389"/>
                      </a:lnTo>
                      <a:lnTo>
                        <a:pt x="247757" y="15623"/>
                      </a:lnTo>
                      <a:lnTo>
                        <a:pt x="255376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299" name="Forma Livre: Forma 298">
                  <a:extLst>
                    <a:ext uri="{FF2B5EF4-FFF2-40B4-BE49-F238E27FC236}">
                      <a16:creationId xmlns:a16="http://schemas.microsoft.com/office/drawing/2014/main" id="{0C8E34B4-8318-B36E-FCE6-77329808F25F}"/>
                    </a:ext>
                  </a:extLst>
                </p:cNvPr>
                <p:cNvSpPr/>
                <p:nvPr/>
              </p:nvSpPr>
              <p:spPr>
                <a:xfrm>
                  <a:off x="3780524" y="3205030"/>
                  <a:ext cx="618864" cy="511136"/>
                </a:xfrm>
                <a:custGeom>
                  <a:avLst/>
                  <a:gdLst>
                    <a:gd name="csX0" fmla="*/ 142943 w 618864"/>
                    <a:gd name="csY0" fmla="*/ 23210 h 511136"/>
                    <a:gd name="csX1" fmla="*/ 119701 w 618864"/>
                    <a:gd name="csY1" fmla="*/ 0 h 511136"/>
                    <a:gd name="csX2" fmla="*/ 78370 w 618864"/>
                    <a:gd name="csY2" fmla="*/ 48982 h 511136"/>
                    <a:gd name="csX3" fmla="*/ 50070 w 618864"/>
                    <a:gd name="csY3" fmla="*/ 82692 h 511136"/>
                    <a:gd name="csX4" fmla="*/ 34447 w 618864"/>
                    <a:gd name="csY4" fmla="*/ 100844 h 511136"/>
                    <a:gd name="csX5" fmla="*/ 0 w 618864"/>
                    <a:gd name="csY5" fmla="*/ 141822 h 511136"/>
                    <a:gd name="csX6" fmla="*/ 1088 w 618864"/>
                    <a:gd name="csY6" fmla="*/ 144383 h 511136"/>
                    <a:gd name="csX7" fmla="*/ 4354 w 618864"/>
                    <a:gd name="csY7" fmla="*/ 163592 h 511136"/>
                    <a:gd name="csX8" fmla="*/ 1825 w 618864"/>
                    <a:gd name="csY8" fmla="*/ 173036 h 511136"/>
                    <a:gd name="csX9" fmla="*/ 6883 w 618864"/>
                    <a:gd name="csY9" fmla="*/ 180655 h 511136"/>
                    <a:gd name="csX10" fmla="*/ 13798 w 618864"/>
                    <a:gd name="csY10" fmla="*/ 180655 h 511136"/>
                    <a:gd name="csX11" fmla="*/ 18152 w 618864"/>
                    <a:gd name="csY11" fmla="*/ 187539 h 511136"/>
                    <a:gd name="csX12" fmla="*/ 17416 w 618864"/>
                    <a:gd name="csY12" fmla="*/ 196983 h 511136"/>
                    <a:gd name="csX13" fmla="*/ 24299 w 618864"/>
                    <a:gd name="csY13" fmla="*/ 196983 h 511136"/>
                    <a:gd name="csX14" fmla="*/ 33743 w 618864"/>
                    <a:gd name="csY14" fmla="*/ 206395 h 511136"/>
                    <a:gd name="csX15" fmla="*/ 31182 w 618864"/>
                    <a:gd name="csY15" fmla="*/ 215839 h 511136"/>
                    <a:gd name="csX16" fmla="*/ 39889 w 618864"/>
                    <a:gd name="csY16" fmla="*/ 223810 h 511136"/>
                    <a:gd name="csX17" fmla="*/ 39889 w 618864"/>
                    <a:gd name="csY17" fmla="*/ 232166 h 511136"/>
                    <a:gd name="csX18" fmla="*/ 44980 w 618864"/>
                    <a:gd name="csY18" fmla="*/ 229637 h 511136"/>
                    <a:gd name="csX19" fmla="*/ 70751 w 618864"/>
                    <a:gd name="csY19" fmla="*/ 240138 h 511136"/>
                    <a:gd name="csX20" fmla="*/ 78370 w 618864"/>
                    <a:gd name="csY20" fmla="*/ 239049 h 511136"/>
                    <a:gd name="csX21" fmla="*/ 95754 w 618864"/>
                    <a:gd name="csY21" fmla="*/ 252111 h 511136"/>
                    <a:gd name="csX22" fmla="*/ 107727 w 618864"/>
                    <a:gd name="csY22" fmla="*/ 252111 h 511136"/>
                    <a:gd name="csX23" fmla="*/ 137116 w 618864"/>
                    <a:gd name="csY23" fmla="*/ 258994 h 511136"/>
                    <a:gd name="csX24" fmla="*/ 165417 w 618864"/>
                    <a:gd name="csY24" fmla="*/ 274617 h 511136"/>
                    <a:gd name="csX25" fmla="*/ 181744 w 618864"/>
                    <a:gd name="csY25" fmla="*/ 277146 h 511136"/>
                    <a:gd name="csX26" fmla="*/ 191893 w 618864"/>
                    <a:gd name="csY26" fmla="*/ 273528 h 511136"/>
                    <a:gd name="csX27" fmla="*/ 226372 w 618864"/>
                    <a:gd name="csY27" fmla="*/ 280411 h 511136"/>
                    <a:gd name="csX28" fmla="*/ 244492 w 618864"/>
                    <a:gd name="csY28" fmla="*/ 282940 h 511136"/>
                    <a:gd name="csX29" fmla="*/ 248141 w 618864"/>
                    <a:gd name="csY29" fmla="*/ 284765 h 511136"/>
                    <a:gd name="csX30" fmla="*/ 272792 w 618864"/>
                    <a:gd name="csY30" fmla="*/ 293473 h 511136"/>
                    <a:gd name="csX31" fmla="*/ 276410 w 618864"/>
                    <a:gd name="csY31" fmla="*/ 292385 h 511136"/>
                    <a:gd name="csX32" fmla="*/ 277146 w 618864"/>
                    <a:gd name="csY32" fmla="*/ 293473 h 511136"/>
                    <a:gd name="csX33" fmla="*/ 300356 w 618864"/>
                    <a:gd name="csY33" fmla="*/ 308712 h 511136"/>
                    <a:gd name="csX34" fmla="*/ 314154 w 618864"/>
                    <a:gd name="csY34" fmla="*/ 329393 h 511136"/>
                    <a:gd name="csX35" fmla="*/ 324655 w 618864"/>
                    <a:gd name="csY35" fmla="*/ 333011 h 511136"/>
                    <a:gd name="csX36" fmla="*/ 347161 w 618864"/>
                    <a:gd name="csY36" fmla="*/ 359486 h 511136"/>
                    <a:gd name="csX37" fmla="*/ 369283 w 618864"/>
                    <a:gd name="csY37" fmla="*/ 368194 h 511136"/>
                    <a:gd name="csX38" fmla="*/ 368578 w 618864"/>
                    <a:gd name="csY38" fmla="*/ 376902 h 511136"/>
                    <a:gd name="csX39" fmla="*/ 374373 w 618864"/>
                    <a:gd name="csY39" fmla="*/ 378727 h 511136"/>
                    <a:gd name="csX40" fmla="*/ 392493 w 618864"/>
                    <a:gd name="csY40" fmla="*/ 372548 h 511136"/>
                    <a:gd name="csX41" fmla="*/ 409908 w 618864"/>
                    <a:gd name="csY41" fmla="*/ 366369 h 511136"/>
                    <a:gd name="csX42" fmla="*/ 417528 w 618864"/>
                    <a:gd name="csY42" fmla="*/ 372548 h 511136"/>
                    <a:gd name="csX43" fmla="*/ 432030 w 618864"/>
                    <a:gd name="csY43" fmla="*/ 360575 h 511136"/>
                    <a:gd name="csX44" fmla="*/ 440034 w 618864"/>
                    <a:gd name="csY44" fmla="*/ 363840 h 511136"/>
                    <a:gd name="csX45" fmla="*/ 434943 w 618864"/>
                    <a:gd name="csY45" fmla="*/ 381256 h 511136"/>
                    <a:gd name="csX46" fmla="*/ 445828 w 618864"/>
                    <a:gd name="csY46" fmla="*/ 389611 h 511136"/>
                    <a:gd name="csX47" fmla="*/ 448357 w 618864"/>
                    <a:gd name="csY47" fmla="*/ 405202 h 511136"/>
                    <a:gd name="csX48" fmla="*/ 440034 w 618864"/>
                    <a:gd name="csY48" fmla="*/ 412822 h 511136"/>
                    <a:gd name="csX49" fmla="*/ 432030 w 618864"/>
                    <a:gd name="csY49" fmla="*/ 409556 h 511136"/>
                    <a:gd name="csX50" fmla="*/ 428765 w 618864"/>
                    <a:gd name="csY50" fmla="*/ 417176 h 511136"/>
                    <a:gd name="csX51" fmla="*/ 431326 w 618864"/>
                    <a:gd name="csY51" fmla="*/ 427676 h 511136"/>
                    <a:gd name="csX52" fmla="*/ 447653 w 618864"/>
                    <a:gd name="csY52" fmla="*/ 430942 h 511136"/>
                    <a:gd name="csX53" fmla="*/ 440738 w 618864"/>
                    <a:gd name="csY53" fmla="*/ 436032 h 511136"/>
                    <a:gd name="csX54" fmla="*/ 445092 w 618864"/>
                    <a:gd name="csY54" fmla="*/ 445828 h 511136"/>
                    <a:gd name="csX55" fmla="*/ 477042 w 618864"/>
                    <a:gd name="csY55" fmla="*/ 464685 h 511136"/>
                    <a:gd name="csX56" fmla="*/ 486454 w 618864"/>
                    <a:gd name="csY56" fmla="*/ 458506 h 511136"/>
                    <a:gd name="csX57" fmla="*/ 489720 w 618864"/>
                    <a:gd name="csY57" fmla="*/ 470479 h 511136"/>
                    <a:gd name="csX58" fmla="*/ 494073 w 618864"/>
                    <a:gd name="csY58" fmla="*/ 472304 h 511136"/>
                    <a:gd name="csX59" fmla="*/ 494073 w 618864"/>
                    <a:gd name="csY59" fmla="*/ 483541 h 511136"/>
                    <a:gd name="csX60" fmla="*/ 507135 w 618864"/>
                    <a:gd name="csY60" fmla="*/ 483541 h 511136"/>
                    <a:gd name="csX61" fmla="*/ 537965 w 618864"/>
                    <a:gd name="csY61" fmla="*/ 496603 h 511136"/>
                    <a:gd name="csX62" fmla="*/ 572444 w 618864"/>
                    <a:gd name="csY62" fmla="*/ 499164 h 511136"/>
                    <a:gd name="csX63" fmla="*/ 576798 w 618864"/>
                    <a:gd name="csY63" fmla="*/ 511137 h 511136"/>
                    <a:gd name="csX64" fmla="*/ 605066 w 618864"/>
                    <a:gd name="csY64" fmla="*/ 509312 h 511136"/>
                    <a:gd name="csX65" fmla="*/ 618865 w 618864"/>
                    <a:gd name="csY65" fmla="*/ 497339 h 511136"/>
                    <a:gd name="csX66" fmla="*/ 495162 w 618864"/>
                    <a:gd name="csY66" fmla="*/ 338101 h 511136"/>
                    <a:gd name="csX67" fmla="*/ 441474 w 618864"/>
                    <a:gd name="csY67" fmla="*/ 270967 h 511136"/>
                    <a:gd name="csX68" fmla="*/ 407379 w 618864"/>
                    <a:gd name="csY68" fmla="*/ 244492 h 511136"/>
                    <a:gd name="csX69" fmla="*/ 384873 w 618864"/>
                    <a:gd name="csY69" fmla="*/ 210749 h 511136"/>
                    <a:gd name="csX70" fmla="*/ 369283 w 618864"/>
                    <a:gd name="csY70" fmla="*/ 204602 h 511136"/>
                    <a:gd name="csX71" fmla="*/ 337365 w 618864"/>
                    <a:gd name="csY71" fmla="*/ 170507 h 511136"/>
                    <a:gd name="csX72" fmla="*/ 332274 w 618864"/>
                    <a:gd name="csY72" fmla="*/ 166153 h 511136"/>
                    <a:gd name="csX73" fmla="*/ 322126 w 618864"/>
                    <a:gd name="csY73" fmla="*/ 141822 h 511136"/>
                    <a:gd name="csX74" fmla="*/ 292033 w 618864"/>
                    <a:gd name="csY74" fmla="*/ 136028 h 511136"/>
                    <a:gd name="csX75" fmla="*/ 266997 w 618864"/>
                    <a:gd name="csY75" fmla="*/ 157445 h 511136"/>
                    <a:gd name="csX76" fmla="*/ 266261 w 618864"/>
                    <a:gd name="csY76" fmla="*/ 163592 h 511136"/>
                    <a:gd name="csX77" fmla="*/ 266261 w 618864"/>
                    <a:gd name="csY77" fmla="*/ 51511 h 511136"/>
                    <a:gd name="csX78" fmla="*/ 253936 w 618864"/>
                    <a:gd name="csY78" fmla="*/ 52599 h 511136"/>
                    <a:gd name="csX79" fmla="*/ 241226 w 618864"/>
                    <a:gd name="csY79" fmla="*/ 43891 h 511136"/>
                    <a:gd name="csX80" fmla="*/ 206779 w 618864"/>
                    <a:gd name="csY80" fmla="*/ 47157 h 511136"/>
                    <a:gd name="csX81" fmla="*/ 196246 w 618864"/>
                    <a:gd name="csY81" fmla="*/ 39537 h 511136"/>
                    <a:gd name="csX82" fmla="*/ 177390 w 618864"/>
                    <a:gd name="csY82" fmla="*/ 35183 h 511136"/>
                    <a:gd name="csX83" fmla="*/ 162888 w 618864"/>
                    <a:gd name="csY83" fmla="*/ 37008 h 511136"/>
                    <a:gd name="csX84" fmla="*/ 142943 w 618864"/>
                    <a:gd name="csY84" fmla="*/ 23210 h 5111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618864" h="511136">
                      <a:moveTo>
                        <a:pt x="142943" y="23210"/>
                      </a:moveTo>
                      <a:lnTo>
                        <a:pt x="119701" y="0"/>
                      </a:lnTo>
                      <a:lnTo>
                        <a:pt x="78370" y="48982"/>
                      </a:lnTo>
                      <a:lnTo>
                        <a:pt x="50070" y="82692"/>
                      </a:lnTo>
                      <a:lnTo>
                        <a:pt x="34447" y="100844"/>
                      </a:lnTo>
                      <a:lnTo>
                        <a:pt x="0" y="141822"/>
                      </a:lnTo>
                      <a:lnTo>
                        <a:pt x="1088" y="144383"/>
                      </a:lnTo>
                      <a:lnTo>
                        <a:pt x="4354" y="163592"/>
                      </a:lnTo>
                      <a:lnTo>
                        <a:pt x="1825" y="173036"/>
                      </a:lnTo>
                      <a:lnTo>
                        <a:pt x="6883" y="180655"/>
                      </a:lnTo>
                      <a:lnTo>
                        <a:pt x="13798" y="180655"/>
                      </a:lnTo>
                      <a:lnTo>
                        <a:pt x="18152" y="187539"/>
                      </a:lnTo>
                      <a:lnTo>
                        <a:pt x="17416" y="196983"/>
                      </a:lnTo>
                      <a:lnTo>
                        <a:pt x="24299" y="196983"/>
                      </a:lnTo>
                      <a:lnTo>
                        <a:pt x="33743" y="206395"/>
                      </a:lnTo>
                      <a:lnTo>
                        <a:pt x="31182" y="215839"/>
                      </a:lnTo>
                      <a:lnTo>
                        <a:pt x="39889" y="223810"/>
                      </a:lnTo>
                      <a:lnTo>
                        <a:pt x="39889" y="232166"/>
                      </a:lnTo>
                      <a:lnTo>
                        <a:pt x="44980" y="229637"/>
                      </a:lnTo>
                      <a:lnTo>
                        <a:pt x="70751" y="240138"/>
                      </a:lnTo>
                      <a:lnTo>
                        <a:pt x="78370" y="239049"/>
                      </a:lnTo>
                      <a:lnTo>
                        <a:pt x="95754" y="252111"/>
                      </a:lnTo>
                      <a:lnTo>
                        <a:pt x="107727" y="252111"/>
                      </a:lnTo>
                      <a:lnTo>
                        <a:pt x="137116" y="258994"/>
                      </a:lnTo>
                      <a:lnTo>
                        <a:pt x="165417" y="274617"/>
                      </a:lnTo>
                      <a:lnTo>
                        <a:pt x="181744" y="277146"/>
                      </a:lnTo>
                      <a:lnTo>
                        <a:pt x="191893" y="273528"/>
                      </a:lnTo>
                      <a:lnTo>
                        <a:pt x="226372" y="280411"/>
                      </a:lnTo>
                      <a:lnTo>
                        <a:pt x="244492" y="282940"/>
                      </a:lnTo>
                      <a:lnTo>
                        <a:pt x="248141" y="284765"/>
                      </a:lnTo>
                      <a:lnTo>
                        <a:pt x="272792" y="293473"/>
                      </a:lnTo>
                      <a:lnTo>
                        <a:pt x="276410" y="292385"/>
                      </a:lnTo>
                      <a:lnTo>
                        <a:pt x="277146" y="293473"/>
                      </a:lnTo>
                      <a:lnTo>
                        <a:pt x="300356" y="308712"/>
                      </a:lnTo>
                      <a:lnTo>
                        <a:pt x="314154" y="329393"/>
                      </a:lnTo>
                      <a:lnTo>
                        <a:pt x="324655" y="333011"/>
                      </a:lnTo>
                      <a:lnTo>
                        <a:pt x="347161" y="359486"/>
                      </a:lnTo>
                      <a:lnTo>
                        <a:pt x="369283" y="368194"/>
                      </a:lnTo>
                      <a:lnTo>
                        <a:pt x="368578" y="376902"/>
                      </a:lnTo>
                      <a:lnTo>
                        <a:pt x="374373" y="378727"/>
                      </a:lnTo>
                      <a:lnTo>
                        <a:pt x="392493" y="372548"/>
                      </a:lnTo>
                      <a:lnTo>
                        <a:pt x="409908" y="366369"/>
                      </a:lnTo>
                      <a:lnTo>
                        <a:pt x="417528" y="372548"/>
                      </a:lnTo>
                      <a:lnTo>
                        <a:pt x="432030" y="360575"/>
                      </a:lnTo>
                      <a:lnTo>
                        <a:pt x="440034" y="363840"/>
                      </a:lnTo>
                      <a:lnTo>
                        <a:pt x="434943" y="381256"/>
                      </a:lnTo>
                      <a:lnTo>
                        <a:pt x="445828" y="389611"/>
                      </a:lnTo>
                      <a:lnTo>
                        <a:pt x="448357" y="405202"/>
                      </a:lnTo>
                      <a:lnTo>
                        <a:pt x="440034" y="412822"/>
                      </a:lnTo>
                      <a:lnTo>
                        <a:pt x="432030" y="409556"/>
                      </a:lnTo>
                      <a:lnTo>
                        <a:pt x="428765" y="417176"/>
                      </a:lnTo>
                      <a:lnTo>
                        <a:pt x="431326" y="427676"/>
                      </a:lnTo>
                      <a:lnTo>
                        <a:pt x="447653" y="430942"/>
                      </a:lnTo>
                      <a:lnTo>
                        <a:pt x="440738" y="436032"/>
                      </a:lnTo>
                      <a:lnTo>
                        <a:pt x="445092" y="445828"/>
                      </a:lnTo>
                      <a:lnTo>
                        <a:pt x="477042" y="464685"/>
                      </a:lnTo>
                      <a:lnTo>
                        <a:pt x="486454" y="458506"/>
                      </a:lnTo>
                      <a:lnTo>
                        <a:pt x="489720" y="470479"/>
                      </a:lnTo>
                      <a:lnTo>
                        <a:pt x="494073" y="472304"/>
                      </a:lnTo>
                      <a:lnTo>
                        <a:pt x="494073" y="483541"/>
                      </a:lnTo>
                      <a:lnTo>
                        <a:pt x="507135" y="483541"/>
                      </a:lnTo>
                      <a:lnTo>
                        <a:pt x="537965" y="496603"/>
                      </a:lnTo>
                      <a:lnTo>
                        <a:pt x="572444" y="499164"/>
                      </a:lnTo>
                      <a:lnTo>
                        <a:pt x="576798" y="511137"/>
                      </a:lnTo>
                      <a:lnTo>
                        <a:pt x="605066" y="509312"/>
                      </a:lnTo>
                      <a:lnTo>
                        <a:pt x="618865" y="497339"/>
                      </a:lnTo>
                      <a:lnTo>
                        <a:pt x="495162" y="338101"/>
                      </a:lnTo>
                      <a:lnTo>
                        <a:pt x="441474" y="270967"/>
                      </a:lnTo>
                      <a:lnTo>
                        <a:pt x="407379" y="244492"/>
                      </a:lnTo>
                      <a:lnTo>
                        <a:pt x="384873" y="210749"/>
                      </a:lnTo>
                      <a:lnTo>
                        <a:pt x="369283" y="204602"/>
                      </a:lnTo>
                      <a:lnTo>
                        <a:pt x="337365" y="170507"/>
                      </a:lnTo>
                      <a:lnTo>
                        <a:pt x="332274" y="166153"/>
                      </a:lnTo>
                      <a:lnTo>
                        <a:pt x="322126" y="141822"/>
                      </a:lnTo>
                      <a:lnTo>
                        <a:pt x="292033" y="136028"/>
                      </a:lnTo>
                      <a:lnTo>
                        <a:pt x="266997" y="157445"/>
                      </a:lnTo>
                      <a:lnTo>
                        <a:pt x="266261" y="163592"/>
                      </a:lnTo>
                      <a:lnTo>
                        <a:pt x="266261" y="51511"/>
                      </a:lnTo>
                      <a:lnTo>
                        <a:pt x="253936" y="52599"/>
                      </a:lnTo>
                      <a:lnTo>
                        <a:pt x="241226" y="43891"/>
                      </a:lnTo>
                      <a:lnTo>
                        <a:pt x="206779" y="47157"/>
                      </a:lnTo>
                      <a:lnTo>
                        <a:pt x="196246" y="39537"/>
                      </a:lnTo>
                      <a:lnTo>
                        <a:pt x="177390" y="35183"/>
                      </a:lnTo>
                      <a:lnTo>
                        <a:pt x="162888" y="37008"/>
                      </a:lnTo>
                      <a:lnTo>
                        <a:pt x="142943" y="2321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0" name="Forma Livre: Forma 299">
                  <a:extLst>
                    <a:ext uri="{FF2B5EF4-FFF2-40B4-BE49-F238E27FC236}">
                      <a16:creationId xmlns:a16="http://schemas.microsoft.com/office/drawing/2014/main" id="{70CF846C-5496-1738-7B6C-98FFD43866DD}"/>
                    </a:ext>
                  </a:extLst>
                </p:cNvPr>
                <p:cNvSpPr/>
                <p:nvPr/>
              </p:nvSpPr>
              <p:spPr>
                <a:xfrm>
                  <a:off x="3780524" y="3205030"/>
                  <a:ext cx="618864" cy="511136"/>
                </a:xfrm>
                <a:custGeom>
                  <a:avLst/>
                  <a:gdLst>
                    <a:gd name="csX0" fmla="*/ 142943 w 618864"/>
                    <a:gd name="csY0" fmla="*/ 23210 h 511136"/>
                    <a:gd name="csX1" fmla="*/ 119701 w 618864"/>
                    <a:gd name="csY1" fmla="*/ 0 h 511136"/>
                    <a:gd name="csX2" fmla="*/ 78370 w 618864"/>
                    <a:gd name="csY2" fmla="*/ 48982 h 511136"/>
                    <a:gd name="csX3" fmla="*/ 50070 w 618864"/>
                    <a:gd name="csY3" fmla="*/ 82692 h 511136"/>
                    <a:gd name="csX4" fmla="*/ 34447 w 618864"/>
                    <a:gd name="csY4" fmla="*/ 100844 h 511136"/>
                    <a:gd name="csX5" fmla="*/ 0 w 618864"/>
                    <a:gd name="csY5" fmla="*/ 141822 h 511136"/>
                    <a:gd name="csX6" fmla="*/ 1088 w 618864"/>
                    <a:gd name="csY6" fmla="*/ 144383 h 511136"/>
                    <a:gd name="csX7" fmla="*/ 4354 w 618864"/>
                    <a:gd name="csY7" fmla="*/ 163592 h 511136"/>
                    <a:gd name="csX8" fmla="*/ 1825 w 618864"/>
                    <a:gd name="csY8" fmla="*/ 173036 h 511136"/>
                    <a:gd name="csX9" fmla="*/ 6883 w 618864"/>
                    <a:gd name="csY9" fmla="*/ 180655 h 511136"/>
                    <a:gd name="csX10" fmla="*/ 13798 w 618864"/>
                    <a:gd name="csY10" fmla="*/ 180655 h 511136"/>
                    <a:gd name="csX11" fmla="*/ 18152 w 618864"/>
                    <a:gd name="csY11" fmla="*/ 187539 h 511136"/>
                    <a:gd name="csX12" fmla="*/ 17416 w 618864"/>
                    <a:gd name="csY12" fmla="*/ 196983 h 511136"/>
                    <a:gd name="csX13" fmla="*/ 24299 w 618864"/>
                    <a:gd name="csY13" fmla="*/ 196983 h 511136"/>
                    <a:gd name="csX14" fmla="*/ 33743 w 618864"/>
                    <a:gd name="csY14" fmla="*/ 206395 h 511136"/>
                    <a:gd name="csX15" fmla="*/ 31182 w 618864"/>
                    <a:gd name="csY15" fmla="*/ 215839 h 511136"/>
                    <a:gd name="csX16" fmla="*/ 39889 w 618864"/>
                    <a:gd name="csY16" fmla="*/ 223810 h 511136"/>
                    <a:gd name="csX17" fmla="*/ 39889 w 618864"/>
                    <a:gd name="csY17" fmla="*/ 232166 h 511136"/>
                    <a:gd name="csX18" fmla="*/ 44980 w 618864"/>
                    <a:gd name="csY18" fmla="*/ 229637 h 511136"/>
                    <a:gd name="csX19" fmla="*/ 70751 w 618864"/>
                    <a:gd name="csY19" fmla="*/ 240138 h 511136"/>
                    <a:gd name="csX20" fmla="*/ 78370 w 618864"/>
                    <a:gd name="csY20" fmla="*/ 239049 h 511136"/>
                    <a:gd name="csX21" fmla="*/ 95754 w 618864"/>
                    <a:gd name="csY21" fmla="*/ 252111 h 511136"/>
                    <a:gd name="csX22" fmla="*/ 107727 w 618864"/>
                    <a:gd name="csY22" fmla="*/ 252111 h 511136"/>
                    <a:gd name="csX23" fmla="*/ 137116 w 618864"/>
                    <a:gd name="csY23" fmla="*/ 258994 h 511136"/>
                    <a:gd name="csX24" fmla="*/ 165417 w 618864"/>
                    <a:gd name="csY24" fmla="*/ 274617 h 511136"/>
                    <a:gd name="csX25" fmla="*/ 181744 w 618864"/>
                    <a:gd name="csY25" fmla="*/ 277146 h 511136"/>
                    <a:gd name="csX26" fmla="*/ 191893 w 618864"/>
                    <a:gd name="csY26" fmla="*/ 273528 h 511136"/>
                    <a:gd name="csX27" fmla="*/ 226372 w 618864"/>
                    <a:gd name="csY27" fmla="*/ 280411 h 511136"/>
                    <a:gd name="csX28" fmla="*/ 244492 w 618864"/>
                    <a:gd name="csY28" fmla="*/ 282940 h 511136"/>
                    <a:gd name="csX29" fmla="*/ 248141 w 618864"/>
                    <a:gd name="csY29" fmla="*/ 284765 h 511136"/>
                    <a:gd name="csX30" fmla="*/ 272792 w 618864"/>
                    <a:gd name="csY30" fmla="*/ 293473 h 511136"/>
                    <a:gd name="csX31" fmla="*/ 276410 w 618864"/>
                    <a:gd name="csY31" fmla="*/ 292385 h 511136"/>
                    <a:gd name="csX32" fmla="*/ 277146 w 618864"/>
                    <a:gd name="csY32" fmla="*/ 293473 h 511136"/>
                    <a:gd name="csX33" fmla="*/ 300356 w 618864"/>
                    <a:gd name="csY33" fmla="*/ 308712 h 511136"/>
                    <a:gd name="csX34" fmla="*/ 314154 w 618864"/>
                    <a:gd name="csY34" fmla="*/ 329393 h 511136"/>
                    <a:gd name="csX35" fmla="*/ 324655 w 618864"/>
                    <a:gd name="csY35" fmla="*/ 333011 h 511136"/>
                    <a:gd name="csX36" fmla="*/ 347161 w 618864"/>
                    <a:gd name="csY36" fmla="*/ 359486 h 511136"/>
                    <a:gd name="csX37" fmla="*/ 369283 w 618864"/>
                    <a:gd name="csY37" fmla="*/ 368194 h 511136"/>
                    <a:gd name="csX38" fmla="*/ 368578 w 618864"/>
                    <a:gd name="csY38" fmla="*/ 376902 h 511136"/>
                    <a:gd name="csX39" fmla="*/ 374373 w 618864"/>
                    <a:gd name="csY39" fmla="*/ 378727 h 511136"/>
                    <a:gd name="csX40" fmla="*/ 392493 w 618864"/>
                    <a:gd name="csY40" fmla="*/ 372548 h 511136"/>
                    <a:gd name="csX41" fmla="*/ 409908 w 618864"/>
                    <a:gd name="csY41" fmla="*/ 366369 h 511136"/>
                    <a:gd name="csX42" fmla="*/ 417528 w 618864"/>
                    <a:gd name="csY42" fmla="*/ 372548 h 511136"/>
                    <a:gd name="csX43" fmla="*/ 432030 w 618864"/>
                    <a:gd name="csY43" fmla="*/ 360575 h 511136"/>
                    <a:gd name="csX44" fmla="*/ 440034 w 618864"/>
                    <a:gd name="csY44" fmla="*/ 363840 h 511136"/>
                    <a:gd name="csX45" fmla="*/ 434943 w 618864"/>
                    <a:gd name="csY45" fmla="*/ 381256 h 511136"/>
                    <a:gd name="csX46" fmla="*/ 445828 w 618864"/>
                    <a:gd name="csY46" fmla="*/ 389611 h 511136"/>
                    <a:gd name="csX47" fmla="*/ 448357 w 618864"/>
                    <a:gd name="csY47" fmla="*/ 405202 h 511136"/>
                    <a:gd name="csX48" fmla="*/ 440034 w 618864"/>
                    <a:gd name="csY48" fmla="*/ 412822 h 511136"/>
                    <a:gd name="csX49" fmla="*/ 432030 w 618864"/>
                    <a:gd name="csY49" fmla="*/ 409556 h 511136"/>
                    <a:gd name="csX50" fmla="*/ 428765 w 618864"/>
                    <a:gd name="csY50" fmla="*/ 417176 h 511136"/>
                    <a:gd name="csX51" fmla="*/ 431326 w 618864"/>
                    <a:gd name="csY51" fmla="*/ 427676 h 511136"/>
                    <a:gd name="csX52" fmla="*/ 447653 w 618864"/>
                    <a:gd name="csY52" fmla="*/ 430942 h 511136"/>
                    <a:gd name="csX53" fmla="*/ 440738 w 618864"/>
                    <a:gd name="csY53" fmla="*/ 436032 h 511136"/>
                    <a:gd name="csX54" fmla="*/ 445092 w 618864"/>
                    <a:gd name="csY54" fmla="*/ 445828 h 511136"/>
                    <a:gd name="csX55" fmla="*/ 477042 w 618864"/>
                    <a:gd name="csY55" fmla="*/ 464685 h 511136"/>
                    <a:gd name="csX56" fmla="*/ 486454 w 618864"/>
                    <a:gd name="csY56" fmla="*/ 458506 h 511136"/>
                    <a:gd name="csX57" fmla="*/ 489720 w 618864"/>
                    <a:gd name="csY57" fmla="*/ 470479 h 511136"/>
                    <a:gd name="csX58" fmla="*/ 494073 w 618864"/>
                    <a:gd name="csY58" fmla="*/ 472304 h 511136"/>
                    <a:gd name="csX59" fmla="*/ 494073 w 618864"/>
                    <a:gd name="csY59" fmla="*/ 483541 h 511136"/>
                    <a:gd name="csX60" fmla="*/ 507135 w 618864"/>
                    <a:gd name="csY60" fmla="*/ 483541 h 511136"/>
                    <a:gd name="csX61" fmla="*/ 537965 w 618864"/>
                    <a:gd name="csY61" fmla="*/ 496603 h 511136"/>
                    <a:gd name="csX62" fmla="*/ 572444 w 618864"/>
                    <a:gd name="csY62" fmla="*/ 499164 h 511136"/>
                    <a:gd name="csX63" fmla="*/ 576798 w 618864"/>
                    <a:gd name="csY63" fmla="*/ 511137 h 511136"/>
                    <a:gd name="csX64" fmla="*/ 605066 w 618864"/>
                    <a:gd name="csY64" fmla="*/ 509312 h 511136"/>
                    <a:gd name="csX65" fmla="*/ 618865 w 618864"/>
                    <a:gd name="csY65" fmla="*/ 497339 h 511136"/>
                    <a:gd name="csX66" fmla="*/ 495162 w 618864"/>
                    <a:gd name="csY66" fmla="*/ 338101 h 511136"/>
                    <a:gd name="csX67" fmla="*/ 441474 w 618864"/>
                    <a:gd name="csY67" fmla="*/ 270967 h 511136"/>
                    <a:gd name="csX68" fmla="*/ 407379 w 618864"/>
                    <a:gd name="csY68" fmla="*/ 244492 h 511136"/>
                    <a:gd name="csX69" fmla="*/ 384873 w 618864"/>
                    <a:gd name="csY69" fmla="*/ 210749 h 511136"/>
                    <a:gd name="csX70" fmla="*/ 369283 w 618864"/>
                    <a:gd name="csY70" fmla="*/ 204602 h 511136"/>
                    <a:gd name="csX71" fmla="*/ 337365 w 618864"/>
                    <a:gd name="csY71" fmla="*/ 170507 h 511136"/>
                    <a:gd name="csX72" fmla="*/ 332274 w 618864"/>
                    <a:gd name="csY72" fmla="*/ 166153 h 511136"/>
                    <a:gd name="csX73" fmla="*/ 322126 w 618864"/>
                    <a:gd name="csY73" fmla="*/ 141822 h 511136"/>
                    <a:gd name="csX74" fmla="*/ 292033 w 618864"/>
                    <a:gd name="csY74" fmla="*/ 136028 h 511136"/>
                    <a:gd name="csX75" fmla="*/ 266997 w 618864"/>
                    <a:gd name="csY75" fmla="*/ 157445 h 511136"/>
                    <a:gd name="csX76" fmla="*/ 266261 w 618864"/>
                    <a:gd name="csY76" fmla="*/ 163592 h 511136"/>
                    <a:gd name="csX77" fmla="*/ 266261 w 618864"/>
                    <a:gd name="csY77" fmla="*/ 51511 h 511136"/>
                    <a:gd name="csX78" fmla="*/ 253936 w 618864"/>
                    <a:gd name="csY78" fmla="*/ 52599 h 511136"/>
                    <a:gd name="csX79" fmla="*/ 241226 w 618864"/>
                    <a:gd name="csY79" fmla="*/ 43891 h 511136"/>
                    <a:gd name="csX80" fmla="*/ 206779 w 618864"/>
                    <a:gd name="csY80" fmla="*/ 47157 h 511136"/>
                    <a:gd name="csX81" fmla="*/ 196246 w 618864"/>
                    <a:gd name="csY81" fmla="*/ 39537 h 511136"/>
                    <a:gd name="csX82" fmla="*/ 177390 w 618864"/>
                    <a:gd name="csY82" fmla="*/ 35183 h 511136"/>
                    <a:gd name="csX83" fmla="*/ 162888 w 618864"/>
                    <a:gd name="csY83" fmla="*/ 37008 h 511136"/>
                    <a:gd name="csX84" fmla="*/ 142943 w 618864"/>
                    <a:gd name="csY84" fmla="*/ 23210 h 5111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618864" h="511136">
                      <a:moveTo>
                        <a:pt x="142943" y="23210"/>
                      </a:moveTo>
                      <a:lnTo>
                        <a:pt x="119701" y="0"/>
                      </a:lnTo>
                      <a:lnTo>
                        <a:pt x="78370" y="48982"/>
                      </a:lnTo>
                      <a:lnTo>
                        <a:pt x="50070" y="82692"/>
                      </a:lnTo>
                      <a:lnTo>
                        <a:pt x="34447" y="100844"/>
                      </a:lnTo>
                      <a:lnTo>
                        <a:pt x="0" y="141822"/>
                      </a:lnTo>
                      <a:lnTo>
                        <a:pt x="1088" y="144383"/>
                      </a:lnTo>
                      <a:lnTo>
                        <a:pt x="4354" y="163592"/>
                      </a:lnTo>
                      <a:lnTo>
                        <a:pt x="1825" y="173036"/>
                      </a:lnTo>
                      <a:lnTo>
                        <a:pt x="6883" y="180655"/>
                      </a:lnTo>
                      <a:lnTo>
                        <a:pt x="13798" y="180655"/>
                      </a:lnTo>
                      <a:lnTo>
                        <a:pt x="18152" y="187539"/>
                      </a:lnTo>
                      <a:lnTo>
                        <a:pt x="17416" y="196983"/>
                      </a:lnTo>
                      <a:lnTo>
                        <a:pt x="24299" y="196983"/>
                      </a:lnTo>
                      <a:lnTo>
                        <a:pt x="33743" y="206395"/>
                      </a:lnTo>
                      <a:lnTo>
                        <a:pt x="31182" y="215839"/>
                      </a:lnTo>
                      <a:lnTo>
                        <a:pt x="39889" y="223810"/>
                      </a:lnTo>
                      <a:lnTo>
                        <a:pt x="39889" y="232166"/>
                      </a:lnTo>
                      <a:lnTo>
                        <a:pt x="44980" y="229637"/>
                      </a:lnTo>
                      <a:lnTo>
                        <a:pt x="70751" y="240138"/>
                      </a:lnTo>
                      <a:lnTo>
                        <a:pt x="78370" y="239049"/>
                      </a:lnTo>
                      <a:lnTo>
                        <a:pt x="95754" y="252111"/>
                      </a:lnTo>
                      <a:lnTo>
                        <a:pt x="107727" y="252111"/>
                      </a:lnTo>
                      <a:lnTo>
                        <a:pt x="137116" y="258994"/>
                      </a:lnTo>
                      <a:lnTo>
                        <a:pt x="165417" y="274617"/>
                      </a:lnTo>
                      <a:lnTo>
                        <a:pt x="181744" y="277146"/>
                      </a:lnTo>
                      <a:lnTo>
                        <a:pt x="191893" y="273528"/>
                      </a:lnTo>
                      <a:lnTo>
                        <a:pt x="226372" y="280411"/>
                      </a:lnTo>
                      <a:lnTo>
                        <a:pt x="244492" y="282940"/>
                      </a:lnTo>
                      <a:lnTo>
                        <a:pt x="248141" y="284765"/>
                      </a:lnTo>
                      <a:lnTo>
                        <a:pt x="272792" y="293473"/>
                      </a:lnTo>
                      <a:lnTo>
                        <a:pt x="276410" y="292385"/>
                      </a:lnTo>
                      <a:lnTo>
                        <a:pt x="277146" y="293473"/>
                      </a:lnTo>
                      <a:lnTo>
                        <a:pt x="300356" y="308712"/>
                      </a:lnTo>
                      <a:lnTo>
                        <a:pt x="314154" y="329393"/>
                      </a:lnTo>
                      <a:lnTo>
                        <a:pt x="324655" y="333011"/>
                      </a:lnTo>
                      <a:lnTo>
                        <a:pt x="347161" y="359486"/>
                      </a:lnTo>
                      <a:lnTo>
                        <a:pt x="369283" y="368194"/>
                      </a:lnTo>
                      <a:lnTo>
                        <a:pt x="368578" y="376902"/>
                      </a:lnTo>
                      <a:lnTo>
                        <a:pt x="374373" y="378727"/>
                      </a:lnTo>
                      <a:lnTo>
                        <a:pt x="392493" y="372548"/>
                      </a:lnTo>
                      <a:lnTo>
                        <a:pt x="409908" y="366369"/>
                      </a:lnTo>
                      <a:lnTo>
                        <a:pt x="417528" y="372548"/>
                      </a:lnTo>
                      <a:lnTo>
                        <a:pt x="432030" y="360575"/>
                      </a:lnTo>
                      <a:lnTo>
                        <a:pt x="440034" y="363840"/>
                      </a:lnTo>
                      <a:lnTo>
                        <a:pt x="434943" y="381256"/>
                      </a:lnTo>
                      <a:lnTo>
                        <a:pt x="445828" y="389611"/>
                      </a:lnTo>
                      <a:lnTo>
                        <a:pt x="448357" y="405202"/>
                      </a:lnTo>
                      <a:lnTo>
                        <a:pt x="440034" y="412822"/>
                      </a:lnTo>
                      <a:lnTo>
                        <a:pt x="432030" y="409556"/>
                      </a:lnTo>
                      <a:lnTo>
                        <a:pt x="428765" y="417176"/>
                      </a:lnTo>
                      <a:lnTo>
                        <a:pt x="431326" y="427676"/>
                      </a:lnTo>
                      <a:lnTo>
                        <a:pt x="447653" y="430942"/>
                      </a:lnTo>
                      <a:lnTo>
                        <a:pt x="440738" y="436032"/>
                      </a:lnTo>
                      <a:lnTo>
                        <a:pt x="445092" y="445828"/>
                      </a:lnTo>
                      <a:lnTo>
                        <a:pt x="477042" y="464685"/>
                      </a:lnTo>
                      <a:lnTo>
                        <a:pt x="486454" y="458506"/>
                      </a:lnTo>
                      <a:lnTo>
                        <a:pt x="489720" y="470479"/>
                      </a:lnTo>
                      <a:lnTo>
                        <a:pt x="494073" y="472304"/>
                      </a:lnTo>
                      <a:lnTo>
                        <a:pt x="494073" y="483541"/>
                      </a:lnTo>
                      <a:lnTo>
                        <a:pt x="507135" y="483541"/>
                      </a:lnTo>
                      <a:lnTo>
                        <a:pt x="537965" y="496603"/>
                      </a:lnTo>
                      <a:lnTo>
                        <a:pt x="572444" y="499164"/>
                      </a:lnTo>
                      <a:lnTo>
                        <a:pt x="576798" y="511137"/>
                      </a:lnTo>
                      <a:lnTo>
                        <a:pt x="605066" y="509312"/>
                      </a:lnTo>
                      <a:lnTo>
                        <a:pt x="618865" y="497339"/>
                      </a:lnTo>
                      <a:lnTo>
                        <a:pt x="495162" y="338101"/>
                      </a:lnTo>
                      <a:lnTo>
                        <a:pt x="441474" y="270967"/>
                      </a:lnTo>
                      <a:lnTo>
                        <a:pt x="407379" y="244492"/>
                      </a:lnTo>
                      <a:lnTo>
                        <a:pt x="384873" y="210749"/>
                      </a:lnTo>
                      <a:lnTo>
                        <a:pt x="369283" y="204602"/>
                      </a:lnTo>
                      <a:lnTo>
                        <a:pt x="337365" y="170507"/>
                      </a:lnTo>
                      <a:lnTo>
                        <a:pt x="332274" y="166153"/>
                      </a:lnTo>
                      <a:lnTo>
                        <a:pt x="322126" y="141822"/>
                      </a:lnTo>
                      <a:lnTo>
                        <a:pt x="292033" y="136028"/>
                      </a:lnTo>
                      <a:lnTo>
                        <a:pt x="266997" y="157445"/>
                      </a:lnTo>
                      <a:lnTo>
                        <a:pt x="266261" y="163592"/>
                      </a:lnTo>
                      <a:lnTo>
                        <a:pt x="266261" y="51511"/>
                      </a:lnTo>
                      <a:lnTo>
                        <a:pt x="253936" y="52599"/>
                      </a:lnTo>
                      <a:lnTo>
                        <a:pt x="241226" y="43891"/>
                      </a:lnTo>
                      <a:lnTo>
                        <a:pt x="206779" y="47157"/>
                      </a:lnTo>
                      <a:lnTo>
                        <a:pt x="196246" y="39537"/>
                      </a:lnTo>
                      <a:lnTo>
                        <a:pt x="177390" y="35183"/>
                      </a:lnTo>
                      <a:lnTo>
                        <a:pt x="162888" y="37008"/>
                      </a:lnTo>
                      <a:lnTo>
                        <a:pt x="142943" y="2321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1" name="Forma Livre: Forma 300">
                  <a:extLst>
                    <a:ext uri="{FF2B5EF4-FFF2-40B4-BE49-F238E27FC236}">
                      <a16:creationId xmlns:a16="http://schemas.microsoft.com/office/drawing/2014/main" id="{22B30A6C-5EEE-045D-E80E-1060C8AAC8A8}"/>
                    </a:ext>
                  </a:extLst>
                </p:cNvPr>
                <p:cNvSpPr/>
                <p:nvPr/>
              </p:nvSpPr>
              <p:spPr>
                <a:xfrm>
                  <a:off x="3780524" y="3205030"/>
                  <a:ext cx="618864" cy="511136"/>
                </a:xfrm>
                <a:custGeom>
                  <a:avLst/>
                  <a:gdLst>
                    <a:gd name="csX0" fmla="*/ 142943 w 618864"/>
                    <a:gd name="csY0" fmla="*/ 23210 h 511136"/>
                    <a:gd name="csX1" fmla="*/ 119701 w 618864"/>
                    <a:gd name="csY1" fmla="*/ 0 h 511136"/>
                    <a:gd name="csX2" fmla="*/ 78370 w 618864"/>
                    <a:gd name="csY2" fmla="*/ 48982 h 511136"/>
                    <a:gd name="csX3" fmla="*/ 50070 w 618864"/>
                    <a:gd name="csY3" fmla="*/ 82692 h 511136"/>
                    <a:gd name="csX4" fmla="*/ 34447 w 618864"/>
                    <a:gd name="csY4" fmla="*/ 100844 h 511136"/>
                    <a:gd name="csX5" fmla="*/ 0 w 618864"/>
                    <a:gd name="csY5" fmla="*/ 141822 h 511136"/>
                    <a:gd name="csX6" fmla="*/ 1088 w 618864"/>
                    <a:gd name="csY6" fmla="*/ 144383 h 511136"/>
                    <a:gd name="csX7" fmla="*/ 4354 w 618864"/>
                    <a:gd name="csY7" fmla="*/ 163592 h 511136"/>
                    <a:gd name="csX8" fmla="*/ 1825 w 618864"/>
                    <a:gd name="csY8" fmla="*/ 173036 h 511136"/>
                    <a:gd name="csX9" fmla="*/ 6883 w 618864"/>
                    <a:gd name="csY9" fmla="*/ 180655 h 511136"/>
                    <a:gd name="csX10" fmla="*/ 13798 w 618864"/>
                    <a:gd name="csY10" fmla="*/ 180655 h 511136"/>
                    <a:gd name="csX11" fmla="*/ 18152 w 618864"/>
                    <a:gd name="csY11" fmla="*/ 187539 h 511136"/>
                    <a:gd name="csX12" fmla="*/ 17416 w 618864"/>
                    <a:gd name="csY12" fmla="*/ 196983 h 511136"/>
                    <a:gd name="csX13" fmla="*/ 24299 w 618864"/>
                    <a:gd name="csY13" fmla="*/ 196983 h 511136"/>
                    <a:gd name="csX14" fmla="*/ 33743 w 618864"/>
                    <a:gd name="csY14" fmla="*/ 206395 h 511136"/>
                    <a:gd name="csX15" fmla="*/ 31182 w 618864"/>
                    <a:gd name="csY15" fmla="*/ 215839 h 511136"/>
                    <a:gd name="csX16" fmla="*/ 39889 w 618864"/>
                    <a:gd name="csY16" fmla="*/ 223810 h 511136"/>
                    <a:gd name="csX17" fmla="*/ 39889 w 618864"/>
                    <a:gd name="csY17" fmla="*/ 232166 h 511136"/>
                    <a:gd name="csX18" fmla="*/ 44980 w 618864"/>
                    <a:gd name="csY18" fmla="*/ 229637 h 511136"/>
                    <a:gd name="csX19" fmla="*/ 70751 w 618864"/>
                    <a:gd name="csY19" fmla="*/ 240138 h 511136"/>
                    <a:gd name="csX20" fmla="*/ 78370 w 618864"/>
                    <a:gd name="csY20" fmla="*/ 239049 h 511136"/>
                    <a:gd name="csX21" fmla="*/ 95754 w 618864"/>
                    <a:gd name="csY21" fmla="*/ 252111 h 511136"/>
                    <a:gd name="csX22" fmla="*/ 107727 w 618864"/>
                    <a:gd name="csY22" fmla="*/ 252111 h 511136"/>
                    <a:gd name="csX23" fmla="*/ 137116 w 618864"/>
                    <a:gd name="csY23" fmla="*/ 258994 h 511136"/>
                    <a:gd name="csX24" fmla="*/ 165417 w 618864"/>
                    <a:gd name="csY24" fmla="*/ 274617 h 511136"/>
                    <a:gd name="csX25" fmla="*/ 181744 w 618864"/>
                    <a:gd name="csY25" fmla="*/ 277146 h 511136"/>
                    <a:gd name="csX26" fmla="*/ 191893 w 618864"/>
                    <a:gd name="csY26" fmla="*/ 273528 h 511136"/>
                    <a:gd name="csX27" fmla="*/ 226372 w 618864"/>
                    <a:gd name="csY27" fmla="*/ 280411 h 511136"/>
                    <a:gd name="csX28" fmla="*/ 244492 w 618864"/>
                    <a:gd name="csY28" fmla="*/ 282940 h 511136"/>
                    <a:gd name="csX29" fmla="*/ 248141 w 618864"/>
                    <a:gd name="csY29" fmla="*/ 284765 h 511136"/>
                    <a:gd name="csX30" fmla="*/ 272792 w 618864"/>
                    <a:gd name="csY30" fmla="*/ 293473 h 511136"/>
                    <a:gd name="csX31" fmla="*/ 276410 w 618864"/>
                    <a:gd name="csY31" fmla="*/ 292385 h 511136"/>
                    <a:gd name="csX32" fmla="*/ 277146 w 618864"/>
                    <a:gd name="csY32" fmla="*/ 293473 h 511136"/>
                    <a:gd name="csX33" fmla="*/ 300356 w 618864"/>
                    <a:gd name="csY33" fmla="*/ 308712 h 511136"/>
                    <a:gd name="csX34" fmla="*/ 314154 w 618864"/>
                    <a:gd name="csY34" fmla="*/ 329393 h 511136"/>
                    <a:gd name="csX35" fmla="*/ 324655 w 618864"/>
                    <a:gd name="csY35" fmla="*/ 333011 h 511136"/>
                    <a:gd name="csX36" fmla="*/ 347161 w 618864"/>
                    <a:gd name="csY36" fmla="*/ 359486 h 511136"/>
                    <a:gd name="csX37" fmla="*/ 369283 w 618864"/>
                    <a:gd name="csY37" fmla="*/ 368194 h 511136"/>
                    <a:gd name="csX38" fmla="*/ 368578 w 618864"/>
                    <a:gd name="csY38" fmla="*/ 376902 h 511136"/>
                    <a:gd name="csX39" fmla="*/ 374373 w 618864"/>
                    <a:gd name="csY39" fmla="*/ 378727 h 511136"/>
                    <a:gd name="csX40" fmla="*/ 392493 w 618864"/>
                    <a:gd name="csY40" fmla="*/ 372548 h 511136"/>
                    <a:gd name="csX41" fmla="*/ 409908 w 618864"/>
                    <a:gd name="csY41" fmla="*/ 366369 h 511136"/>
                    <a:gd name="csX42" fmla="*/ 417528 w 618864"/>
                    <a:gd name="csY42" fmla="*/ 372548 h 511136"/>
                    <a:gd name="csX43" fmla="*/ 432030 w 618864"/>
                    <a:gd name="csY43" fmla="*/ 360575 h 511136"/>
                    <a:gd name="csX44" fmla="*/ 440034 w 618864"/>
                    <a:gd name="csY44" fmla="*/ 363840 h 511136"/>
                    <a:gd name="csX45" fmla="*/ 434943 w 618864"/>
                    <a:gd name="csY45" fmla="*/ 381256 h 511136"/>
                    <a:gd name="csX46" fmla="*/ 445828 w 618864"/>
                    <a:gd name="csY46" fmla="*/ 389611 h 511136"/>
                    <a:gd name="csX47" fmla="*/ 448357 w 618864"/>
                    <a:gd name="csY47" fmla="*/ 405202 h 511136"/>
                    <a:gd name="csX48" fmla="*/ 440034 w 618864"/>
                    <a:gd name="csY48" fmla="*/ 412822 h 511136"/>
                    <a:gd name="csX49" fmla="*/ 432030 w 618864"/>
                    <a:gd name="csY49" fmla="*/ 409556 h 511136"/>
                    <a:gd name="csX50" fmla="*/ 428765 w 618864"/>
                    <a:gd name="csY50" fmla="*/ 417176 h 511136"/>
                    <a:gd name="csX51" fmla="*/ 431326 w 618864"/>
                    <a:gd name="csY51" fmla="*/ 427676 h 511136"/>
                    <a:gd name="csX52" fmla="*/ 447653 w 618864"/>
                    <a:gd name="csY52" fmla="*/ 430942 h 511136"/>
                    <a:gd name="csX53" fmla="*/ 440738 w 618864"/>
                    <a:gd name="csY53" fmla="*/ 436032 h 511136"/>
                    <a:gd name="csX54" fmla="*/ 445092 w 618864"/>
                    <a:gd name="csY54" fmla="*/ 445828 h 511136"/>
                    <a:gd name="csX55" fmla="*/ 477042 w 618864"/>
                    <a:gd name="csY55" fmla="*/ 464685 h 511136"/>
                    <a:gd name="csX56" fmla="*/ 486454 w 618864"/>
                    <a:gd name="csY56" fmla="*/ 458506 h 511136"/>
                    <a:gd name="csX57" fmla="*/ 489720 w 618864"/>
                    <a:gd name="csY57" fmla="*/ 470479 h 511136"/>
                    <a:gd name="csX58" fmla="*/ 494073 w 618864"/>
                    <a:gd name="csY58" fmla="*/ 472304 h 511136"/>
                    <a:gd name="csX59" fmla="*/ 494073 w 618864"/>
                    <a:gd name="csY59" fmla="*/ 483541 h 511136"/>
                    <a:gd name="csX60" fmla="*/ 507135 w 618864"/>
                    <a:gd name="csY60" fmla="*/ 483541 h 511136"/>
                    <a:gd name="csX61" fmla="*/ 537965 w 618864"/>
                    <a:gd name="csY61" fmla="*/ 496603 h 511136"/>
                    <a:gd name="csX62" fmla="*/ 572444 w 618864"/>
                    <a:gd name="csY62" fmla="*/ 499164 h 511136"/>
                    <a:gd name="csX63" fmla="*/ 576798 w 618864"/>
                    <a:gd name="csY63" fmla="*/ 511137 h 511136"/>
                    <a:gd name="csX64" fmla="*/ 605066 w 618864"/>
                    <a:gd name="csY64" fmla="*/ 509312 h 511136"/>
                    <a:gd name="csX65" fmla="*/ 618865 w 618864"/>
                    <a:gd name="csY65" fmla="*/ 497339 h 511136"/>
                    <a:gd name="csX66" fmla="*/ 495162 w 618864"/>
                    <a:gd name="csY66" fmla="*/ 338101 h 511136"/>
                    <a:gd name="csX67" fmla="*/ 441474 w 618864"/>
                    <a:gd name="csY67" fmla="*/ 270967 h 511136"/>
                    <a:gd name="csX68" fmla="*/ 407379 w 618864"/>
                    <a:gd name="csY68" fmla="*/ 244492 h 511136"/>
                    <a:gd name="csX69" fmla="*/ 384873 w 618864"/>
                    <a:gd name="csY69" fmla="*/ 210749 h 511136"/>
                    <a:gd name="csX70" fmla="*/ 369283 w 618864"/>
                    <a:gd name="csY70" fmla="*/ 204602 h 511136"/>
                    <a:gd name="csX71" fmla="*/ 337365 w 618864"/>
                    <a:gd name="csY71" fmla="*/ 170507 h 511136"/>
                    <a:gd name="csX72" fmla="*/ 332274 w 618864"/>
                    <a:gd name="csY72" fmla="*/ 166153 h 511136"/>
                    <a:gd name="csX73" fmla="*/ 322126 w 618864"/>
                    <a:gd name="csY73" fmla="*/ 141822 h 511136"/>
                    <a:gd name="csX74" fmla="*/ 292033 w 618864"/>
                    <a:gd name="csY74" fmla="*/ 136028 h 511136"/>
                    <a:gd name="csX75" fmla="*/ 266997 w 618864"/>
                    <a:gd name="csY75" fmla="*/ 157445 h 511136"/>
                    <a:gd name="csX76" fmla="*/ 266261 w 618864"/>
                    <a:gd name="csY76" fmla="*/ 163592 h 511136"/>
                    <a:gd name="csX77" fmla="*/ 266261 w 618864"/>
                    <a:gd name="csY77" fmla="*/ 51511 h 511136"/>
                    <a:gd name="csX78" fmla="*/ 253936 w 618864"/>
                    <a:gd name="csY78" fmla="*/ 52599 h 511136"/>
                    <a:gd name="csX79" fmla="*/ 241226 w 618864"/>
                    <a:gd name="csY79" fmla="*/ 43891 h 511136"/>
                    <a:gd name="csX80" fmla="*/ 206779 w 618864"/>
                    <a:gd name="csY80" fmla="*/ 47157 h 511136"/>
                    <a:gd name="csX81" fmla="*/ 196246 w 618864"/>
                    <a:gd name="csY81" fmla="*/ 39537 h 511136"/>
                    <a:gd name="csX82" fmla="*/ 177390 w 618864"/>
                    <a:gd name="csY82" fmla="*/ 35183 h 511136"/>
                    <a:gd name="csX83" fmla="*/ 162888 w 618864"/>
                    <a:gd name="csY83" fmla="*/ 37008 h 511136"/>
                    <a:gd name="csX84" fmla="*/ 142943 w 618864"/>
                    <a:gd name="csY84" fmla="*/ 23210 h 5111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618864" h="511136">
                      <a:moveTo>
                        <a:pt x="142943" y="23210"/>
                      </a:moveTo>
                      <a:lnTo>
                        <a:pt x="119701" y="0"/>
                      </a:lnTo>
                      <a:lnTo>
                        <a:pt x="78370" y="48982"/>
                      </a:lnTo>
                      <a:lnTo>
                        <a:pt x="50070" y="82692"/>
                      </a:lnTo>
                      <a:lnTo>
                        <a:pt x="34447" y="100844"/>
                      </a:lnTo>
                      <a:lnTo>
                        <a:pt x="0" y="141822"/>
                      </a:lnTo>
                      <a:lnTo>
                        <a:pt x="1088" y="144383"/>
                      </a:lnTo>
                      <a:lnTo>
                        <a:pt x="4354" y="163592"/>
                      </a:lnTo>
                      <a:lnTo>
                        <a:pt x="1825" y="173036"/>
                      </a:lnTo>
                      <a:lnTo>
                        <a:pt x="6883" y="180655"/>
                      </a:lnTo>
                      <a:lnTo>
                        <a:pt x="13798" y="180655"/>
                      </a:lnTo>
                      <a:lnTo>
                        <a:pt x="18152" y="187539"/>
                      </a:lnTo>
                      <a:lnTo>
                        <a:pt x="17416" y="196983"/>
                      </a:lnTo>
                      <a:lnTo>
                        <a:pt x="24299" y="196983"/>
                      </a:lnTo>
                      <a:lnTo>
                        <a:pt x="33743" y="206395"/>
                      </a:lnTo>
                      <a:lnTo>
                        <a:pt x="31182" y="215839"/>
                      </a:lnTo>
                      <a:lnTo>
                        <a:pt x="39889" y="223810"/>
                      </a:lnTo>
                      <a:lnTo>
                        <a:pt x="39889" y="232166"/>
                      </a:lnTo>
                      <a:lnTo>
                        <a:pt x="44980" y="229637"/>
                      </a:lnTo>
                      <a:lnTo>
                        <a:pt x="70751" y="240138"/>
                      </a:lnTo>
                      <a:lnTo>
                        <a:pt x="78370" y="239049"/>
                      </a:lnTo>
                      <a:lnTo>
                        <a:pt x="95754" y="252111"/>
                      </a:lnTo>
                      <a:lnTo>
                        <a:pt x="107727" y="252111"/>
                      </a:lnTo>
                      <a:lnTo>
                        <a:pt x="137116" y="258994"/>
                      </a:lnTo>
                      <a:lnTo>
                        <a:pt x="165417" y="274617"/>
                      </a:lnTo>
                      <a:lnTo>
                        <a:pt x="181744" y="277146"/>
                      </a:lnTo>
                      <a:lnTo>
                        <a:pt x="191893" y="273528"/>
                      </a:lnTo>
                      <a:lnTo>
                        <a:pt x="226372" y="280411"/>
                      </a:lnTo>
                      <a:lnTo>
                        <a:pt x="244492" y="282940"/>
                      </a:lnTo>
                      <a:lnTo>
                        <a:pt x="248141" y="284765"/>
                      </a:lnTo>
                      <a:lnTo>
                        <a:pt x="272792" y="293473"/>
                      </a:lnTo>
                      <a:lnTo>
                        <a:pt x="276410" y="292385"/>
                      </a:lnTo>
                      <a:lnTo>
                        <a:pt x="277146" y="293473"/>
                      </a:lnTo>
                      <a:lnTo>
                        <a:pt x="300356" y="308712"/>
                      </a:lnTo>
                      <a:lnTo>
                        <a:pt x="314154" y="329393"/>
                      </a:lnTo>
                      <a:lnTo>
                        <a:pt x="324655" y="333011"/>
                      </a:lnTo>
                      <a:lnTo>
                        <a:pt x="347161" y="359486"/>
                      </a:lnTo>
                      <a:lnTo>
                        <a:pt x="369283" y="368194"/>
                      </a:lnTo>
                      <a:lnTo>
                        <a:pt x="368578" y="376902"/>
                      </a:lnTo>
                      <a:lnTo>
                        <a:pt x="374373" y="378727"/>
                      </a:lnTo>
                      <a:lnTo>
                        <a:pt x="392493" y="372548"/>
                      </a:lnTo>
                      <a:lnTo>
                        <a:pt x="409908" y="366369"/>
                      </a:lnTo>
                      <a:lnTo>
                        <a:pt x="417528" y="372548"/>
                      </a:lnTo>
                      <a:lnTo>
                        <a:pt x="432030" y="360575"/>
                      </a:lnTo>
                      <a:lnTo>
                        <a:pt x="440034" y="363840"/>
                      </a:lnTo>
                      <a:lnTo>
                        <a:pt x="434943" y="381256"/>
                      </a:lnTo>
                      <a:lnTo>
                        <a:pt x="445828" y="389611"/>
                      </a:lnTo>
                      <a:lnTo>
                        <a:pt x="448357" y="405202"/>
                      </a:lnTo>
                      <a:lnTo>
                        <a:pt x="440034" y="412822"/>
                      </a:lnTo>
                      <a:lnTo>
                        <a:pt x="432030" y="409556"/>
                      </a:lnTo>
                      <a:lnTo>
                        <a:pt x="428765" y="417176"/>
                      </a:lnTo>
                      <a:lnTo>
                        <a:pt x="431326" y="427676"/>
                      </a:lnTo>
                      <a:lnTo>
                        <a:pt x="447653" y="430942"/>
                      </a:lnTo>
                      <a:lnTo>
                        <a:pt x="440738" y="436032"/>
                      </a:lnTo>
                      <a:lnTo>
                        <a:pt x="445092" y="445828"/>
                      </a:lnTo>
                      <a:lnTo>
                        <a:pt x="477042" y="464685"/>
                      </a:lnTo>
                      <a:lnTo>
                        <a:pt x="486454" y="458506"/>
                      </a:lnTo>
                      <a:lnTo>
                        <a:pt x="489720" y="470479"/>
                      </a:lnTo>
                      <a:lnTo>
                        <a:pt x="494073" y="472304"/>
                      </a:lnTo>
                      <a:lnTo>
                        <a:pt x="494073" y="483541"/>
                      </a:lnTo>
                      <a:lnTo>
                        <a:pt x="507135" y="483541"/>
                      </a:lnTo>
                      <a:lnTo>
                        <a:pt x="537965" y="496603"/>
                      </a:lnTo>
                      <a:lnTo>
                        <a:pt x="572444" y="499164"/>
                      </a:lnTo>
                      <a:lnTo>
                        <a:pt x="576798" y="511137"/>
                      </a:lnTo>
                      <a:lnTo>
                        <a:pt x="605066" y="509312"/>
                      </a:lnTo>
                      <a:lnTo>
                        <a:pt x="618865" y="497339"/>
                      </a:lnTo>
                      <a:lnTo>
                        <a:pt x="495162" y="338101"/>
                      </a:lnTo>
                      <a:lnTo>
                        <a:pt x="441474" y="270967"/>
                      </a:lnTo>
                      <a:lnTo>
                        <a:pt x="407379" y="244492"/>
                      </a:lnTo>
                      <a:lnTo>
                        <a:pt x="384873" y="210749"/>
                      </a:lnTo>
                      <a:lnTo>
                        <a:pt x="369283" y="204602"/>
                      </a:lnTo>
                      <a:lnTo>
                        <a:pt x="337365" y="170507"/>
                      </a:lnTo>
                      <a:lnTo>
                        <a:pt x="332274" y="166153"/>
                      </a:lnTo>
                      <a:lnTo>
                        <a:pt x="322126" y="141822"/>
                      </a:lnTo>
                      <a:lnTo>
                        <a:pt x="292033" y="136028"/>
                      </a:lnTo>
                      <a:lnTo>
                        <a:pt x="266997" y="157445"/>
                      </a:lnTo>
                      <a:lnTo>
                        <a:pt x="266261" y="163592"/>
                      </a:lnTo>
                      <a:lnTo>
                        <a:pt x="266261" y="51511"/>
                      </a:lnTo>
                      <a:lnTo>
                        <a:pt x="253936" y="52599"/>
                      </a:lnTo>
                      <a:lnTo>
                        <a:pt x="241226" y="43891"/>
                      </a:lnTo>
                      <a:lnTo>
                        <a:pt x="206779" y="47157"/>
                      </a:lnTo>
                      <a:lnTo>
                        <a:pt x="196246" y="39537"/>
                      </a:lnTo>
                      <a:lnTo>
                        <a:pt x="177390" y="35183"/>
                      </a:lnTo>
                      <a:lnTo>
                        <a:pt x="162888" y="37008"/>
                      </a:lnTo>
                      <a:lnTo>
                        <a:pt x="142943" y="2321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2" name="Forma Livre: Forma 301">
                  <a:extLst>
                    <a:ext uri="{FF2B5EF4-FFF2-40B4-BE49-F238E27FC236}">
                      <a16:creationId xmlns:a16="http://schemas.microsoft.com/office/drawing/2014/main" id="{D05E89BE-68C1-C781-B8AF-8EFBB1B25042}"/>
                    </a:ext>
                  </a:extLst>
                </p:cNvPr>
                <p:cNvSpPr/>
                <p:nvPr/>
              </p:nvSpPr>
              <p:spPr>
                <a:xfrm>
                  <a:off x="2115471" y="5786038"/>
                  <a:ext cx="188274" cy="250318"/>
                </a:xfrm>
                <a:custGeom>
                  <a:avLst/>
                  <a:gdLst>
                    <a:gd name="csX0" fmla="*/ 134939 w 188274"/>
                    <a:gd name="csY0" fmla="*/ 0 h 250318"/>
                    <a:gd name="csX1" fmla="*/ 122966 w 188274"/>
                    <a:gd name="csY1" fmla="*/ 0 h 250318"/>
                    <a:gd name="csX2" fmla="*/ 116787 w 188274"/>
                    <a:gd name="csY2" fmla="*/ 11973 h 250318"/>
                    <a:gd name="csX3" fmla="*/ 107375 w 188274"/>
                    <a:gd name="csY3" fmla="*/ 6179 h 250318"/>
                    <a:gd name="csX4" fmla="*/ 104846 w 188274"/>
                    <a:gd name="csY4" fmla="*/ 21770 h 250318"/>
                    <a:gd name="csX5" fmla="*/ 86694 w 188274"/>
                    <a:gd name="csY5" fmla="*/ 18152 h 250318"/>
                    <a:gd name="csX6" fmla="*/ 84869 w 188274"/>
                    <a:gd name="csY6" fmla="*/ 18152 h 250318"/>
                    <a:gd name="csX7" fmla="*/ 62748 w 188274"/>
                    <a:gd name="csY7" fmla="*/ 79075 h 250318"/>
                    <a:gd name="csX8" fmla="*/ 47893 w 188274"/>
                    <a:gd name="csY8" fmla="*/ 83429 h 250318"/>
                    <a:gd name="csX9" fmla="*/ 45332 w 188274"/>
                    <a:gd name="csY9" fmla="*/ 92137 h 250318"/>
                    <a:gd name="csX10" fmla="*/ 26476 w 188274"/>
                    <a:gd name="csY10" fmla="*/ 99756 h 250318"/>
                    <a:gd name="csX11" fmla="*/ 23947 w 188274"/>
                    <a:gd name="csY11" fmla="*/ 106639 h 250318"/>
                    <a:gd name="csX12" fmla="*/ 13414 w 188274"/>
                    <a:gd name="csY12" fmla="*/ 112081 h 250318"/>
                    <a:gd name="csX13" fmla="*/ 10885 w 188274"/>
                    <a:gd name="csY13" fmla="*/ 122262 h 250318"/>
                    <a:gd name="csX14" fmla="*/ 17032 w 188274"/>
                    <a:gd name="csY14" fmla="*/ 129881 h 250318"/>
                    <a:gd name="csX15" fmla="*/ 10885 w 188274"/>
                    <a:gd name="csY15" fmla="*/ 132410 h 250318"/>
                    <a:gd name="csX16" fmla="*/ 16327 w 188274"/>
                    <a:gd name="csY16" fmla="*/ 142207 h 250318"/>
                    <a:gd name="csX17" fmla="*/ 12678 w 188274"/>
                    <a:gd name="csY17" fmla="*/ 149826 h 250318"/>
                    <a:gd name="csX18" fmla="*/ 5795 w 188274"/>
                    <a:gd name="csY18" fmla="*/ 154916 h 250318"/>
                    <a:gd name="csX19" fmla="*/ 7619 w 188274"/>
                    <a:gd name="csY19" fmla="*/ 166889 h 250318"/>
                    <a:gd name="csX20" fmla="*/ 3265 w 188274"/>
                    <a:gd name="csY20" fmla="*/ 173036 h 250318"/>
                    <a:gd name="csX21" fmla="*/ 6883 w 188274"/>
                    <a:gd name="csY21" fmla="*/ 179919 h 250318"/>
                    <a:gd name="csX22" fmla="*/ 0 w 188274"/>
                    <a:gd name="csY22" fmla="*/ 193717 h 250318"/>
                    <a:gd name="csX23" fmla="*/ 9412 w 188274"/>
                    <a:gd name="csY23" fmla="*/ 198807 h 250318"/>
                    <a:gd name="csX24" fmla="*/ 5058 w 188274"/>
                    <a:gd name="csY24" fmla="*/ 211869 h 250318"/>
                    <a:gd name="csX25" fmla="*/ 14502 w 188274"/>
                    <a:gd name="csY25" fmla="*/ 226372 h 250318"/>
                    <a:gd name="csX26" fmla="*/ 10885 w 188274"/>
                    <a:gd name="csY26" fmla="*/ 228901 h 250318"/>
                    <a:gd name="csX27" fmla="*/ 23947 w 188274"/>
                    <a:gd name="csY27" fmla="*/ 250318 h 250318"/>
                    <a:gd name="csX28" fmla="*/ 37713 w 188274"/>
                    <a:gd name="csY28" fmla="*/ 247757 h 250318"/>
                    <a:gd name="csX29" fmla="*/ 45332 w 188274"/>
                    <a:gd name="csY29" fmla="*/ 240874 h 250318"/>
                    <a:gd name="csX30" fmla="*/ 53335 w 188274"/>
                    <a:gd name="csY30" fmla="*/ 209308 h 250318"/>
                    <a:gd name="csX31" fmla="*/ 50774 w 188274"/>
                    <a:gd name="csY31" fmla="*/ 201337 h 250318"/>
                    <a:gd name="csX32" fmla="*/ 54040 w 188274"/>
                    <a:gd name="csY32" fmla="*/ 194454 h 250318"/>
                    <a:gd name="csX33" fmla="*/ 63484 w 188274"/>
                    <a:gd name="csY33" fmla="*/ 191893 h 250318"/>
                    <a:gd name="csX34" fmla="*/ 58394 w 188274"/>
                    <a:gd name="csY34" fmla="*/ 186834 h 250318"/>
                    <a:gd name="csX35" fmla="*/ 63484 w 188274"/>
                    <a:gd name="csY35" fmla="*/ 176302 h 250318"/>
                    <a:gd name="csX36" fmla="*/ 64220 w 188274"/>
                    <a:gd name="csY36" fmla="*/ 174861 h 250318"/>
                    <a:gd name="csX37" fmla="*/ 84165 w 188274"/>
                    <a:gd name="csY37" fmla="*/ 179919 h 250318"/>
                    <a:gd name="csX38" fmla="*/ 99756 w 188274"/>
                    <a:gd name="csY38" fmla="*/ 189363 h 250318"/>
                    <a:gd name="csX39" fmla="*/ 122966 w 188274"/>
                    <a:gd name="csY39" fmla="*/ 203162 h 250318"/>
                    <a:gd name="csX40" fmla="*/ 163240 w 188274"/>
                    <a:gd name="csY40" fmla="*/ 203162 h 250318"/>
                    <a:gd name="csX41" fmla="*/ 166858 w 188274"/>
                    <a:gd name="csY41" fmla="*/ 188627 h 250318"/>
                    <a:gd name="csX42" fmla="*/ 171948 w 188274"/>
                    <a:gd name="csY42" fmla="*/ 178126 h 250318"/>
                    <a:gd name="csX43" fmla="*/ 158886 w 188274"/>
                    <a:gd name="csY43" fmla="*/ 169419 h 250318"/>
                    <a:gd name="csX44" fmla="*/ 162504 w 188274"/>
                    <a:gd name="csY44" fmla="*/ 149090 h 250318"/>
                    <a:gd name="csX45" fmla="*/ 158150 w 188274"/>
                    <a:gd name="csY45" fmla="*/ 136764 h 250318"/>
                    <a:gd name="csX46" fmla="*/ 161799 w 188274"/>
                    <a:gd name="csY46" fmla="*/ 129145 h 250318"/>
                    <a:gd name="csX47" fmla="*/ 153091 w 188274"/>
                    <a:gd name="csY47" fmla="*/ 118997 h 250318"/>
                    <a:gd name="csX48" fmla="*/ 156357 w 188274"/>
                    <a:gd name="csY48" fmla="*/ 102317 h 250318"/>
                    <a:gd name="csX49" fmla="*/ 157445 w 188274"/>
                    <a:gd name="csY49" fmla="*/ 99052 h 250318"/>
                    <a:gd name="csX50" fmla="*/ 153091 w 188274"/>
                    <a:gd name="csY50" fmla="*/ 87783 h 250318"/>
                    <a:gd name="csX51" fmla="*/ 145088 w 188274"/>
                    <a:gd name="csY51" fmla="*/ 81988 h 250318"/>
                    <a:gd name="csX52" fmla="*/ 162504 w 188274"/>
                    <a:gd name="csY52" fmla="*/ 74017 h 250318"/>
                    <a:gd name="csX53" fmla="*/ 157445 w 188274"/>
                    <a:gd name="csY53" fmla="*/ 63836 h 250318"/>
                    <a:gd name="csX54" fmla="*/ 167594 w 188274"/>
                    <a:gd name="csY54" fmla="*/ 54424 h 250318"/>
                    <a:gd name="csX55" fmla="*/ 166858 w 188274"/>
                    <a:gd name="csY55" fmla="*/ 48245 h 250318"/>
                    <a:gd name="csX56" fmla="*/ 174477 w 188274"/>
                    <a:gd name="csY56" fmla="*/ 44980 h 250318"/>
                    <a:gd name="csX57" fmla="*/ 164328 w 188274"/>
                    <a:gd name="csY57" fmla="*/ 35183 h 250318"/>
                    <a:gd name="csX58" fmla="*/ 188275 w 188274"/>
                    <a:gd name="csY58" fmla="*/ 17416 h 250318"/>
                    <a:gd name="csX59" fmla="*/ 179567 w 188274"/>
                    <a:gd name="csY59" fmla="*/ 11973 h 250318"/>
                    <a:gd name="csX60" fmla="*/ 163240 w 188274"/>
                    <a:gd name="csY60" fmla="*/ 4354 h 250318"/>
                    <a:gd name="csX61" fmla="*/ 148001 w 188274"/>
                    <a:gd name="csY61" fmla="*/ 11973 h 250318"/>
                    <a:gd name="csX62" fmla="*/ 134939 w 188274"/>
                    <a:gd name="csY62" fmla="*/ 0 h 2503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188274" h="250318">
                      <a:moveTo>
                        <a:pt x="134939" y="0"/>
                      </a:moveTo>
                      <a:lnTo>
                        <a:pt x="122966" y="0"/>
                      </a:lnTo>
                      <a:lnTo>
                        <a:pt x="116787" y="11973"/>
                      </a:lnTo>
                      <a:lnTo>
                        <a:pt x="107375" y="6179"/>
                      </a:lnTo>
                      <a:lnTo>
                        <a:pt x="104846" y="21770"/>
                      </a:lnTo>
                      <a:lnTo>
                        <a:pt x="86694" y="18152"/>
                      </a:lnTo>
                      <a:lnTo>
                        <a:pt x="84869" y="18152"/>
                      </a:lnTo>
                      <a:lnTo>
                        <a:pt x="62748" y="79075"/>
                      </a:lnTo>
                      <a:lnTo>
                        <a:pt x="47893" y="83429"/>
                      </a:lnTo>
                      <a:lnTo>
                        <a:pt x="45332" y="92137"/>
                      </a:lnTo>
                      <a:lnTo>
                        <a:pt x="26476" y="99756"/>
                      </a:lnTo>
                      <a:lnTo>
                        <a:pt x="23947" y="106639"/>
                      </a:lnTo>
                      <a:lnTo>
                        <a:pt x="13414" y="112081"/>
                      </a:lnTo>
                      <a:lnTo>
                        <a:pt x="10885" y="122262"/>
                      </a:lnTo>
                      <a:lnTo>
                        <a:pt x="17032" y="129881"/>
                      </a:lnTo>
                      <a:lnTo>
                        <a:pt x="10885" y="132410"/>
                      </a:lnTo>
                      <a:lnTo>
                        <a:pt x="16327" y="142207"/>
                      </a:lnTo>
                      <a:lnTo>
                        <a:pt x="12678" y="149826"/>
                      </a:lnTo>
                      <a:lnTo>
                        <a:pt x="5795" y="154916"/>
                      </a:lnTo>
                      <a:lnTo>
                        <a:pt x="7619" y="166889"/>
                      </a:lnTo>
                      <a:lnTo>
                        <a:pt x="3265" y="173036"/>
                      </a:lnTo>
                      <a:lnTo>
                        <a:pt x="6883" y="179919"/>
                      </a:lnTo>
                      <a:lnTo>
                        <a:pt x="0" y="193717"/>
                      </a:lnTo>
                      <a:lnTo>
                        <a:pt x="9412" y="198807"/>
                      </a:lnTo>
                      <a:lnTo>
                        <a:pt x="5058" y="211869"/>
                      </a:lnTo>
                      <a:lnTo>
                        <a:pt x="14502" y="226372"/>
                      </a:lnTo>
                      <a:lnTo>
                        <a:pt x="10885" y="228901"/>
                      </a:lnTo>
                      <a:lnTo>
                        <a:pt x="23947" y="250318"/>
                      </a:lnTo>
                      <a:lnTo>
                        <a:pt x="37713" y="247757"/>
                      </a:lnTo>
                      <a:lnTo>
                        <a:pt x="45332" y="240874"/>
                      </a:lnTo>
                      <a:lnTo>
                        <a:pt x="53335" y="209308"/>
                      </a:lnTo>
                      <a:lnTo>
                        <a:pt x="50774" y="201337"/>
                      </a:lnTo>
                      <a:lnTo>
                        <a:pt x="54040" y="194454"/>
                      </a:lnTo>
                      <a:lnTo>
                        <a:pt x="63484" y="191893"/>
                      </a:lnTo>
                      <a:lnTo>
                        <a:pt x="58394" y="186834"/>
                      </a:lnTo>
                      <a:lnTo>
                        <a:pt x="63484" y="176302"/>
                      </a:lnTo>
                      <a:lnTo>
                        <a:pt x="64220" y="174861"/>
                      </a:lnTo>
                      <a:lnTo>
                        <a:pt x="84165" y="179919"/>
                      </a:lnTo>
                      <a:lnTo>
                        <a:pt x="99756" y="189363"/>
                      </a:lnTo>
                      <a:lnTo>
                        <a:pt x="122966" y="203162"/>
                      </a:lnTo>
                      <a:lnTo>
                        <a:pt x="163240" y="203162"/>
                      </a:lnTo>
                      <a:lnTo>
                        <a:pt x="166858" y="188627"/>
                      </a:lnTo>
                      <a:lnTo>
                        <a:pt x="171948" y="178126"/>
                      </a:lnTo>
                      <a:lnTo>
                        <a:pt x="158886" y="169419"/>
                      </a:lnTo>
                      <a:lnTo>
                        <a:pt x="162504" y="149090"/>
                      </a:lnTo>
                      <a:lnTo>
                        <a:pt x="158150" y="136764"/>
                      </a:lnTo>
                      <a:lnTo>
                        <a:pt x="161799" y="129145"/>
                      </a:lnTo>
                      <a:lnTo>
                        <a:pt x="153091" y="118997"/>
                      </a:lnTo>
                      <a:lnTo>
                        <a:pt x="156357" y="102317"/>
                      </a:lnTo>
                      <a:lnTo>
                        <a:pt x="157445" y="99052"/>
                      </a:lnTo>
                      <a:lnTo>
                        <a:pt x="153091" y="87783"/>
                      </a:lnTo>
                      <a:lnTo>
                        <a:pt x="145088" y="81988"/>
                      </a:lnTo>
                      <a:lnTo>
                        <a:pt x="162504" y="74017"/>
                      </a:lnTo>
                      <a:lnTo>
                        <a:pt x="157445" y="63836"/>
                      </a:lnTo>
                      <a:lnTo>
                        <a:pt x="167594" y="54424"/>
                      </a:lnTo>
                      <a:lnTo>
                        <a:pt x="166858" y="48245"/>
                      </a:lnTo>
                      <a:lnTo>
                        <a:pt x="174477" y="44980"/>
                      </a:lnTo>
                      <a:lnTo>
                        <a:pt x="164328" y="35183"/>
                      </a:lnTo>
                      <a:lnTo>
                        <a:pt x="188275" y="17416"/>
                      </a:lnTo>
                      <a:lnTo>
                        <a:pt x="179567" y="11973"/>
                      </a:lnTo>
                      <a:lnTo>
                        <a:pt x="163240" y="4354"/>
                      </a:lnTo>
                      <a:lnTo>
                        <a:pt x="148001" y="11973"/>
                      </a:lnTo>
                      <a:lnTo>
                        <a:pt x="13493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3" name="Forma Livre: Forma 302">
                  <a:extLst>
                    <a:ext uri="{FF2B5EF4-FFF2-40B4-BE49-F238E27FC236}">
                      <a16:creationId xmlns:a16="http://schemas.microsoft.com/office/drawing/2014/main" id="{D9843A4F-90B2-BB24-412C-15413AF82ED4}"/>
                    </a:ext>
                  </a:extLst>
                </p:cNvPr>
                <p:cNvSpPr/>
                <p:nvPr/>
              </p:nvSpPr>
              <p:spPr>
                <a:xfrm>
                  <a:off x="2115471" y="5786038"/>
                  <a:ext cx="188274" cy="250318"/>
                </a:xfrm>
                <a:custGeom>
                  <a:avLst/>
                  <a:gdLst>
                    <a:gd name="csX0" fmla="*/ 134939 w 188274"/>
                    <a:gd name="csY0" fmla="*/ 0 h 250318"/>
                    <a:gd name="csX1" fmla="*/ 122966 w 188274"/>
                    <a:gd name="csY1" fmla="*/ 0 h 250318"/>
                    <a:gd name="csX2" fmla="*/ 116787 w 188274"/>
                    <a:gd name="csY2" fmla="*/ 11973 h 250318"/>
                    <a:gd name="csX3" fmla="*/ 107375 w 188274"/>
                    <a:gd name="csY3" fmla="*/ 6179 h 250318"/>
                    <a:gd name="csX4" fmla="*/ 104846 w 188274"/>
                    <a:gd name="csY4" fmla="*/ 21770 h 250318"/>
                    <a:gd name="csX5" fmla="*/ 86694 w 188274"/>
                    <a:gd name="csY5" fmla="*/ 18152 h 250318"/>
                    <a:gd name="csX6" fmla="*/ 84869 w 188274"/>
                    <a:gd name="csY6" fmla="*/ 18152 h 250318"/>
                    <a:gd name="csX7" fmla="*/ 62748 w 188274"/>
                    <a:gd name="csY7" fmla="*/ 79075 h 250318"/>
                    <a:gd name="csX8" fmla="*/ 47893 w 188274"/>
                    <a:gd name="csY8" fmla="*/ 83429 h 250318"/>
                    <a:gd name="csX9" fmla="*/ 45332 w 188274"/>
                    <a:gd name="csY9" fmla="*/ 92137 h 250318"/>
                    <a:gd name="csX10" fmla="*/ 26476 w 188274"/>
                    <a:gd name="csY10" fmla="*/ 99756 h 250318"/>
                    <a:gd name="csX11" fmla="*/ 23947 w 188274"/>
                    <a:gd name="csY11" fmla="*/ 106639 h 250318"/>
                    <a:gd name="csX12" fmla="*/ 13414 w 188274"/>
                    <a:gd name="csY12" fmla="*/ 112081 h 250318"/>
                    <a:gd name="csX13" fmla="*/ 10885 w 188274"/>
                    <a:gd name="csY13" fmla="*/ 122262 h 250318"/>
                    <a:gd name="csX14" fmla="*/ 17032 w 188274"/>
                    <a:gd name="csY14" fmla="*/ 129881 h 250318"/>
                    <a:gd name="csX15" fmla="*/ 10885 w 188274"/>
                    <a:gd name="csY15" fmla="*/ 132410 h 250318"/>
                    <a:gd name="csX16" fmla="*/ 16327 w 188274"/>
                    <a:gd name="csY16" fmla="*/ 142207 h 250318"/>
                    <a:gd name="csX17" fmla="*/ 12678 w 188274"/>
                    <a:gd name="csY17" fmla="*/ 149826 h 250318"/>
                    <a:gd name="csX18" fmla="*/ 5795 w 188274"/>
                    <a:gd name="csY18" fmla="*/ 154916 h 250318"/>
                    <a:gd name="csX19" fmla="*/ 7619 w 188274"/>
                    <a:gd name="csY19" fmla="*/ 166889 h 250318"/>
                    <a:gd name="csX20" fmla="*/ 3265 w 188274"/>
                    <a:gd name="csY20" fmla="*/ 173036 h 250318"/>
                    <a:gd name="csX21" fmla="*/ 6883 w 188274"/>
                    <a:gd name="csY21" fmla="*/ 179919 h 250318"/>
                    <a:gd name="csX22" fmla="*/ 0 w 188274"/>
                    <a:gd name="csY22" fmla="*/ 193717 h 250318"/>
                    <a:gd name="csX23" fmla="*/ 9412 w 188274"/>
                    <a:gd name="csY23" fmla="*/ 198807 h 250318"/>
                    <a:gd name="csX24" fmla="*/ 5058 w 188274"/>
                    <a:gd name="csY24" fmla="*/ 211869 h 250318"/>
                    <a:gd name="csX25" fmla="*/ 14502 w 188274"/>
                    <a:gd name="csY25" fmla="*/ 226372 h 250318"/>
                    <a:gd name="csX26" fmla="*/ 10885 w 188274"/>
                    <a:gd name="csY26" fmla="*/ 228901 h 250318"/>
                    <a:gd name="csX27" fmla="*/ 23947 w 188274"/>
                    <a:gd name="csY27" fmla="*/ 250318 h 250318"/>
                    <a:gd name="csX28" fmla="*/ 37713 w 188274"/>
                    <a:gd name="csY28" fmla="*/ 247757 h 250318"/>
                    <a:gd name="csX29" fmla="*/ 45332 w 188274"/>
                    <a:gd name="csY29" fmla="*/ 240874 h 250318"/>
                    <a:gd name="csX30" fmla="*/ 53335 w 188274"/>
                    <a:gd name="csY30" fmla="*/ 209308 h 250318"/>
                    <a:gd name="csX31" fmla="*/ 50774 w 188274"/>
                    <a:gd name="csY31" fmla="*/ 201337 h 250318"/>
                    <a:gd name="csX32" fmla="*/ 54040 w 188274"/>
                    <a:gd name="csY32" fmla="*/ 194454 h 250318"/>
                    <a:gd name="csX33" fmla="*/ 63484 w 188274"/>
                    <a:gd name="csY33" fmla="*/ 191893 h 250318"/>
                    <a:gd name="csX34" fmla="*/ 58394 w 188274"/>
                    <a:gd name="csY34" fmla="*/ 186834 h 250318"/>
                    <a:gd name="csX35" fmla="*/ 63484 w 188274"/>
                    <a:gd name="csY35" fmla="*/ 176302 h 250318"/>
                    <a:gd name="csX36" fmla="*/ 64220 w 188274"/>
                    <a:gd name="csY36" fmla="*/ 174861 h 250318"/>
                    <a:gd name="csX37" fmla="*/ 84165 w 188274"/>
                    <a:gd name="csY37" fmla="*/ 179919 h 250318"/>
                    <a:gd name="csX38" fmla="*/ 99756 w 188274"/>
                    <a:gd name="csY38" fmla="*/ 189363 h 250318"/>
                    <a:gd name="csX39" fmla="*/ 122966 w 188274"/>
                    <a:gd name="csY39" fmla="*/ 203162 h 250318"/>
                    <a:gd name="csX40" fmla="*/ 163240 w 188274"/>
                    <a:gd name="csY40" fmla="*/ 203162 h 250318"/>
                    <a:gd name="csX41" fmla="*/ 166858 w 188274"/>
                    <a:gd name="csY41" fmla="*/ 188627 h 250318"/>
                    <a:gd name="csX42" fmla="*/ 171948 w 188274"/>
                    <a:gd name="csY42" fmla="*/ 178126 h 250318"/>
                    <a:gd name="csX43" fmla="*/ 158886 w 188274"/>
                    <a:gd name="csY43" fmla="*/ 169419 h 250318"/>
                    <a:gd name="csX44" fmla="*/ 162504 w 188274"/>
                    <a:gd name="csY44" fmla="*/ 149090 h 250318"/>
                    <a:gd name="csX45" fmla="*/ 158150 w 188274"/>
                    <a:gd name="csY45" fmla="*/ 136764 h 250318"/>
                    <a:gd name="csX46" fmla="*/ 161799 w 188274"/>
                    <a:gd name="csY46" fmla="*/ 129145 h 250318"/>
                    <a:gd name="csX47" fmla="*/ 153091 w 188274"/>
                    <a:gd name="csY47" fmla="*/ 118997 h 250318"/>
                    <a:gd name="csX48" fmla="*/ 156357 w 188274"/>
                    <a:gd name="csY48" fmla="*/ 102317 h 250318"/>
                    <a:gd name="csX49" fmla="*/ 157445 w 188274"/>
                    <a:gd name="csY49" fmla="*/ 99052 h 250318"/>
                    <a:gd name="csX50" fmla="*/ 153091 w 188274"/>
                    <a:gd name="csY50" fmla="*/ 87783 h 250318"/>
                    <a:gd name="csX51" fmla="*/ 145088 w 188274"/>
                    <a:gd name="csY51" fmla="*/ 81988 h 250318"/>
                    <a:gd name="csX52" fmla="*/ 162504 w 188274"/>
                    <a:gd name="csY52" fmla="*/ 74017 h 250318"/>
                    <a:gd name="csX53" fmla="*/ 157445 w 188274"/>
                    <a:gd name="csY53" fmla="*/ 63836 h 250318"/>
                    <a:gd name="csX54" fmla="*/ 167594 w 188274"/>
                    <a:gd name="csY54" fmla="*/ 54424 h 250318"/>
                    <a:gd name="csX55" fmla="*/ 166858 w 188274"/>
                    <a:gd name="csY55" fmla="*/ 48245 h 250318"/>
                    <a:gd name="csX56" fmla="*/ 174477 w 188274"/>
                    <a:gd name="csY56" fmla="*/ 44980 h 250318"/>
                    <a:gd name="csX57" fmla="*/ 164328 w 188274"/>
                    <a:gd name="csY57" fmla="*/ 35183 h 250318"/>
                    <a:gd name="csX58" fmla="*/ 188275 w 188274"/>
                    <a:gd name="csY58" fmla="*/ 17416 h 250318"/>
                    <a:gd name="csX59" fmla="*/ 179567 w 188274"/>
                    <a:gd name="csY59" fmla="*/ 11973 h 250318"/>
                    <a:gd name="csX60" fmla="*/ 163240 w 188274"/>
                    <a:gd name="csY60" fmla="*/ 4354 h 250318"/>
                    <a:gd name="csX61" fmla="*/ 148001 w 188274"/>
                    <a:gd name="csY61" fmla="*/ 11973 h 250318"/>
                    <a:gd name="csX62" fmla="*/ 134939 w 188274"/>
                    <a:gd name="csY62" fmla="*/ 0 h 2503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188274" h="250318">
                      <a:moveTo>
                        <a:pt x="134939" y="0"/>
                      </a:moveTo>
                      <a:lnTo>
                        <a:pt x="122966" y="0"/>
                      </a:lnTo>
                      <a:lnTo>
                        <a:pt x="116787" y="11973"/>
                      </a:lnTo>
                      <a:lnTo>
                        <a:pt x="107375" y="6179"/>
                      </a:lnTo>
                      <a:lnTo>
                        <a:pt x="104846" y="21770"/>
                      </a:lnTo>
                      <a:lnTo>
                        <a:pt x="86694" y="18152"/>
                      </a:lnTo>
                      <a:lnTo>
                        <a:pt x="84869" y="18152"/>
                      </a:lnTo>
                      <a:lnTo>
                        <a:pt x="62748" y="79075"/>
                      </a:lnTo>
                      <a:lnTo>
                        <a:pt x="47893" y="83429"/>
                      </a:lnTo>
                      <a:lnTo>
                        <a:pt x="45332" y="92137"/>
                      </a:lnTo>
                      <a:lnTo>
                        <a:pt x="26476" y="99756"/>
                      </a:lnTo>
                      <a:lnTo>
                        <a:pt x="23947" y="106639"/>
                      </a:lnTo>
                      <a:lnTo>
                        <a:pt x="13414" y="112081"/>
                      </a:lnTo>
                      <a:lnTo>
                        <a:pt x="10885" y="122262"/>
                      </a:lnTo>
                      <a:lnTo>
                        <a:pt x="17032" y="129881"/>
                      </a:lnTo>
                      <a:lnTo>
                        <a:pt x="10885" y="132410"/>
                      </a:lnTo>
                      <a:lnTo>
                        <a:pt x="16327" y="142207"/>
                      </a:lnTo>
                      <a:lnTo>
                        <a:pt x="12678" y="149826"/>
                      </a:lnTo>
                      <a:lnTo>
                        <a:pt x="5795" y="154916"/>
                      </a:lnTo>
                      <a:lnTo>
                        <a:pt x="7619" y="166889"/>
                      </a:lnTo>
                      <a:lnTo>
                        <a:pt x="3265" y="173036"/>
                      </a:lnTo>
                      <a:lnTo>
                        <a:pt x="6883" y="179919"/>
                      </a:lnTo>
                      <a:lnTo>
                        <a:pt x="0" y="193717"/>
                      </a:lnTo>
                      <a:lnTo>
                        <a:pt x="9412" y="198807"/>
                      </a:lnTo>
                      <a:lnTo>
                        <a:pt x="5058" y="211869"/>
                      </a:lnTo>
                      <a:lnTo>
                        <a:pt x="14502" y="226372"/>
                      </a:lnTo>
                      <a:lnTo>
                        <a:pt x="10885" y="228901"/>
                      </a:lnTo>
                      <a:lnTo>
                        <a:pt x="23947" y="250318"/>
                      </a:lnTo>
                      <a:lnTo>
                        <a:pt x="37713" y="247757"/>
                      </a:lnTo>
                      <a:lnTo>
                        <a:pt x="45332" y="240874"/>
                      </a:lnTo>
                      <a:lnTo>
                        <a:pt x="53335" y="209308"/>
                      </a:lnTo>
                      <a:lnTo>
                        <a:pt x="50774" y="201337"/>
                      </a:lnTo>
                      <a:lnTo>
                        <a:pt x="54040" y="194454"/>
                      </a:lnTo>
                      <a:lnTo>
                        <a:pt x="63484" y="191893"/>
                      </a:lnTo>
                      <a:lnTo>
                        <a:pt x="58394" y="186834"/>
                      </a:lnTo>
                      <a:lnTo>
                        <a:pt x="63484" y="176302"/>
                      </a:lnTo>
                      <a:lnTo>
                        <a:pt x="64220" y="174861"/>
                      </a:lnTo>
                      <a:lnTo>
                        <a:pt x="84165" y="179919"/>
                      </a:lnTo>
                      <a:lnTo>
                        <a:pt x="99756" y="189363"/>
                      </a:lnTo>
                      <a:lnTo>
                        <a:pt x="122966" y="203162"/>
                      </a:lnTo>
                      <a:lnTo>
                        <a:pt x="163240" y="203162"/>
                      </a:lnTo>
                      <a:lnTo>
                        <a:pt x="166858" y="188627"/>
                      </a:lnTo>
                      <a:lnTo>
                        <a:pt x="171948" y="178126"/>
                      </a:lnTo>
                      <a:lnTo>
                        <a:pt x="158886" y="169419"/>
                      </a:lnTo>
                      <a:lnTo>
                        <a:pt x="162504" y="149090"/>
                      </a:lnTo>
                      <a:lnTo>
                        <a:pt x="158150" y="136764"/>
                      </a:lnTo>
                      <a:lnTo>
                        <a:pt x="161799" y="129145"/>
                      </a:lnTo>
                      <a:lnTo>
                        <a:pt x="153091" y="118997"/>
                      </a:lnTo>
                      <a:lnTo>
                        <a:pt x="156357" y="102317"/>
                      </a:lnTo>
                      <a:lnTo>
                        <a:pt x="157445" y="99052"/>
                      </a:lnTo>
                      <a:lnTo>
                        <a:pt x="153091" y="87783"/>
                      </a:lnTo>
                      <a:lnTo>
                        <a:pt x="145088" y="81988"/>
                      </a:lnTo>
                      <a:lnTo>
                        <a:pt x="162504" y="74017"/>
                      </a:lnTo>
                      <a:lnTo>
                        <a:pt x="157445" y="63836"/>
                      </a:lnTo>
                      <a:lnTo>
                        <a:pt x="167594" y="54424"/>
                      </a:lnTo>
                      <a:lnTo>
                        <a:pt x="166858" y="48245"/>
                      </a:lnTo>
                      <a:lnTo>
                        <a:pt x="174477" y="44980"/>
                      </a:lnTo>
                      <a:lnTo>
                        <a:pt x="164328" y="35183"/>
                      </a:lnTo>
                      <a:lnTo>
                        <a:pt x="188275" y="17416"/>
                      </a:lnTo>
                      <a:lnTo>
                        <a:pt x="179567" y="11973"/>
                      </a:lnTo>
                      <a:lnTo>
                        <a:pt x="163240" y="4354"/>
                      </a:lnTo>
                      <a:lnTo>
                        <a:pt x="148001" y="11973"/>
                      </a:lnTo>
                      <a:lnTo>
                        <a:pt x="13493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4" name="Forma Livre: Forma 303">
                  <a:extLst>
                    <a:ext uri="{FF2B5EF4-FFF2-40B4-BE49-F238E27FC236}">
                      <a16:creationId xmlns:a16="http://schemas.microsoft.com/office/drawing/2014/main" id="{9C81DD97-8AF5-38C5-8F4E-8A47FF1B3C96}"/>
                    </a:ext>
                  </a:extLst>
                </p:cNvPr>
                <p:cNvSpPr/>
                <p:nvPr/>
              </p:nvSpPr>
              <p:spPr>
                <a:xfrm>
                  <a:off x="2115471" y="5786038"/>
                  <a:ext cx="188274" cy="250318"/>
                </a:xfrm>
                <a:custGeom>
                  <a:avLst/>
                  <a:gdLst>
                    <a:gd name="csX0" fmla="*/ 134939 w 188274"/>
                    <a:gd name="csY0" fmla="*/ 0 h 250318"/>
                    <a:gd name="csX1" fmla="*/ 122966 w 188274"/>
                    <a:gd name="csY1" fmla="*/ 0 h 250318"/>
                    <a:gd name="csX2" fmla="*/ 116787 w 188274"/>
                    <a:gd name="csY2" fmla="*/ 11973 h 250318"/>
                    <a:gd name="csX3" fmla="*/ 107375 w 188274"/>
                    <a:gd name="csY3" fmla="*/ 6179 h 250318"/>
                    <a:gd name="csX4" fmla="*/ 104846 w 188274"/>
                    <a:gd name="csY4" fmla="*/ 21770 h 250318"/>
                    <a:gd name="csX5" fmla="*/ 86694 w 188274"/>
                    <a:gd name="csY5" fmla="*/ 18152 h 250318"/>
                    <a:gd name="csX6" fmla="*/ 84869 w 188274"/>
                    <a:gd name="csY6" fmla="*/ 18152 h 250318"/>
                    <a:gd name="csX7" fmla="*/ 62748 w 188274"/>
                    <a:gd name="csY7" fmla="*/ 79075 h 250318"/>
                    <a:gd name="csX8" fmla="*/ 47893 w 188274"/>
                    <a:gd name="csY8" fmla="*/ 83429 h 250318"/>
                    <a:gd name="csX9" fmla="*/ 45332 w 188274"/>
                    <a:gd name="csY9" fmla="*/ 92137 h 250318"/>
                    <a:gd name="csX10" fmla="*/ 26476 w 188274"/>
                    <a:gd name="csY10" fmla="*/ 99756 h 250318"/>
                    <a:gd name="csX11" fmla="*/ 23947 w 188274"/>
                    <a:gd name="csY11" fmla="*/ 106639 h 250318"/>
                    <a:gd name="csX12" fmla="*/ 13414 w 188274"/>
                    <a:gd name="csY12" fmla="*/ 112081 h 250318"/>
                    <a:gd name="csX13" fmla="*/ 10885 w 188274"/>
                    <a:gd name="csY13" fmla="*/ 122262 h 250318"/>
                    <a:gd name="csX14" fmla="*/ 17032 w 188274"/>
                    <a:gd name="csY14" fmla="*/ 129881 h 250318"/>
                    <a:gd name="csX15" fmla="*/ 10885 w 188274"/>
                    <a:gd name="csY15" fmla="*/ 132410 h 250318"/>
                    <a:gd name="csX16" fmla="*/ 16327 w 188274"/>
                    <a:gd name="csY16" fmla="*/ 142207 h 250318"/>
                    <a:gd name="csX17" fmla="*/ 12678 w 188274"/>
                    <a:gd name="csY17" fmla="*/ 149826 h 250318"/>
                    <a:gd name="csX18" fmla="*/ 5795 w 188274"/>
                    <a:gd name="csY18" fmla="*/ 154916 h 250318"/>
                    <a:gd name="csX19" fmla="*/ 7619 w 188274"/>
                    <a:gd name="csY19" fmla="*/ 166889 h 250318"/>
                    <a:gd name="csX20" fmla="*/ 3265 w 188274"/>
                    <a:gd name="csY20" fmla="*/ 173036 h 250318"/>
                    <a:gd name="csX21" fmla="*/ 6883 w 188274"/>
                    <a:gd name="csY21" fmla="*/ 179919 h 250318"/>
                    <a:gd name="csX22" fmla="*/ 0 w 188274"/>
                    <a:gd name="csY22" fmla="*/ 193717 h 250318"/>
                    <a:gd name="csX23" fmla="*/ 9412 w 188274"/>
                    <a:gd name="csY23" fmla="*/ 198807 h 250318"/>
                    <a:gd name="csX24" fmla="*/ 5058 w 188274"/>
                    <a:gd name="csY24" fmla="*/ 211869 h 250318"/>
                    <a:gd name="csX25" fmla="*/ 14502 w 188274"/>
                    <a:gd name="csY25" fmla="*/ 226372 h 250318"/>
                    <a:gd name="csX26" fmla="*/ 10885 w 188274"/>
                    <a:gd name="csY26" fmla="*/ 228901 h 250318"/>
                    <a:gd name="csX27" fmla="*/ 23947 w 188274"/>
                    <a:gd name="csY27" fmla="*/ 250318 h 250318"/>
                    <a:gd name="csX28" fmla="*/ 37713 w 188274"/>
                    <a:gd name="csY28" fmla="*/ 247757 h 250318"/>
                    <a:gd name="csX29" fmla="*/ 45332 w 188274"/>
                    <a:gd name="csY29" fmla="*/ 240874 h 250318"/>
                    <a:gd name="csX30" fmla="*/ 53335 w 188274"/>
                    <a:gd name="csY30" fmla="*/ 209308 h 250318"/>
                    <a:gd name="csX31" fmla="*/ 50774 w 188274"/>
                    <a:gd name="csY31" fmla="*/ 201337 h 250318"/>
                    <a:gd name="csX32" fmla="*/ 54040 w 188274"/>
                    <a:gd name="csY32" fmla="*/ 194454 h 250318"/>
                    <a:gd name="csX33" fmla="*/ 63484 w 188274"/>
                    <a:gd name="csY33" fmla="*/ 191893 h 250318"/>
                    <a:gd name="csX34" fmla="*/ 58394 w 188274"/>
                    <a:gd name="csY34" fmla="*/ 186834 h 250318"/>
                    <a:gd name="csX35" fmla="*/ 63484 w 188274"/>
                    <a:gd name="csY35" fmla="*/ 176302 h 250318"/>
                    <a:gd name="csX36" fmla="*/ 64220 w 188274"/>
                    <a:gd name="csY36" fmla="*/ 174861 h 250318"/>
                    <a:gd name="csX37" fmla="*/ 84165 w 188274"/>
                    <a:gd name="csY37" fmla="*/ 179919 h 250318"/>
                    <a:gd name="csX38" fmla="*/ 99756 w 188274"/>
                    <a:gd name="csY38" fmla="*/ 189363 h 250318"/>
                    <a:gd name="csX39" fmla="*/ 122966 w 188274"/>
                    <a:gd name="csY39" fmla="*/ 203162 h 250318"/>
                    <a:gd name="csX40" fmla="*/ 163240 w 188274"/>
                    <a:gd name="csY40" fmla="*/ 203162 h 250318"/>
                    <a:gd name="csX41" fmla="*/ 166858 w 188274"/>
                    <a:gd name="csY41" fmla="*/ 188627 h 250318"/>
                    <a:gd name="csX42" fmla="*/ 171948 w 188274"/>
                    <a:gd name="csY42" fmla="*/ 178126 h 250318"/>
                    <a:gd name="csX43" fmla="*/ 158886 w 188274"/>
                    <a:gd name="csY43" fmla="*/ 169419 h 250318"/>
                    <a:gd name="csX44" fmla="*/ 162504 w 188274"/>
                    <a:gd name="csY44" fmla="*/ 149090 h 250318"/>
                    <a:gd name="csX45" fmla="*/ 158150 w 188274"/>
                    <a:gd name="csY45" fmla="*/ 136764 h 250318"/>
                    <a:gd name="csX46" fmla="*/ 161799 w 188274"/>
                    <a:gd name="csY46" fmla="*/ 129145 h 250318"/>
                    <a:gd name="csX47" fmla="*/ 153091 w 188274"/>
                    <a:gd name="csY47" fmla="*/ 118997 h 250318"/>
                    <a:gd name="csX48" fmla="*/ 156357 w 188274"/>
                    <a:gd name="csY48" fmla="*/ 102317 h 250318"/>
                    <a:gd name="csX49" fmla="*/ 157445 w 188274"/>
                    <a:gd name="csY49" fmla="*/ 99052 h 250318"/>
                    <a:gd name="csX50" fmla="*/ 153091 w 188274"/>
                    <a:gd name="csY50" fmla="*/ 87783 h 250318"/>
                    <a:gd name="csX51" fmla="*/ 145088 w 188274"/>
                    <a:gd name="csY51" fmla="*/ 81988 h 250318"/>
                    <a:gd name="csX52" fmla="*/ 162504 w 188274"/>
                    <a:gd name="csY52" fmla="*/ 74017 h 250318"/>
                    <a:gd name="csX53" fmla="*/ 157445 w 188274"/>
                    <a:gd name="csY53" fmla="*/ 63836 h 250318"/>
                    <a:gd name="csX54" fmla="*/ 167594 w 188274"/>
                    <a:gd name="csY54" fmla="*/ 54424 h 250318"/>
                    <a:gd name="csX55" fmla="*/ 166858 w 188274"/>
                    <a:gd name="csY55" fmla="*/ 48245 h 250318"/>
                    <a:gd name="csX56" fmla="*/ 174477 w 188274"/>
                    <a:gd name="csY56" fmla="*/ 44980 h 250318"/>
                    <a:gd name="csX57" fmla="*/ 164328 w 188274"/>
                    <a:gd name="csY57" fmla="*/ 35183 h 250318"/>
                    <a:gd name="csX58" fmla="*/ 188275 w 188274"/>
                    <a:gd name="csY58" fmla="*/ 17416 h 250318"/>
                    <a:gd name="csX59" fmla="*/ 179567 w 188274"/>
                    <a:gd name="csY59" fmla="*/ 11973 h 250318"/>
                    <a:gd name="csX60" fmla="*/ 163240 w 188274"/>
                    <a:gd name="csY60" fmla="*/ 4354 h 250318"/>
                    <a:gd name="csX61" fmla="*/ 148001 w 188274"/>
                    <a:gd name="csY61" fmla="*/ 11973 h 250318"/>
                    <a:gd name="csX62" fmla="*/ 134939 w 188274"/>
                    <a:gd name="csY62" fmla="*/ 0 h 2503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188274" h="250318">
                      <a:moveTo>
                        <a:pt x="134939" y="0"/>
                      </a:moveTo>
                      <a:lnTo>
                        <a:pt x="122966" y="0"/>
                      </a:lnTo>
                      <a:lnTo>
                        <a:pt x="116787" y="11973"/>
                      </a:lnTo>
                      <a:lnTo>
                        <a:pt x="107375" y="6179"/>
                      </a:lnTo>
                      <a:lnTo>
                        <a:pt x="104846" y="21770"/>
                      </a:lnTo>
                      <a:lnTo>
                        <a:pt x="86694" y="18152"/>
                      </a:lnTo>
                      <a:lnTo>
                        <a:pt x="84869" y="18152"/>
                      </a:lnTo>
                      <a:lnTo>
                        <a:pt x="62748" y="79075"/>
                      </a:lnTo>
                      <a:lnTo>
                        <a:pt x="47893" y="83429"/>
                      </a:lnTo>
                      <a:lnTo>
                        <a:pt x="45332" y="92137"/>
                      </a:lnTo>
                      <a:lnTo>
                        <a:pt x="26476" y="99756"/>
                      </a:lnTo>
                      <a:lnTo>
                        <a:pt x="23947" y="106639"/>
                      </a:lnTo>
                      <a:lnTo>
                        <a:pt x="13414" y="112081"/>
                      </a:lnTo>
                      <a:lnTo>
                        <a:pt x="10885" y="122262"/>
                      </a:lnTo>
                      <a:lnTo>
                        <a:pt x="17032" y="129881"/>
                      </a:lnTo>
                      <a:lnTo>
                        <a:pt x="10885" y="132410"/>
                      </a:lnTo>
                      <a:lnTo>
                        <a:pt x="16327" y="142207"/>
                      </a:lnTo>
                      <a:lnTo>
                        <a:pt x="12678" y="149826"/>
                      </a:lnTo>
                      <a:lnTo>
                        <a:pt x="5795" y="154916"/>
                      </a:lnTo>
                      <a:lnTo>
                        <a:pt x="7619" y="166889"/>
                      </a:lnTo>
                      <a:lnTo>
                        <a:pt x="3265" y="173036"/>
                      </a:lnTo>
                      <a:lnTo>
                        <a:pt x="6883" y="179919"/>
                      </a:lnTo>
                      <a:lnTo>
                        <a:pt x="0" y="193717"/>
                      </a:lnTo>
                      <a:lnTo>
                        <a:pt x="9412" y="198807"/>
                      </a:lnTo>
                      <a:lnTo>
                        <a:pt x="5058" y="211869"/>
                      </a:lnTo>
                      <a:lnTo>
                        <a:pt x="14502" y="226372"/>
                      </a:lnTo>
                      <a:lnTo>
                        <a:pt x="10885" y="228901"/>
                      </a:lnTo>
                      <a:lnTo>
                        <a:pt x="23947" y="250318"/>
                      </a:lnTo>
                      <a:lnTo>
                        <a:pt x="37713" y="247757"/>
                      </a:lnTo>
                      <a:lnTo>
                        <a:pt x="45332" y="240874"/>
                      </a:lnTo>
                      <a:lnTo>
                        <a:pt x="53335" y="209308"/>
                      </a:lnTo>
                      <a:lnTo>
                        <a:pt x="50774" y="201337"/>
                      </a:lnTo>
                      <a:lnTo>
                        <a:pt x="54040" y="194454"/>
                      </a:lnTo>
                      <a:lnTo>
                        <a:pt x="63484" y="191893"/>
                      </a:lnTo>
                      <a:lnTo>
                        <a:pt x="58394" y="186834"/>
                      </a:lnTo>
                      <a:lnTo>
                        <a:pt x="63484" y="176302"/>
                      </a:lnTo>
                      <a:lnTo>
                        <a:pt x="64220" y="174861"/>
                      </a:lnTo>
                      <a:lnTo>
                        <a:pt x="84165" y="179919"/>
                      </a:lnTo>
                      <a:lnTo>
                        <a:pt x="99756" y="189363"/>
                      </a:lnTo>
                      <a:lnTo>
                        <a:pt x="122966" y="203162"/>
                      </a:lnTo>
                      <a:lnTo>
                        <a:pt x="163240" y="203162"/>
                      </a:lnTo>
                      <a:lnTo>
                        <a:pt x="166858" y="188627"/>
                      </a:lnTo>
                      <a:lnTo>
                        <a:pt x="171948" y="178126"/>
                      </a:lnTo>
                      <a:lnTo>
                        <a:pt x="158886" y="169419"/>
                      </a:lnTo>
                      <a:lnTo>
                        <a:pt x="162504" y="149090"/>
                      </a:lnTo>
                      <a:lnTo>
                        <a:pt x="158150" y="136764"/>
                      </a:lnTo>
                      <a:lnTo>
                        <a:pt x="161799" y="129145"/>
                      </a:lnTo>
                      <a:lnTo>
                        <a:pt x="153091" y="118997"/>
                      </a:lnTo>
                      <a:lnTo>
                        <a:pt x="156357" y="102317"/>
                      </a:lnTo>
                      <a:lnTo>
                        <a:pt x="157445" y="99052"/>
                      </a:lnTo>
                      <a:lnTo>
                        <a:pt x="153091" y="87783"/>
                      </a:lnTo>
                      <a:lnTo>
                        <a:pt x="145088" y="81988"/>
                      </a:lnTo>
                      <a:lnTo>
                        <a:pt x="162504" y="74017"/>
                      </a:lnTo>
                      <a:lnTo>
                        <a:pt x="157445" y="63836"/>
                      </a:lnTo>
                      <a:lnTo>
                        <a:pt x="167594" y="54424"/>
                      </a:lnTo>
                      <a:lnTo>
                        <a:pt x="166858" y="48245"/>
                      </a:lnTo>
                      <a:lnTo>
                        <a:pt x="174477" y="44980"/>
                      </a:lnTo>
                      <a:lnTo>
                        <a:pt x="164328" y="35183"/>
                      </a:lnTo>
                      <a:lnTo>
                        <a:pt x="188275" y="17416"/>
                      </a:lnTo>
                      <a:lnTo>
                        <a:pt x="179567" y="11973"/>
                      </a:lnTo>
                      <a:lnTo>
                        <a:pt x="163240" y="4354"/>
                      </a:lnTo>
                      <a:lnTo>
                        <a:pt x="148001" y="11973"/>
                      </a:lnTo>
                      <a:lnTo>
                        <a:pt x="13493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5" name="Forma Livre: Forma 304">
                  <a:extLst>
                    <a:ext uri="{FF2B5EF4-FFF2-40B4-BE49-F238E27FC236}">
                      <a16:creationId xmlns:a16="http://schemas.microsoft.com/office/drawing/2014/main" id="{FC61722A-E9C2-C9E3-AD5A-D412A034E4D3}"/>
                    </a:ext>
                  </a:extLst>
                </p:cNvPr>
                <p:cNvSpPr/>
                <p:nvPr/>
              </p:nvSpPr>
              <p:spPr>
                <a:xfrm>
                  <a:off x="2115471" y="5786038"/>
                  <a:ext cx="188274" cy="250318"/>
                </a:xfrm>
                <a:custGeom>
                  <a:avLst/>
                  <a:gdLst>
                    <a:gd name="csX0" fmla="*/ 134939 w 188274"/>
                    <a:gd name="csY0" fmla="*/ 0 h 250318"/>
                    <a:gd name="csX1" fmla="*/ 122966 w 188274"/>
                    <a:gd name="csY1" fmla="*/ 0 h 250318"/>
                    <a:gd name="csX2" fmla="*/ 116787 w 188274"/>
                    <a:gd name="csY2" fmla="*/ 11973 h 250318"/>
                    <a:gd name="csX3" fmla="*/ 107375 w 188274"/>
                    <a:gd name="csY3" fmla="*/ 6179 h 250318"/>
                    <a:gd name="csX4" fmla="*/ 104846 w 188274"/>
                    <a:gd name="csY4" fmla="*/ 21770 h 250318"/>
                    <a:gd name="csX5" fmla="*/ 86694 w 188274"/>
                    <a:gd name="csY5" fmla="*/ 18152 h 250318"/>
                    <a:gd name="csX6" fmla="*/ 84869 w 188274"/>
                    <a:gd name="csY6" fmla="*/ 18152 h 250318"/>
                    <a:gd name="csX7" fmla="*/ 62748 w 188274"/>
                    <a:gd name="csY7" fmla="*/ 79075 h 250318"/>
                    <a:gd name="csX8" fmla="*/ 47893 w 188274"/>
                    <a:gd name="csY8" fmla="*/ 83429 h 250318"/>
                    <a:gd name="csX9" fmla="*/ 45332 w 188274"/>
                    <a:gd name="csY9" fmla="*/ 92137 h 250318"/>
                    <a:gd name="csX10" fmla="*/ 26476 w 188274"/>
                    <a:gd name="csY10" fmla="*/ 99756 h 250318"/>
                    <a:gd name="csX11" fmla="*/ 23947 w 188274"/>
                    <a:gd name="csY11" fmla="*/ 106639 h 250318"/>
                    <a:gd name="csX12" fmla="*/ 13414 w 188274"/>
                    <a:gd name="csY12" fmla="*/ 112081 h 250318"/>
                    <a:gd name="csX13" fmla="*/ 10885 w 188274"/>
                    <a:gd name="csY13" fmla="*/ 122262 h 250318"/>
                    <a:gd name="csX14" fmla="*/ 17032 w 188274"/>
                    <a:gd name="csY14" fmla="*/ 129881 h 250318"/>
                    <a:gd name="csX15" fmla="*/ 10885 w 188274"/>
                    <a:gd name="csY15" fmla="*/ 132410 h 250318"/>
                    <a:gd name="csX16" fmla="*/ 16327 w 188274"/>
                    <a:gd name="csY16" fmla="*/ 142207 h 250318"/>
                    <a:gd name="csX17" fmla="*/ 12678 w 188274"/>
                    <a:gd name="csY17" fmla="*/ 149826 h 250318"/>
                    <a:gd name="csX18" fmla="*/ 5795 w 188274"/>
                    <a:gd name="csY18" fmla="*/ 154916 h 250318"/>
                    <a:gd name="csX19" fmla="*/ 7619 w 188274"/>
                    <a:gd name="csY19" fmla="*/ 166889 h 250318"/>
                    <a:gd name="csX20" fmla="*/ 3265 w 188274"/>
                    <a:gd name="csY20" fmla="*/ 173036 h 250318"/>
                    <a:gd name="csX21" fmla="*/ 6883 w 188274"/>
                    <a:gd name="csY21" fmla="*/ 179919 h 250318"/>
                    <a:gd name="csX22" fmla="*/ 0 w 188274"/>
                    <a:gd name="csY22" fmla="*/ 193717 h 250318"/>
                    <a:gd name="csX23" fmla="*/ 9412 w 188274"/>
                    <a:gd name="csY23" fmla="*/ 198807 h 250318"/>
                    <a:gd name="csX24" fmla="*/ 5058 w 188274"/>
                    <a:gd name="csY24" fmla="*/ 211869 h 250318"/>
                    <a:gd name="csX25" fmla="*/ 14502 w 188274"/>
                    <a:gd name="csY25" fmla="*/ 226372 h 250318"/>
                    <a:gd name="csX26" fmla="*/ 10885 w 188274"/>
                    <a:gd name="csY26" fmla="*/ 228901 h 250318"/>
                    <a:gd name="csX27" fmla="*/ 23947 w 188274"/>
                    <a:gd name="csY27" fmla="*/ 250318 h 250318"/>
                    <a:gd name="csX28" fmla="*/ 37713 w 188274"/>
                    <a:gd name="csY28" fmla="*/ 247757 h 250318"/>
                    <a:gd name="csX29" fmla="*/ 45332 w 188274"/>
                    <a:gd name="csY29" fmla="*/ 240874 h 250318"/>
                    <a:gd name="csX30" fmla="*/ 53335 w 188274"/>
                    <a:gd name="csY30" fmla="*/ 209308 h 250318"/>
                    <a:gd name="csX31" fmla="*/ 50774 w 188274"/>
                    <a:gd name="csY31" fmla="*/ 201337 h 250318"/>
                    <a:gd name="csX32" fmla="*/ 54040 w 188274"/>
                    <a:gd name="csY32" fmla="*/ 194454 h 250318"/>
                    <a:gd name="csX33" fmla="*/ 63484 w 188274"/>
                    <a:gd name="csY33" fmla="*/ 191893 h 250318"/>
                    <a:gd name="csX34" fmla="*/ 58394 w 188274"/>
                    <a:gd name="csY34" fmla="*/ 186834 h 250318"/>
                    <a:gd name="csX35" fmla="*/ 63484 w 188274"/>
                    <a:gd name="csY35" fmla="*/ 176302 h 250318"/>
                    <a:gd name="csX36" fmla="*/ 64220 w 188274"/>
                    <a:gd name="csY36" fmla="*/ 174861 h 250318"/>
                    <a:gd name="csX37" fmla="*/ 84165 w 188274"/>
                    <a:gd name="csY37" fmla="*/ 179919 h 250318"/>
                    <a:gd name="csX38" fmla="*/ 99756 w 188274"/>
                    <a:gd name="csY38" fmla="*/ 189363 h 250318"/>
                    <a:gd name="csX39" fmla="*/ 122966 w 188274"/>
                    <a:gd name="csY39" fmla="*/ 203162 h 250318"/>
                    <a:gd name="csX40" fmla="*/ 163240 w 188274"/>
                    <a:gd name="csY40" fmla="*/ 203162 h 250318"/>
                    <a:gd name="csX41" fmla="*/ 166858 w 188274"/>
                    <a:gd name="csY41" fmla="*/ 188627 h 250318"/>
                    <a:gd name="csX42" fmla="*/ 171948 w 188274"/>
                    <a:gd name="csY42" fmla="*/ 178126 h 250318"/>
                    <a:gd name="csX43" fmla="*/ 158886 w 188274"/>
                    <a:gd name="csY43" fmla="*/ 169419 h 250318"/>
                    <a:gd name="csX44" fmla="*/ 162504 w 188274"/>
                    <a:gd name="csY44" fmla="*/ 149090 h 250318"/>
                    <a:gd name="csX45" fmla="*/ 158150 w 188274"/>
                    <a:gd name="csY45" fmla="*/ 136764 h 250318"/>
                    <a:gd name="csX46" fmla="*/ 161799 w 188274"/>
                    <a:gd name="csY46" fmla="*/ 129145 h 250318"/>
                    <a:gd name="csX47" fmla="*/ 153091 w 188274"/>
                    <a:gd name="csY47" fmla="*/ 118997 h 250318"/>
                    <a:gd name="csX48" fmla="*/ 156357 w 188274"/>
                    <a:gd name="csY48" fmla="*/ 102317 h 250318"/>
                    <a:gd name="csX49" fmla="*/ 157445 w 188274"/>
                    <a:gd name="csY49" fmla="*/ 99052 h 250318"/>
                    <a:gd name="csX50" fmla="*/ 153091 w 188274"/>
                    <a:gd name="csY50" fmla="*/ 87783 h 250318"/>
                    <a:gd name="csX51" fmla="*/ 145088 w 188274"/>
                    <a:gd name="csY51" fmla="*/ 81988 h 250318"/>
                    <a:gd name="csX52" fmla="*/ 162504 w 188274"/>
                    <a:gd name="csY52" fmla="*/ 74017 h 250318"/>
                    <a:gd name="csX53" fmla="*/ 157445 w 188274"/>
                    <a:gd name="csY53" fmla="*/ 63836 h 250318"/>
                    <a:gd name="csX54" fmla="*/ 167594 w 188274"/>
                    <a:gd name="csY54" fmla="*/ 54424 h 250318"/>
                    <a:gd name="csX55" fmla="*/ 166858 w 188274"/>
                    <a:gd name="csY55" fmla="*/ 48245 h 250318"/>
                    <a:gd name="csX56" fmla="*/ 174477 w 188274"/>
                    <a:gd name="csY56" fmla="*/ 44980 h 250318"/>
                    <a:gd name="csX57" fmla="*/ 164328 w 188274"/>
                    <a:gd name="csY57" fmla="*/ 35183 h 250318"/>
                    <a:gd name="csX58" fmla="*/ 188275 w 188274"/>
                    <a:gd name="csY58" fmla="*/ 17416 h 250318"/>
                    <a:gd name="csX59" fmla="*/ 179567 w 188274"/>
                    <a:gd name="csY59" fmla="*/ 11973 h 250318"/>
                    <a:gd name="csX60" fmla="*/ 163240 w 188274"/>
                    <a:gd name="csY60" fmla="*/ 4354 h 250318"/>
                    <a:gd name="csX61" fmla="*/ 148001 w 188274"/>
                    <a:gd name="csY61" fmla="*/ 11973 h 250318"/>
                    <a:gd name="csX62" fmla="*/ 134939 w 188274"/>
                    <a:gd name="csY62" fmla="*/ 0 h 2503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</a:cxnLst>
                  <a:rect l="l" t="t" r="r" b="b"/>
                  <a:pathLst>
                    <a:path w="188274" h="250318">
                      <a:moveTo>
                        <a:pt x="134939" y="0"/>
                      </a:moveTo>
                      <a:lnTo>
                        <a:pt x="122966" y="0"/>
                      </a:lnTo>
                      <a:lnTo>
                        <a:pt x="116787" y="11973"/>
                      </a:lnTo>
                      <a:lnTo>
                        <a:pt x="107375" y="6179"/>
                      </a:lnTo>
                      <a:lnTo>
                        <a:pt x="104846" y="21770"/>
                      </a:lnTo>
                      <a:lnTo>
                        <a:pt x="86694" y="18152"/>
                      </a:lnTo>
                      <a:lnTo>
                        <a:pt x="84869" y="18152"/>
                      </a:lnTo>
                      <a:lnTo>
                        <a:pt x="62748" y="79075"/>
                      </a:lnTo>
                      <a:lnTo>
                        <a:pt x="47893" y="83429"/>
                      </a:lnTo>
                      <a:lnTo>
                        <a:pt x="45332" y="92137"/>
                      </a:lnTo>
                      <a:lnTo>
                        <a:pt x="26476" y="99756"/>
                      </a:lnTo>
                      <a:lnTo>
                        <a:pt x="23947" y="106639"/>
                      </a:lnTo>
                      <a:lnTo>
                        <a:pt x="13414" y="112081"/>
                      </a:lnTo>
                      <a:lnTo>
                        <a:pt x="10885" y="122262"/>
                      </a:lnTo>
                      <a:lnTo>
                        <a:pt x="17032" y="129881"/>
                      </a:lnTo>
                      <a:lnTo>
                        <a:pt x="10885" y="132410"/>
                      </a:lnTo>
                      <a:lnTo>
                        <a:pt x="16327" y="142207"/>
                      </a:lnTo>
                      <a:lnTo>
                        <a:pt x="12678" y="149826"/>
                      </a:lnTo>
                      <a:lnTo>
                        <a:pt x="5795" y="154916"/>
                      </a:lnTo>
                      <a:lnTo>
                        <a:pt x="7619" y="166889"/>
                      </a:lnTo>
                      <a:lnTo>
                        <a:pt x="3265" y="173036"/>
                      </a:lnTo>
                      <a:lnTo>
                        <a:pt x="6883" y="179919"/>
                      </a:lnTo>
                      <a:lnTo>
                        <a:pt x="0" y="193717"/>
                      </a:lnTo>
                      <a:lnTo>
                        <a:pt x="9412" y="198807"/>
                      </a:lnTo>
                      <a:lnTo>
                        <a:pt x="5058" y="211869"/>
                      </a:lnTo>
                      <a:lnTo>
                        <a:pt x="14502" y="226372"/>
                      </a:lnTo>
                      <a:lnTo>
                        <a:pt x="10885" y="228901"/>
                      </a:lnTo>
                      <a:lnTo>
                        <a:pt x="23947" y="250318"/>
                      </a:lnTo>
                      <a:lnTo>
                        <a:pt x="37713" y="247757"/>
                      </a:lnTo>
                      <a:lnTo>
                        <a:pt x="45332" y="240874"/>
                      </a:lnTo>
                      <a:lnTo>
                        <a:pt x="53335" y="209308"/>
                      </a:lnTo>
                      <a:lnTo>
                        <a:pt x="50774" y="201337"/>
                      </a:lnTo>
                      <a:lnTo>
                        <a:pt x="54040" y="194454"/>
                      </a:lnTo>
                      <a:lnTo>
                        <a:pt x="63484" y="191893"/>
                      </a:lnTo>
                      <a:lnTo>
                        <a:pt x="58394" y="186834"/>
                      </a:lnTo>
                      <a:lnTo>
                        <a:pt x="63484" y="176302"/>
                      </a:lnTo>
                      <a:lnTo>
                        <a:pt x="64220" y="174861"/>
                      </a:lnTo>
                      <a:lnTo>
                        <a:pt x="84165" y="179919"/>
                      </a:lnTo>
                      <a:lnTo>
                        <a:pt x="99756" y="189363"/>
                      </a:lnTo>
                      <a:lnTo>
                        <a:pt x="122966" y="203162"/>
                      </a:lnTo>
                      <a:lnTo>
                        <a:pt x="163240" y="203162"/>
                      </a:lnTo>
                      <a:lnTo>
                        <a:pt x="166858" y="188627"/>
                      </a:lnTo>
                      <a:lnTo>
                        <a:pt x="171948" y="178126"/>
                      </a:lnTo>
                      <a:lnTo>
                        <a:pt x="158886" y="169419"/>
                      </a:lnTo>
                      <a:lnTo>
                        <a:pt x="162504" y="149090"/>
                      </a:lnTo>
                      <a:lnTo>
                        <a:pt x="158150" y="136764"/>
                      </a:lnTo>
                      <a:lnTo>
                        <a:pt x="161799" y="129145"/>
                      </a:lnTo>
                      <a:lnTo>
                        <a:pt x="153091" y="118997"/>
                      </a:lnTo>
                      <a:lnTo>
                        <a:pt x="156357" y="102317"/>
                      </a:lnTo>
                      <a:lnTo>
                        <a:pt x="157445" y="99052"/>
                      </a:lnTo>
                      <a:lnTo>
                        <a:pt x="153091" y="87783"/>
                      </a:lnTo>
                      <a:lnTo>
                        <a:pt x="145088" y="81988"/>
                      </a:lnTo>
                      <a:lnTo>
                        <a:pt x="162504" y="74017"/>
                      </a:lnTo>
                      <a:lnTo>
                        <a:pt x="157445" y="63836"/>
                      </a:lnTo>
                      <a:lnTo>
                        <a:pt x="167594" y="54424"/>
                      </a:lnTo>
                      <a:lnTo>
                        <a:pt x="166858" y="48245"/>
                      </a:lnTo>
                      <a:lnTo>
                        <a:pt x="174477" y="44980"/>
                      </a:lnTo>
                      <a:lnTo>
                        <a:pt x="164328" y="35183"/>
                      </a:lnTo>
                      <a:lnTo>
                        <a:pt x="188275" y="17416"/>
                      </a:lnTo>
                      <a:lnTo>
                        <a:pt x="179567" y="11973"/>
                      </a:lnTo>
                      <a:lnTo>
                        <a:pt x="163240" y="4354"/>
                      </a:lnTo>
                      <a:lnTo>
                        <a:pt x="148001" y="11973"/>
                      </a:lnTo>
                      <a:lnTo>
                        <a:pt x="13493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6" name="Forma Livre: Forma 305">
                  <a:extLst>
                    <a:ext uri="{FF2B5EF4-FFF2-40B4-BE49-F238E27FC236}">
                      <a16:creationId xmlns:a16="http://schemas.microsoft.com/office/drawing/2014/main" id="{084D087F-BB71-FDD8-A983-7E8F275BA31F}"/>
                    </a:ext>
                  </a:extLst>
                </p:cNvPr>
                <p:cNvSpPr/>
                <p:nvPr/>
              </p:nvSpPr>
              <p:spPr>
                <a:xfrm>
                  <a:off x="3357170" y="4329557"/>
                  <a:ext cx="247084" cy="237192"/>
                </a:xfrm>
                <a:custGeom>
                  <a:avLst/>
                  <a:gdLst>
                    <a:gd name="csX0" fmla="*/ 203898 w 247084"/>
                    <a:gd name="csY0" fmla="*/ 182480 h 237192"/>
                    <a:gd name="csX1" fmla="*/ 205722 w 247084"/>
                    <a:gd name="csY1" fmla="*/ 182480 h 237192"/>
                    <a:gd name="csX2" fmla="*/ 203898 w 247084"/>
                    <a:gd name="csY2" fmla="*/ 182480 h 237192"/>
                    <a:gd name="csX3" fmla="*/ 208252 w 247084"/>
                    <a:gd name="csY3" fmla="*/ 1825 h 237192"/>
                    <a:gd name="csX4" fmla="*/ 201369 w 247084"/>
                    <a:gd name="csY4" fmla="*/ 0 h 237192"/>
                    <a:gd name="csX5" fmla="*/ 141150 w 247084"/>
                    <a:gd name="csY5" fmla="*/ 23946 h 237192"/>
                    <a:gd name="csX6" fmla="*/ 85285 w 247084"/>
                    <a:gd name="csY6" fmla="*/ 11237 h 237192"/>
                    <a:gd name="csX7" fmla="*/ 76578 w 247084"/>
                    <a:gd name="csY7" fmla="*/ 12677 h 237192"/>
                    <a:gd name="csX8" fmla="*/ 68958 w 247084"/>
                    <a:gd name="csY8" fmla="*/ 25003 h 237192"/>
                    <a:gd name="csX9" fmla="*/ 55160 w 247084"/>
                    <a:gd name="csY9" fmla="*/ 23178 h 237192"/>
                    <a:gd name="csX10" fmla="*/ 50070 w 247084"/>
                    <a:gd name="csY10" fmla="*/ 30061 h 237192"/>
                    <a:gd name="csX11" fmla="*/ 51511 w 247084"/>
                    <a:gd name="csY11" fmla="*/ 35856 h 237192"/>
                    <a:gd name="csX12" fmla="*/ 39537 w 247084"/>
                    <a:gd name="csY12" fmla="*/ 40210 h 237192"/>
                    <a:gd name="csX13" fmla="*/ 39537 w 247084"/>
                    <a:gd name="csY13" fmla="*/ 48181 h 237192"/>
                    <a:gd name="csX14" fmla="*/ 32654 w 247084"/>
                    <a:gd name="csY14" fmla="*/ 48181 h 237192"/>
                    <a:gd name="csX15" fmla="*/ 21417 w 247084"/>
                    <a:gd name="csY15" fmla="*/ 61979 h 237192"/>
                    <a:gd name="csX16" fmla="*/ 0 w 247084"/>
                    <a:gd name="csY16" fmla="*/ 122934 h 237192"/>
                    <a:gd name="csX17" fmla="*/ 10533 w 247084"/>
                    <a:gd name="csY17" fmla="*/ 139261 h 237192"/>
                    <a:gd name="csX18" fmla="*/ 11973 w 247084"/>
                    <a:gd name="csY18" fmla="*/ 162472 h 237192"/>
                    <a:gd name="csX19" fmla="*/ 6179 w 247084"/>
                    <a:gd name="csY19" fmla="*/ 198743 h 237192"/>
                    <a:gd name="csX20" fmla="*/ 21417 w 247084"/>
                    <a:gd name="csY20" fmla="*/ 212541 h 237192"/>
                    <a:gd name="csX21" fmla="*/ 31214 w 247084"/>
                    <a:gd name="csY21" fmla="*/ 237192 h 237192"/>
                    <a:gd name="csX22" fmla="*/ 48982 w 247084"/>
                    <a:gd name="csY22" fmla="*/ 229573 h 237192"/>
                    <a:gd name="csX23" fmla="*/ 55160 w 247084"/>
                    <a:gd name="csY23" fmla="*/ 220129 h 237192"/>
                    <a:gd name="csX24" fmla="*/ 55160 w 247084"/>
                    <a:gd name="csY24" fmla="*/ 204538 h 237192"/>
                    <a:gd name="csX25" fmla="*/ 68222 w 247084"/>
                    <a:gd name="csY25" fmla="*/ 200184 h 237192"/>
                    <a:gd name="csX26" fmla="*/ 98315 w 247084"/>
                    <a:gd name="csY26" fmla="*/ 162472 h 237192"/>
                    <a:gd name="csX27" fmla="*/ 105198 w 247084"/>
                    <a:gd name="csY27" fmla="*/ 186770 h 237192"/>
                    <a:gd name="csX28" fmla="*/ 115347 w 247084"/>
                    <a:gd name="csY28" fmla="*/ 203097 h 237192"/>
                    <a:gd name="csX29" fmla="*/ 117172 w 247084"/>
                    <a:gd name="csY29" fmla="*/ 215807 h 237192"/>
                    <a:gd name="csX30" fmla="*/ 128408 w 247084"/>
                    <a:gd name="csY30" fmla="*/ 217632 h 237192"/>
                    <a:gd name="csX31" fmla="*/ 129849 w 247084"/>
                    <a:gd name="csY31" fmla="*/ 228869 h 237192"/>
                    <a:gd name="csX32" fmla="*/ 148001 w 247084"/>
                    <a:gd name="csY32" fmla="*/ 226339 h 237192"/>
                    <a:gd name="csX33" fmla="*/ 153091 w 247084"/>
                    <a:gd name="csY33" fmla="*/ 215807 h 237192"/>
                    <a:gd name="csX34" fmla="*/ 161063 w 247084"/>
                    <a:gd name="csY34" fmla="*/ 212541 h 237192"/>
                    <a:gd name="csX35" fmla="*/ 184273 w 247084"/>
                    <a:gd name="csY35" fmla="*/ 219425 h 237192"/>
                    <a:gd name="csX36" fmla="*/ 196983 w 247084"/>
                    <a:gd name="csY36" fmla="*/ 215071 h 237192"/>
                    <a:gd name="csX37" fmla="*/ 209308 w 247084"/>
                    <a:gd name="csY37" fmla="*/ 216895 h 237192"/>
                    <a:gd name="csX38" fmla="*/ 210044 w 247084"/>
                    <a:gd name="csY38" fmla="*/ 194422 h 237192"/>
                    <a:gd name="csX39" fmla="*/ 199896 w 247084"/>
                    <a:gd name="csY39" fmla="*/ 181360 h 237192"/>
                    <a:gd name="csX40" fmla="*/ 209340 w 247084"/>
                    <a:gd name="csY40" fmla="*/ 186802 h 237192"/>
                    <a:gd name="csX41" fmla="*/ 218784 w 247084"/>
                    <a:gd name="csY41" fmla="*/ 187538 h 237192"/>
                    <a:gd name="csX42" fmla="*/ 217696 w 247084"/>
                    <a:gd name="csY42" fmla="*/ 194422 h 237192"/>
                    <a:gd name="csX43" fmla="*/ 221313 w 247084"/>
                    <a:gd name="csY43" fmla="*/ 192597 h 237192"/>
                    <a:gd name="csX44" fmla="*/ 223138 w 247084"/>
                    <a:gd name="csY44" fmla="*/ 203129 h 237192"/>
                    <a:gd name="csX45" fmla="*/ 238377 w 247084"/>
                    <a:gd name="csY45" fmla="*/ 208220 h 237192"/>
                    <a:gd name="csX46" fmla="*/ 238377 w 247084"/>
                    <a:gd name="csY46" fmla="*/ 178126 h 237192"/>
                    <a:gd name="csX47" fmla="*/ 237641 w 247084"/>
                    <a:gd name="csY47" fmla="*/ 143679 h 237192"/>
                    <a:gd name="csX48" fmla="*/ 237641 w 247084"/>
                    <a:gd name="csY48" fmla="*/ 111025 h 237192"/>
                    <a:gd name="csX49" fmla="*/ 247085 w 247084"/>
                    <a:gd name="csY49" fmla="*/ 109200 h 237192"/>
                    <a:gd name="csX50" fmla="*/ 237641 w 247084"/>
                    <a:gd name="csY50" fmla="*/ 104846 h 237192"/>
                    <a:gd name="csX51" fmla="*/ 232550 w 247084"/>
                    <a:gd name="csY51" fmla="*/ 94698 h 237192"/>
                    <a:gd name="csX52" fmla="*/ 235816 w 247084"/>
                    <a:gd name="csY52" fmla="*/ 69663 h 237192"/>
                    <a:gd name="csX53" fmla="*/ 236904 w 247084"/>
                    <a:gd name="csY53" fmla="*/ 58426 h 237192"/>
                    <a:gd name="csX54" fmla="*/ 225667 w 247084"/>
                    <a:gd name="csY54" fmla="*/ 63516 h 237192"/>
                    <a:gd name="csX55" fmla="*/ 216959 w 247084"/>
                    <a:gd name="csY55" fmla="*/ 45748 h 237192"/>
                    <a:gd name="csX56" fmla="*/ 209340 w 247084"/>
                    <a:gd name="csY56" fmla="*/ 40306 h 237192"/>
                    <a:gd name="csX57" fmla="*/ 203898 w 247084"/>
                    <a:gd name="csY57" fmla="*/ 25803 h 237192"/>
                    <a:gd name="csX58" fmla="*/ 208252 w 247084"/>
                    <a:gd name="csY58" fmla="*/ 1857 h 23719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</a:cxnLst>
                  <a:rect l="l" t="t" r="r" b="b"/>
                  <a:pathLst>
                    <a:path w="247084" h="237192">
                      <a:moveTo>
                        <a:pt x="203898" y="182480"/>
                      </a:moveTo>
                      <a:lnTo>
                        <a:pt x="205722" y="182480"/>
                      </a:lnTo>
                      <a:lnTo>
                        <a:pt x="203898" y="182480"/>
                      </a:lnTo>
                      <a:close/>
                      <a:moveTo>
                        <a:pt x="208252" y="1825"/>
                      </a:moveTo>
                      <a:lnTo>
                        <a:pt x="201369" y="0"/>
                      </a:lnTo>
                      <a:lnTo>
                        <a:pt x="141150" y="23946"/>
                      </a:lnTo>
                      <a:lnTo>
                        <a:pt x="85285" y="11237"/>
                      </a:lnTo>
                      <a:lnTo>
                        <a:pt x="76578" y="12677"/>
                      </a:lnTo>
                      <a:lnTo>
                        <a:pt x="68958" y="25003"/>
                      </a:lnTo>
                      <a:lnTo>
                        <a:pt x="55160" y="23178"/>
                      </a:lnTo>
                      <a:lnTo>
                        <a:pt x="50070" y="30061"/>
                      </a:lnTo>
                      <a:lnTo>
                        <a:pt x="51511" y="35856"/>
                      </a:lnTo>
                      <a:lnTo>
                        <a:pt x="39537" y="40210"/>
                      </a:lnTo>
                      <a:lnTo>
                        <a:pt x="39537" y="48181"/>
                      </a:lnTo>
                      <a:lnTo>
                        <a:pt x="32654" y="48181"/>
                      </a:lnTo>
                      <a:lnTo>
                        <a:pt x="21417" y="61979"/>
                      </a:lnTo>
                      <a:lnTo>
                        <a:pt x="0" y="122934"/>
                      </a:lnTo>
                      <a:lnTo>
                        <a:pt x="10533" y="139261"/>
                      </a:lnTo>
                      <a:lnTo>
                        <a:pt x="11973" y="162472"/>
                      </a:lnTo>
                      <a:lnTo>
                        <a:pt x="6179" y="198743"/>
                      </a:lnTo>
                      <a:lnTo>
                        <a:pt x="21417" y="212541"/>
                      </a:lnTo>
                      <a:lnTo>
                        <a:pt x="31214" y="237192"/>
                      </a:lnTo>
                      <a:lnTo>
                        <a:pt x="48982" y="229573"/>
                      </a:lnTo>
                      <a:lnTo>
                        <a:pt x="55160" y="220129"/>
                      </a:lnTo>
                      <a:lnTo>
                        <a:pt x="55160" y="204538"/>
                      </a:lnTo>
                      <a:lnTo>
                        <a:pt x="68222" y="200184"/>
                      </a:lnTo>
                      <a:lnTo>
                        <a:pt x="98315" y="162472"/>
                      </a:lnTo>
                      <a:lnTo>
                        <a:pt x="105198" y="186770"/>
                      </a:lnTo>
                      <a:lnTo>
                        <a:pt x="115347" y="203097"/>
                      </a:lnTo>
                      <a:lnTo>
                        <a:pt x="117172" y="215807"/>
                      </a:lnTo>
                      <a:lnTo>
                        <a:pt x="128408" y="217632"/>
                      </a:lnTo>
                      <a:lnTo>
                        <a:pt x="129849" y="228869"/>
                      </a:lnTo>
                      <a:lnTo>
                        <a:pt x="148001" y="226339"/>
                      </a:lnTo>
                      <a:lnTo>
                        <a:pt x="153091" y="215807"/>
                      </a:lnTo>
                      <a:lnTo>
                        <a:pt x="161063" y="212541"/>
                      </a:lnTo>
                      <a:lnTo>
                        <a:pt x="184273" y="219425"/>
                      </a:lnTo>
                      <a:lnTo>
                        <a:pt x="196983" y="215071"/>
                      </a:lnTo>
                      <a:lnTo>
                        <a:pt x="209308" y="216895"/>
                      </a:lnTo>
                      <a:lnTo>
                        <a:pt x="210044" y="194422"/>
                      </a:lnTo>
                      <a:lnTo>
                        <a:pt x="199896" y="181360"/>
                      </a:lnTo>
                      <a:lnTo>
                        <a:pt x="209340" y="186802"/>
                      </a:lnTo>
                      <a:lnTo>
                        <a:pt x="218784" y="187538"/>
                      </a:lnTo>
                      <a:lnTo>
                        <a:pt x="217696" y="194422"/>
                      </a:lnTo>
                      <a:lnTo>
                        <a:pt x="221313" y="192597"/>
                      </a:lnTo>
                      <a:lnTo>
                        <a:pt x="223138" y="203129"/>
                      </a:lnTo>
                      <a:lnTo>
                        <a:pt x="238377" y="208220"/>
                      </a:lnTo>
                      <a:lnTo>
                        <a:pt x="238377" y="178126"/>
                      </a:lnTo>
                      <a:lnTo>
                        <a:pt x="237641" y="143679"/>
                      </a:lnTo>
                      <a:lnTo>
                        <a:pt x="237641" y="111025"/>
                      </a:lnTo>
                      <a:lnTo>
                        <a:pt x="247085" y="109200"/>
                      </a:lnTo>
                      <a:lnTo>
                        <a:pt x="237641" y="104846"/>
                      </a:lnTo>
                      <a:lnTo>
                        <a:pt x="232550" y="94698"/>
                      </a:lnTo>
                      <a:lnTo>
                        <a:pt x="235816" y="69663"/>
                      </a:lnTo>
                      <a:lnTo>
                        <a:pt x="236904" y="58426"/>
                      </a:lnTo>
                      <a:lnTo>
                        <a:pt x="225667" y="63516"/>
                      </a:lnTo>
                      <a:lnTo>
                        <a:pt x="216959" y="45748"/>
                      </a:lnTo>
                      <a:lnTo>
                        <a:pt x="209340" y="40306"/>
                      </a:lnTo>
                      <a:lnTo>
                        <a:pt x="203898" y="25803"/>
                      </a:lnTo>
                      <a:lnTo>
                        <a:pt x="208252" y="185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7" name="Forma Livre: Forma 306">
                  <a:extLst>
                    <a:ext uri="{FF2B5EF4-FFF2-40B4-BE49-F238E27FC236}">
                      <a16:creationId xmlns:a16="http://schemas.microsoft.com/office/drawing/2014/main" id="{24219E3F-D485-D795-7B2C-4AE68A756864}"/>
                    </a:ext>
                  </a:extLst>
                </p:cNvPr>
                <p:cNvSpPr/>
                <p:nvPr/>
              </p:nvSpPr>
              <p:spPr>
                <a:xfrm>
                  <a:off x="3357170" y="4329557"/>
                  <a:ext cx="247084" cy="237192"/>
                </a:xfrm>
                <a:custGeom>
                  <a:avLst/>
                  <a:gdLst>
                    <a:gd name="csX0" fmla="*/ 203898 w 247084"/>
                    <a:gd name="csY0" fmla="*/ 182480 h 237192"/>
                    <a:gd name="csX1" fmla="*/ 205722 w 247084"/>
                    <a:gd name="csY1" fmla="*/ 182480 h 237192"/>
                    <a:gd name="csX2" fmla="*/ 203898 w 247084"/>
                    <a:gd name="csY2" fmla="*/ 182480 h 237192"/>
                    <a:gd name="csX3" fmla="*/ 208252 w 247084"/>
                    <a:gd name="csY3" fmla="*/ 1825 h 237192"/>
                    <a:gd name="csX4" fmla="*/ 201369 w 247084"/>
                    <a:gd name="csY4" fmla="*/ 0 h 237192"/>
                    <a:gd name="csX5" fmla="*/ 141150 w 247084"/>
                    <a:gd name="csY5" fmla="*/ 23946 h 237192"/>
                    <a:gd name="csX6" fmla="*/ 85285 w 247084"/>
                    <a:gd name="csY6" fmla="*/ 11237 h 237192"/>
                    <a:gd name="csX7" fmla="*/ 76578 w 247084"/>
                    <a:gd name="csY7" fmla="*/ 12677 h 237192"/>
                    <a:gd name="csX8" fmla="*/ 68958 w 247084"/>
                    <a:gd name="csY8" fmla="*/ 25003 h 237192"/>
                    <a:gd name="csX9" fmla="*/ 55160 w 247084"/>
                    <a:gd name="csY9" fmla="*/ 23178 h 237192"/>
                    <a:gd name="csX10" fmla="*/ 50070 w 247084"/>
                    <a:gd name="csY10" fmla="*/ 30061 h 237192"/>
                    <a:gd name="csX11" fmla="*/ 51511 w 247084"/>
                    <a:gd name="csY11" fmla="*/ 35856 h 237192"/>
                    <a:gd name="csX12" fmla="*/ 39537 w 247084"/>
                    <a:gd name="csY12" fmla="*/ 40210 h 237192"/>
                    <a:gd name="csX13" fmla="*/ 39537 w 247084"/>
                    <a:gd name="csY13" fmla="*/ 48181 h 237192"/>
                    <a:gd name="csX14" fmla="*/ 32654 w 247084"/>
                    <a:gd name="csY14" fmla="*/ 48181 h 237192"/>
                    <a:gd name="csX15" fmla="*/ 21417 w 247084"/>
                    <a:gd name="csY15" fmla="*/ 61979 h 237192"/>
                    <a:gd name="csX16" fmla="*/ 0 w 247084"/>
                    <a:gd name="csY16" fmla="*/ 122934 h 237192"/>
                    <a:gd name="csX17" fmla="*/ 10533 w 247084"/>
                    <a:gd name="csY17" fmla="*/ 139261 h 237192"/>
                    <a:gd name="csX18" fmla="*/ 11973 w 247084"/>
                    <a:gd name="csY18" fmla="*/ 162472 h 237192"/>
                    <a:gd name="csX19" fmla="*/ 6179 w 247084"/>
                    <a:gd name="csY19" fmla="*/ 198743 h 237192"/>
                    <a:gd name="csX20" fmla="*/ 21417 w 247084"/>
                    <a:gd name="csY20" fmla="*/ 212541 h 237192"/>
                    <a:gd name="csX21" fmla="*/ 31214 w 247084"/>
                    <a:gd name="csY21" fmla="*/ 237192 h 237192"/>
                    <a:gd name="csX22" fmla="*/ 48982 w 247084"/>
                    <a:gd name="csY22" fmla="*/ 229573 h 237192"/>
                    <a:gd name="csX23" fmla="*/ 55160 w 247084"/>
                    <a:gd name="csY23" fmla="*/ 220129 h 237192"/>
                    <a:gd name="csX24" fmla="*/ 55160 w 247084"/>
                    <a:gd name="csY24" fmla="*/ 204538 h 237192"/>
                    <a:gd name="csX25" fmla="*/ 68222 w 247084"/>
                    <a:gd name="csY25" fmla="*/ 200184 h 237192"/>
                    <a:gd name="csX26" fmla="*/ 98315 w 247084"/>
                    <a:gd name="csY26" fmla="*/ 162472 h 237192"/>
                    <a:gd name="csX27" fmla="*/ 105198 w 247084"/>
                    <a:gd name="csY27" fmla="*/ 186770 h 237192"/>
                    <a:gd name="csX28" fmla="*/ 115347 w 247084"/>
                    <a:gd name="csY28" fmla="*/ 203097 h 237192"/>
                    <a:gd name="csX29" fmla="*/ 117172 w 247084"/>
                    <a:gd name="csY29" fmla="*/ 215807 h 237192"/>
                    <a:gd name="csX30" fmla="*/ 128408 w 247084"/>
                    <a:gd name="csY30" fmla="*/ 217632 h 237192"/>
                    <a:gd name="csX31" fmla="*/ 129849 w 247084"/>
                    <a:gd name="csY31" fmla="*/ 228869 h 237192"/>
                    <a:gd name="csX32" fmla="*/ 148001 w 247084"/>
                    <a:gd name="csY32" fmla="*/ 226339 h 237192"/>
                    <a:gd name="csX33" fmla="*/ 153091 w 247084"/>
                    <a:gd name="csY33" fmla="*/ 215807 h 237192"/>
                    <a:gd name="csX34" fmla="*/ 161063 w 247084"/>
                    <a:gd name="csY34" fmla="*/ 212541 h 237192"/>
                    <a:gd name="csX35" fmla="*/ 184273 w 247084"/>
                    <a:gd name="csY35" fmla="*/ 219425 h 237192"/>
                    <a:gd name="csX36" fmla="*/ 196983 w 247084"/>
                    <a:gd name="csY36" fmla="*/ 215071 h 237192"/>
                    <a:gd name="csX37" fmla="*/ 209308 w 247084"/>
                    <a:gd name="csY37" fmla="*/ 216895 h 237192"/>
                    <a:gd name="csX38" fmla="*/ 210044 w 247084"/>
                    <a:gd name="csY38" fmla="*/ 194422 h 237192"/>
                    <a:gd name="csX39" fmla="*/ 199896 w 247084"/>
                    <a:gd name="csY39" fmla="*/ 181360 h 237192"/>
                    <a:gd name="csX40" fmla="*/ 209340 w 247084"/>
                    <a:gd name="csY40" fmla="*/ 186802 h 237192"/>
                    <a:gd name="csX41" fmla="*/ 218784 w 247084"/>
                    <a:gd name="csY41" fmla="*/ 187538 h 237192"/>
                    <a:gd name="csX42" fmla="*/ 217696 w 247084"/>
                    <a:gd name="csY42" fmla="*/ 194422 h 237192"/>
                    <a:gd name="csX43" fmla="*/ 221313 w 247084"/>
                    <a:gd name="csY43" fmla="*/ 192597 h 237192"/>
                    <a:gd name="csX44" fmla="*/ 223138 w 247084"/>
                    <a:gd name="csY44" fmla="*/ 203129 h 237192"/>
                    <a:gd name="csX45" fmla="*/ 238377 w 247084"/>
                    <a:gd name="csY45" fmla="*/ 208220 h 237192"/>
                    <a:gd name="csX46" fmla="*/ 238377 w 247084"/>
                    <a:gd name="csY46" fmla="*/ 178126 h 237192"/>
                    <a:gd name="csX47" fmla="*/ 237641 w 247084"/>
                    <a:gd name="csY47" fmla="*/ 143679 h 237192"/>
                    <a:gd name="csX48" fmla="*/ 237641 w 247084"/>
                    <a:gd name="csY48" fmla="*/ 111025 h 237192"/>
                    <a:gd name="csX49" fmla="*/ 247085 w 247084"/>
                    <a:gd name="csY49" fmla="*/ 109200 h 237192"/>
                    <a:gd name="csX50" fmla="*/ 237641 w 247084"/>
                    <a:gd name="csY50" fmla="*/ 104846 h 237192"/>
                    <a:gd name="csX51" fmla="*/ 232550 w 247084"/>
                    <a:gd name="csY51" fmla="*/ 94698 h 237192"/>
                    <a:gd name="csX52" fmla="*/ 235816 w 247084"/>
                    <a:gd name="csY52" fmla="*/ 69663 h 237192"/>
                    <a:gd name="csX53" fmla="*/ 236904 w 247084"/>
                    <a:gd name="csY53" fmla="*/ 58426 h 237192"/>
                    <a:gd name="csX54" fmla="*/ 225667 w 247084"/>
                    <a:gd name="csY54" fmla="*/ 63516 h 237192"/>
                    <a:gd name="csX55" fmla="*/ 216959 w 247084"/>
                    <a:gd name="csY55" fmla="*/ 45748 h 237192"/>
                    <a:gd name="csX56" fmla="*/ 209340 w 247084"/>
                    <a:gd name="csY56" fmla="*/ 40306 h 237192"/>
                    <a:gd name="csX57" fmla="*/ 203898 w 247084"/>
                    <a:gd name="csY57" fmla="*/ 25803 h 237192"/>
                    <a:gd name="csX58" fmla="*/ 208252 w 247084"/>
                    <a:gd name="csY58" fmla="*/ 1857 h 23719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</a:cxnLst>
                  <a:rect l="l" t="t" r="r" b="b"/>
                  <a:pathLst>
                    <a:path w="247084" h="237192">
                      <a:moveTo>
                        <a:pt x="203898" y="182480"/>
                      </a:moveTo>
                      <a:lnTo>
                        <a:pt x="205722" y="182480"/>
                      </a:lnTo>
                      <a:lnTo>
                        <a:pt x="203898" y="182480"/>
                      </a:lnTo>
                      <a:close/>
                      <a:moveTo>
                        <a:pt x="208252" y="1825"/>
                      </a:moveTo>
                      <a:lnTo>
                        <a:pt x="201369" y="0"/>
                      </a:lnTo>
                      <a:lnTo>
                        <a:pt x="141150" y="23946"/>
                      </a:lnTo>
                      <a:lnTo>
                        <a:pt x="85285" y="11237"/>
                      </a:lnTo>
                      <a:lnTo>
                        <a:pt x="76578" y="12677"/>
                      </a:lnTo>
                      <a:lnTo>
                        <a:pt x="68958" y="25003"/>
                      </a:lnTo>
                      <a:lnTo>
                        <a:pt x="55160" y="23178"/>
                      </a:lnTo>
                      <a:lnTo>
                        <a:pt x="50070" y="30061"/>
                      </a:lnTo>
                      <a:lnTo>
                        <a:pt x="51511" y="35856"/>
                      </a:lnTo>
                      <a:lnTo>
                        <a:pt x="39537" y="40210"/>
                      </a:lnTo>
                      <a:lnTo>
                        <a:pt x="39537" y="48181"/>
                      </a:lnTo>
                      <a:lnTo>
                        <a:pt x="32654" y="48181"/>
                      </a:lnTo>
                      <a:lnTo>
                        <a:pt x="21417" y="61979"/>
                      </a:lnTo>
                      <a:lnTo>
                        <a:pt x="0" y="122934"/>
                      </a:lnTo>
                      <a:lnTo>
                        <a:pt x="10533" y="139261"/>
                      </a:lnTo>
                      <a:lnTo>
                        <a:pt x="11973" y="162472"/>
                      </a:lnTo>
                      <a:lnTo>
                        <a:pt x="6179" y="198743"/>
                      </a:lnTo>
                      <a:lnTo>
                        <a:pt x="21417" y="212541"/>
                      </a:lnTo>
                      <a:lnTo>
                        <a:pt x="31214" y="237192"/>
                      </a:lnTo>
                      <a:lnTo>
                        <a:pt x="48982" y="229573"/>
                      </a:lnTo>
                      <a:lnTo>
                        <a:pt x="55160" y="220129"/>
                      </a:lnTo>
                      <a:lnTo>
                        <a:pt x="55160" y="204538"/>
                      </a:lnTo>
                      <a:lnTo>
                        <a:pt x="68222" y="200184"/>
                      </a:lnTo>
                      <a:lnTo>
                        <a:pt x="98315" y="162472"/>
                      </a:lnTo>
                      <a:lnTo>
                        <a:pt x="105198" y="186770"/>
                      </a:lnTo>
                      <a:lnTo>
                        <a:pt x="115347" y="203097"/>
                      </a:lnTo>
                      <a:lnTo>
                        <a:pt x="117172" y="215807"/>
                      </a:lnTo>
                      <a:lnTo>
                        <a:pt x="128408" y="217632"/>
                      </a:lnTo>
                      <a:lnTo>
                        <a:pt x="129849" y="228869"/>
                      </a:lnTo>
                      <a:lnTo>
                        <a:pt x="148001" y="226339"/>
                      </a:lnTo>
                      <a:lnTo>
                        <a:pt x="153091" y="215807"/>
                      </a:lnTo>
                      <a:lnTo>
                        <a:pt x="161063" y="212541"/>
                      </a:lnTo>
                      <a:lnTo>
                        <a:pt x="184273" y="219425"/>
                      </a:lnTo>
                      <a:lnTo>
                        <a:pt x="196983" y="215071"/>
                      </a:lnTo>
                      <a:lnTo>
                        <a:pt x="209308" y="216895"/>
                      </a:lnTo>
                      <a:lnTo>
                        <a:pt x="210044" y="194422"/>
                      </a:lnTo>
                      <a:lnTo>
                        <a:pt x="199896" y="181360"/>
                      </a:lnTo>
                      <a:lnTo>
                        <a:pt x="209340" y="186802"/>
                      </a:lnTo>
                      <a:lnTo>
                        <a:pt x="218784" y="187538"/>
                      </a:lnTo>
                      <a:lnTo>
                        <a:pt x="217696" y="194422"/>
                      </a:lnTo>
                      <a:lnTo>
                        <a:pt x="221313" y="192597"/>
                      </a:lnTo>
                      <a:lnTo>
                        <a:pt x="223138" y="203129"/>
                      </a:lnTo>
                      <a:lnTo>
                        <a:pt x="238377" y="208220"/>
                      </a:lnTo>
                      <a:lnTo>
                        <a:pt x="238377" y="178126"/>
                      </a:lnTo>
                      <a:lnTo>
                        <a:pt x="237641" y="143679"/>
                      </a:lnTo>
                      <a:lnTo>
                        <a:pt x="237641" y="111025"/>
                      </a:lnTo>
                      <a:lnTo>
                        <a:pt x="247085" y="109200"/>
                      </a:lnTo>
                      <a:lnTo>
                        <a:pt x="237641" y="104846"/>
                      </a:lnTo>
                      <a:lnTo>
                        <a:pt x="232550" y="94698"/>
                      </a:lnTo>
                      <a:lnTo>
                        <a:pt x="235816" y="69663"/>
                      </a:lnTo>
                      <a:lnTo>
                        <a:pt x="236904" y="58426"/>
                      </a:lnTo>
                      <a:lnTo>
                        <a:pt x="225667" y="63516"/>
                      </a:lnTo>
                      <a:lnTo>
                        <a:pt x="216959" y="45748"/>
                      </a:lnTo>
                      <a:lnTo>
                        <a:pt x="209340" y="40306"/>
                      </a:lnTo>
                      <a:lnTo>
                        <a:pt x="203898" y="25803"/>
                      </a:lnTo>
                      <a:lnTo>
                        <a:pt x="208252" y="185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8" name="Forma Livre: Forma 307">
                  <a:extLst>
                    <a:ext uri="{FF2B5EF4-FFF2-40B4-BE49-F238E27FC236}">
                      <a16:creationId xmlns:a16="http://schemas.microsoft.com/office/drawing/2014/main" id="{5E4747A6-1D5A-4A0B-401E-0FE4676FCE02}"/>
                    </a:ext>
                  </a:extLst>
                </p:cNvPr>
                <p:cNvSpPr/>
                <p:nvPr/>
              </p:nvSpPr>
              <p:spPr>
                <a:xfrm>
                  <a:off x="3357170" y="4329557"/>
                  <a:ext cx="247084" cy="237192"/>
                </a:xfrm>
                <a:custGeom>
                  <a:avLst/>
                  <a:gdLst>
                    <a:gd name="csX0" fmla="*/ 203898 w 247084"/>
                    <a:gd name="csY0" fmla="*/ 182480 h 237192"/>
                    <a:gd name="csX1" fmla="*/ 205722 w 247084"/>
                    <a:gd name="csY1" fmla="*/ 182480 h 237192"/>
                    <a:gd name="csX2" fmla="*/ 203898 w 247084"/>
                    <a:gd name="csY2" fmla="*/ 182480 h 237192"/>
                    <a:gd name="csX3" fmla="*/ 208252 w 247084"/>
                    <a:gd name="csY3" fmla="*/ 1825 h 237192"/>
                    <a:gd name="csX4" fmla="*/ 201369 w 247084"/>
                    <a:gd name="csY4" fmla="*/ 0 h 237192"/>
                    <a:gd name="csX5" fmla="*/ 141150 w 247084"/>
                    <a:gd name="csY5" fmla="*/ 23946 h 237192"/>
                    <a:gd name="csX6" fmla="*/ 85285 w 247084"/>
                    <a:gd name="csY6" fmla="*/ 11237 h 237192"/>
                    <a:gd name="csX7" fmla="*/ 76578 w 247084"/>
                    <a:gd name="csY7" fmla="*/ 12677 h 237192"/>
                    <a:gd name="csX8" fmla="*/ 68958 w 247084"/>
                    <a:gd name="csY8" fmla="*/ 25003 h 237192"/>
                    <a:gd name="csX9" fmla="*/ 55160 w 247084"/>
                    <a:gd name="csY9" fmla="*/ 23178 h 237192"/>
                    <a:gd name="csX10" fmla="*/ 50070 w 247084"/>
                    <a:gd name="csY10" fmla="*/ 30061 h 237192"/>
                    <a:gd name="csX11" fmla="*/ 51511 w 247084"/>
                    <a:gd name="csY11" fmla="*/ 35856 h 237192"/>
                    <a:gd name="csX12" fmla="*/ 39537 w 247084"/>
                    <a:gd name="csY12" fmla="*/ 40210 h 237192"/>
                    <a:gd name="csX13" fmla="*/ 39537 w 247084"/>
                    <a:gd name="csY13" fmla="*/ 48181 h 237192"/>
                    <a:gd name="csX14" fmla="*/ 32654 w 247084"/>
                    <a:gd name="csY14" fmla="*/ 48181 h 237192"/>
                    <a:gd name="csX15" fmla="*/ 21417 w 247084"/>
                    <a:gd name="csY15" fmla="*/ 61979 h 237192"/>
                    <a:gd name="csX16" fmla="*/ 0 w 247084"/>
                    <a:gd name="csY16" fmla="*/ 122934 h 237192"/>
                    <a:gd name="csX17" fmla="*/ 10533 w 247084"/>
                    <a:gd name="csY17" fmla="*/ 139261 h 237192"/>
                    <a:gd name="csX18" fmla="*/ 11973 w 247084"/>
                    <a:gd name="csY18" fmla="*/ 162472 h 237192"/>
                    <a:gd name="csX19" fmla="*/ 6179 w 247084"/>
                    <a:gd name="csY19" fmla="*/ 198743 h 237192"/>
                    <a:gd name="csX20" fmla="*/ 21417 w 247084"/>
                    <a:gd name="csY20" fmla="*/ 212541 h 237192"/>
                    <a:gd name="csX21" fmla="*/ 31214 w 247084"/>
                    <a:gd name="csY21" fmla="*/ 237192 h 237192"/>
                    <a:gd name="csX22" fmla="*/ 48982 w 247084"/>
                    <a:gd name="csY22" fmla="*/ 229573 h 237192"/>
                    <a:gd name="csX23" fmla="*/ 55160 w 247084"/>
                    <a:gd name="csY23" fmla="*/ 220129 h 237192"/>
                    <a:gd name="csX24" fmla="*/ 55160 w 247084"/>
                    <a:gd name="csY24" fmla="*/ 204538 h 237192"/>
                    <a:gd name="csX25" fmla="*/ 68222 w 247084"/>
                    <a:gd name="csY25" fmla="*/ 200184 h 237192"/>
                    <a:gd name="csX26" fmla="*/ 98315 w 247084"/>
                    <a:gd name="csY26" fmla="*/ 162472 h 237192"/>
                    <a:gd name="csX27" fmla="*/ 105198 w 247084"/>
                    <a:gd name="csY27" fmla="*/ 186770 h 237192"/>
                    <a:gd name="csX28" fmla="*/ 115347 w 247084"/>
                    <a:gd name="csY28" fmla="*/ 203097 h 237192"/>
                    <a:gd name="csX29" fmla="*/ 117172 w 247084"/>
                    <a:gd name="csY29" fmla="*/ 215807 h 237192"/>
                    <a:gd name="csX30" fmla="*/ 128408 w 247084"/>
                    <a:gd name="csY30" fmla="*/ 217632 h 237192"/>
                    <a:gd name="csX31" fmla="*/ 129849 w 247084"/>
                    <a:gd name="csY31" fmla="*/ 228869 h 237192"/>
                    <a:gd name="csX32" fmla="*/ 148001 w 247084"/>
                    <a:gd name="csY32" fmla="*/ 226339 h 237192"/>
                    <a:gd name="csX33" fmla="*/ 153091 w 247084"/>
                    <a:gd name="csY33" fmla="*/ 215807 h 237192"/>
                    <a:gd name="csX34" fmla="*/ 161063 w 247084"/>
                    <a:gd name="csY34" fmla="*/ 212541 h 237192"/>
                    <a:gd name="csX35" fmla="*/ 184273 w 247084"/>
                    <a:gd name="csY35" fmla="*/ 219425 h 237192"/>
                    <a:gd name="csX36" fmla="*/ 196983 w 247084"/>
                    <a:gd name="csY36" fmla="*/ 215071 h 237192"/>
                    <a:gd name="csX37" fmla="*/ 209308 w 247084"/>
                    <a:gd name="csY37" fmla="*/ 216895 h 237192"/>
                    <a:gd name="csX38" fmla="*/ 210044 w 247084"/>
                    <a:gd name="csY38" fmla="*/ 194422 h 237192"/>
                    <a:gd name="csX39" fmla="*/ 199896 w 247084"/>
                    <a:gd name="csY39" fmla="*/ 181360 h 237192"/>
                    <a:gd name="csX40" fmla="*/ 209340 w 247084"/>
                    <a:gd name="csY40" fmla="*/ 186802 h 237192"/>
                    <a:gd name="csX41" fmla="*/ 218784 w 247084"/>
                    <a:gd name="csY41" fmla="*/ 187538 h 237192"/>
                    <a:gd name="csX42" fmla="*/ 217696 w 247084"/>
                    <a:gd name="csY42" fmla="*/ 194422 h 237192"/>
                    <a:gd name="csX43" fmla="*/ 221313 w 247084"/>
                    <a:gd name="csY43" fmla="*/ 192597 h 237192"/>
                    <a:gd name="csX44" fmla="*/ 223138 w 247084"/>
                    <a:gd name="csY44" fmla="*/ 203129 h 237192"/>
                    <a:gd name="csX45" fmla="*/ 238377 w 247084"/>
                    <a:gd name="csY45" fmla="*/ 208220 h 237192"/>
                    <a:gd name="csX46" fmla="*/ 238377 w 247084"/>
                    <a:gd name="csY46" fmla="*/ 178126 h 237192"/>
                    <a:gd name="csX47" fmla="*/ 237641 w 247084"/>
                    <a:gd name="csY47" fmla="*/ 143679 h 237192"/>
                    <a:gd name="csX48" fmla="*/ 237641 w 247084"/>
                    <a:gd name="csY48" fmla="*/ 111025 h 237192"/>
                    <a:gd name="csX49" fmla="*/ 247085 w 247084"/>
                    <a:gd name="csY49" fmla="*/ 109200 h 237192"/>
                    <a:gd name="csX50" fmla="*/ 237641 w 247084"/>
                    <a:gd name="csY50" fmla="*/ 104846 h 237192"/>
                    <a:gd name="csX51" fmla="*/ 232550 w 247084"/>
                    <a:gd name="csY51" fmla="*/ 94698 h 237192"/>
                    <a:gd name="csX52" fmla="*/ 235816 w 247084"/>
                    <a:gd name="csY52" fmla="*/ 69663 h 237192"/>
                    <a:gd name="csX53" fmla="*/ 236904 w 247084"/>
                    <a:gd name="csY53" fmla="*/ 58426 h 237192"/>
                    <a:gd name="csX54" fmla="*/ 225667 w 247084"/>
                    <a:gd name="csY54" fmla="*/ 63516 h 237192"/>
                    <a:gd name="csX55" fmla="*/ 216959 w 247084"/>
                    <a:gd name="csY55" fmla="*/ 45748 h 237192"/>
                    <a:gd name="csX56" fmla="*/ 209340 w 247084"/>
                    <a:gd name="csY56" fmla="*/ 40306 h 237192"/>
                    <a:gd name="csX57" fmla="*/ 203898 w 247084"/>
                    <a:gd name="csY57" fmla="*/ 25803 h 237192"/>
                    <a:gd name="csX58" fmla="*/ 208252 w 247084"/>
                    <a:gd name="csY58" fmla="*/ 1857 h 23719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</a:cxnLst>
                  <a:rect l="l" t="t" r="r" b="b"/>
                  <a:pathLst>
                    <a:path w="247084" h="237192">
                      <a:moveTo>
                        <a:pt x="203898" y="182480"/>
                      </a:moveTo>
                      <a:lnTo>
                        <a:pt x="205722" y="182480"/>
                      </a:lnTo>
                      <a:lnTo>
                        <a:pt x="203898" y="182480"/>
                      </a:lnTo>
                      <a:close/>
                      <a:moveTo>
                        <a:pt x="208252" y="1825"/>
                      </a:moveTo>
                      <a:lnTo>
                        <a:pt x="201369" y="0"/>
                      </a:lnTo>
                      <a:lnTo>
                        <a:pt x="141150" y="23946"/>
                      </a:lnTo>
                      <a:lnTo>
                        <a:pt x="85285" y="11237"/>
                      </a:lnTo>
                      <a:lnTo>
                        <a:pt x="76578" y="12677"/>
                      </a:lnTo>
                      <a:lnTo>
                        <a:pt x="68958" y="25003"/>
                      </a:lnTo>
                      <a:lnTo>
                        <a:pt x="55160" y="23178"/>
                      </a:lnTo>
                      <a:lnTo>
                        <a:pt x="50070" y="30061"/>
                      </a:lnTo>
                      <a:lnTo>
                        <a:pt x="51511" y="35856"/>
                      </a:lnTo>
                      <a:lnTo>
                        <a:pt x="39537" y="40210"/>
                      </a:lnTo>
                      <a:lnTo>
                        <a:pt x="39537" y="48181"/>
                      </a:lnTo>
                      <a:lnTo>
                        <a:pt x="32654" y="48181"/>
                      </a:lnTo>
                      <a:lnTo>
                        <a:pt x="21417" y="61979"/>
                      </a:lnTo>
                      <a:lnTo>
                        <a:pt x="0" y="122934"/>
                      </a:lnTo>
                      <a:lnTo>
                        <a:pt x="10533" y="139261"/>
                      </a:lnTo>
                      <a:lnTo>
                        <a:pt x="11973" y="162472"/>
                      </a:lnTo>
                      <a:lnTo>
                        <a:pt x="6179" y="198743"/>
                      </a:lnTo>
                      <a:lnTo>
                        <a:pt x="21417" y="212541"/>
                      </a:lnTo>
                      <a:lnTo>
                        <a:pt x="31214" y="237192"/>
                      </a:lnTo>
                      <a:lnTo>
                        <a:pt x="48982" y="229573"/>
                      </a:lnTo>
                      <a:lnTo>
                        <a:pt x="55160" y="220129"/>
                      </a:lnTo>
                      <a:lnTo>
                        <a:pt x="55160" y="204538"/>
                      </a:lnTo>
                      <a:lnTo>
                        <a:pt x="68222" y="200184"/>
                      </a:lnTo>
                      <a:lnTo>
                        <a:pt x="98315" y="162472"/>
                      </a:lnTo>
                      <a:lnTo>
                        <a:pt x="105198" y="186770"/>
                      </a:lnTo>
                      <a:lnTo>
                        <a:pt x="115347" y="203097"/>
                      </a:lnTo>
                      <a:lnTo>
                        <a:pt x="117172" y="215807"/>
                      </a:lnTo>
                      <a:lnTo>
                        <a:pt x="128408" y="217632"/>
                      </a:lnTo>
                      <a:lnTo>
                        <a:pt x="129849" y="228869"/>
                      </a:lnTo>
                      <a:lnTo>
                        <a:pt x="148001" y="226339"/>
                      </a:lnTo>
                      <a:lnTo>
                        <a:pt x="153091" y="215807"/>
                      </a:lnTo>
                      <a:lnTo>
                        <a:pt x="161063" y="212541"/>
                      </a:lnTo>
                      <a:lnTo>
                        <a:pt x="184273" y="219425"/>
                      </a:lnTo>
                      <a:lnTo>
                        <a:pt x="196983" y="215071"/>
                      </a:lnTo>
                      <a:lnTo>
                        <a:pt x="209308" y="216895"/>
                      </a:lnTo>
                      <a:lnTo>
                        <a:pt x="210044" y="194422"/>
                      </a:lnTo>
                      <a:lnTo>
                        <a:pt x="199896" y="181360"/>
                      </a:lnTo>
                      <a:lnTo>
                        <a:pt x="209340" y="186802"/>
                      </a:lnTo>
                      <a:lnTo>
                        <a:pt x="218784" y="187538"/>
                      </a:lnTo>
                      <a:lnTo>
                        <a:pt x="217696" y="194422"/>
                      </a:lnTo>
                      <a:lnTo>
                        <a:pt x="221313" y="192597"/>
                      </a:lnTo>
                      <a:lnTo>
                        <a:pt x="223138" y="203129"/>
                      </a:lnTo>
                      <a:lnTo>
                        <a:pt x="238377" y="208220"/>
                      </a:lnTo>
                      <a:lnTo>
                        <a:pt x="238377" y="178126"/>
                      </a:lnTo>
                      <a:lnTo>
                        <a:pt x="237641" y="143679"/>
                      </a:lnTo>
                      <a:lnTo>
                        <a:pt x="237641" y="111025"/>
                      </a:lnTo>
                      <a:lnTo>
                        <a:pt x="247085" y="109200"/>
                      </a:lnTo>
                      <a:lnTo>
                        <a:pt x="237641" y="104846"/>
                      </a:lnTo>
                      <a:lnTo>
                        <a:pt x="232550" y="94698"/>
                      </a:lnTo>
                      <a:lnTo>
                        <a:pt x="235816" y="69663"/>
                      </a:lnTo>
                      <a:lnTo>
                        <a:pt x="236904" y="58426"/>
                      </a:lnTo>
                      <a:lnTo>
                        <a:pt x="225667" y="63516"/>
                      </a:lnTo>
                      <a:lnTo>
                        <a:pt x="216959" y="45748"/>
                      </a:lnTo>
                      <a:lnTo>
                        <a:pt x="209340" y="40306"/>
                      </a:lnTo>
                      <a:lnTo>
                        <a:pt x="203898" y="25803"/>
                      </a:lnTo>
                      <a:lnTo>
                        <a:pt x="208252" y="185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09" name="Forma Livre: Forma 308">
                  <a:extLst>
                    <a:ext uri="{FF2B5EF4-FFF2-40B4-BE49-F238E27FC236}">
                      <a16:creationId xmlns:a16="http://schemas.microsoft.com/office/drawing/2014/main" id="{672D9B68-377C-EE8C-5434-5F0FA9CA574D}"/>
                    </a:ext>
                  </a:extLst>
                </p:cNvPr>
                <p:cNvSpPr/>
                <p:nvPr/>
              </p:nvSpPr>
              <p:spPr>
                <a:xfrm>
                  <a:off x="3357170" y="4329557"/>
                  <a:ext cx="247084" cy="237192"/>
                </a:xfrm>
                <a:custGeom>
                  <a:avLst/>
                  <a:gdLst>
                    <a:gd name="csX0" fmla="*/ 203898 w 247084"/>
                    <a:gd name="csY0" fmla="*/ 182480 h 237192"/>
                    <a:gd name="csX1" fmla="*/ 205722 w 247084"/>
                    <a:gd name="csY1" fmla="*/ 182480 h 237192"/>
                    <a:gd name="csX2" fmla="*/ 203898 w 247084"/>
                    <a:gd name="csY2" fmla="*/ 182480 h 237192"/>
                    <a:gd name="csX3" fmla="*/ 208252 w 247084"/>
                    <a:gd name="csY3" fmla="*/ 1825 h 237192"/>
                    <a:gd name="csX4" fmla="*/ 201369 w 247084"/>
                    <a:gd name="csY4" fmla="*/ 0 h 237192"/>
                    <a:gd name="csX5" fmla="*/ 141150 w 247084"/>
                    <a:gd name="csY5" fmla="*/ 23946 h 237192"/>
                    <a:gd name="csX6" fmla="*/ 85285 w 247084"/>
                    <a:gd name="csY6" fmla="*/ 11237 h 237192"/>
                    <a:gd name="csX7" fmla="*/ 76578 w 247084"/>
                    <a:gd name="csY7" fmla="*/ 12677 h 237192"/>
                    <a:gd name="csX8" fmla="*/ 68958 w 247084"/>
                    <a:gd name="csY8" fmla="*/ 25003 h 237192"/>
                    <a:gd name="csX9" fmla="*/ 55160 w 247084"/>
                    <a:gd name="csY9" fmla="*/ 23178 h 237192"/>
                    <a:gd name="csX10" fmla="*/ 50070 w 247084"/>
                    <a:gd name="csY10" fmla="*/ 30061 h 237192"/>
                    <a:gd name="csX11" fmla="*/ 51511 w 247084"/>
                    <a:gd name="csY11" fmla="*/ 35856 h 237192"/>
                    <a:gd name="csX12" fmla="*/ 39537 w 247084"/>
                    <a:gd name="csY12" fmla="*/ 40210 h 237192"/>
                    <a:gd name="csX13" fmla="*/ 39537 w 247084"/>
                    <a:gd name="csY13" fmla="*/ 48181 h 237192"/>
                    <a:gd name="csX14" fmla="*/ 32654 w 247084"/>
                    <a:gd name="csY14" fmla="*/ 48181 h 237192"/>
                    <a:gd name="csX15" fmla="*/ 21417 w 247084"/>
                    <a:gd name="csY15" fmla="*/ 61979 h 237192"/>
                    <a:gd name="csX16" fmla="*/ 0 w 247084"/>
                    <a:gd name="csY16" fmla="*/ 122934 h 237192"/>
                    <a:gd name="csX17" fmla="*/ 10533 w 247084"/>
                    <a:gd name="csY17" fmla="*/ 139261 h 237192"/>
                    <a:gd name="csX18" fmla="*/ 11973 w 247084"/>
                    <a:gd name="csY18" fmla="*/ 162472 h 237192"/>
                    <a:gd name="csX19" fmla="*/ 6179 w 247084"/>
                    <a:gd name="csY19" fmla="*/ 198743 h 237192"/>
                    <a:gd name="csX20" fmla="*/ 21417 w 247084"/>
                    <a:gd name="csY20" fmla="*/ 212541 h 237192"/>
                    <a:gd name="csX21" fmla="*/ 31214 w 247084"/>
                    <a:gd name="csY21" fmla="*/ 237192 h 237192"/>
                    <a:gd name="csX22" fmla="*/ 48982 w 247084"/>
                    <a:gd name="csY22" fmla="*/ 229573 h 237192"/>
                    <a:gd name="csX23" fmla="*/ 55160 w 247084"/>
                    <a:gd name="csY23" fmla="*/ 220129 h 237192"/>
                    <a:gd name="csX24" fmla="*/ 55160 w 247084"/>
                    <a:gd name="csY24" fmla="*/ 204538 h 237192"/>
                    <a:gd name="csX25" fmla="*/ 68222 w 247084"/>
                    <a:gd name="csY25" fmla="*/ 200184 h 237192"/>
                    <a:gd name="csX26" fmla="*/ 98315 w 247084"/>
                    <a:gd name="csY26" fmla="*/ 162472 h 237192"/>
                    <a:gd name="csX27" fmla="*/ 105198 w 247084"/>
                    <a:gd name="csY27" fmla="*/ 186770 h 237192"/>
                    <a:gd name="csX28" fmla="*/ 115347 w 247084"/>
                    <a:gd name="csY28" fmla="*/ 203097 h 237192"/>
                    <a:gd name="csX29" fmla="*/ 117172 w 247084"/>
                    <a:gd name="csY29" fmla="*/ 215807 h 237192"/>
                    <a:gd name="csX30" fmla="*/ 128408 w 247084"/>
                    <a:gd name="csY30" fmla="*/ 217632 h 237192"/>
                    <a:gd name="csX31" fmla="*/ 129849 w 247084"/>
                    <a:gd name="csY31" fmla="*/ 228869 h 237192"/>
                    <a:gd name="csX32" fmla="*/ 148001 w 247084"/>
                    <a:gd name="csY32" fmla="*/ 226339 h 237192"/>
                    <a:gd name="csX33" fmla="*/ 153091 w 247084"/>
                    <a:gd name="csY33" fmla="*/ 215807 h 237192"/>
                    <a:gd name="csX34" fmla="*/ 161063 w 247084"/>
                    <a:gd name="csY34" fmla="*/ 212541 h 237192"/>
                    <a:gd name="csX35" fmla="*/ 184273 w 247084"/>
                    <a:gd name="csY35" fmla="*/ 219425 h 237192"/>
                    <a:gd name="csX36" fmla="*/ 196983 w 247084"/>
                    <a:gd name="csY36" fmla="*/ 215071 h 237192"/>
                    <a:gd name="csX37" fmla="*/ 209308 w 247084"/>
                    <a:gd name="csY37" fmla="*/ 216895 h 237192"/>
                    <a:gd name="csX38" fmla="*/ 210044 w 247084"/>
                    <a:gd name="csY38" fmla="*/ 194422 h 237192"/>
                    <a:gd name="csX39" fmla="*/ 199896 w 247084"/>
                    <a:gd name="csY39" fmla="*/ 181360 h 237192"/>
                    <a:gd name="csX40" fmla="*/ 209340 w 247084"/>
                    <a:gd name="csY40" fmla="*/ 186802 h 237192"/>
                    <a:gd name="csX41" fmla="*/ 218784 w 247084"/>
                    <a:gd name="csY41" fmla="*/ 187538 h 237192"/>
                    <a:gd name="csX42" fmla="*/ 217696 w 247084"/>
                    <a:gd name="csY42" fmla="*/ 194422 h 237192"/>
                    <a:gd name="csX43" fmla="*/ 221313 w 247084"/>
                    <a:gd name="csY43" fmla="*/ 192597 h 237192"/>
                    <a:gd name="csX44" fmla="*/ 223138 w 247084"/>
                    <a:gd name="csY44" fmla="*/ 203129 h 237192"/>
                    <a:gd name="csX45" fmla="*/ 238377 w 247084"/>
                    <a:gd name="csY45" fmla="*/ 208220 h 237192"/>
                    <a:gd name="csX46" fmla="*/ 238377 w 247084"/>
                    <a:gd name="csY46" fmla="*/ 178126 h 237192"/>
                    <a:gd name="csX47" fmla="*/ 237641 w 247084"/>
                    <a:gd name="csY47" fmla="*/ 143679 h 237192"/>
                    <a:gd name="csX48" fmla="*/ 237641 w 247084"/>
                    <a:gd name="csY48" fmla="*/ 111025 h 237192"/>
                    <a:gd name="csX49" fmla="*/ 247085 w 247084"/>
                    <a:gd name="csY49" fmla="*/ 109200 h 237192"/>
                    <a:gd name="csX50" fmla="*/ 237641 w 247084"/>
                    <a:gd name="csY50" fmla="*/ 104846 h 237192"/>
                    <a:gd name="csX51" fmla="*/ 232550 w 247084"/>
                    <a:gd name="csY51" fmla="*/ 94698 h 237192"/>
                    <a:gd name="csX52" fmla="*/ 235816 w 247084"/>
                    <a:gd name="csY52" fmla="*/ 69663 h 237192"/>
                    <a:gd name="csX53" fmla="*/ 236904 w 247084"/>
                    <a:gd name="csY53" fmla="*/ 58426 h 237192"/>
                    <a:gd name="csX54" fmla="*/ 225667 w 247084"/>
                    <a:gd name="csY54" fmla="*/ 63516 h 237192"/>
                    <a:gd name="csX55" fmla="*/ 216959 w 247084"/>
                    <a:gd name="csY55" fmla="*/ 45748 h 237192"/>
                    <a:gd name="csX56" fmla="*/ 209340 w 247084"/>
                    <a:gd name="csY56" fmla="*/ 40306 h 237192"/>
                    <a:gd name="csX57" fmla="*/ 203898 w 247084"/>
                    <a:gd name="csY57" fmla="*/ 25803 h 237192"/>
                    <a:gd name="csX58" fmla="*/ 208252 w 247084"/>
                    <a:gd name="csY58" fmla="*/ 1857 h 23719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</a:cxnLst>
                  <a:rect l="l" t="t" r="r" b="b"/>
                  <a:pathLst>
                    <a:path w="247084" h="237192">
                      <a:moveTo>
                        <a:pt x="203898" y="182480"/>
                      </a:moveTo>
                      <a:lnTo>
                        <a:pt x="205722" y="182480"/>
                      </a:lnTo>
                      <a:lnTo>
                        <a:pt x="203898" y="182480"/>
                      </a:lnTo>
                      <a:close/>
                      <a:moveTo>
                        <a:pt x="208252" y="1825"/>
                      </a:moveTo>
                      <a:lnTo>
                        <a:pt x="201369" y="0"/>
                      </a:lnTo>
                      <a:lnTo>
                        <a:pt x="141150" y="23946"/>
                      </a:lnTo>
                      <a:lnTo>
                        <a:pt x="85285" y="11237"/>
                      </a:lnTo>
                      <a:lnTo>
                        <a:pt x="76578" y="12677"/>
                      </a:lnTo>
                      <a:lnTo>
                        <a:pt x="68958" y="25003"/>
                      </a:lnTo>
                      <a:lnTo>
                        <a:pt x="55160" y="23178"/>
                      </a:lnTo>
                      <a:lnTo>
                        <a:pt x="50070" y="30061"/>
                      </a:lnTo>
                      <a:lnTo>
                        <a:pt x="51511" y="35856"/>
                      </a:lnTo>
                      <a:lnTo>
                        <a:pt x="39537" y="40210"/>
                      </a:lnTo>
                      <a:lnTo>
                        <a:pt x="39537" y="48181"/>
                      </a:lnTo>
                      <a:lnTo>
                        <a:pt x="32654" y="48181"/>
                      </a:lnTo>
                      <a:lnTo>
                        <a:pt x="21417" y="61979"/>
                      </a:lnTo>
                      <a:lnTo>
                        <a:pt x="0" y="122934"/>
                      </a:lnTo>
                      <a:lnTo>
                        <a:pt x="10533" y="139261"/>
                      </a:lnTo>
                      <a:lnTo>
                        <a:pt x="11973" y="162472"/>
                      </a:lnTo>
                      <a:lnTo>
                        <a:pt x="6179" y="198743"/>
                      </a:lnTo>
                      <a:lnTo>
                        <a:pt x="21417" y="212541"/>
                      </a:lnTo>
                      <a:lnTo>
                        <a:pt x="31214" y="237192"/>
                      </a:lnTo>
                      <a:lnTo>
                        <a:pt x="48982" y="229573"/>
                      </a:lnTo>
                      <a:lnTo>
                        <a:pt x="55160" y="220129"/>
                      </a:lnTo>
                      <a:lnTo>
                        <a:pt x="55160" y="204538"/>
                      </a:lnTo>
                      <a:lnTo>
                        <a:pt x="68222" y="200184"/>
                      </a:lnTo>
                      <a:lnTo>
                        <a:pt x="98315" y="162472"/>
                      </a:lnTo>
                      <a:lnTo>
                        <a:pt x="105198" y="186770"/>
                      </a:lnTo>
                      <a:lnTo>
                        <a:pt x="115347" y="203097"/>
                      </a:lnTo>
                      <a:lnTo>
                        <a:pt x="117172" y="215807"/>
                      </a:lnTo>
                      <a:lnTo>
                        <a:pt x="128408" y="217632"/>
                      </a:lnTo>
                      <a:lnTo>
                        <a:pt x="129849" y="228869"/>
                      </a:lnTo>
                      <a:lnTo>
                        <a:pt x="148001" y="226339"/>
                      </a:lnTo>
                      <a:lnTo>
                        <a:pt x="153091" y="215807"/>
                      </a:lnTo>
                      <a:lnTo>
                        <a:pt x="161063" y="212541"/>
                      </a:lnTo>
                      <a:lnTo>
                        <a:pt x="184273" y="219425"/>
                      </a:lnTo>
                      <a:lnTo>
                        <a:pt x="196983" y="215071"/>
                      </a:lnTo>
                      <a:lnTo>
                        <a:pt x="209308" y="216895"/>
                      </a:lnTo>
                      <a:lnTo>
                        <a:pt x="210044" y="194422"/>
                      </a:lnTo>
                      <a:lnTo>
                        <a:pt x="199896" y="181360"/>
                      </a:lnTo>
                      <a:lnTo>
                        <a:pt x="209340" y="186802"/>
                      </a:lnTo>
                      <a:lnTo>
                        <a:pt x="218784" y="187538"/>
                      </a:lnTo>
                      <a:lnTo>
                        <a:pt x="217696" y="194422"/>
                      </a:lnTo>
                      <a:lnTo>
                        <a:pt x="221313" y="192597"/>
                      </a:lnTo>
                      <a:lnTo>
                        <a:pt x="223138" y="203129"/>
                      </a:lnTo>
                      <a:lnTo>
                        <a:pt x="238377" y="208220"/>
                      </a:lnTo>
                      <a:lnTo>
                        <a:pt x="238377" y="178126"/>
                      </a:lnTo>
                      <a:lnTo>
                        <a:pt x="237641" y="143679"/>
                      </a:lnTo>
                      <a:lnTo>
                        <a:pt x="237641" y="111025"/>
                      </a:lnTo>
                      <a:lnTo>
                        <a:pt x="247085" y="109200"/>
                      </a:lnTo>
                      <a:lnTo>
                        <a:pt x="237641" y="104846"/>
                      </a:lnTo>
                      <a:lnTo>
                        <a:pt x="232550" y="94698"/>
                      </a:lnTo>
                      <a:lnTo>
                        <a:pt x="235816" y="69663"/>
                      </a:lnTo>
                      <a:lnTo>
                        <a:pt x="236904" y="58426"/>
                      </a:lnTo>
                      <a:lnTo>
                        <a:pt x="225667" y="63516"/>
                      </a:lnTo>
                      <a:lnTo>
                        <a:pt x="216959" y="45748"/>
                      </a:lnTo>
                      <a:lnTo>
                        <a:pt x="209340" y="40306"/>
                      </a:lnTo>
                      <a:lnTo>
                        <a:pt x="203898" y="25803"/>
                      </a:lnTo>
                      <a:lnTo>
                        <a:pt x="208252" y="185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0" name="Forma Livre: Forma 309">
                  <a:extLst>
                    <a:ext uri="{FF2B5EF4-FFF2-40B4-BE49-F238E27FC236}">
                      <a16:creationId xmlns:a16="http://schemas.microsoft.com/office/drawing/2014/main" id="{890D4271-967D-83DD-A14B-288D32C599F5}"/>
                    </a:ext>
                  </a:extLst>
                </p:cNvPr>
                <p:cNvSpPr/>
                <p:nvPr/>
              </p:nvSpPr>
              <p:spPr>
                <a:xfrm>
                  <a:off x="2481840" y="4510949"/>
                  <a:ext cx="348633" cy="302181"/>
                </a:xfrm>
                <a:custGeom>
                  <a:avLst/>
                  <a:gdLst>
                    <a:gd name="csX0" fmla="*/ 43187 w 348633"/>
                    <a:gd name="csY0" fmla="*/ 0 h 302181"/>
                    <a:gd name="csX1" fmla="*/ 37008 w 348633"/>
                    <a:gd name="csY1" fmla="*/ 6179 h 302181"/>
                    <a:gd name="csX2" fmla="*/ 26860 w 348633"/>
                    <a:gd name="csY2" fmla="*/ 4354 h 302181"/>
                    <a:gd name="csX3" fmla="*/ 18152 w 348633"/>
                    <a:gd name="csY3" fmla="*/ 3618 h 302181"/>
                    <a:gd name="csX4" fmla="*/ 16327 w 348633"/>
                    <a:gd name="csY4" fmla="*/ 9444 h 302181"/>
                    <a:gd name="csX5" fmla="*/ 20681 w 348633"/>
                    <a:gd name="csY5" fmla="*/ 25035 h 302181"/>
                    <a:gd name="csX6" fmla="*/ 18152 w 348633"/>
                    <a:gd name="csY6" fmla="*/ 31918 h 302181"/>
                    <a:gd name="csX7" fmla="*/ 28653 w 348633"/>
                    <a:gd name="csY7" fmla="*/ 43891 h 302181"/>
                    <a:gd name="csX8" fmla="*/ 28653 w 348633"/>
                    <a:gd name="csY8" fmla="*/ 67102 h 302181"/>
                    <a:gd name="csX9" fmla="*/ 15623 w 348633"/>
                    <a:gd name="csY9" fmla="*/ 87783 h 302181"/>
                    <a:gd name="csX10" fmla="*/ 1825 w 348633"/>
                    <a:gd name="csY10" fmla="*/ 90344 h 302181"/>
                    <a:gd name="csX11" fmla="*/ 15623 w 348633"/>
                    <a:gd name="csY11" fmla="*/ 105935 h 302181"/>
                    <a:gd name="csX12" fmla="*/ 11269 w 348633"/>
                    <a:gd name="csY12" fmla="*/ 116435 h 302181"/>
                    <a:gd name="csX13" fmla="*/ 4354 w 348633"/>
                    <a:gd name="csY13" fmla="*/ 117908 h 302181"/>
                    <a:gd name="csX14" fmla="*/ 3650 w 348633"/>
                    <a:gd name="csY14" fmla="*/ 171211 h 302181"/>
                    <a:gd name="csX15" fmla="*/ 0 w 348633"/>
                    <a:gd name="csY15" fmla="*/ 174861 h 302181"/>
                    <a:gd name="csX16" fmla="*/ 16327 w 348633"/>
                    <a:gd name="csY16" fmla="*/ 196246 h 302181"/>
                    <a:gd name="csX17" fmla="*/ 42099 w 348633"/>
                    <a:gd name="csY17" fmla="*/ 175565 h 302181"/>
                    <a:gd name="csX18" fmla="*/ 55865 w 348633"/>
                    <a:gd name="csY18" fmla="*/ 175565 h 302181"/>
                    <a:gd name="csX19" fmla="*/ 75105 w 348633"/>
                    <a:gd name="csY19" fmla="*/ 198807 h 302181"/>
                    <a:gd name="csX20" fmla="*/ 80195 w 348633"/>
                    <a:gd name="csY20" fmla="*/ 207515 h 302181"/>
                    <a:gd name="csX21" fmla="*/ 82724 w 348633"/>
                    <a:gd name="csY21" fmla="*/ 233991 h 302181"/>
                    <a:gd name="csX22" fmla="*/ 95786 w 348633"/>
                    <a:gd name="csY22" fmla="*/ 241963 h 302181"/>
                    <a:gd name="csX23" fmla="*/ 99756 w 348633"/>
                    <a:gd name="csY23" fmla="*/ 252111 h 302181"/>
                    <a:gd name="csX24" fmla="*/ 102669 w 348633"/>
                    <a:gd name="csY24" fmla="*/ 259026 h 302181"/>
                    <a:gd name="csX25" fmla="*/ 94698 w 348633"/>
                    <a:gd name="csY25" fmla="*/ 264084 h 302181"/>
                    <a:gd name="csX26" fmla="*/ 95786 w 348633"/>
                    <a:gd name="csY26" fmla="*/ 270263 h 302181"/>
                    <a:gd name="csX27" fmla="*/ 87815 w 348633"/>
                    <a:gd name="csY27" fmla="*/ 274617 h 302181"/>
                    <a:gd name="csX28" fmla="*/ 99756 w 348633"/>
                    <a:gd name="csY28" fmla="*/ 283325 h 302181"/>
                    <a:gd name="csX29" fmla="*/ 112113 w 348633"/>
                    <a:gd name="csY29" fmla="*/ 270999 h 302181"/>
                    <a:gd name="csX30" fmla="*/ 122262 w 348633"/>
                    <a:gd name="csY30" fmla="*/ 279675 h 302181"/>
                    <a:gd name="csX31" fmla="*/ 133499 w 348633"/>
                    <a:gd name="csY31" fmla="*/ 280764 h 302181"/>
                    <a:gd name="csX32" fmla="*/ 149090 w 348633"/>
                    <a:gd name="csY32" fmla="*/ 290208 h 302181"/>
                    <a:gd name="csX33" fmla="*/ 162888 w 348633"/>
                    <a:gd name="csY33" fmla="*/ 302181 h 302181"/>
                    <a:gd name="csX34" fmla="*/ 175597 w 348633"/>
                    <a:gd name="csY34" fmla="*/ 301092 h 302181"/>
                    <a:gd name="csX35" fmla="*/ 187571 w 348633"/>
                    <a:gd name="csY35" fmla="*/ 288383 h 302181"/>
                    <a:gd name="csX36" fmla="*/ 198807 w 348633"/>
                    <a:gd name="csY36" fmla="*/ 289119 h 302181"/>
                    <a:gd name="csX37" fmla="*/ 223843 w 348633"/>
                    <a:gd name="csY37" fmla="*/ 280764 h 302181"/>
                    <a:gd name="csX38" fmla="*/ 229989 w 348633"/>
                    <a:gd name="csY38" fmla="*/ 279675 h 302181"/>
                    <a:gd name="csX39" fmla="*/ 237609 w 348633"/>
                    <a:gd name="csY39" fmla="*/ 267734 h 302181"/>
                    <a:gd name="csX40" fmla="*/ 242699 w 348633"/>
                    <a:gd name="csY40" fmla="*/ 267734 h 302181"/>
                    <a:gd name="csX41" fmla="*/ 255761 w 348633"/>
                    <a:gd name="csY41" fmla="*/ 266998 h 302181"/>
                    <a:gd name="csX42" fmla="*/ 255761 w 348633"/>
                    <a:gd name="csY42" fmla="*/ 277146 h 302181"/>
                    <a:gd name="csX43" fmla="*/ 267734 w 348633"/>
                    <a:gd name="csY43" fmla="*/ 282236 h 302181"/>
                    <a:gd name="csX44" fmla="*/ 269527 w 348633"/>
                    <a:gd name="csY44" fmla="*/ 284029 h 302181"/>
                    <a:gd name="csX45" fmla="*/ 275353 w 348633"/>
                    <a:gd name="csY45" fmla="*/ 290944 h 302181"/>
                    <a:gd name="csX46" fmla="*/ 289119 w 348633"/>
                    <a:gd name="csY46" fmla="*/ 287294 h 302181"/>
                    <a:gd name="csX47" fmla="*/ 305446 w 348633"/>
                    <a:gd name="csY47" fmla="*/ 272088 h 302181"/>
                    <a:gd name="csX48" fmla="*/ 304006 w 348633"/>
                    <a:gd name="csY48" fmla="*/ 257201 h 302181"/>
                    <a:gd name="csX49" fmla="*/ 322126 w 348633"/>
                    <a:gd name="csY49" fmla="*/ 230726 h 302181"/>
                    <a:gd name="csX50" fmla="*/ 319245 w 348633"/>
                    <a:gd name="csY50" fmla="*/ 225635 h 302181"/>
                    <a:gd name="csX51" fmla="*/ 316683 w 348633"/>
                    <a:gd name="csY51" fmla="*/ 208220 h 302181"/>
                    <a:gd name="csX52" fmla="*/ 321037 w 348633"/>
                    <a:gd name="csY52" fmla="*/ 196246 h 302181"/>
                    <a:gd name="csX53" fmla="*/ 322862 w 348633"/>
                    <a:gd name="csY53" fmla="*/ 191188 h 302181"/>
                    <a:gd name="csX54" fmla="*/ 348634 w 348633"/>
                    <a:gd name="csY54" fmla="*/ 189363 h 302181"/>
                    <a:gd name="csX55" fmla="*/ 336660 w 348633"/>
                    <a:gd name="csY55" fmla="*/ 179919 h 302181"/>
                    <a:gd name="csX56" fmla="*/ 336660 w 348633"/>
                    <a:gd name="csY56" fmla="*/ 153091 h 302181"/>
                    <a:gd name="csX57" fmla="*/ 327216 w 348633"/>
                    <a:gd name="csY57" fmla="*/ 149090 h 302181"/>
                    <a:gd name="csX58" fmla="*/ 317772 w 348633"/>
                    <a:gd name="csY58" fmla="*/ 136764 h 302181"/>
                    <a:gd name="csX59" fmla="*/ 315979 w 348633"/>
                    <a:gd name="csY59" fmla="*/ 135324 h 302181"/>
                    <a:gd name="csX60" fmla="*/ 309096 w 348633"/>
                    <a:gd name="csY60" fmla="*/ 133499 h 302181"/>
                    <a:gd name="csX61" fmla="*/ 302917 w 348633"/>
                    <a:gd name="csY61" fmla="*/ 122262 h 302181"/>
                    <a:gd name="csX62" fmla="*/ 315979 w 348633"/>
                    <a:gd name="csY62" fmla="*/ 110289 h 302181"/>
                    <a:gd name="csX63" fmla="*/ 304742 w 348633"/>
                    <a:gd name="csY63" fmla="*/ 96491 h 302181"/>
                    <a:gd name="csX64" fmla="*/ 295298 w 348633"/>
                    <a:gd name="csY64" fmla="*/ 94698 h 302181"/>
                    <a:gd name="csX65" fmla="*/ 330481 w 348633"/>
                    <a:gd name="csY65" fmla="*/ 81988 h 302181"/>
                    <a:gd name="csX66" fmla="*/ 324687 w 348633"/>
                    <a:gd name="csY66" fmla="*/ 62043 h 302181"/>
                    <a:gd name="csX67" fmla="*/ 323598 w 348633"/>
                    <a:gd name="csY67" fmla="*/ 62043 h 302181"/>
                    <a:gd name="csX68" fmla="*/ 302917 w 348633"/>
                    <a:gd name="csY68" fmla="*/ 60218 h 302181"/>
                    <a:gd name="csX69" fmla="*/ 282236 w 348633"/>
                    <a:gd name="csY69" fmla="*/ 51863 h 302181"/>
                    <a:gd name="csX70" fmla="*/ 265909 w 348633"/>
                    <a:gd name="csY70" fmla="*/ 61307 h 302181"/>
                    <a:gd name="csX71" fmla="*/ 258290 w 348633"/>
                    <a:gd name="csY71" fmla="*/ 58778 h 302181"/>
                    <a:gd name="csX72" fmla="*/ 234343 w 348633"/>
                    <a:gd name="csY72" fmla="*/ 60218 h 302181"/>
                    <a:gd name="csX73" fmla="*/ 225635 w 348633"/>
                    <a:gd name="csY73" fmla="*/ 34479 h 302181"/>
                    <a:gd name="csX74" fmla="*/ 218752 w 348633"/>
                    <a:gd name="csY74" fmla="*/ 29389 h 302181"/>
                    <a:gd name="csX75" fmla="*/ 200632 w 348633"/>
                    <a:gd name="csY75" fmla="*/ 42451 h 302181"/>
                    <a:gd name="csX76" fmla="*/ 187571 w 348633"/>
                    <a:gd name="csY76" fmla="*/ 24299 h 302181"/>
                    <a:gd name="csX77" fmla="*/ 175597 w 348633"/>
                    <a:gd name="csY77" fmla="*/ 22506 h 302181"/>
                    <a:gd name="csX78" fmla="*/ 178126 w 348633"/>
                    <a:gd name="csY78" fmla="*/ 13062 h 302181"/>
                    <a:gd name="csX79" fmla="*/ 186098 w 348633"/>
                    <a:gd name="csY79" fmla="*/ 13062 h 302181"/>
                    <a:gd name="csX80" fmla="*/ 191924 w 348633"/>
                    <a:gd name="csY80" fmla="*/ 5442 h 302181"/>
                    <a:gd name="csX81" fmla="*/ 177390 w 348633"/>
                    <a:gd name="csY81" fmla="*/ 3618 h 302181"/>
                    <a:gd name="csX82" fmla="*/ 176686 w 348633"/>
                    <a:gd name="csY82" fmla="*/ 3618 h 302181"/>
                    <a:gd name="csX83" fmla="*/ 157445 w 348633"/>
                    <a:gd name="csY83" fmla="*/ 22506 h 302181"/>
                    <a:gd name="csX84" fmla="*/ 149826 w 348633"/>
                    <a:gd name="csY84" fmla="*/ 18856 h 302181"/>
                    <a:gd name="csX85" fmla="*/ 120437 w 348633"/>
                    <a:gd name="csY85" fmla="*/ 36272 h 302181"/>
                    <a:gd name="csX86" fmla="*/ 113554 w 348633"/>
                    <a:gd name="csY86" fmla="*/ 31214 h 302181"/>
                    <a:gd name="csX87" fmla="*/ 102669 w 348633"/>
                    <a:gd name="csY87" fmla="*/ 33743 h 302181"/>
                    <a:gd name="csX88" fmla="*/ 100844 w 348633"/>
                    <a:gd name="csY88" fmla="*/ 44980 h 302181"/>
                    <a:gd name="csX89" fmla="*/ 95786 w 348633"/>
                    <a:gd name="csY89" fmla="*/ 46420 h 302181"/>
                    <a:gd name="csX90" fmla="*/ 82724 w 348633"/>
                    <a:gd name="csY90" fmla="*/ 38833 h 302181"/>
                    <a:gd name="csX91" fmla="*/ 85990 w 348633"/>
                    <a:gd name="csY91" fmla="*/ 26860 h 302181"/>
                    <a:gd name="csX92" fmla="*/ 80900 w 348633"/>
                    <a:gd name="csY92" fmla="*/ 16327 h 302181"/>
                    <a:gd name="csX93" fmla="*/ 69663 w 348633"/>
                    <a:gd name="csY93" fmla="*/ 18856 h 302181"/>
                    <a:gd name="csX94" fmla="*/ 51895 w 348633"/>
                    <a:gd name="csY94" fmla="*/ 9444 h 302181"/>
                    <a:gd name="csX95" fmla="*/ 43187 w 348633"/>
                    <a:gd name="csY95" fmla="*/ 0 h 3021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348633" h="302181">
                      <a:moveTo>
                        <a:pt x="43187" y="0"/>
                      </a:moveTo>
                      <a:lnTo>
                        <a:pt x="37008" y="6179"/>
                      </a:lnTo>
                      <a:lnTo>
                        <a:pt x="26860" y="4354"/>
                      </a:lnTo>
                      <a:lnTo>
                        <a:pt x="18152" y="3618"/>
                      </a:lnTo>
                      <a:lnTo>
                        <a:pt x="16327" y="9444"/>
                      </a:lnTo>
                      <a:lnTo>
                        <a:pt x="20681" y="25035"/>
                      </a:lnTo>
                      <a:lnTo>
                        <a:pt x="18152" y="31918"/>
                      </a:lnTo>
                      <a:lnTo>
                        <a:pt x="28653" y="43891"/>
                      </a:lnTo>
                      <a:lnTo>
                        <a:pt x="28653" y="67102"/>
                      </a:lnTo>
                      <a:lnTo>
                        <a:pt x="15623" y="87783"/>
                      </a:lnTo>
                      <a:lnTo>
                        <a:pt x="1825" y="90344"/>
                      </a:lnTo>
                      <a:lnTo>
                        <a:pt x="15623" y="105935"/>
                      </a:lnTo>
                      <a:lnTo>
                        <a:pt x="11269" y="116435"/>
                      </a:lnTo>
                      <a:lnTo>
                        <a:pt x="4354" y="117908"/>
                      </a:lnTo>
                      <a:lnTo>
                        <a:pt x="3650" y="171211"/>
                      </a:lnTo>
                      <a:lnTo>
                        <a:pt x="0" y="174861"/>
                      </a:lnTo>
                      <a:lnTo>
                        <a:pt x="16327" y="196246"/>
                      </a:lnTo>
                      <a:lnTo>
                        <a:pt x="42099" y="175565"/>
                      </a:lnTo>
                      <a:lnTo>
                        <a:pt x="55865" y="175565"/>
                      </a:lnTo>
                      <a:lnTo>
                        <a:pt x="75105" y="198807"/>
                      </a:lnTo>
                      <a:lnTo>
                        <a:pt x="80195" y="207515"/>
                      </a:lnTo>
                      <a:lnTo>
                        <a:pt x="82724" y="233991"/>
                      </a:lnTo>
                      <a:lnTo>
                        <a:pt x="95786" y="241963"/>
                      </a:lnTo>
                      <a:lnTo>
                        <a:pt x="99756" y="252111"/>
                      </a:lnTo>
                      <a:lnTo>
                        <a:pt x="102669" y="259026"/>
                      </a:lnTo>
                      <a:lnTo>
                        <a:pt x="94698" y="264084"/>
                      </a:lnTo>
                      <a:lnTo>
                        <a:pt x="95786" y="270263"/>
                      </a:lnTo>
                      <a:lnTo>
                        <a:pt x="87815" y="274617"/>
                      </a:lnTo>
                      <a:lnTo>
                        <a:pt x="99756" y="283325"/>
                      </a:lnTo>
                      <a:lnTo>
                        <a:pt x="112113" y="270999"/>
                      </a:lnTo>
                      <a:lnTo>
                        <a:pt x="122262" y="279675"/>
                      </a:lnTo>
                      <a:lnTo>
                        <a:pt x="133499" y="280764"/>
                      </a:lnTo>
                      <a:lnTo>
                        <a:pt x="149090" y="290208"/>
                      </a:lnTo>
                      <a:lnTo>
                        <a:pt x="162888" y="302181"/>
                      </a:lnTo>
                      <a:lnTo>
                        <a:pt x="175597" y="301092"/>
                      </a:lnTo>
                      <a:lnTo>
                        <a:pt x="187571" y="288383"/>
                      </a:lnTo>
                      <a:lnTo>
                        <a:pt x="198807" y="289119"/>
                      </a:lnTo>
                      <a:lnTo>
                        <a:pt x="223843" y="280764"/>
                      </a:lnTo>
                      <a:lnTo>
                        <a:pt x="229989" y="279675"/>
                      </a:lnTo>
                      <a:lnTo>
                        <a:pt x="237609" y="267734"/>
                      </a:lnTo>
                      <a:lnTo>
                        <a:pt x="242699" y="267734"/>
                      </a:lnTo>
                      <a:lnTo>
                        <a:pt x="255761" y="266998"/>
                      </a:lnTo>
                      <a:lnTo>
                        <a:pt x="255761" y="277146"/>
                      </a:lnTo>
                      <a:lnTo>
                        <a:pt x="267734" y="282236"/>
                      </a:lnTo>
                      <a:lnTo>
                        <a:pt x="269527" y="284029"/>
                      </a:lnTo>
                      <a:lnTo>
                        <a:pt x="275353" y="290944"/>
                      </a:lnTo>
                      <a:lnTo>
                        <a:pt x="289119" y="287294"/>
                      </a:lnTo>
                      <a:lnTo>
                        <a:pt x="305446" y="272088"/>
                      </a:lnTo>
                      <a:lnTo>
                        <a:pt x="304006" y="257201"/>
                      </a:lnTo>
                      <a:lnTo>
                        <a:pt x="322126" y="230726"/>
                      </a:lnTo>
                      <a:lnTo>
                        <a:pt x="319245" y="225635"/>
                      </a:lnTo>
                      <a:lnTo>
                        <a:pt x="316683" y="208220"/>
                      </a:lnTo>
                      <a:lnTo>
                        <a:pt x="321037" y="196246"/>
                      </a:lnTo>
                      <a:lnTo>
                        <a:pt x="322862" y="191188"/>
                      </a:lnTo>
                      <a:lnTo>
                        <a:pt x="348634" y="189363"/>
                      </a:lnTo>
                      <a:lnTo>
                        <a:pt x="336660" y="179919"/>
                      </a:lnTo>
                      <a:lnTo>
                        <a:pt x="336660" y="153091"/>
                      </a:lnTo>
                      <a:lnTo>
                        <a:pt x="327216" y="149090"/>
                      </a:lnTo>
                      <a:lnTo>
                        <a:pt x="317772" y="136764"/>
                      </a:lnTo>
                      <a:lnTo>
                        <a:pt x="315979" y="135324"/>
                      </a:lnTo>
                      <a:lnTo>
                        <a:pt x="309096" y="133499"/>
                      </a:lnTo>
                      <a:lnTo>
                        <a:pt x="302917" y="122262"/>
                      </a:lnTo>
                      <a:lnTo>
                        <a:pt x="315979" y="110289"/>
                      </a:lnTo>
                      <a:lnTo>
                        <a:pt x="304742" y="96491"/>
                      </a:lnTo>
                      <a:lnTo>
                        <a:pt x="295298" y="94698"/>
                      </a:lnTo>
                      <a:lnTo>
                        <a:pt x="330481" y="81988"/>
                      </a:lnTo>
                      <a:lnTo>
                        <a:pt x="324687" y="62043"/>
                      </a:lnTo>
                      <a:lnTo>
                        <a:pt x="323598" y="62043"/>
                      </a:lnTo>
                      <a:lnTo>
                        <a:pt x="302917" y="60218"/>
                      </a:lnTo>
                      <a:lnTo>
                        <a:pt x="282236" y="51863"/>
                      </a:lnTo>
                      <a:lnTo>
                        <a:pt x="265909" y="61307"/>
                      </a:lnTo>
                      <a:lnTo>
                        <a:pt x="258290" y="58778"/>
                      </a:lnTo>
                      <a:lnTo>
                        <a:pt x="234343" y="60218"/>
                      </a:lnTo>
                      <a:lnTo>
                        <a:pt x="225635" y="34479"/>
                      </a:lnTo>
                      <a:lnTo>
                        <a:pt x="218752" y="29389"/>
                      </a:lnTo>
                      <a:lnTo>
                        <a:pt x="200632" y="42451"/>
                      </a:lnTo>
                      <a:lnTo>
                        <a:pt x="187571" y="24299"/>
                      </a:lnTo>
                      <a:lnTo>
                        <a:pt x="175597" y="22506"/>
                      </a:lnTo>
                      <a:lnTo>
                        <a:pt x="178126" y="13062"/>
                      </a:lnTo>
                      <a:lnTo>
                        <a:pt x="186098" y="13062"/>
                      </a:lnTo>
                      <a:lnTo>
                        <a:pt x="191924" y="5442"/>
                      </a:lnTo>
                      <a:lnTo>
                        <a:pt x="177390" y="3618"/>
                      </a:lnTo>
                      <a:lnTo>
                        <a:pt x="176686" y="3618"/>
                      </a:lnTo>
                      <a:lnTo>
                        <a:pt x="157445" y="22506"/>
                      </a:lnTo>
                      <a:lnTo>
                        <a:pt x="149826" y="18856"/>
                      </a:lnTo>
                      <a:lnTo>
                        <a:pt x="120437" y="36272"/>
                      </a:lnTo>
                      <a:lnTo>
                        <a:pt x="113554" y="31214"/>
                      </a:lnTo>
                      <a:lnTo>
                        <a:pt x="102669" y="33743"/>
                      </a:lnTo>
                      <a:lnTo>
                        <a:pt x="100844" y="44980"/>
                      </a:lnTo>
                      <a:lnTo>
                        <a:pt x="95786" y="46420"/>
                      </a:lnTo>
                      <a:lnTo>
                        <a:pt x="82724" y="38833"/>
                      </a:lnTo>
                      <a:lnTo>
                        <a:pt x="85990" y="26860"/>
                      </a:lnTo>
                      <a:lnTo>
                        <a:pt x="80900" y="16327"/>
                      </a:lnTo>
                      <a:lnTo>
                        <a:pt x="69663" y="18856"/>
                      </a:lnTo>
                      <a:lnTo>
                        <a:pt x="51895" y="9444"/>
                      </a:lnTo>
                      <a:lnTo>
                        <a:pt x="43187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1" name="Forma Livre: Forma 310">
                  <a:extLst>
                    <a:ext uri="{FF2B5EF4-FFF2-40B4-BE49-F238E27FC236}">
                      <a16:creationId xmlns:a16="http://schemas.microsoft.com/office/drawing/2014/main" id="{F7384C14-6D7D-BAF1-3AB6-E517647649D2}"/>
                    </a:ext>
                  </a:extLst>
                </p:cNvPr>
                <p:cNvSpPr/>
                <p:nvPr/>
              </p:nvSpPr>
              <p:spPr>
                <a:xfrm>
                  <a:off x="2481840" y="4510949"/>
                  <a:ext cx="348633" cy="302181"/>
                </a:xfrm>
                <a:custGeom>
                  <a:avLst/>
                  <a:gdLst>
                    <a:gd name="csX0" fmla="*/ 43187 w 348633"/>
                    <a:gd name="csY0" fmla="*/ 0 h 302181"/>
                    <a:gd name="csX1" fmla="*/ 37008 w 348633"/>
                    <a:gd name="csY1" fmla="*/ 6179 h 302181"/>
                    <a:gd name="csX2" fmla="*/ 26860 w 348633"/>
                    <a:gd name="csY2" fmla="*/ 4354 h 302181"/>
                    <a:gd name="csX3" fmla="*/ 18152 w 348633"/>
                    <a:gd name="csY3" fmla="*/ 3618 h 302181"/>
                    <a:gd name="csX4" fmla="*/ 16327 w 348633"/>
                    <a:gd name="csY4" fmla="*/ 9444 h 302181"/>
                    <a:gd name="csX5" fmla="*/ 20681 w 348633"/>
                    <a:gd name="csY5" fmla="*/ 25035 h 302181"/>
                    <a:gd name="csX6" fmla="*/ 18152 w 348633"/>
                    <a:gd name="csY6" fmla="*/ 31918 h 302181"/>
                    <a:gd name="csX7" fmla="*/ 28653 w 348633"/>
                    <a:gd name="csY7" fmla="*/ 43891 h 302181"/>
                    <a:gd name="csX8" fmla="*/ 28653 w 348633"/>
                    <a:gd name="csY8" fmla="*/ 67102 h 302181"/>
                    <a:gd name="csX9" fmla="*/ 15623 w 348633"/>
                    <a:gd name="csY9" fmla="*/ 87783 h 302181"/>
                    <a:gd name="csX10" fmla="*/ 1825 w 348633"/>
                    <a:gd name="csY10" fmla="*/ 90344 h 302181"/>
                    <a:gd name="csX11" fmla="*/ 15623 w 348633"/>
                    <a:gd name="csY11" fmla="*/ 105935 h 302181"/>
                    <a:gd name="csX12" fmla="*/ 11269 w 348633"/>
                    <a:gd name="csY12" fmla="*/ 116435 h 302181"/>
                    <a:gd name="csX13" fmla="*/ 4354 w 348633"/>
                    <a:gd name="csY13" fmla="*/ 117908 h 302181"/>
                    <a:gd name="csX14" fmla="*/ 3650 w 348633"/>
                    <a:gd name="csY14" fmla="*/ 171211 h 302181"/>
                    <a:gd name="csX15" fmla="*/ 0 w 348633"/>
                    <a:gd name="csY15" fmla="*/ 174861 h 302181"/>
                    <a:gd name="csX16" fmla="*/ 16327 w 348633"/>
                    <a:gd name="csY16" fmla="*/ 196246 h 302181"/>
                    <a:gd name="csX17" fmla="*/ 42099 w 348633"/>
                    <a:gd name="csY17" fmla="*/ 175565 h 302181"/>
                    <a:gd name="csX18" fmla="*/ 55865 w 348633"/>
                    <a:gd name="csY18" fmla="*/ 175565 h 302181"/>
                    <a:gd name="csX19" fmla="*/ 75105 w 348633"/>
                    <a:gd name="csY19" fmla="*/ 198807 h 302181"/>
                    <a:gd name="csX20" fmla="*/ 80195 w 348633"/>
                    <a:gd name="csY20" fmla="*/ 207515 h 302181"/>
                    <a:gd name="csX21" fmla="*/ 82724 w 348633"/>
                    <a:gd name="csY21" fmla="*/ 233991 h 302181"/>
                    <a:gd name="csX22" fmla="*/ 95786 w 348633"/>
                    <a:gd name="csY22" fmla="*/ 241963 h 302181"/>
                    <a:gd name="csX23" fmla="*/ 99756 w 348633"/>
                    <a:gd name="csY23" fmla="*/ 252111 h 302181"/>
                    <a:gd name="csX24" fmla="*/ 102669 w 348633"/>
                    <a:gd name="csY24" fmla="*/ 259026 h 302181"/>
                    <a:gd name="csX25" fmla="*/ 94698 w 348633"/>
                    <a:gd name="csY25" fmla="*/ 264084 h 302181"/>
                    <a:gd name="csX26" fmla="*/ 95786 w 348633"/>
                    <a:gd name="csY26" fmla="*/ 270263 h 302181"/>
                    <a:gd name="csX27" fmla="*/ 87815 w 348633"/>
                    <a:gd name="csY27" fmla="*/ 274617 h 302181"/>
                    <a:gd name="csX28" fmla="*/ 99756 w 348633"/>
                    <a:gd name="csY28" fmla="*/ 283325 h 302181"/>
                    <a:gd name="csX29" fmla="*/ 112113 w 348633"/>
                    <a:gd name="csY29" fmla="*/ 270999 h 302181"/>
                    <a:gd name="csX30" fmla="*/ 122262 w 348633"/>
                    <a:gd name="csY30" fmla="*/ 279675 h 302181"/>
                    <a:gd name="csX31" fmla="*/ 133499 w 348633"/>
                    <a:gd name="csY31" fmla="*/ 280764 h 302181"/>
                    <a:gd name="csX32" fmla="*/ 149090 w 348633"/>
                    <a:gd name="csY32" fmla="*/ 290208 h 302181"/>
                    <a:gd name="csX33" fmla="*/ 162888 w 348633"/>
                    <a:gd name="csY33" fmla="*/ 302181 h 302181"/>
                    <a:gd name="csX34" fmla="*/ 175597 w 348633"/>
                    <a:gd name="csY34" fmla="*/ 301092 h 302181"/>
                    <a:gd name="csX35" fmla="*/ 187571 w 348633"/>
                    <a:gd name="csY35" fmla="*/ 288383 h 302181"/>
                    <a:gd name="csX36" fmla="*/ 198807 w 348633"/>
                    <a:gd name="csY36" fmla="*/ 289119 h 302181"/>
                    <a:gd name="csX37" fmla="*/ 223843 w 348633"/>
                    <a:gd name="csY37" fmla="*/ 280764 h 302181"/>
                    <a:gd name="csX38" fmla="*/ 229989 w 348633"/>
                    <a:gd name="csY38" fmla="*/ 279675 h 302181"/>
                    <a:gd name="csX39" fmla="*/ 237609 w 348633"/>
                    <a:gd name="csY39" fmla="*/ 267734 h 302181"/>
                    <a:gd name="csX40" fmla="*/ 242699 w 348633"/>
                    <a:gd name="csY40" fmla="*/ 267734 h 302181"/>
                    <a:gd name="csX41" fmla="*/ 255761 w 348633"/>
                    <a:gd name="csY41" fmla="*/ 266998 h 302181"/>
                    <a:gd name="csX42" fmla="*/ 255761 w 348633"/>
                    <a:gd name="csY42" fmla="*/ 277146 h 302181"/>
                    <a:gd name="csX43" fmla="*/ 267734 w 348633"/>
                    <a:gd name="csY43" fmla="*/ 282236 h 302181"/>
                    <a:gd name="csX44" fmla="*/ 269527 w 348633"/>
                    <a:gd name="csY44" fmla="*/ 284029 h 302181"/>
                    <a:gd name="csX45" fmla="*/ 275353 w 348633"/>
                    <a:gd name="csY45" fmla="*/ 290944 h 302181"/>
                    <a:gd name="csX46" fmla="*/ 289119 w 348633"/>
                    <a:gd name="csY46" fmla="*/ 287294 h 302181"/>
                    <a:gd name="csX47" fmla="*/ 305446 w 348633"/>
                    <a:gd name="csY47" fmla="*/ 272088 h 302181"/>
                    <a:gd name="csX48" fmla="*/ 304006 w 348633"/>
                    <a:gd name="csY48" fmla="*/ 257201 h 302181"/>
                    <a:gd name="csX49" fmla="*/ 322126 w 348633"/>
                    <a:gd name="csY49" fmla="*/ 230726 h 302181"/>
                    <a:gd name="csX50" fmla="*/ 319245 w 348633"/>
                    <a:gd name="csY50" fmla="*/ 225635 h 302181"/>
                    <a:gd name="csX51" fmla="*/ 316683 w 348633"/>
                    <a:gd name="csY51" fmla="*/ 208220 h 302181"/>
                    <a:gd name="csX52" fmla="*/ 321037 w 348633"/>
                    <a:gd name="csY52" fmla="*/ 196246 h 302181"/>
                    <a:gd name="csX53" fmla="*/ 322862 w 348633"/>
                    <a:gd name="csY53" fmla="*/ 191188 h 302181"/>
                    <a:gd name="csX54" fmla="*/ 348634 w 348633"/>
                    <a:gd name="csY54" fmla="*/ 189363 h 302181"/>
                    <a:gd name="csX55" fmla="*/ 336660 w 348633"/>
                    <a:gd name="csY55" fmla="*/ 179919 h 302181"/>
                    <a:gd name="csX56" fmla="*/ 336660 w 348633"/>
                    <a:gd name="csY56" fmla="*/ 153091 h 302181"/>
                    <a:gd name="csX57" fmla="*/ 327216 w 348633"/>
                    <a:gd name="csY57" fmla="*/ 149090 h 302181"/>
                    <a:gd name="csX58" fmla="*/ 317772 w 348633"/>
                    <a:gd name="csY58" fmla="*/ 136764 h 302181"/>
                    <a:gd name="csX59" fmla="*/ 315979 w 348633"/>
                    <a:gd name="csY59" fmla="*/ 135324 h 302181"/>
                    <a:gd name="csX60" fmla="*/ 309096 w 348633"/>
                    <a:gd name="csY60" fmla="*/ 133499 h 302181"/>
                    <a:gd name="csX61" fmla="*/ 302917 w 348633"/>
                    <a:gd name="csY61" fmla="*/ 122262 h 302181"/>
                    <a:gd name="csX62" fmla="*/ 315979 w 348633"/>
                    <a:gd name="csY62" fmla="*/ 110289 h 302181"/>
                    <a:gd name="csX63" fmla="*/ 304742 w 348633"/>
                    <a:gd name="csY63" fmla="*/ 96491 h 302181"/>
                    <a:gd name="csX64" fmla="*/ 295298 w 348633"/>
                    <a:gd name="csY64" fmla="*/ 94698 h 302181"/>
                    <a:gd name="csX65" fmla="*/ 330481 w 348633"/>
                    <a:gd name="csY65" fmla="*/ 81988 h 302181"/>
                    <a:gd name="csX66" fmla="*/ 324687 w 348633"/>
                    <a:gd name="csY66" fmla="*/ 62043 h 302181"/>
                    <a:gd name="csX67" fmla="*/ 323598 w 348633"/>
                    <a:gd name="csY67" fmla="*/ 62043 h 302181"/>
                    <a:gd name="csX68" fmla="*/ 302917 w 348633"/>
                    <a:gd name="csY68" fmla="*/ 60218 h 302181"/>
                    <a:gd name="csX69" fmla="*/ 282236 w 348633"/>
                    <a:gd name="csY69" fmla="*/ 51863 h 302181"/>
                    <a:gd name="csX70" fmla="*/ 265909 w 348633"/>
                    <a:gd name="csY70" fmla="*/ 61307 h 302181"/>
                    <a:gd name="csX71" fmla="*/ 258290 w 348633"/>
                    <a:gd name="csY71" fmla="*/ 58778 h 302181"/>
                    <a:gd name="csX72" fmla="*/ 234343 w 348633"/>
                    <a:gd name="csY72" fmla="*/ 60218 h 302181"/>
                    <a:gd name="csX73" fmla="*/ 225635 w 348633"/>
                    <a:gd name="csY73" fmla="*/ 34479 h 302181"/>
                    <a:gd name="csX74" fmla="*/ 218752 w 348633"/>
                    <a:gd name="csY74" fmla="*/ 29389 h 302181"/>
                    <a:gd name="csX75" fmla="*/ 200632 w 348633"/>
                    <a:gd name="csY75" fmla="*/ 42451 h 302181"/>
                    <a:gd name="csX76" fmla="*/ 187571 w 348633"/>
                    <a:gd name="csY76" fmla="*/ 24299 h 302181"/>
                    <a:gd name="csX77" fmla="*/ 175597 w 348633"/>
                    <a:gd name="csY77" fmla="*/ 22506 h 302181"/>
                    <a:gd name="csX78" fmla="*/ 178126 w 348633"/>
                    <a:gd name="csY78" fmla="*/ 13062 h 302181"/>
                    <a:gd name="csX79" fmla="*/ 186098 w 348633"/>
                    <a:gd name="csY79" fmla="*/ 13062 h 302181"/>
                    <a:gd name="csX80" fmla="*/ 191924 w 348633"/>
                    <a:gd name="csY80" fmla="*/ 5442 h 302181"/>
                    <a:gd name="csX81" fmla="*/ 177390 w 348633"/>
                    <a:gd name="csY81" fmla="*/ 3618 h 302181"/>
                    <a:gd name="csX82" fmla="*/ 176686 w 348633"/>
                    <a:gd name="csY82" fmla="*/ 3618 h 302181"/>
                    <a:gd name="csX83" fmla="*/ 157445 w 348633"/>
                    <a:gd name="csY83" fmla="*/ 22506 h 302181"/>
                    <a:gd name="csX84" fmla="*/ 149826 w 348633"/>
                    <a:gd name="csY84" fmla="*/ 18856 h 302181"/>
                    <a:gd name="csX85" fmla="*/ 120437 w 348633"/>
                    <a:gd name="csY85" fmla="*/ 36272 h 302181"/>
                    <a:gd name="csX86" fmla="*/ 113554 w 348633"/>
                    <a:gd name="csY86" fmla="*/ 31214 h 302181"/>
                    <a:gd name="csX87" fmla="*/ 102669 w 348633"/>
                    <a:gd name="csY87" fmla="*/ 33743 h 302181"/>
                    <a:gd name="csX88" fmla="*/ 100844 w 348633"/>
                    <a:gd name="csY88" fmla="*/ 44980 h 302181"/>
                    <a:gd name="csX89" fmla="*/ 95786 w 348633"/>
                    <a:gd name="csY89" fmla="*/ 46420 h 302181"/>
                    <a:gd name="csX90" fmla="*/ 82724 w 348633"/>
                    <a:gd name="csY90" fmla="*/ 38833 h 302181"/>
                    <a:gd name="csX91" fmla="*/ 85990 w 348633"/>
                    <a:gd name="csY91" fmla="*/ 26860 h 302181"/>
                    <a:gd name="csX92" fmla="*/ 80900 w 348633"/>
                    <a:gd name="csY92" fmla="*/ 16327 h 302181"/>
                    <a:gd name="csX93" fmla="*/ 69663 w 348633"/>
                    <a:gd name="csY93" fmla="*/ 18856 h 302181"/>
                    <a:gd name="csX94" fmla="*/ 51895 w 348633"/>
                    <a:gd name="csY94" fmla="*/ 9444 h 302181"/>
                    <a:gd name="csX95" fmla="*/ 43187 w 348633"/>
                    <a:gd name="csY95" fmla="*/ 0 h 3021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348633" h="302181">
                      <a:moveTo>
                        <a:pt x="43187" y="0"/>
                      </a:moveTo>
                      <a:lnTo>
                        <a:pt x="37008" y="6179"/>
                      </a:lnTo>
                      <a:lnTo>
                        <a:pt x="26860" y="4354"/>
                      </a:lnTo>
                      <a:lnTo>
                        <a:pt x="18152" y="3618"/>
                      </a:lnTo>
                      <a:lnTo>
                        <a:pt x="16327" y="9444"/>
                      </a:lnTo>
                      <a:lnTo>
                        <a:pt x="20681" y="25035"/>
                      </a:lnTo>
                      <a:lnTo>
                        <a:pt x="18152" y="31918"/>
                      </a:lnTo>
                      <a:lnTo>
                        <a:pt x="28653" y="43891"/>
                      </a:lnTo>
                      <a:lnTo>
                        <a:pt x="28653" y="67102"/>
                      </a:lnTo>
                      <a:lnTo>
                        <a:pt x="15623" y="87783"/>
                      </a:lnTo>
                      <a:lnTo>
                        <a:pt x="1825" y="90344"/>
                      </a:lnTo>
                      <a:lnTo>
                        <a:pt x="15623" y="105935"/>
                      </a:lnTo>
                      <a:lnTo>
                        <a:pt x="11269" y="116435"/>
                      </a:lnTo>
                      <a:lnTo>
                        <a:pt x="4354" y="117908"/>
                      </a:lnTo>
                      <a:lnTo>
                        <a:pt x="3650" y="171211"/>
                      </a:lnTo>
                      <a:lnTo>
                        <a:pt x="0" y="174861"/>
                      </a:lnTo>
                      <a:lnTo>
                        <a:pt x="16327" y="196246"/>
                      </a:lnTo>
                      <a:lnTo>
                        <a:pt x="42099" y="175565"/>
                      </a:lnTo>
                      <a:lnTo>
                        <a:pt x="55865" y="175565"/>
                      </a:lnTo>
                      <a:lnTo>
                        <a:pt x="75105" y="198807"/>
                      </a:lnTo>
                      <a:lnTo>
                        <a:pt x="80195" y="207515"/>
                      </a:lnTo>
                      <a:lnTo>
                        <a:pt x="82724" y="233991"/>
                      </a:lnTo>
                      <a:lnTo>
                        <a:pt x="95786" y="241963"/>
                      </a:lnTo>
                      <a:lnTo>
                        <a:pt x="99756" y="252111"/>
                      </a:lnTo>
                      <a:lnTo>
                        <a:pt x="102669" y="259026"/>
                      </a:lnTo>
                      <a:lnTo>
                        <a:pt x="94698" y="264084"/>
                      </a:lnTo>
                      <a:lnTo>
                        <a:pt x="95786" y="270263"/>
                      </a:lnTo>
                      <a:lnTo>
                        <a:pt x="87815" y="274617"/>
                      </a:lnTo>
                      <a:lnTo>
                        <a:pt x="99756" y="283325"/>
                      </a:lnTo>
                      <a:lnTo>
                        <a:pt x="112113" y="270999"/>
                      </a:lnTo>
                      <a:lnTo>
                        <a:pt x="122262" y="279675"/>
                      </a:lnTo>
                      <a:lnTo>
                        <a:pt x="133499" y="280764"/>
                      </a:lnTo>
                      <a:lnTo>
                        <a:pt x="149090" y="290208"/>
                      </a:lnTo>
                      <a:lnTo>
                        <a:pt x="162888" y="302181"/>
                      </a:lnTo>
                      <a:lnTo>
                        <a:pt x="175597" y="301092"/>
                      </a:lnTo>
                      <a:lnTo>
                        <a:pt x="187571" y="288383"/>
                      </a:lnTo>
                      <a:lnTo>
                        <a:pt x="198807" y="289119"/>
                      </a:lnTo>
                      <a:lnTo>
                        <a:pt x="223843" y="280764"/>
                      </a:lnTo>
                      <a:lnTo>
                        <a:pt x="229989" y="279675"/>
                      </a:lnTo>
                      <a:lnTo>
                        <a:pt x="237609" y="267734"/>
                      </a:lnTo>
                      <a:lnTo>
                        <a:pt x="242699" y="267734"/>
                      </a:lnTo>
                      <a:lnTo>
                        <a:pt x="255761" y="266998"/>
                      </a:lnTo>
                      <a:lnTo>
                        <a:pt x="255761" y="277146"/>
                      </a:lnTo>
                      <a:lnTo>
                        <a:pt x="267734" y="282236"/>
                      </a:lnTo>
                      <a:lnTo>
                        <a:pt x="269527" y="284029"/>
                      </a:lnTo>
                      <a:lnTo>
                        <a:pt x="275353" y="290944"/>
                      </a:lnTo>
                      <a:lnTo>
                        <a:pt x="289119" y="287294"/>
                      </a:lnTo>
                      <a:lnTo>
                        <a:pt x="305446" y="272088"/>
                      </a:lnTo>
                      <a:lnTo>
                        <a:pt x="304006" y="257201"/>
                      </a:lnTo>
                      <a:lnTo>
                        <a:pt x="322126" y="230726"/>
                      </a:lnTo>
                      <a:lnTo>
                        <a:pt x="319245" y="225635"/>
                      </a:lnTo>
                      <a:lnTo>
                        <a:pt x="316683" y="208220"/>
                      </a:lnTo>
                      <a:lnTo>
                        <a:pt x="321037" y="196246"/>
                      </a:lnTo>
                      <a:lnTo>
                        <a:pt x="322862" y="191188"/>
                      </a:lnTo>
                      <a:lnTo>
                        <a:pt x="348634" y="189363"/>
                      </a:lnTo>
                      <a:lnTo>
                        <a:pt x="336660" y="179919"/>
                      </a:lnTo>
                      <a:lnTo>
                        <a:pt x="336660" y="153091"/>
                      </a:lnTo>
                      <a:lnTo>
                        <a:pt x="327216" y="149090"/>
                      </a:lnTo>
                      <a:lnTo>
                        <a:pt x="317772" y="136764"/>
                      </a:lnTo>
                      <a:lnTo>
                        <a:pt x="315979" y="135324"/>
                      </a:lnTo>
                      <a:lnTo>
                        <a:pt x="309096" y="133499"/>
                      </a:lnTo>
                      <a:lnTo>
                        <a:pt x="302917" y="122262"/>
                      </a:lnTo>
                      <a:lnTo>
                        <a:pt x="315979" y="110289"/>
                      </a:lnTo>
                      <a:lnTo>
                        <a:pt x="304742" y="96491"/>
                      </a:lnTo>
                      <a:lnTo>
                        <a:pt x="295298" y="94698"/>
                      </a:lnTo>
                      <a:lnTo>
                        <a:pt x="330481" y="81988"/>
                      </a:lnTo>
                      <a:lnTo>
                        <a:pt x="324687" y="62043"/>
                      </a:lnTo>
                      <a:lnTo>
                        <a:pt x="323598" y="62043"/>
                      </a:lnTo>
                      <a:lnTo>
                        <a:pt x="302917" y="60218"/>
                      </a:lnTo>
                      <a:lnTo>
                        <a:pt x="282236" y="51863"/>
                      </a:lnTo>
                      <a:lnTo>
                        <a:pt x="265909" y="61307"/>
                      </a:lnTo>
                      <a:lnTo>
                        <a:pt x="258290" y="58778"/>
                      </a:lnTo>
                      <a:lnTo>
                        <a:pt x="234343" y="60218"/>
                      </a:lnTo>
                      <a:lnTo>
                        <a:pt x="225635" y="34479"/>
                      </a:lnTo>
                      <a:lnTo>
                        <a:pt x="218752" y="29389"/>
                      </a:lnTo>
                      <a:lnTo>
                        <a:pt x="200632" y="42451"/>
                      </a:lnTo>
                      <a:lnTo>
                        <a:pt x="187571" y="24299"/>
                      </a:lnTo>
                      <a:lnTo>
                        <a:pt x="175597" y="22506"/>
                      </a:lnTo>
                      <a:lnTo>
                        <a:pt x="178126" y="13062"/>
                      </a:lnTo>
                      <a:lnTo>
                        <a:pt x="186098" y="13062"/>
                      </a:lnTo>
                      <a:lnTo>
                        <a:pt x="191924" y="5442"/>
                      </a:lnTo>
                      <a:lnTo>
                        <a:pt x="177390" y="3618"/>
                      </a:lnTo>
                      <a:lnTo>
                        <a:pt x="176686" y="3618"/>
                      </a:lnTo>
                      <a:lnTo>
                        <a:pt x="157445" y="22506"/>
                      </a:lnTo>
                      <a:lnTo>
                        <a:pt x="149826" y="18856"/>
                      </a:lnTo>
                      <a:lnTo>
                        <a:pt x="120437" y="36272"/>
                      </a:lnTo>
                      <a:lnTo>
                        <a:pt x="113554" y="31214"/>
                      </a:lnTo>
                      <a:lnTo>
                        <a:pt x="102669" y="33743"/>
                      </a:lnTo>
                      <a:lnTo>
                        <a:pt x="100844" y="44980"/>
                      </a:lnTo>
                      <a:lnTo>
                        <a:pt x="95786" y="46420"/>
                      </a:lnTo>
                      <a:lnTo>
                        <a:pt x="82724" y="38833"/>
                      </a:lnTo>
                      <a:lnTo>
                        <a:pt x="85990" y="26860"/>
                      </a:lnTo>
                      <a:lnTo>
                        <a:pt x="80900" y="16327"/>
                      </a:lnTo>
                      <a:lnTo>
                        <a:pt x="69663" y="18856"/>
                      </a:lnTo>
                      <a:lnTo>
                        <a:pt x="51895" y="9444"/>
                      </a:lnTo>
                      <a:lnTo>
                        <a:pt x="43187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2" name="Forma Livre: Forma 311">
                  <a:extLst>
                    <a:ext uri="{FF2B5EF4-FFF2-40B4-BE49-F238E27FC236}">
                      <a16:creationId xmlns:a16="http://schemas.microsoft.com/office/drawing/2014/main" id="{6BC45307-25A6-956C-2396-EB863743B3E7}"/>
                    </a:ext>
                  </a:extLst>
                </p:cNvPr>
                <p:cNvSpPr/>
                <p:nvPr/>
              </p:nvSpPr>
              <p:spPr>
                <a:xfrm>
                  <a:off x="2481840" y="4510949"/>
                  <a:ext cx="348633" cy="302181"/>
                </a:xfrm>
                <a:custGeom>
                  <a:avLst/>
                  <a:gdLst>
                    <a:gd name="csX0" fmla="*/ 43187 w 348633"/>
                    <a:gd name="csY0" fmla="*/ 0 h 302181"/>
                    <a:gd name="csX1" fmla="*/ 37008 w 348633"/>
                    <a:gd name="csY1" fmla="*/ 6179 h 302181"/>
                    <a:gd name="csX2" fmla="*/ 26860 w 348633"/>
                    <a:gd name="csY2" fmla="*/ 4354 h 302181"/>
                    <a:gd name="csX3" fmla="*/ 18152 w 348633"/>
                    <a:gd name="csY3" fmla="*/ 3618 h 302181"/>
                    <a:gd name="csX4" fmla="*/ 16327 w 348633"/>
                    <a:gd name="csY4" fmla="*/ 9444 h 302181"/>
                    <a:gd name="csX5" fmla="*/ 20681 w 348633"/>
                    <a:gd name="csY5" fmla="*/ 25035 h 302181"/>
                    <a:gd name="csX6" fmla="*/ 18152 w 348633"/>
                    <a:gd name="csY6" fmla="*/ 31918 h 302181"/>
                    <a:gd name="csX7" fmla="*/ 28653 w 348633"/>
                    <a:gd name="csY7" fmla="*/ 43891 h 302181"/>
                    <a:gd name="csX8" fmla="*/ 28653 w 348633"/>
                    <a:gd name="csY8" fmla="*/ 67102 h 302181"/>
                    <a:gd name="csX9" fmla="*/ 15623 w 348633"/>
                    <a:gd name="csY9" fmla="*/ 87783 h 302181"/>
                    <a:gd name="csX10" fmla="*/ 1825 w 348633"/>
                    <a:gd name="csY10" fmla="*/ 90344 h 302181"/>
                    <a:gd name="csX11" fmla="*/ 15623 w 348633"/>
                    <a:gd name="csY11" fmla="*/ 105935 h 302181"/>
                    <a:gd name="csX12" fmla="*/ 11269 w 348633"/>
                    <a:gd name="csY12" fmla="*/ 116435 h 302181"/>
                    <a:gd name="csX13" fmla="*/ 4354 w 348633"/>
                    <a:gd name="csY13" fmla="*/ 117908 h 302181"/>
                    <a:gd name="csX14" fmla="*/ 3650 w 348633"/>
                    <a:gd name="csY14" fmla="*/ 171211 h 302181"/>
                    <a:gd name="csX15" fmla="*/ 0 w 348633"/>
                    <a:gd name="csY15" fmla="*/ 174861 h 302181"/>
                    <a:gd name="csX16" fmla="*/ 16327 w 348633"/>
                    <a:gd name="csY16" fmla="*/ 196246 h 302181"/>
                    <a:gd name="csX17" fmla="*/ 42099 w 348633"/>
                    <a:gd name="csY17" fmla="*/ 175565 h 302181"/>
                    <a:gd name="csX18" fmla="*/ 55865 w 348633"/>
                    <a:gd name="csY18" fmla="*/ 175565 h 302181"/>
                    <a:gd name="csX19" fmla="*/ 75105 w 348633"/>
                    <a:gd name="csY19" fmla="*/ 198807 h 302181"/>
                    <a:gd name="csX20" fmla="*/ 80195 w 348633"/>
                    <a:gd name="csY20" fmla="*/ 207515 h 302181"/>
                    <a:gd name="csX21" fmla="*/ 82724 w 348633"/>
                    <a:gd name="csY21" fmla="*/ 233991 h 302181"/>
                    <a:gd name="csX22" fmla="*/ 95786 w 348633"/>
                    <a:gd name="csY22" fmla="*/ 241963 h 302181"/>
                    <a:gd name="csX23" fmla="*/ 99756 w 348633"/>
                    <a:gd name="csY23" fmla="*/ 252111 h 302181"/>
                    <a:gd name="csX24" fmla="*/ 102669 w 348633"/>
                    <a:gd name="csY24" fmla="*/ 259026 h 302181"/>
                    <a:gd name="csX25" fmla="*/ 94698 w 348633"/>
                    <a:gd name="csY25" fmla="*/ 264084 h 302181"/>
                    <a:gd name="csX26" fmla="*/ 95786 w 348633"/>
                    <a:gd name="csY26" fmla="*/ 270263 h 302181"/>
                    <a:gd name="csX27" fmla="*/ 87815 w 348633"/>
                    <a:gd name="csY27" fmla="*/ 274617 h 302181"/>
                    <a:gd name="csX28" fmla="*/ 99756 w 348633"/>
                    <a:gd name="csY28" fmla="*/ 283325 h 302181"/>
                    <a:gd name="csX29" fmla="*/ 112113 w 348633"/>
                    <a:gd name="csY29" fmla="*/ 270999 h 302181"/>
                    <a:gd name="csX30" fmla="*/ 122262 w 348633"/>
                    <a:gd name="csY30" fmla="*/ 279675 h 302181"/>
                    <a:gd name="csX31" fmla="*/ 133499 w 348633"/>
                    <a:gd name="csY31" fmla="*/ 280764 h 302181"/>
                    <a:gd name="csX32" fmla="*/ 149090 w 348633"/>
                    <a:gd name="csY32" fmla="*/ 290208 h 302181"/>
                    <a:gd name="csX33" fmla="*/ 162888 w 348633"/>
                    <a:gd name="csY33" fmla="*/ 302181 h 302181"/>
                    <a:gd name="csX34" fmla="*/ 175597 w 348633"/>
                    <a:gd name="csY34" fmla="*/ 301092 h 302181"/>
                    <a:gd name="csX35" fmla="*/ 187571 w 348633"/>
                    <a:gd name="csY35" fmla="*/ 288383 h 302181"/>
                    <a:gd name="csX36" fmla="*/ 198807 w 348633"/>
                    <a:gd name="csY36" fmla="*/ 289119 h 302181"/>
                    <a:gd name="csX37" fmla="*/ 223843 w 348633"/>
                    <a:gd name="csY37" fmla="*/ 280764 h 302181"/>
                    <a:gd name="csX38" fmla="*/ 229989 w 348633"/>
                    <a:gd name="csY38" fmla="*/ 279675 h 302181"/>
                    <a:gd name="csX39" fmla="*/ 237609 w 348633"/>
                    <a:gd name="csY39" fmla="*/ 267734 h 302181"/>
                    <a:gd name="csX40" fmla="*/ 242699 w 348633"/>
                    <a:gd name="csY40" fmla="*/ 267734 h 302181"/>
                    <a:gd name="csX41" fmla="*/ 255761 w 348633"/>
                    <a:gd name="csY41" fmla="*/ 266998 h 302181"/>
                    <a:gd name="csX42" fmla="*/ 255761 w 348633"/>
                    <a:gd name="csY42" fmla="*/ 277146 h 302181"/>
                    <a:gd name="csX43" fmla="*/ 267734 w 348633"/>
                    <a:gd name="csY43" fmla="*/ 282236 h 302181"/>
                    <a:gd name="csX44" fmla="*/ 269527 w 348633"/>
                    <a:gd name="csY44" fmla="*/ 284029 h 302181"/>
                    <a:gd name="csX45" fmla="*/ 275353 w 348633"/>
                    <a:gd name="csY45" fmla="*/ 290944 h 302181"/>
                    <a:gd name="csX46" fmla="*/ 289119 w 348633"/>
                    <a:gd name="csY46" fmla="*/ 287294 h 302181"/>
                    <a:gd name="csX47" fmla="*/ 305446 w 348633"/>
                    <a:gd name="csY47" fmla="*/ 272088 h 302181"/>
                    <a:gd name="csX48" fmla="*/ 304006 w 348633"/>
                    <a:gd name="csY48" fmla="*/ 257201 h 302181"/>
                    <a:gd name="csX49" fmla="*/ 322126 w 348633"/>
                    <a:gd name="csY49" fmla="*/ 230726 h 302181"/>
                    <a:gd name="csX50" fmla="*/ 319245 w 348633"/>
                    <a:gd name="csY50" fmla="*/ 225635 h 302181"/>
                    <a:gd name="csX51" fmla="*/ 316683 w 348633"/>
                    <a:gd name="csY51" fmla="*/ 208220 h 302181"/>
                    <a:gd name="csX52" fmla="*/ 321037 w 348633"/>
                    <a:gd name="csY52" fmla="*/ 196246 h 302181"/>
                    <a:gd name="csX53" fmla="*/ 322862 w 348633"/>
                    <a:gd name="csY53" fmla="*/ 191188 h 302181"/>
                    <a:gd name="csX54" fmla="*/ 348634 w 348633"/>
                    <a:gd name="csY54" fmla="*/ 189363 h 302181"/>
                    <a:gd name="csX55" fmla="*/ 336660 w 348633"/>
                    <a:gd name="csY55" fmla="*/ 179919 h 302181"/>
                    <a:gd name="csX56" fmla="*/ 336660 w 348633"/>
                    <a:gd name="csY56" fmla="*/ 153091 h 302181"/>
                    <a:gd name="csX57" fmla="*/ 327216 w 348633"/>
                    <a:gd name="csY57" fmla="*/ 149090 h 302181"/>
                    <a:gd name="csX58" fmla="*/ 317772 w 348633"/>
                    <a:gd name="csY58" fmla="*/ 136764 h 302181"/>
                    <a:gd name="csX59" fmla="*/ 315979 w 348633"/>
                    <a:gd name="csY59" fmla="*/ 135324 h 302181"/>
                    <a:gd name="csX60" fmla="*/ 309096 w 348633"/>
                    <a:gd name="csY60" fmla="*/ 133499 h 302181"/>
                    <a:gd name="csX61" fmla="*/ 302917 w 348633"/>
                    <a:gd name="csY61" fmla="*/ 122262 h 302181"/>
                    <a:gd name="csX62" fmla="*/ 315979 w 348633"/>
                    <a:gd name="csY62" fmla="*/ 110289 h 302181"/>
                    <a:gd name="csX63" fmla="*/ 304742 w 348633"/>
                    <a:gd name="csY63" fmla="*/ 96491 h 302181"/>
                    <a:gd name="csX64" fmla="*/ 295298 w 348633"/>
                    <a:gd name="csY64" fmla="*/ 94698 h 302181"/>
                    <a:gd name="csX65" fmla="*/ 330481 w 348633"/>
                    <a:gd name="csY65" fmla="*/ 81988 h 302181"/>
                    <a:gd name="csX66" fmla="*/ 324687 w 348633"/>
                    <a:gd name="csY66" fmla="*/ 62043 h 302181"/>
                    <a:gd name="csX67" fmla="*/ 323598 w 348633"/>
                    <a:gd name="csY67" fmla="*/ 62043 h 302181"/>
                    <a:gd name="csX68" fmla="*/ 302917 w 348633"/>
                    <a:gd name="csY68" fmla="*/ 60218 h 302181"/>
                    <a:gd name="csX69" fmla="*/ 282236 w 348633"/>
                    <a:gd name="csY69" fmla="*/ 51863 h 302181"/>
                    <a:gd name="csX70" fmla="*/ 265909 w 348633"/>
                    <a:gd name="csY70" fmla="*/ 61307 h 302181"/>
                    <a:gd name="csX71" fmla="*/ 258290 w 348633"/>
                    <a:gd name="csY71" fmla="*/ 58778 h 302181"/>
                    <a:gd name="csX72" fmla="*/ 234343 w 348633"/>
                    <a:gd name="csY72" fmla="*/ 60218 h 302181"/>
                    <a:gd name="csX73" fmla="*/ 225635 w 348633"/>
                    <a:gd name="csY73" fmla="*/ 34479 h 302181"/>
                    <a:gd name="csX74" fmla="*/ 218752 w 348633"/>
                    <a:gd name="csY74" fmla="*/ 29389 h 302181"/>
                    <a:gd name="csX75" fmla="*/ 200632 w 348633"/>
                    <a:gd name="csY75" fmla="*/ 42451 h 302181"/>
                    <a:gd name="csX76" fmla="*/ 187571 w 348633"/>
                    <a:gd name="csY76" fmla="*/ 24299 h 302181"/>
                    <a:gd name="csX77" fmla="*/ 175597 w 348633"/>
                    <a:gd name="csY77" fmla="*/ 22506 h 302181"/>
                    <a:gd name="csX78" fmla="*/ 178126 w 348633"/>
                    <a:gd name="csY78" fmla="*/ 13062 h 302181"/>
                    <a:gd name="csX79" fmla="*/ 186098 w 348633"/>
                    <a:gd name="csY79" fmla="*/ 13062 h 302181"/>
                    <a:gd name="csX80" fmla="*/ 191924 w 348633"/>
                    <a:gd name="csY80" fmla="*/ 5442 h 302181"/>
                    <a:gd name="csX81" fmla="*/ 177390 w 348633"/>
                    <a:gd name="csY81" fmla="*/ 3618 h 302181"/>
                    <a:gd name="csX82" fmla="*/ 176686 w 348633"/>
                    <a:gd name="csY82" fmla="*/ 3618 h 302181"/>
                    <a:gd name="csX83" fmla="*/ 157445 w 348633"/>
                    <a:gd name="csY83" fmla="*/ 22506 h 302181"/>
                    <a:gd name="csX84" fmla="*/ 149826 w 348633"/>
                    <a:gd name="csY84" fmla="*/ 18856 h 302181"/>
                    <a:gd name="csX85" fmla="*/ 120437 w 348633"/>
                    <a:gd name="csY85" fmla="*/ 36272 h 302181"/>
                    <a:gd name="csX86" fmla="*/ 113554 w 348633"/>
                    <a:gd name="csY86" fmla="*/ 31214 h 302181"/>
                    <a:gd name="csX87" fmla="*/ 102669 w 348633"/>
                    <a:gd name="csY87" fmla="*/ 33743 h 302181"/>
                    <a:gd name="csX88" fmla="*/ 100844 w 348633"/>
                    <a:gd name="csY88" fmla="*/ 44980 h 302181"/>
                    <a:gd name="csX89" fmla="*/ 95786 w 348633"/>
                    <a:gd name="csY89" fmla="*/ 46420 h 302181"/>
                    <a:gd name="csX90" fmla="*/ 82724 w 348633"/>
                    <a:gd name="csY90" fmla="*/ 38833 h 302181"/>
                    <a:gd name="csX91" fmla="*/ 85990 w 348633"/>
                    <a:gd name="csY91" fmla="*/ 26860 h 302181"/>
                    <a:gd name="csX92" fmla="*/ 80900 w 348633"/>
                    <a:gd name="csY92" fmla="*/ 16327 h 302181"/>
                    <a:gd name="csX93" fmla="*/ 69663 w 348633"/>
                    <a:gd name="csY93" fmla="*/ 18856 h 302181"/>
                    <a:gd name="csX94" fmla="*/ 51895 w 348633"/>
                    <a:gd name="csY94" fmla="*/ 9444 h 302181"/>
                    <a:gd name="csX95" fmla="*/ 43187 w 348633"/>
                    <a:gd name="csY95" fmla="*/ 0 h 3021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348633" h="302181">
                      <a:moveTo>
                        <a:pt x="43187" y="0"/>
                      </a:moveTo>
                      <a:lnTo>
                        <a:pt x="37008" y="6179"/>
                      </a:lnTo>
                      <a:lnTo>
                        <a:pt x="26860" y="4354"/>
                      </a:lnTo>
                      <a:lnTo>
                        <a:pt x="18152" y="3618"/>
                      </a:lnTo>
                      <a:lnTo>
                        <a:pt x="16327" y="9444"/>
                      </a:lnTo>
                      <a:lnTo>
                        <a:pt x="20681" y="25035"/>
                      </a:lnTo>
                      <a:lnTo>
                        <a:pt x="18152" y="31918"/>
                      </a:lnTo>
                      <a:lnTo>
                        <a:pt x="28653" y="43891"/>
                      </a:lnTo>
                      <a:lnTo>
                        <a:pt x="28653" y="67102"/>
                      </a:lnTo>
                      <a:lnTo>
                        <a:pt x="15623" y="87783"/>
                      </a:lnTo>
                      <a:lnTo>
                        <a:pt x="1825" y="90344"/>
                      </a:lnTo>
                      <a:lnTo>
                        <a:pt x="15623" y="105935"/>
                      </a:lnTo>
                      <a:lnTo>
                        <a:pt x="11269" y="116435"/>
                      </a:lnTo>
                      <a:lnTo>
                        <a:pt x="4354" y="117908"/>
                      </a:lnTo>
                      <a:lnTo>
                        <a:pt x="3650" y="171211"/>
                      </a:lnTo>
                      <a:lnTo>
                        <a:pt x="0" y="174861"/>
                      </a:lnTo>
                      <a:lnTo>
                        <a:pt x="16327" y="196246"/>
                      </a:lnTo>
                      <a:lnTo>
                        <a:pt x="42099" y="175565"/>
                      </a:lnTo>
                      <a:lnTo>
                        <a:pt x="55865" y="175565"/>
                      </a:lnTo>
                      <a:lnTo>
                        <a:pt x="75105" y="198807"/>
                      </a:lnTo>
                      <a:lnTo>
                        <a:pt x="80195" y="207515"/>
                      </a:lnTo>
                      <a:lnTo>
                        <a:pt x="82724" y="233991"/>
                      </a:lnTo>
                      <a:lnTo>
                        <a:pt x="95786" y="241963"/>
                      </a:lnTo>
                      <a:lnTo>
                        <a:pt x="99756" y="252111"/>
                      </a:lnTo>
                      <a:lnTo>
                        <a:pt x="102669" y="259026"/>
                      </a:lnTo>
                      <a:lnTo>
                        <a:pt x="94698" y="264084"/>
                      </a:lnTo>
                      <a:lnTo>
                        <a:pt x="95786" y="270263"/>
                      </a:lnTo>
                      <a:lnTo>
                        <a:pt x="87815" y="274617"/>
                      </a:lnTo>
                      <a:lnTo>
                        <a:pt x="99756" y="283325"/>
                      </a:lnTo>
                      <a:lnTo>
                        <a:pt x="112113" y="270999"/>
                      </a:lnTo>
                      <a:lnTo>
                        <a:pt x="122262" y="279675"/>
                      </a:lnTo>
                      <a:lnTo>
                        <a:pt x="133499" y="280764"/>
                      </a:lnTo>
                      <a:lnTo>
                        <a:pt x="149090" y="290208"/>
                      </a:lnTo>
                      <a:lnTo>
                        <a:pt x="162888" y="302181"/>
                      </a:lnTo>
                      <a:lnTo>
                        <a:pt x="175597" y="301092"/>
                      </a:lnTo>
                      <a:lnTo>
                        <a:pt x="187571" y="288383"/>
                      </a:lnTo>
                      <a:lnTo>
                        <a:pt x="198807" y="289119"/>
                      </a:lnTo>
                      <a:lnTo>
                        <a:pt x="223843" y="280764"/>
                      </a:lnTo>
                      <a:lnTo>
                        <a:pt x="229989" y="279675"/>
                      </a:lnTo>
                      <a:lnTo>
                        <a:pt x="237609" y="267734"/>
                      </a:lnTo>
                      <a:lnTo>
                        <a:pt x="242699" y="267734"/>
                      </a:lnTo>
                      <a:lnTo>
                        <a:pt x="255761" y="266998"/>
                      </a:lnTo>
                      <a:lnTo>
                        <a:pt x="255761" y="277146"/>
                      </a:lnTo>
                      <a:lnTo>
                        <a:pt x="267734" y="282236"/>
                      </a:lnTo>
                      <a:lnTo>
                        <a:pt x="269527" y="284029"/>
                      </a:lnTo>
                      <a:lnTo>
                        <a:pt x="275353" y="290944"/>
                      </a:lnTo>
                      <a:lnTo>
                        <a:pt x="289119" y="287294"/>
                      </a:lnTo>
                      <a:lnTo>
                        <a:pt x="305446" y="272088"/>
                      </a:lnTo>
                      <a:lnTo>
                        <a:pt x="304006" y="257201"/>
                      </a:lnTo>
                      <a:lnTo>
                        <a:pt x="322126" y="230726"/>
                      </a:lnTo>
                      <a:lnTo>
                        <a:pt x="319245" y="225635"/>
                      </a:lnTo>
                      <a:lnTo>
                        <a:pt x="316683" y="208220"/>
                      </a:lnTo>
                      <a:lnTo>
                        <a:pt x="321037" y="196246"/>
                      </a:lnTo>
                      <a:lnTo>
                        <a:pt x="322862" y="191188"/>
                      </a:lnTo>
                      <a:lnTo>
                        <a:pt x="348634" y="189363"/>
                      </a:lnTo>
                      <a:lnTo>
                        <a:pt x="336660" y="179919"/>
                      </a:lnTo>
                      <a:lnTo>
                        <a:pt x="336660" y="153091"/>
                      </a:lnTo>
                      <a:lnTo>
                        <a:pt x="327216" y="149090"/>
                      </a:lnTo>
                      <a:lnTo>
                        <a:pt x="317772" y="136764"/>
                      </a:lnTo>
                      <a:lnTo>
                        <a:pt x="315979" y="135324"/>
                      </a:lnTo>
                      <a:lnTo>
                        <a:pt x="309096" y="133499"/>
                      </a:lnTo>
                      <a:lnTo>
                        <a:pt x="302917" y="122262"/>
                      </a:lnTo>
                      <a:lnTo>
                        <a:pt x="315979" y="110289"/>
                      </a:lnTo>
                      <a:lnTo>
                        <a:pt x="304742" y="96491"/>
                      </a:lnTo>
                      <a:lnTo>
                        <a:pt x="295298" y="94698"/>
                      </a:lnTo>
                      <a:lnTo>
                        <a:pt x="330481" y="81988"/>
                      </a:lnTo>
                      <a:lnTo>
                        <a:pt x="324687" y="62043"/>
                      </a:lnTo>
                      <a:lnTo>
                        <a:pt x="323598" y="62043"/>
                      </a:lnTo>
                      <a:lnTo>
                        <a:pt x="302917" y="60218"/>
                      </a:lnTo>
                      <a:lnTo>
                        <a:pt x="282236" y="51863"/>
                      </a:lnTo>
                      <a:lnTo>
                        <a:pt x="265909" y="61307"/>
                      </a:lnTo>
                      <a:lnTo>
                        <a:pt x="258290" y="58778"/>
                      </a:lnTo>
                      <a:lnTo>
                        <a:pt x="234343" y="60218"/>
                      </a:lnTo>
                      <a:lnTo>
                        <a:pt x="225635" y="34479"/>
                      </a:lnTo>
                      <a:lnTo>
                        <a:pt x="218752" y="29389"/>
                      </a:lnTo>
                      <a:lnTo>
                        <a:pt x="200632" y="42451"/>
                      </a:lnTo>
                      <a:lnTo>
                        <a:pt x="187571" y="24299"/>
                      </a:lnTo>
                      <a:lnTo>
                        <a:pt x="175597" y="22506"/>
                      </a:lnTo>
                      <a:lnTo>
                        <a:pt x="178126" y="13062"/>
                      </a:lnTo>
                      <a:lnTo>
                        <a:pt x="186098" y="13062"/>
                      </a:lnTo>
                      <a:lnTo>
                        <a:pt x="191924" y="5442"/>
                      </a:lnTo>
                      <a:lnTo>
                        <a:pt x="177390" y="3618"/>
                      </a:lnTo>
                      <a:lnTo>
                        <a:pt x="176686" y="3618"/>
                      </a:lnTo>
                      <a:lnTo>
                        <a:pt x="157445" y="22506"/>
                      </a:lnTo>
                      <a:lnTo>
                        <a:pt x="149826" y="18856"/>
                      </a:lnTo>
                      <a:lnTo>
                        <a:pt x="120437" y="36272"/>
                      </a:lnTo>
                      <a:lnTo>
                        <a:pt x="113554" y="31214"/>
                      </a:lnTo>
                      <a:lnTo>
                        <a:pt x="102669" y="33743"/>
                      </a:lnTo>
                      <a:lnTo>
                        <a:pt x="100844" y="44980"/>
                      </a:lnTo>
                      <a:lnTo>
                        <a:pt x="95786" y="46420"/>
                      </a:lnTo>
                      <a:lnTo>
                        <a:pt x="82724" y="38833"/>
                      </a:lnTo>
                      <a:lnTo>
                        <a:pt x="85990" y="26860"/>
                      </a:lnTo>
                      <a:lnTo>
                        <a:pt x="80900" y="16327"/>
                      </a:lnTo>
                      <a:lnTo>
                        <a:pt x="69663" y="18856"/>
                      </a:lnTo>
                      <a:lnTo>
                        <a:pt x="51895" y="9444"/>
                      </a:lnTo>
                      <a:lnTo>
                        <a:pt x="43187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3" name="Forma Livre: Forma 312">
                  <a:extLst>
                    <a:ext uri="{FF2B5EF4-FFF2-40B4-BE49-F238E27FC236}">
                      <a16:creationId xmlns:a16="http://schemas.microsoft.com/office/drawing/2014/main" id="{9A11EC74-2156-D67B-D59C-E1D615BCBA60}"/>
                    </a:ext>
                  </a:extLst>
                </p:cNvPr>
                <p:cNvSpPr/>
                <p:nvPr/>
              </p:nvSpPr>
              <p:spPr>
                <a:xfrm>
                  <a:off x="2481840" y="4510949"/>
                  <a:ext cx="348633" cy="302181"/>
                </a:xfrm>
                <a:custGeom>
                  <a:avLst/>
                  <a:gdLst>
                    <a:gd name="csX0" fmla="*/ 43187 w 348633"/>
                    <a:gd name="csY0" fmla="*/ 0 h 302181"/>
                    <a:gd name="csX1" fmla="*/ 37008 w 348633"/>
                    <a:gd name="csY1" fmla="*/ 6179 h 302181"/>
                    <a:gd name="csX2" fmla="*/ 26860 w 348633"/>
                    <a:gd name="csY2" fmla="*/ 4354 h 302181"/>
                    <a:gd name="csX3" fmla="*/ 18152 w 348633"/>
                    <a:gd name="csY3" fmla="*/ 3618 h 302181"/>
                    <a:gd name="csX4" fmla="*/ 16327 w 348633"/>
                    <a:gd name="csY4" fmla="*/ 9444 h 302181"/>
                    <a:gd name="csX5" fmla="*/ 20681 w 348633"/>
                    <a:gd name="csY5" fmla="*/ 25035 h 302181"/>
                    <a:gd name="csX6" fmla="*/ 18152 w 348633"/>
                    <a:gd name="csY6" fmla="*/ 31918 h 302181"/>
                    <a:gd name="csX7" fmla="*/ 28653 w 348633"/>
                    <a:gd name="csY7" fmla="*/ 43891 h 302181"/>
                    <a:gd name="csX8" fmla="*/ 28653 w 348633"/>
                    <a:gd name="csY8" fmla="*/ 67102 h 302181"/>
                    <a:gd name="csX9" fmla="*/ 15623 w 348633"/>
                    <a:gd name="csY9" fmla="*/ 87783 h 302181"/>
                    <a:gd name="csX10" fmla="*/ 1825 w 348633"/>
                    <a:gd name="csY10" fmla="*/ 90344 h 302181"/>
                    <a:gd name="csX11" fmla="*/ 15623 w 348633"/>
                    <a:gd name="csY11" fmla="*/ 105935 h 302181"/>
                    <a:gd name="csX12" fmla="*/ 11269 w 348633"/>
                    <a:gd name="csY12" fmla="*/ 116435 h 302181"/>
                    <a:gd name="csX13" fmla="*/ 4354 w 348633"/>
                    <a:gd name="csY13" fmla="*/ 117908 h 302181"/>
                    <a:gd name="csX14" fmla="*/ 3650 w 348633"/>
                    <a:gd name="csY14" fmla="*/ 171211 h 302181"/>
                    <a:gd name="csX15" fmla="*/ 0 w 348633"/>
                    <a:gd name="csY15" fmla="*/ 174861 h 302181"/>
                    <a:gd name="csX16" fmla="*/ 16327 w 348633"/>
                    <a:gd name="csY16" fmla="*/ 196246 h 302181"/>
                    <a:gd name="csX17" fmla="*/ 42099 w 348633"/>
                    <a:gd name="csY17" fmla="*/ 175565 h 302181"/>
                    <a:gd name="csX18" fmla="*/ 55865 w 348633"/>
                    <a:gd name="csY18" fmla="*/ 175565 h 302181"/>
                    <a:gd name="csX19" fmla="*/ 75105 w 348633"/>
                    <a:gd name="csY19" fmla="*/ 198807 h 302181"/>
                    <a:gd name="csX20" fmla="*/ 80195 w 348633"/>
                    <a:gd name="csY20" fmla="*/ 207515 h 302181"/>
                    <a:gd name="csX21" fmla="*/ 82724 w 348633"/>
                    <a:gd name="csY21" fmla="*/ 233991 h 302181"/>
                    <a:gd name="csX22" fmla="*/ 95786 w 348633"/>
                    <a:gd name="csY22" fmla="*/ 241963 h 302181"/>
                    <a:gd name="csX23" fmla="*/ 99756 w 348633"/>
                    <a:gd name="csY23" fmla="*/ 252111 h 302181"/>
                    <a:gd name="csX24" fmla="*/ 102669 w 348633"/>
                    <a:gd name="csY24" fmla="*/ 259026 h 302181"/>
                    <a:gd name="csX25" fmla="*/ 94698 w 348633"/>
                    <a:gd name="csY25" fmla="*/ 264084 h 302181"/>
                    <a:gd name="csX26" fmla="*/ 95786 w 348633"/>
                    <a:gd name="csY26" fmla="*/ 270263 h 302181"/>
                    <a:gd name="csX27" fmla="*/ 87815 w 348633"/>
                    <a:gd name="csY27" fmla="*/ 274617 h 302181"/>
                    <a:gd name="csX28" fmla="*/ 99756 w 348633"/>
                    <a:gd name="csY28" fmla="*/ 283325 h 302181"/>
                    <a:gd name="csX29" fmla="*/ 112113 w 348633"/>
                    <a:gd name="csY29" fmla="*/ 270999 h 302181"/>
                    <a:gd name="csX30" fmla="*/ 122262 w 348633"/>
                    <a:gd name="csY30" fmla="*/ 279675 h 302181"/>
                    <a:gd name="csX31" fmla="*/ 133499 w 348633"/>
                    <a:gd name="csY31" fmla="*/ 280764 h 302181"/>
                    <a:gd name="csX32" fmla="*/ 149090 w 348633"/>
                    <a:gd name="csY32" fmla="*/ 290208 h 302181"/>
                    <a:gd name="csX33" fmla="*/ 162888 w 348633"/>
                    <a:gd name="csY33" fmla="*/ 302181 h 302181"/>
                    <a:gd name="csX34" fmla="*/ 175597 w 348633"/>
                    <a:gd name="csY34" fmla="*/ 301092 h 302181"/>
                    <a:gd name="csX35" fmla="*/ 187571 w 348633"/>
                    <a:gd name="csY35" fmla="*/ 288383 h 302181"/>
                    <a:gd name="csX36" fmla="*/ 198807 w 348633"/>
                    <a:gd name="csY36" fmla="*/ 289119 h 302181"/>
                    <a:gd name="csX37" fmla="*/ 223843 w 348633"/>
                    <a:gd name="csY37" fmla="*/ 280764 h 302181"/>
                    <a:gd name="csX38" fmla="*/ 229989 w 348633"/>
                    <a:gd name="csY38" fmla="*/ 279675 h 302181"/>
                    <a:gd name="csX39" fmla="*/ 237609 w 348633"/>
                    <a:gd name="csY39" fmla="*/ 267734 h 302181"/>
                    <a:gd name="csX40" fmla="*/ 242699 w 348633"/>
                    <a:gd name="csY40" fmla="*/ 267734 h 302181"/>
                    <a:gd name="csX41" fmla="*/ 255761 w 348633"/>
                    <a:gd name="csY41" fmla="*/ 266998 h 302181"/>
                    <a:gd name="csX42" fmla="*/ 255761 w 348633"/>
                    <a:gd name="csY42" fmla="*/ 277146 h 302181"/>
                    <a:gd name="csX43" fmla="*/ 267734 w 348633"/>
                    <a:gd name="csY43" fmla="*/ 282236 h 302181"/>
                    <a:gd name="csX44" fmla="*/ 269527 w 348633"/>
                    <a:gd name="csY44" fmla="*/ 284029 h 302181"/>
                    <a:gd name="csX45" fmla="*/ 275353 w 348633"/>
                    <a:gd name="csY45" fmla="*/ 290944 h 302181"/>
                    <a:gd name="csX46" fmla="*/ 289119 w 348633"/>
                    <a:gd name="csY46" fmla="*/ 287294 h 302181"/>
                    <a:gd name="csX47" fmla="*/ 305446 w 348633"/>
                    <a:gd name="csY47" fmla="*/ 272088 h 302181"/>
                    <a:gd name="csX48" fmla="*/ 304006 w 348633"/>
                    <a:gd name="csY48" fmla="*/ 257201 h 302181"/>
                    <a:gd name="csX49" fmla="*/ 322126 w 348633"/>
                    <a:gd name="csY49" fmla="*/ 230726 h 302181"/>
                    <a:gd name="csX50" fmla="*/ 319245 w 348633"/>
                    <a:gd name="csY50" fmla="*/ 225635 h 302181"/>
                    <a:gd name="csX51" fmla="*/ 316683 w 348633"/>
                    <a:gd name="csY51" fmla="*/ 208220 h 302181"/>
                    <a:gd name="csX52" fmla="*/ 321037 w 348633"/>
                    <a:gd name="csY52" fmla="*/ 196246 h 302181"/>
                    <a:gd name="csX53" fmla="*/ 322862 w 348633"/>
                    <a:gd name="csY53" fmla="*/ 191188 h 302181"/>
                    <a:gd name="csX54" fmla="*/ 348634 w 348633"/>
                    <a:gd name="csY54" fmla="*/ 189363 h 302181"/>
                    <a:gd name="csX55" fmla="*/ 336660 w 348633"/>
                    <a:gd name="csY55" fmla="*/ 179919 h 302181"/>
                    <a:gd name="csX56" fmla="*/ 336660 w 348633"/>
                    <a:gd name="csY56" fmla="*/ 153091 h 302181"/>
                    <a:gd name="csX57" fmla="*/ 327216 w 348633"/>
                    <a:gd name="csY57" fmla="*/ 149090 h 302181"/>
                    <a:gd name="csX58" fmla="*/ 317772 w 348633"/>
                    <a:gd name="csY58" fmla="*/ 136764 h 302181"/>
                    <a:gd name="csX59" fmla="*/ 315979 w 348633"/>
                    <a:gd name="csY59" fmla="*/ 135324 h 302181"/>
                    <a:gd name="csX60" fmla="*/ 309096 w 348633"/>
                    <a:gd name="csY60" fmla="*/ 133499 h 302181"/>
                    <a:gd name="csX61" fmla="*/ 302917 w 348633"/>
                    <a:gd name="csY61" fmla="*/ 122262 h 302181"/>
                    <a:gd name="csX62" fmla="*/ 315979 w 348633"/>
                    <a:gd name="csY62" fmla="*/ 110289 h 302181"/>
                    <a:gd name="csX63" fmla="*/ 304742 w 348633"/>
                    <a:gd name="csY63" fmla="*/ 96491 h 302181"/>
                    <a:gd name="csX64" fmla="*/ 295298 w 348633"/>
                    <a:gd name="csY64" fmla="*/ 94698 h 302181"/>
                    <a:gd name="csX65" fmla="*/ 330481 w 348633"/>
                    <a:gd name="csY65" fmla="*/ 81988 h 302181"/>
                    <a:gd name="csX66" fmla="*/ 324687 w 348633"/>
                    <a:gd name="csY66" fmla="*/ 62043 h 302181"/>
                    <a:gd name="csX67" fmla="*/ 323598 w 348633"/>
                    <a:gd name="csY67" fmla="*/ 62043 h 302181"/>
                    <a:gd name="csX68" fmla="*/ 302917 w 348633"/>
                    <a:gd name="csY68" fmla="*/ 60218 h 302181"/>
                    <a:gd name="csX69" fmla="*/ 282236 w 348633"/>
                    <a:gd name="csY69" fmla="*/ 51863 h 302181"/>
                    <a:gd name="csX70" fmla="*/ 265909 w 348633"/>
                    <a:gd name="csY70" fmla="*/ 61307 h 302181"/>
                    <a:gd name="csX71" fmla="*/ 258290 w 348633"/>
                    <a:gd name="csY71" fmla="*/ 58778 h 302181"/>
                    <a:gd name="csX72" fmla="*/ 234343 w 348633"/>
                    <a:gd name="csY72" fmla="*/ 60218 h 302181"/>
                    <a:gd name="csX73" fmla="*/ 225635 w 348633"/>
                    <a:gd name="csY73" fmla="*/ 34479 h 302181"/>
                    <a:gd name="csX74" fmla="*/ 218752 w 348633"/>
                    <a:gd name="csY74" fmla="*/ 29389 h 302181"/>
                    <a:gd name="csX75" fmla="*/ 200632 w 348633"/>
                    <a:gd name="csY75" fmla="*/ 42451 h 302181"/>
                    <a:gd name="csX76" fmla="*/ 187571 w 348633"/>
                    <a:gd name="csY76" fmla="*/ 24299 h 302181"/>
                    <a:gd name="csX77" fmla="*/ 175597 w 348633"/>
                    <a:gd name="csY77" fmla="*/ 22506 h 302181"/>
                    <a:gd name="csX78" fmla="*/ 178126 w 348633"/>
                    <a:gd name="csY78" fmla="*/ 13062 h 302181"/>
                    <a:gd name="csX79" fmla="*/ 186098 w 348633"/>
                    <a:gd name="csY79" fmla="*/ 13062 h 302181"/>
                    <a:gd name="csX80" fmla="*/ 191924 w 348633"/>
                    <a:gd name="csY80" fmla="*/ 5442 h 302181"/>
                    <a:gd name="csX81" fmla="*/ 177390 w 348633"/>
                    <a:gd name="csY81" fmla="*/ 3618 h 302181"/>
                    <a:gd name="csX82" fmla="*/ 176686 w 348633"/>
                    <a:gd name="csY82" fmla="*/ 3618 h 302181"/>
                    <a:gd name="csX83" fmla="*/ 157445 w 348633"/>
                    <a:gd name="csY83" fmla="*/ 22506 h 302181"/>
                    <a:gd name="csX84" fmla="*/ 149826 w 348633"/>
                    <a:gd name="csY84" fmla="*/ 18856 h 302181"/>
                    <a:gd name="csX85" fmla="*/ 120437 w 348633"/>
                    <a:gd name="csY85" fmla="*/ 36272 h 302181"/>
                    <a:gd name="csX86" fmla="*/ 113554 w 348633"/>
                    <a:gd name="csY86" fmla="*/ 31214 h 302181"/>
                    <a:gd name="csX87" fmla="*/ 102669 w 348633"/>
                    <a:gd name="csY87" fmla="*/ 33743 h 302181"/>
                    <a:gd name="csX88" fmla="*/ 100844 w 348633"/>
                    <a:gd name="csY88" fmla="*/ 44980 h 302181"/>
                    <a:gd name="csX89" fmla="*/ 95786 w 348633"/>
                    <a:gd name="csY89" fmla="*/ 46420 h 302181"/>
                    <a:gd name="csX90" fmla="*/ 82724 w 348633"/>
                    <a:gd name="csY90" fmla="*/ 38833 h 302181"/>
                    <a:gd name="csX91" fmla="*/ 85990 w 348633"/>
                    <a:gd name="csY91" fmla="*/ 26860 h 302181"/>
                    <a:gd name="csX92" fmla="*/ 80900 w 348633"/>
                    <a:gd name="csY92" fmla="*/ 16327 h 302181"/>
                    <a:gd name="csX93" fmla="*/ 69663 w 348633"/>
                    <a:gd name="csY93" fmla="*/ 18856 h 302181"/>
                    <a:gd name="csX94" fmla="*/ 51895 w 348633"/>
                    <a:gd name="csY94" fmla="*/ 9444 h 302181"/>
                    <a:gd name="csX95" fmla="*/ 43187 w 348633"/>
                    <a:gd name="csY95" fmla="*/ 0 h 3021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348633" h="302181">
                      <a:moveTo>
                        <a:pt x="43187" y="0"/>
                      </a:moveTo>
                      <a:lnTo>
                        <a:pt x="37008" y="6179"/>
                      </a:lnTo>
                      <a:lnTo>
                        <a:pt x="26860" y="4354"/>
                      </a:lnTo>
                      <a:lnTo>
                        <a:pt x="18152" y="3618"/>
                      </a:lnTo>
                      <a:lnTo>
                        <a:pt x="16327" y="9444"/>
                      </a:lnTo>
                      <a:lnTo>
                        <a:pt x="20681" y="25035"/>
                      </a:lnTo>
                      <a:lnTo>
                        <a:pt x="18152" y="31918"/>
                      </a:lnTo>
                      <a:lnTo>
                        <a:pt x="28653" y="43891"/>
                      </a:lnTo>
                      <a:lnTo>
                        <a:pt x="28653" y="67102"/>
                      </a:lnTo>
                      <a:lnTo>
                        <a:pt x="15623" y="87783"/>
                      </a:lnTo>
                      <a:lnTo>
                        <a:pt x="1825" y="90344"/>
                      </a:lnTo>
                      <a:lnTo>
                        <a:pt x="15623" y="105935"/>
                      </a:lnTo>
                      <a:lnTo>
                        <a:pt x="11269" y="116435"/>
                      </a:lnTo>
                      <a:lnTo>
                        <a:pt x="4354" y="117908"/>
                      </a:lnTo>
                      <a:lnTo>
                        <a:pt x="3650" y="171211"/>
                      </a:lnTo>
                      <a:lnTo>
                        <a:pt x="0" y="174861"/>
                      </a:lnTo>
                      <a:lnTo>
                        <a:pt x="16327" y="196246"/>
                      </a:lnTo>
                      <a:lnTo>
                        <a:pt x="42099" y="175565"/>
                      </a:lnTo>
                      <a:lnTo>
                        <a:pt x="55865" y="175565"/>
                      </a:lnTo>
                      <a:lnTo>
                        <a:pt x="75105" y="198807"/>
                      </a:lnTo>
                      <a:lnTo>
                        <a:pt x="80195" y="207515"/>
                      </a:lnTo>
                      <a:lnTo>
                        <a:pt x="82724" y="233991"/>
                      </a:lnTo>
                      <a:lnTo>
                        <a:pt x="95786" y="241963"/>
                      </a:lnTo>
                      <a:lnTo>
                        <a:pt x="99756" y="252111"/>
                      </a:lnTo>
                      <a:lnTo>
                        <a:pt x="102669" y="259026"/>
                      </a:lnTo>
                      <a:lnTo>
                        <a:pt x="94698" y="264084"/>
                      </a:lnTo>
                      <a:lnTo>
                        <a:pt x="95786" y="270263"/>
                      </a:lnTo>
                      <a:lnTo>
                        <a:pt x="87815" y="274617"/>
                      </a:lnTo>
                      <a:lnTo>
                        <a:pt x="99756" y="283325"/>
                      </a:lnTo>
                      <a:lnTo>
                        <a:pt x="112113" y="270999"/>
                      </a:lnTo>
                      <a:lnTo>
                        <a:pt x="122262" y="279675"/>
                      </a:lnTo>
                      <a:lnTo>
                        <a:pt x="133499" y="280764"/>
                      </a:lnTo>
                      <a:lnTo>
                        <a:pt x="149090" y="290208"/>
                      </a:lnTo>
                      <a:lnTo>
                        <a:pt x="162888" y="302181"/>
                      </a:lnTo>
                      <a:lnTo>
                        <a:pt x="175597" y="301092"/>
                      </a:lnTo>
                      <a:lnTo>
                        <a:pt x="187571" y="288383"/>
                      </a:lnTo>
                      <a:lnTo>
                        <a:pt x="198807" y="289119"/>
                      </a:lnTo>
                      <a:lnTo>
                        <a:pt x="223843" y="280764"/>
                      </a:lnTo>
                      <a:lnTo>
                        <a:pt x="229989" y="279675"/>
                      </a:lnTo>
                      <a:lnTo>
                        <a:pt x="237609" y="267734"/>
                      </a:lnTo>
                      <a:lnTo>
                        <a:pt x="242699" y="267734"/>
                      </a:lnTo>
                      <a:lnTo>
                        <a:pt x="255761" y="266998"/>
                      </a:lnTo>
                      <a:lnTo>
                        <a:pt x="255761" y="277146"/>
                      </a:lnTo>
                      <a:lnTo>
                        <a:pt x="267734" y="282236"/>
                      </a:lnTo>
                      <a:lnTo>
                        <a:pt x="269527" y="284029"/>
                      </a:lnTo>
                      <a:lnTo>
                        <a:pt x="275353" y="290944"/>
                      </a:lnTo>
                      <a:lnTo>
                        <a:pt x="289119" y="287294"/>
                      </a:lnTo>
                      <a:lnTo>
                        <a:pt x="305446" y="272088"/>
                      </a:lnTo>
                      <a:lnTo>
                        <a:pt x="304006" y="257201"/>
                      </a:lnTo>
                      <a:lnTo>
                        <a:pt x="322126" y="230726"/>
                      </a:lnTo>
                      <a:lnTo>
                        <a:pt x="319245" y="225635"/>
                      </a:lnTo>
                      <a:lnTo>
                        <a:pt x="316683" y="208220"/>
                      </a:lnTo>
                      <a:lnTo>
                        <a:pt x="321037" y="196246"/>
                      </a:lnTo>
                      <a:lnTo>
                        <a:pt x="322862" y="191188"/>
                      </a:lnTo>
                      <a:lnTo>
                        <a:pt x="348634" y="189363"/>
                      </a:lnTo>
                      <a:lnTo>
                        <a:pt x="336660" y="179919"/>
                      </a:lnTo>
                      <a:lnTo>
                        <a:pt x="336660" y="153091"/>
                      </a:lnTo>
                      <a:lnTo>
                        <a:pt x="327216" y="149090"/>
                      </a:lnTo>
                      <a:lnTo>
                        <a:pt x="317772" y="136764"/>
                      </a:lnTo>
                      <a:lnTo>
                        <a:pt x="315979" y="135324"/>
                      </a:lnTo>
                      <a:lnTo>
                        <a:pt x="309096" y="133499"/>
                      </a:lnTo>
                      <a:lnTo>
                        <a:pt x="302917" y="122262"/>
                      </a:lnTo>
                      <a:lnTo>
                        <a:pt x="315979" y="110289"/>
                      </a:lnTo>
                      <a:lnTo>
                        <a:pt x="304742" y="96491"/>
                      </a:lnTo>
                      <a:lnTo>
                        <a:pt x="295298" y="94698"/>
                      </a:lnTo>
                      <a:lnTo>
                        <a:pt x="330481" y="81988"/>
                      </a:lnTo>
                      <a:lnTo>
                        <a:pt x="324687" y="62043"/>
                      </a:lnTo>
                      <a:lnTo>
                        <a:pt x="323598" y="62043"/>
                      </a:lnTo>
                      <a:lnTo>
                        <a:pt x="302917" y="60218"/>
                      </a:lnTo>
                      <a:lnTo>
                        <a:pt x="282236" y="51863"/>
                      </a:lnTo>
                      <a:lnTo>
                        <a:pt x="265909" y="61307"/>
                      </a:lnTo>
                      <a:lnTo>
                        <a:pt x="258290" y="58778"/>
                      </a:lnTo>
                      <a:lnTo>
                        <a:pt x="234343" y="60218"/>
                      </a:lnTo>
                      <a:lnTo>
                        <a:pt x="225635" y="34479"/>
                      </a:lnTo>
                      <a:lnTo>
                        <a:pt x="218752" y="29389"/>
                      </a:lnTo>
                      <a:lnTo>
                        <a:pt x="200632" y="42451"/>
                      </a:lnTo>
                      <a:lnTo>
                        <a:pt x="187571" y="24299"/>
                      </a:lnTo>
                      <a:lnTo>
                        <a:pt x="175597" y="22506"/>
                      </a:lnTo>
                      <a:lnTo>
                        <a:pt x="178126" y="13062"/>
                      </a:lnTo>
                      <a:lnTo>
                        <a:pt x="186098" y="13062"/>
                      </a:lnTo>
                      <a:lnTo>
                        <a:pt x="191924" y="5442"/>
                      </a:lnTo>
                      <a:lnTo>
                        <a:pt x="177390" y="3618"/>
                      </a:lnTo>
                      <a:lnTo>
                        <a:pt x="176686" y="3618"/>
                      </a:lnTo>
                      <a:lnTo>
                        <a:pt x="157445" y="22506"/>
                      </a:lnTo>
                      <a:lnTo>
                        <a:pt x="149826" y="18856"/>
                      </a:lnTo>
                      <a:lnTo>
                        <a:pt x="120437" y="36272"/>
                      </a:lnTo>
                      <a:lnTo>
                        <a:pt x="113554" y="31214"/>
                      </a:lnTo>
                      <a:lnTo>
                        <a:pt x="102669" y="33743"/>
                      </a:lnTo>
                      <a:lnTo>
                        <a:pt x="100844" y="44980"/>
                      </a:lnTo>
                      <a:lnTo>
                        <a:pt x="95786" y="46420"/>
                      </a:lnTo>
                      <a:lnTo>
                        <a:pt x="82724" y="38833"/>
                      </a:lnTo>
                      <a:lnTo>
                        <a:pt x="85990" y="26860"/>
                      </a:lnTo>
                      <a:lnTo>
                        <a:pt x="80900" y="16327"/>
                      </a:lnTo>
                      <a:lnTo>
                        <a:pt x="69663" y="18856"/>
                      </a:lnTo>
                      <a:lnTo>
                        <a:pt x="51895" y="9444"/>
                      </a:lnTo>
                      <a:lnTo>
                        <a:pt x="43187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4" name="Forma Livre: Forma 313">
                  <a:extLst>
                    <a:ext uri="{FF2B5EF4-FFF2-40B4-BE49-F238E27FC236}">
                      <a16:creationId xmlns:a16="http://schemas.microsoft.com/office/drawing/2014/main" id="{AB591821-1D1C-2311-06AF-3D9A0FE99C3A}"/>
                    </a:ext>
                  </a:extLst>
                </p:cNvPr>
                <p:cNvSpPr/>
                <p:nvPr/>
              </p:nvSpPr>
              <p:spPr>
                <a:xfrm>
                  <a:off x="3353936" y="3497415"/>
                  <a:ext cx="1116203" cy="917395"/>
                </a:xfrm>
                <a:custGeom>
                  <a:avLst/>
                  <a:gdLst>
                    <a:gd name="csX0" fmla="*/ 751243 w 1116203"/>
                    <a:gd name="csY0" fmla="*/ 40626 h 917395"/>
                    <a:gd name="csX1" fmla="*/ 740742 w 1116203"/>
                    <a:gd name="csY1" fmla="*/ 37008 h 917395"/>
                    <a:gd name="csX2" fmla="*/ 726944 w 1116203"/>
                    <a:gd name="csY2" fmla="*/ 16327 h 917395"/>
                    <a:gd name="csX3" fmla="*/ 703734 w 1116203"/>
                    <a:gd name="csY3" fmla="*/ 1088 h 917395"/>
                    <a:gd name="csX4" fmla="*/ 702997 w 1116203"/>
                    <a:gd name="csY4" fmla="*/ 0 h 917395"/>
                    <a:gd name="csX5" fmla="*/ 699380 w 1116203"/>
                    <a:gd name="csY5" fmla="*/ 1088 h 917395"/>
                    <a:gd name="csX6" fmla="*/ 672904 w 1116203"/>
                    <a:gd name="csY6" fmla="*/ 56217 h 917395"/>
                    <a:gd name="csX7" fmla="*/ 691760 w 1116203"/>
                    <a:gd name="csY7" fmla="*/ 67102 h 917395"/>
                    <a:gd name="csX8" fmla="*/ 705559 w 1116203"/>
                    <a:gd name="csY8" fmla="*/ 62043 h 917395"/>
                    <a:gd name="csX9" fmla="*/ 717532 w 1116203"/>
                    <a:gd name="csY9" fmla="*/ 68190 h 917395"/>
                    <a:gd name="csX10" fmla="*/ 696851 w 1116203"/>
                    <a:gd name="csY10" fmla="*/ 70719 h 917395"/>
                    <a:gd name="csX11" fmla="*/ 683053 w 1116203"/>
                    <a:gd name="csY11" fmla="*/ 77634 h 917395"/>
                    <a:gd name="csX12" fmla="*/ 676170 w 1116203"/>
                    <a:gd name="csY12" fmla="*/ 75073 h 917395"/>
                    <a:gd name="csX13" fmla="*/ 660931 w 1116203"/>
                    <a:gd name="csY13" fmla="*/ 84517 h 917395"/>
                    <a:gd name="csX14" fmla="*/ 657313 w 1116203"/>
                    <a:gd name="csY14" fmla="*/ 87783 h 917395"/>
                    <a:gd name="csX15" fmla="*/ 642779 w 1116203"/>
                    <a:gd name="csY15" fmla="*/ 117172 h 917395"/>
                    <a:gd name="csX16" fmla="*/ 607595 w 1116203"/>
                    <a:gd name="csY16" fmla="*/ 188627 h 917395"/>
                    <a:gd name="csX17" fmla="*/ 605803 w 1116203"/>
                    <a:gd name="csY17" fmla="*/ 191156 h 917395"/>
                    <a:gd name="csX18" fmla="*/ 603242 w 1116203"/>
                    <a:gd name="csY18" fmla="*/ 196246 h 917395"/>
                    <a:gd name="csX19" fmla="*/ 602153 w 1116203"/>
                    <a:gd name="csY19" fmla="*/ 198071 h 917395"/>
                    <a:gd name="csX20" fmla="*/ 590180 w 1116203"/>
                    <a:gd name="csY20" fmla="*/ 221986 h 917395"/>
                    <a:gd name="csX21" fmla="*/ 586914 w 1116203"/>
                    <a:gd name="csY21" fmla="*/ 230694 h 917395"/>
                    <a:gd name="csX22" fmla="*/ 610157 w 1116203"/>
                    <a:gd name="csY22" fmla="*/ 230694 h 917395"/>
                    <a:gd name="csX23" fmla="*/ 632278 w 1116203"/>
                    <a:gd name="csY23" fmla="*/ 238313 h 917395"/>
                    <a:gd name="csX24" fmla="*/ 649694 w 1116203"/>
                    <a:gd name="csY24" fmla="*/ 253199 h 917395"/>
                    <a:gd name="csX25" fmla="*/ 654048 w 1116203"/>
                    <a:gd name="csY25" fmla="*/ 251375 h 917395"/>
                    <a:gd name="csX26" fmla="*/ 591268 w 1116203"/>
                    <a:gd name="csY26" fmla="*/ 318508 h 917395"/>
                    <a:gd name="csX27" fmla="*/ 592005 w 1116203"/>
                    <a:gd name="csY27" fmla="*/ 305446 h 917395"/>
                    <a:gd name="csX28" fmla="*/ 573853 w 1116203"/>
                    <a:gd name="csY28" fmla="*/ 301445 h 917395"/>
                    <a:gd name="csX29" fmla="*/ 564441 w 1116203"/>
                    <a:gd name="csY29" fmla="*/ 283293 h 917395"/>
                    <a:gd name="csX30" fmla="*/ 543023 w 1116203"/>
                    <a:gd name="csY30" fmla="*/ 286558 h 917395"/>
                    <a:gd name="csX31" fmla="*/ 550642 w 1116203"/>
                    <a:gd name="csY31" fmla="*/ 299620 h 917395"/>
                    <a:gd name="csX32" fmla="*/ 547377 w 1116203"/>
                    <a:gd name="csY32" fmla="*/ 310889 h 917395"/>
                    <a:gd name="csX33" fmla="*/ 506751 w 1116203"/>
                    <a:gd name="csY33" fmla="*/ 294562 h 917395"/>
                    <a:gd name="csX34" fmla="*/ 494778 w 1116203"/>
                    <a:gd name="csY34" fmla="*/ 263348 h 917395"/>
                    <a:gd name="csX35" fmla="*/ 448357 w 1116203"/>
                    <a:gd name="csY35" fmla="*/ 260819 h 917395"/>
                    <a:gd name="csX36" fmla="*/ 449798 w 1116203"/>
                    <a:gd name="csY36" fmla="*/ 293473 h 917395"/>
                    <a:gd name="csX37" fmla="*/ 452711 w 1116203"/>
                    <a:gd name="csY37" fmla="*/ 306535 h 917395"/>
                    <a:gd name="csX38" fmla="*/ 461035 w 1116203"/>
                    <a:gd name="csY38" fmla="*/ 316683 h 917395"/>
                    <a:gd name="csX39" fmla="*/ 448357 w 1116203"/>
                    <a:gd name="csY39" fmla="*/ 390668 h 917395"/>
                    <a:gd name="csX40" fmla="*/ 447269 w 1116203"/>
                    <a:gd name="csY40" fmla="*/ 391757 h 917395"/>
                    <a:gd name="csX41" fmla="*/ 432767 w 1116203"/>
                    <a:gd name="csY41" fmla="*/ 460331 h 917395"/>
                    <a:gd name="csX42" fmla="*/ 388875 w 1116203"/>
                    <a:gd name="csY42" fmla="*/ 477746 h 917395"/>
                    <a:gd name="csX43" fmla="*/ 340630 w 1116203"/>
                    <a:gd name="csY43" fmla="*/ 495898 h 917395"/>
                    <a:gd name="csX44" fmla="*/ 338805 w 1116203"/>
                    <a:gd name="csY44" fmla="*/ 487191 h 917395"/>
                    <a:gd name="csX45" fmla="*/ 325007 w 1116203"/>
                    <a:gd name="csY45" fmla="*/ 489720 h 917395"/>
                    <a:gd name="csX46" fmla="*/ 307976 w 1116203"/>
                    <a:gd name="csY46" fmla="*/ 478483 h 917395"/>
                    <a:gd name="csX47" fmla="*/ 301797 w 1116203"/>
                    <a:gd name="csY47" fmla="*/ 427676 h 917395"/>
                    <a:gd name="csX48" fmla="*/ 289824 w 1116203"/>
                    <a:gd name="csY48" fmla="*/ 459594 h 917395"/>
                    <a:gd name="csX49" fmla="*/ 270967 w 1116203"/>
                    <a:gd name="csY49" fmla="*/ 506047 h 917395"/>
                    <a:gd name="csX50" fmla="*/ 256465 w 1116203"/>
                    <a:gd name="csY50" fmla="*/ 492985 h 917395"/>
                    <a:gd name="csX51" fmla="*/ 258994 w 1116203"/>
                    <a:gd name="csY51" fmla="*/ 485366 h 917395"/>
                    <a:gd name="csX52" fmla="*/ 255376 w 1116203"/>
                    <a:gd name="csY52" fmla="*/ 479187 h 917395"/>
                    <a:gd name="csX53" fmla="*/ 239049 w 1116203"/>
                    <a:gd name="csY53" fmla="*/ 474129 h 917395"/>
                    <a:gd name="csX54" fmla="*/ 233959 w 1116203"/>
                    <a:gd name="csY54" fmla="*/ 480275 h 917395"/>
                    <a:gd name="csX55" fmla="*/ 217632 w 1116203"/>
                    <a:gd name="csY55" fmla="*/ 474129 h 917395"/>
                    <a:gd name="csX56" fmla="*/ 208924 w 1116203"/>
                    <a:gd name="csY56" fmla="*/ 486102 h 917395"/>
                    <a:gd name="csX57" fmla="*/ 197687 w 1116203"/>
                    <a:gd name="csY57" fmla="*/ 484629 h 917395"/>
                    <a:gd name="csX58" fmla="*/ 201305 w 1116203"/>
                    <a:gd name="csY58" fmla="*/ 489720 h 917395"/>
                    <a:gd name="csX59" fmla="*/ 196951 w 1116203"/>
                    <a:gd name="csY59" fmla="*/ 496603 h 917395"/>
                    <a:gd name="csX60" fmla="*/ 179535 w 1116203"/>
                    <a:gd name="csY60" fmla="*/ 494810 h 917395"/>
                    <a:gd name="csX61" fmla="*/ 174477 w 1116203"/>
                    <a:gd name="csY61" fmla="*/ 490456 h 917395"/>
                    <a:gd name="csX62" fmla="*/ 175565 w 1116203"/>
                    <a:gd name="csY62" fmla="*/ 467214 h 917395"/>
                    <a:gd name="csX63" fmla="*/ 171211 w 1116203"/>
                    <a:gd name="csY63" fmla="*/ 465773 h 917395"/>
                    <a:gd name="csX64" fmla="*/ 166121 w 1116203"/>
                    <a:gd name="csY64" fmla="*/ 468302 h 917395"/>
                    <a:gd name="csX65" fmla="*/ 151267 w 1116203"/>
                    <a:gd name="csY65" fmla="*/ 437120 h 917395"/>
                    <a:gd name="csX66" fmla="*/ 130585 w 1116203"/>
                    <a:gd name="csY66" fmla="*/ 434591 h 917395"/>
                    <a:gd name="csX67" fmla="*/ 127320 w 1116203"/>
                    <a:gd name="csY67" fmla="*/ 425883 h 917395"/>
                    <a:gd name="csX68" fmla="*/ 131674 w 1116203"/>
                    <a:gd name="csY68" fmla="*/ 414999 h 917395"/>
                    <a:gd name="csX69" fmla="*/ 144351 w 1116203"/>
                    <a:gd name="csY69" fmla="*/ 403730 h 917395"/>
                    <a:gd name="csX70" fmla="*/ 153059 w 1116203"/>
                    <a:gd name="csY70" fmla="*/ 375077 h 917395"/>
                    <a:gd name="csX71" fmla="*/ 148706 w 1116203"/>
                    <a:gd name="csY71" fmla="*/ 367458 h 917395"/>
                    <a:gd name="csX72" fmla="*/ 160679 w 1116203"/>
                    <a:gd name="csY72" fmla="*/ 358750 h 917395"/>
                    <a:gd name="csX73" fmla="*/ 146176 w 1116203"/>
                    <a:gd name="csY73" fmla="*/ 358750 h 917395"/>
                    <a:gd name="csX74" fmla="*/ 135644 w 1116203"/>
                    <a:gd name="csY74" fmla="*/ 366754 h 917395"/>
                    <a:gd name="csX75" fmla="*/ 134939 w 1116203"/>
                    <a:gd name="csY75" fmla="*/ 349338 h 917395"/>
                    <a:gd name="csX76" fmla="*/ 130585 w 1116203"/>
                    <a:gd name="csY76" fmla="*/ 350426 h 917395"/>
                    <a:gd name="csX77" fmla="*/ 120405 w 1116203"/>
                    <a:gd name="csY77" fmla="*/ 366754 h 917395"/>
                    <a:gd name="csX78" fmla="*/ 126232 w 1116203"/>
                    <a:gd name="csY78" fmla="*/ 378727 h 917395"/>
                    <a:gd name="csX79" fmla="*/ 116051 w 1116203"/>
                    <a:gd name="csY79" fmla="*/ 392493 h 917395"/>
                    <a:gd name="csX80" fmla="*/ 105550 w 1116203"/>
                    <a:gd name="csY80" fmla="*/ 392493 h 917395"/>
                    <a:gd name="csX81" fmla="*/ 100460 w 1116203"/>
                    <a:gd name="csY81" fmla="*/ 377990 h 917395"/>
                    <a:gd name="csX82" fmla="*/ 91752 w 1116203"/>
                    <a:gd name="csY82" fmla="*/ 376165 h 917395"/>
                    <a:gd name="csX83" fmla="*/ 85958 w 1116203"/>
                    <a:gd name="csY83" fmla="*/ 387435 h 917395"/>
                    <a:gd name="csX84" fmla="*/ 67806 w 1116203"/>
                    <a:gd name="csY84" fmla="*/ 394318 h 917395"/>
                    <a:gd name="csX85" fmla="*/ 62748 w 1116203"/>
                    <a:gd name="csY85" fmla="*/ 387435 h 917395"/>
                    <a:gd name="csX86" fmla="*/ 54040 w 1116203"/>
                    <a:gd name="csY86" fmla="*/ 386346 h 917395"/>
                    <a:gd name="csX87" fmla="*/ 52215 w 1116203"/>
                    <a:gd name="csY87" fmla="*/ 401201 h 917395"/>
                    <a:gd name="csX88" fmla="*/ 30093 w 1116203"/>
                    <a:gd name="csY88" fmla="*/ 413174 h 917395"/>
                    <a:gd name="csX89" fmla="*/ 29005 w 1116203"/>
                    <a:gd name="csY89" fmla="*/ 417528 h 917395"/>
                    <a:gd name="csX90" fmla="*/ 21385 w 1116203"/>
                    <a:gd name="csY90" fmla="*/ 436384 h 917395"/>
                    <a:gd name="csX91" fmla="*/ 6883 w 1116203"/>
                    <a:gd name="csY91" fmla="*/ 445828 h 917395"/>
                    <a:gd name="csX92" fmla="*/ 0 w 1116203"/>
                    <a:gd name="csY92" fmla="*/ 460331 h 917395"/>
                    <a:gd name="csX93" fmla="*/ 6883 w 1116203"/>
                    <a:gd name="csY93" fmla="*/ 465773 h 917395"/>
                    <a:gd name="csX94" fmla="*/ 20649 w 1116203"/>
                    <a:gd name="csY94" fmla="*/ 462155 h 917395"/>
                    <a:gd name="csX95" fmla="*/ 39537 w 1116203"/>
                    <a:gd name="csY95" fmla="*/ 479187 h 917395"/>
                    <a:gd name="csX96" fmla="*/ 47861 w 1116203"/>
                    <a:gd name="csY96" fmla="*/ 487895 h 917395"/>
                    <a:gd name="csX97" fmla="*/ 45332 w 1116203"/>
                    <a:gd name="csY97" fmla="*/ 491544 h 917395"/>
                    <a:gd name="csX98" fmla="*/ 49686 w 1116203"/>
                    <a:gd name="csY98" fmla="*/ 498427 h 917395"/>
                    <a:gd name="csX99" fmla="*/ 67806 w 1116203"/>
                    <a:gd name="csY99" fmla="*/ 490456 h 917395"/>
                    <a:gd name="csX100" fmla="*/ 69631 w 1116203"/>
                    <a:gd name="csY100" fmla="*/ 514755 h 917395"/>
                    <a:gd name="csX101" fmla="*/ 101549 w 1116203"/>
                    <a:gd name="csY101" fmla="*/ 538701 h 917395"/>
                    <a:gd name="csX102" fmla="*/ 97195 w 1116203"/>
                    <a:gd name="csY102" fmla="*/ 558646 h 917395"/>
                    <a:gd name="csX103" fmla="*/ 109168 w 1116203"/>
                    <a:gd name="csY103" fmla="*/ 571323 h 917395"/>
                    <a:gd name="csX104" fmla="*/ 115347 w 1116203"/>
                    <a:gd name="csY104" fmla="*/ 572412 h 917395"/>
                    <a:gd name="csX105" fmla="*/ 128024 w 1116203"/>
                    <a:gd name="csY105" fmla="*/ 583297 h 917395"/>
                    <a:gd name="csX106" fmla="*/ 117876 w 1116203"/>
                    <a:gd name="csY106" fmla="*/ 589475 h 917395"/>
                    <a:gd name="csX107" fmla="*/ 111697 w 1116203"/>
                    <a:gd name="csY107" fmla="*/ 603978 h 917395"/>
                    <a:gd name="csX108" fmla="*/ 116051 w 1116203"/>
                    <a:gd name="csY108" fmla="*/ 606507 h 917395"/>
                    <a:gd name="csX109" fmla="*/ 109168 w 1116203"/>
                    <a:gd name="csY109" fmla="*/ 617776 h 917395"/>
                    <a:gd name="csX110" fmla="*/ 119316 w 1116203"/>
                    <a:gd name="csY110" fmla="*/ 617040 h 917395"/>
                    <a:gd name="csX111" fmla="*/ 124759 w 1116203"/>
                    <a:gd name="csY111" fmla="*/ 621394 h 917395"/>
                    <a:gd name="csX112" fmla="*/ 130585 w 1116203"/>
                    <a:gd name="csY112" fmla="*/ 658402 h 917395"/>
                    <a:gd name="csX113" fmla="*/ 145440 w 1116203"/>
                    <a:gd name="csY113" fmla="*/ 672904 h 917395"/>
                    <a:gd name="csX114" fmla="*/ 163240 w 1116203"/>
                    <a:gd name="csY114" fmla="*/ 683437 h 917395"/>
                    <a:gd name="csX115" fmla="*/ 182448 w 1116203"/>
                    <a:gd name="csY115" fmla="*/ 683437 h 917395"/>
                    <a:gd name="csX116" fmla="*/ 208220 w 1116203"/>
                    <a:gd name="csY116" fmla="*/ 716091 h 917395"/>
                    <a:gd name="csX117" fmla="*/ 208220 w 1116203"/>
                    <a:gd name="csY117" fmla="*/ 716795 h 917395"/>
                    <a:gd name="csX118" fmla="*/ 208924 w 1116203"/>
                    <a:gd name="csY118" fmla="*/ 730594 h 917395"/>
                    <a:gd name="csX119" fmla="*/ 215103 w 1116203"/>
                    <a:gd name="csY119" fmla="*/ 735652 h 917395"/>
                    <a:gd name="csX120" fmla="*/ 210749 w 1116203"/>
                    <a:gd name="csY120" fmla="*/ 743655 h 917395"/>
                    <a:gd name="csX121" fmla="*/ 187538 w 1116203"/>
                    <a:gd name="csY121" fmla="*/ 754540 h 917395"/>
                    <a:gd name="csX122" fmla="*/ 189331 w 1116203"/>
                    <a:gd name="csY122" fmla="*/ 771956 h 917395"/>
                    <a:gd name="csX123" fmla="*/ 210012 w 1116203"/>
                    <a:gd name="csY123" fmla="*/ 795166 h 917395"/>
                    <a:gd name="csX124" fmla="*/ 205659 w 1116203"/>
                    <a:gd name="csY124" fmla="*/ 800224 h 917395"/>
                    <a:gd name="csX125" fmla="*/ 212573 w 1116203"/>
                    <a:gd name="csY125" fmla="*/ 825259 h 917395"/>
                    <a:gd name="csX126" fmla="*/ 205659 w 1116203"/>
                    <a:gd name="csY126" fmla="*/ 827084 h 917395"/>
                    <a:gd name="csX127" fmla="*/ 204570 w 1116203"/>
                    <a:gd name="csY127" fmla="*/ 832174 h 917395"/>
                    <a:gd name="csX128" fmla="*/ 211485 w 1116203"/>
                    <a:gd name="csY128" fmla="*/ 833967 h 917395"/>
                    <a:gd name="csX129" fmla="*/ 207131 w 1116203"/>
                    <a:gd name="csY129" fmla="*/ 857914 h 917395"/>
                    <a:gd name="csX130" fmla="*/ 212573 w 1116203"/>
                    <a:gd name="csY130" fmla="*/ 872416 h 917395"/>
                    <a:gd name="csX131" fmla="*/ 220193 w 1116203"/>
                    <a:gd name="csY131" fmla="*/ 877858 h 917395"/>
                    <a:gd name="csX132" fmla="*/ 228901 w 1116203"/>
                    <a:gd name="csY132" fmla="*/ 895626 h 917395"/>
                    <a:gd name="csX133" fmla="*/ 240138 w 1116203"/>
                    <a:gd name="csY133" fmla="*/ 890568 h 917395"/>
                    <a:gd name="csX134" fmla="*/ 245932 w 1116203"/>
                    <a:gd name="csY134" fmla="*/ 871712 h 917395"/>
                    <a:gd name="csX135" fmla="*/ 261523 w 1116203"/>
                    <a:gd name="csY135" fmla="*/ 857914 h 917395"/>
                    <a:gd name="csX136" fmla="*/ 299268 w 1116203"/>
                    <a:gd name="csY136" fmla="*/ 883685 h 917395"/>
                    <a:gd name="csX137" fmla="*/ 293441 w 1116203"/>
                    <a:gd name="csY137" fmla="*/ 865533 h 917395"/>
                    <a:gd name="csX138" fmla="*/ 321037 w 1116203"/>
                    <a:gd name="csY138" fmla="*/ 848469 h 917395"/>
                    <a:gd name="csX139" fmla="*/ 319212 w 1116203"/>
                    <a:gd name="csY139" fmla="*/ 834703 h 917395"/>
                    <a:gd name="csX140" fmla="*/ 341718 w 1116203"/>
                    <a:gd name="csY140" fmla="*/ 832879 h 917395"/>
                    <a:gd name="csX141" fmla="*/ 349306 w 1116203"/>
                    <a:gd name="csY141" fmla="*/ 815847 h 917395"/>
                    <a:gd name="csX142" fmla="*/ 360575 w 1116203"/>
                    <a:gd name="csY142" fmla="*/ 810757 h 917395"/>
                    <a:gd name="csX143" fmla="*/ 363840 w 1116203"/>
                    <a:gd name="csY143" fmla="*/ 799520 h 917395"/>
                    <a:gd name="csX144" fmla="*/ 385610 w 1116203"/>
                    <a:gd name="csY144" fmla="*/ 794430 h 917395"/>
                    <a:gd name="csX145" fmla="*/ 401905 w 1116203"/>
                    <a:gd name="csY145" fmla="*/ 781368 h 917395"/>
                    <a:gd name="csX146" fmla="*/ 418232 w 1116203"/>
                    <a:gd name="csY146" fmla="*/ 780632 h 917395"/>
                    <a:gd name="csX147" fmla="*/ 425851 w 1116203"/>
                    <a:gd name="csY147" fmla="*/ 783193 h 917395"/>
                    <a:gd name="csX148" fmla="*/ 437120 w 1116203"/>
                    <a:gd name="csY148" fmla="*/ 771956 h 917395"/>
                    <a:gd name="csX149" fmla="*/ 438913 w 1116203"/>
                    <a:gd name="csY149" fmla="*/ 764336 h 917395"/>
                    <a:gd name="csX150" fmla="*/ 448357 w 1116203"/>
                    <a:gd name="csY150" fmla="*/ 763248 h 917395"/>
                    <a:gd name="csX151" fmla="*/ 449094 w 1116203"/>
                    <a:gd name="csY151" fmla="*/ 757421 h 917395"/>
                    <a:gd name="csX152" fmla="*/ 458506 w 1116203"/>
                    <a:gd name="csY152" fmla="*/ 751275 h 917395"/>
                    <a:gd name="csX153" fmla="*/ 469743 w 1116203"/>
                    <a:gd name="csY153" fmla="*/ 749450 h 917395"/>
                    <a:gd name="csX154" fmla="*/ 478451 w 1116203"/>
                    <a:gd name="csY154" fmla="*/ 746921 h 917395"/>
                    <a:gd name="csX155" fmla="*/ 481716 w 1116203"/>
                    <a:gd name="csY155" fmla="*/ 740006 h 917395"/>
                    <a:gd name="csX156" fmla="*/ 510369 w 1116203"/>
                    <a:gd name="csY156" fmla="*/ 744360 h 917395"/>
                    <a:gd name="csX157" fmla="*/ 516195 w 1116203"/>
                    <a:gd name="csY157" fmla="*/ 743655 h 917395"/>
                    <a:gd name="csX158" fmla="*/ 518724 w 1116203"/>
                    <a:gd name="csY158" fmla="*/ 737477 h 917395"/>
                    <a:gd name="csX159" fmla="*/ 538669 w 1116203"/>
                    <a:gd name="csY159" fmla="*/ 736740 h 917395"/>
                    <a:gd name="csX160" fmla="*/ 554996 w 1116203"/>
                    <a:gd name="csY160" fmla="*/ 740006 h 917395"/>
                    <a:gd name="csX161" fmla="*/ 588387 w 1116203"/>
                    <a:gd name="csY161" fmla="*/ 755629 h 917395"/>
                    <a:gd name="csX162" fmla="*/ 603242 w 1116203"/>
                    <a:gd name="csY162" fmla="*/ 773748 h 917395"/>
                    <a:gd name="csX163" fmla="*/ 617040 w 1116203"/>
                    <a:gd name="csY163" fmla="*/ 782104 h 917395"/>
                    <a:gd name="csX164" fmla="*/ 637721 w 1116203"/>
                    <a:gd name="csY164" fmla="*/ 781368 h 917395"/>
                    <a:gd name="csX165" fmla="*/ 661667 w 1116203"/>
                    <a:gd name="csY165" fmla="*/ 810757 h 917395"/>
                    <a:gd name="csX166" fmla="*/ 788987 w 1116203"/>
                    <a:gd name="csY166" fmla="*/ 895626 h 917395"/>
                    <a:gd name="csX167" fmla="*/ 814727 w 1116203"/>
                    <a:gd name="csY167" fmla="*/ 913042 h 917395"/>
                    <a:gd name="csX168" fmla="*/ 820905 w 1116203"/>
                    <a:gd name="csY168" fmla="*/ 917396 h 917395"/>
                    <a:gd name="csX169" fmla="*/ 870976 w 1116203"/>
                    <a:gd name="csY169" fmla="*/ 893097 h 917395"/>
                    <a:gd name="csX170" fmla="*/ 913042 w 1116203"/>
                    <a:gd name="csY170" fmla="*/ 878595 h 917395"/>
                    <a:gd name="csX171" fmla="*/ 919925 w 1116203"/>
                    <a:gd name="csY171" fmla="*/ 876770 h 917395"/>
                    <a:gd name="csX172" fmla="*/ 934459 w 1116203"/>
                    <a:gd name="csY172" fmla="*/ 872416 h 917395"/>
                    <a:gd name="csX173" fmla="*/ 946433 w 1116203"/>
                    <a:gd name="csY173" fmla="*/ 874977 h 917395"/>
                    <a:gd name="csX174" fmla="*/ 951875 w 1116203"/>
                    <a:gd name="csY174" fmla="*/ 870975 h 917395"/>
                    <a:gd name="csX175" fmla="*/ 958758 w 1116203"/>
                    <a:gd name="csY175" fmla="*/ 865533 h 917395"/>
                    <a:gd name="csX176" fmla="*/ 959494 w 1116203"/>
                    <a:gd name="csY176" fmla="*/ 843411 h 917395"/>
                    <a:gd name="csX177" fmla="*/ 1006651 w 1116203"/>
                    <a:gd name="csY177" fmla="*/ 749450 h 917395"/>
                    <a:gd name="csX178" fmla="*/ 1061779 w 1116203"/>
                    <a:gd name="csY178" fmla="*/ 623923 h 917395"/>
                    <a:gd name="csX179" fmla="*/ 1105671 w 1116203"/>
                    <a:gd name="csY179" fmla="*/ 494073 h 917395"/>
                    <a:gd name="csX180" fmla="*/ 1116203 w 1116203"/>
                    <a:gd name="csY180" fmla="*/ 399376 h 917395"/>
                    <a:gd name="csX181" fmla="*/ 1104934 w 1116203"/>
                    <a:gd name="csY181" fmla="*/ 328657 h 917395"/>
                    <a:gd name="csX182" fmla="*/ 1097315 w 1116203"/>
                    <a:gd name="csY182" fmla="*/ 286558 h 917395"/>
                    <a:gd name="csX183" fmla="*/ 1090432 w 1116203"/>
                    <a:gd name="csY183" fmla="*/ 245228 h 917395"/>
                    <a:gd name="csX184" fmla="*/ 1076634 w 1116203"/>
                    <a:gd name="csY184" fmla="*/ 135292 h 917395"/>
                    <a:gd name="csX185" fmla="*/ 1059250 w 1116203"/>
                    <a:gd name="csY185" fmla="*/ 135292 h 917395"/>
                    <a:gd name="csX186" fmla="*/ 1050543 w 1116203"/>
                    <a:gd name="csY186" fmla="*/ 143647 h 917395"/>
                    <a:gd name="csX187" fmla="*/ 1058514 w 1116203"/>
                    <a:gd name="csY187" fmla="*/ 172300 h 917395"/>
                    <a:gd name="csX188" fmla="*/ 1053424 w 1116203"/>
                    <a:gd name="csY188" fmla="*/ 192981 h 917395"/>
                    <a:gd name="csX189" fmla="*/ 1045452 w 1116203"/>
                    <a:gd name="csY189" fmla="*/ 204954 h 917395"/>
                    <a:gd name="csX190" fmla="*/ 1031654 w 1116203"/>
                    <a:gd name="csY190" fmla="*/ 216927 h 917395"/>
                    <a:gd name="csX191" fmla="*/ 1003386 w 1116203"/>
                    <a:gd name="csY191" fmla="*/ 218720 h 917395"/>
                    <a:gd name="csX192" fmla="*/ 999032 w 1116203"/>
                    <a:gd name="csY192" fmla="*/ 206779 h 917395"/>
                    <a:gd name="csX193" fmla="*/ 964553 w 1116203"/>
                    <a:gd name="csY193" fmla="*/ 204218 h 917395"/>
                    <a:gd name="csX194" fmla="*/ 933723 w 1116203"/>
                    <a:gd name="csY194" fmla="*/ 191156 h 917395"/>
                    <a:gd name="csX195" fmla="*/ 920661 w 1116203"/>
                    <a:gd name="csY195" fmla="*/ 191156 h 917395"/>
                    <a:gd name="csX196" fmla="*/ 920661 w 1116203"/>
                    <a:gd name="csY196" fmla="*/ 179919 h 917395"/>
                    <a:gd name="csX197" fmla="*/ 916307 w 1116203"/>
                    <a:gd name="csY197" fmla="*/ 178094 h 917395"/>
                    <a:gd name="csX198" fmla="*/ 913042 w 1116203"/>
                    <a:gd name="csY198" fmla="*/ 166153 h 917395"/>
                    <a:gd name="csX199" fmla="*/ 903630 w 1116203"/>
                    <a:gd name="csY199" fmla="*/ 172300 h 917395"/>
                    <a:gd name="csX200" fmla="*/ 871680 w 1116203"/>
                    <a:gd name="csY200" fmla="*/ 153444 h 917395"/>
                    <a:gd name="csX201" fmla="*/ 867326 w 1116203"/>
                    <a:gd name="csY201" fmla="*/ 143647 h 917395"/>
                    <a:gd name="csX202" fmla="*/ 874241 w 1116203"/>
                    <a:gd name="csY202" fmla="*/ 138557 h 917395"/>
                    <a:gd name="csX203" fmla="*/ 857914 w 1116203"/>
                    <a:gd name="csY203" fmla="*/ 135292 h 917395"/>
                    <a:gd name="csX204" fmla="*/ 855353 w 1116203"/>
                    <a:gd name="csY204" fmla="*/ 124791 h 917395"/>
                    <a:gd name="csX205" fmla="*/ 858618 w 1116203"/>
                    <a:gd name="csY205" fmla="*/ 117172 h 917395"/>
                    <a:gd name="csX206" fmla="*/ 866622 w 1116203"/>
                    <a:gd name="csY206" fmla="*/ 120437 h 917395"/>
                    <a:gd name="csX207" fmla="*/ 874945 w 1116203"/>
                    <a:gd name="csY207" fmla="*/ 112818 h 917395"/>
                    <a:gd name="csX208" fmla="*/ 872416 w 1116203"/>
                    <a:gd name="csY208" fmla="*/ 97227 h 917395"/>
                    <a:gd name="csX209" fmla="*/ 861531 w 1116203"/>
                    <a:gd name="csY209" fmla="*/ 88871 h 917395"/>
                    <a:gd name="csX210" fmla="*/ 866622 w 1116203"/>
                    <a:gd name="csY210" fmla="*/ 71455 h 917395"/>
                    <a:gd name="csX211" fmla="*/ 858618 w 1116203"/>
                    <a:gd name="csY211" fmla="*/ 68190 h 917395"/>
                    <a:gd name="csX212" fmla="*/ 844116 w 1116203"/>
                    <a:gd name="csY212" fmla="*/ 80163 h 917395"/>
                    <a:gd name="csX213" fmla="*/ 836496 w 1116203"/>
                    <a:gd name="csY213" fmla="*/ 73985 h 917395"/>
                    <a:gd name="csX214" fmla="*/ 819081 w 1116203"/>
                    <a:gd name="csY214" fmla="*/ 80163 h 917395"/>
                    <a:gd name="csX215" fmla="*/ 800961 w 1116203"/>
                    <a:gd name="csY215" fmla="*/ 86342 h 917395"/>
                    <a:gd name="csX216" fmla="*/ 795134 w 1116203"/>
                    <a:gd name="csY216" fmla="*/ 84517 h 917395"/>
                    <a:gd name="csX217" fmla="*/ 795870 w 1116203"/>
                    <a:gd name="csY217" fmla="*/ 75809 h 917395"/>
                    <a:gd name="csX218" fmla="*/ 773749 w 1116203"/>
                    <a:gd name="csY218" fmla="*/ 67102 h 917395"/>
                    <a:gd name="csX219" fmla="*/ 751243 w 1116203"/>
                    <a:gd name="csY219" fmla="*/ 40626 h 9173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  <a:cxn ang="0">
                      <a:pos x="csX193" y="csY193"/>
                    </a:cxn>
                    <a:cxn ang="0">
                      <a:pos x="csX194" y="csY194"/>
                    </a:cxn>
                    <a:cxn ang="0">
                      <a:pos x="csX195" y="csY195"/>
                    </a:cxn>
                    <a:cxn ang="0">
                      <a:pos x="csX196" y="csY196"/>
                    </a:cxn>
                    <a:cxn ang="0">
                      <a:pos x="csX197" y="csY197"/>
                    </a:cxn>
                    <a:cxn ang="0">
                      <a:pos x="csX198" y="csY198"/>
                    </a:cxn>
                    <a:cxn ang="0">
                      <a:pos x="csX199" y="csY199"/>
                    </a:cxn>
                    <a:cxn ang="0">
                      <a:pos x="csX200" y="csY200"/>
                    </a:cxn>
                    <a:cxn ang="0">
                      <a:pos x="csX201" y="csY201"/>
                    </a:cxn>
                    <a:cxn ang="0">
                      <a:pos x="csX202" y="csY202"/>
                    </a:cxn>
                    <a:cxn ang="0">
                      <a:pos x="csX203" y="csY203"/>
                    </a:cxn>
                    <a:cxn ang="0">
                      <a:pos x="csX204" y="csY204"/>
                    </a:cxn>
                    <a:cxn ang="0">
                      <a:pos x="csX205" y="csY205"/>
                    </a:cxn>
                    <a:cxn ang="0">
                      <a:pos x="csX206" y="csY206"/>
                    </a:cxn>
                    <a:cxn ang="0">
                      <a:pos x="csX207" y="csY207"/>
                    </a:cxn>
                    <a:cxn ang="0">
                      <a:pos x="csX208" y="csY208"/>
                    </a:cxn>
                    <a:cxn ang="0">
                      <a:pos x="csX209" y="csY209"/>
                    </a:cxn>
                    <a:cxn ang="0">
                      <a:pos x="csX210" y="csY210"/>
                    </a:cxn>
                    <a:cxn ang="0">
                      <a:pos x="csX211" y="csY211"/>
                    </a:cxn>
                    <a:cxn ang="0">
                      <a:pos x="csX212" y="csY212"/>
                    </a:cxn>
                    <a:cxn ang="0">
                      <a:pos x="csX213" y="csY213"/>
                    </a:cxn>
                    <a:cxn ang="0">
                      <a:pos x="csX214" y="csY214"/>
                    </a:cxn>
                    <a:cxn ang="0">
                      <a:pos x="csX215" y="csY215"/>
                    </a:cxn>
                    <a:cxn ang="0">
                      <a:pos x="csX216" y="csY216"/>
                    </a:cxn>
                    <a:cxn ang="0">
                      <a:pos x="csX217" y="csY217"/>
                    </a:cxn>
                    <a:cxn ang="0">
                      <a:pos x="csX218" y="csY218"/>
                    </a:cxn>
                    <a:cxn ang="0">
                      <a:pos x="csX219" y="csY219"/>
                    </a:cxn>
                  </a:cxnLst>
                  <a:rect l="l" t="t" r="r" b="b"/>
                  <a:pathLst>
                    <a:path w="1116203" h="917395">
                      <a:moveTo>
                        <a:pt x="751243" y="40626"/>
                      </a:moveTo>
                      <a:lnTo>
                        <a:pt x="740742" y="37008"/>
                      </a:lnTo>
                      <a:lnTo>
                        <a:pt x="726944" y="16327"/>
                      </a:lnTo>
                      <a:lnTo>
                        <a:pt x="703734" y="1088"/>
                      </a:lnTo>
                      <a:lnTo>
                        <a:pt x="702997" y="0"/>
                      </a:lnTo>
                      <a:lnTo>
                        <a:pt x="699380" y="1088"/>
                      </a:lnTo>
                      <a:lnTo>
                        <a:pt x="672904" y="56217"/>
                      </a:lnTo>
                      <a:lnTo>
                        <a:pt x="691760" y="67102"/>
                      </a:lnTo>
                      <a:lnTo>
                        <a:pt x="705559" y="62043"/>
                      </a:lnTo>
                      <a:lnTo>
                        <a:pt x="717532" y="68190"/>
                      </a:lnTo>
                      <a:lnTo>
                        <a:pt x="696851" y="70719"/>
                      </a:lnTo>
                      <a:lnTo>
                        <a:pt x="683053" y="77634"/>
                      </a:lnTo>
                      <a:lnTo>
                        <a:pt x="676170" y="75073"/>
                      </a:lnTo>
                      <a:lnTo>
                        <a:pt x="660931" y="84517"/>
                      </a:lnTo>
                      <a:lnTo>
                        <a:pt x="657313" y="87783"/>
                      </a:lnTo>
                      <a:lnTo>
                        <a:pt x="642779" y="117172"/>
                      </a:lnTo>
                      <a:lnTo>
                        <a:pt x="607595" y="188627"/>
                      </a:lnTo>
                      <a:lnTo>
                        <a:pt x="605803" y="191156"/>
                      </a:lnTo>
                      <a:lnTo>
                        <a:pt x="603242" y="196246"/>
                      </a:lnTo>
                      <a:lnTo>
                        <a:pt x="602153" y="198071"/>
                      </a:lnTo>
                      <a:lnTo>
                        <a:pt x="590180" y="221986"/>
                      </a:lnTo>
                      <a:lnTo>
                        <a:pt x="586914" y="230694"/>
                      </a:lnTo>
                      <a:lnTo>
                        <a:pt x="610157" y="230694"/>
                      </a:lnTo>
                      <a:lnTo>
                        <a:pt x="632278" y="238313"/>
                      </a:lnTo>
                      <a:lnTo>
                        <a:pt x="649694" y="253199"/>
                      </a:lnTo>
                      <a:lnTo>
                        <a:pt x="654048" y="251375"/>
                      </a:lnTo>
                      <a:lnTo>
                        <a:pt x="591268" y="318508"/>
                      </a:lnTo>
                      <a:lnTo>
                        <a:pt x="592005" y="305446"/>
                      </a:lnTo>
                      <a:lnTo>
                        <a:pt x="573853" y="301445"/>
                      </a:lnTo>
                      <a:lnTo>
                        <a:pt x="564441" y="283293"/>
                      </a:lnTo>
                      <a:lnTo>
                        <a:pt x="543023" y="286558"/>
                      </a:lnTo>
                      <a:lnTo>
                        <a:pt x="550642" y="299620"/>
                      </a:lnTo>
                      <a:lnTo>
                        <a:pt x="547377" y="310889"/>
                      </a:lnTo>
                      <a:lnTo>
                        <a:pt x="506751" y="294562"/>
                      </a:lnTo>
                      <a:lnTo>
                        <a:pt x="494778" y="263348"/>
                      </a:lnTo>
                      <a:lnTo>
                        <a:pt x="448357" y="260819"/>
                      </a:lnTo>
                      <a:lnTo>
                        <a:pt x="449798" y="293473"/>
                      </a:lnTo>
                      <a:lnTo>
                        <a:pt x="452711" y="306535"/>
                      </a:lnTo>
                      <a:lnTo>
                        <a:pt x="461035" y="316683"/>
                      </a:lnTo>
                      <a:lnTo>
                        <a:pt x="448357" y="390668"/>
                      </a:lnTo>
                      <a:lnTo>
                        <a:pt x="447269" y="391757"/>
                      </a:lnTo>
                      <a:lnTo>
                        <a:pt x="432767" y="460331"/>
                      </a:lnTo>
                      <a:lnTo>
                        <a:pt x="388875" y="477746"/>
                      </a:lnTo>
                      <a:lnTo>
                        <a:pt x="340630" y="495898"/>
                      </a:lnTo>
                      <a:lnTo>
                        <a:pt x="338805" y="487191"/>
                      </a:lnTo>
                      <a:lnTo>
                        <a:pt x="325007" y="489720"/>
                      </a:lnTo>
                      <a:lnTo>
                        <a:pt x="307976" y="478483"/>
                      </a:lnTo>
                      <a:lnTo>
                        <a:pt x="301797" y="427676"/>
                      </a:lnTo>
                      <a:lnTo>
                        <a:pt x="289824" y="459594"/>
                      </a:lnTo>
                      <a:lnTo>
                        <a:pt x="270967" y="506047"/>
                      </a:lnTo>
                      <a:lnTo>
                        <a:pt x="256465" y="492985"/>
                      </a:lnTo>
                      <a:lnTo>
                        <a:pt x="258994" y="485366"/>
                      </a:lnTo>
                      <a:lnTo>
                        <a:pt x="255376" y="479187"/>
                      </a:lnTo>
                      <a:lnTo>
                        <a:pt x="239049" y="474129"/>
                      </a:lnTo>
                      <a:lnTo>
                        <a:pt x="233959" y="480275"/>
                      </a:lnTo>
                      <a:lnTo>
                        <a:pt x="217632" y="474129"/>
                      </a:lnTo>
                      <a:lnTo>
                        <a:pt x="208924" y="486102"/>
                      </a:lnTo>
                      <a:lnTo>
                        <a:pt x="197687" y="484629"/>
                      </a:lnTo>
                      <a:lnTo>
                        <a:pt x="201305" y="489720"/>
                      </a:lnTo>
                      <a:lnTo>
                        <a:pt x="196951" y="496603"/>
                      </a:lnTo>
                      <a:lnTo>
                        <a:pt x="179535" y="494810"/>
                      </a:lnTo>
                      <a:lnTo>
                        <a:pt x="174477" y="490456"/>
                      </a:lnTo>
                      <a:lnTo>
                        <a:pt x="175565" y="467214"/>
                      </a:lnTo>
                      <a:lnTo>
                        <a:pt x="171211" y="465773"/>
                      </a:lnTo>
                      <a:lnTo>
                        <a:pt x="166121" y="468302"/>
                      </a:lnTo>
                      <a:lnTo>
                        <a:pt x="151267" y="437120"/>
                      </a:lnTo>
                      <a:lnTo>
                        <a:pt x="130585" y="434591"/>
                      </a:lnTo>
                      <a:lnTo>
                        <a:pt x="127320" y="425883"/>
                      </a:lnTo>
                      <a:lnTo>
                        <a:pt x="131674" y="414999"/>
                      </a:lnTo>
                      <a:lnTo>
                        <a:pt x="144351" y="403730"/>
                      </a:lnTo>
                      <a:lnTo>
                        <a:pt x="153059" y="375077"/>
                      </a:lnTo>
                      <a:lnTo>
                        <a:pt x="148706" y="367458"/>
                      </a:lnTo>
                      <a:lnTo>
                        <a:pt x="160679" y="358750"/>
                      </a:lnTo>
                      <a:lnTo>
                        <a:pt x="146176" y="358750"/>
                      </a:lnTo>
                      <a:lnTo>
                        <a:pt x="135644" y="366754"/>
                      </a:lnTo>
                      <a:lnTo>
                        <a:pt x="134939" y="349338"/>
                      </a:lnTo>
                      <a:lnTo>
                        <a:pt x="130585" y="350426"/>
                      </a:lnTo>
                      <a:lnTo>
                        <a:pt x="120405" y="366754"/>
                      </a:lnTo>
                      <a:lnTo>
                        <a:pt x="126232" y="378727"/>
                      </a:lnTo>
                      <a:lnTo>
                        <a:pt x="116051" y="392493"/>
                      </a:lnTo>
                      <a:lnTo>
                        <a:pt x="105550" y="392493"/>
                      </a:lnTo>
                      <a:lnTo>
                        <a:pt x="100460" y="377990"/>
                      </a:lnTo>
                      <a:lnTo>
                        <a:pt x="91752" y="376165"/>
                      </a:lnTo>
                      <a:lnTo>
                        <a:pt x="85958" y="387435"/>
                      </a:lnTo>
                      <a:lnTo>
                        <a:pt x="67806" y="394318"/>
                      </a:lnTo>
                      <a:lnTo>
                        <a:pt x="62748" y="387435"/>
                      </a:lnTo>
                      <a:lnTo>
                        <a:pt x="54040" y="386346"/>
                      </a:lnTo>
                      <a:lnTo>
                        <a:pt x="52215" y="401201"/>
                      </a:lnTo>
                      <a:lnTo>
                        <a:pt x="30093" y="413174"/>
                      </a:lnTo>
                      <a:lnTo>
                        <a:pt x="29005" y="417528"/>
                      </a:lnTo>
                      <a:lnTo>
                        <a:pt x="21385" y="436384"/>
                      </a:lnTo>
                      <a:lnTo>
                        <a:pt x="6883" y="445828"/>
                      </a:lnTo>
                      <a:lnTo>
                        <a:pt x="0" y="460331"/>
                      </a:lnTo>
                      <a:lnTo>
                        <a:pt x="6883" y="465773"/>
                      </a:lnTo>
                      <a:lnTo>
                        <a:pt x="20649" y="462155"/>
                      </a:lnTo>
                      <a:lnTo>
                        <a:pt x="39537" y="479187"/>
                      </a:lnTo>
                      <a:lnTo>
                        <a:pt x="47861" y="487895"/>
                      </a:lnTo>
                      <a:lnTo>
                        <a:pt x="45332" y="491544"/>
                      </a:lnTo>
                      <a:lnTo>
                        <a:pt x="49686" y="498427"/>
                      </a:lnTo>
                      <a:lnTo>
                        <a:pt x="67806" y="490456"/>
                      </a:lnTo>
                      <a:lnTo>
                        <a:pt x="69631" y="514755"/>
                      </a:lnTo>
                      <a:lnTo>
                        <a:pt x="101549" y="538701"/>
                      </a:lnTo>
                      <a:lnTo>
                        <a:pt x="97195" y="558646"/>
                      </a:lnTo>
                      <a:lnTo>
                        <a:pt x="109168" y="571323"/>
                      </a:lnTo>
                      <a:lnTo>
                        <a:pt x="115347" y="572412"/>
                      </a:lnTo>
                      <a:lnTo>
                        <a:pt x="128024" y="583297"/>
                      </a:lnTo>
                      <a:lnTo>
                        <a:pt x="117876" y="589475"/>
                      </a:lnTo>
                      <a:lnTo>
                        <a:pt x="111697" y="603978"/>
                      </a:lnTo>
                      <a:lnTo>
                        <a:pt x="116051" y="606507"/>
                      </a:lnTo>
                      <a:lnTo>
                        <a:pt x="109168" y="617776"/>
                      </a:lnTo>
                      <a:lnTo>
                        <a:pt x="119316" y="617040"/>
                      </a:lnTo>
                      <a:lnTo>
                        <a:pt x="124759" y="621394"/>
                      </a:lnTo>
                      <a:lnTo>
                        <a:pt x="130585" y="658402"/>
                      </a:lnTo>
                      <a:lnTo>
                        <a:pt x="145440" y="672904"/>
                      </a:lnTo>
                      <a:lnTo>
                        <a:pt x="163240" y="683437"/>
                      </a:lnTo>
                      <a:lnTo>
                        <a:pt x="182448" y="683437"/>
                      </a:lnTo>
                      <a:lnTo>
                        <a:pt x="208220" y="716091"/>
                      </a:lnTo>
                      <a:lnTo>
                        <a:pt x="208220" y="716795"/>
                      </a:lnTo>
                      <a:lnTo>
                        <a:pt x="208924" y="730594"/>
                      </a:lnTo>
                      <a:lnTo>
                        <a:pt x="215103" y="735652"/>
                      </a:lnTo>
                      <a:lnTo>
                        <a:pt x="210749" y="743655"/>
                      </a:lnTo>
                      <a:lnTo>
                        <a:pt x="187538" y="754540"/>
                      </a:lnTo>
                      <a:lnTo>
                        <a:pt x="189331" y="771956"/>
                      </a:lnTo>
                      <a:lnTo>
                        <a:pt x="210012" y="795166"/>
                      </a:lnTo>
                      <a:lnTo>
                        <a:pt x="205659" y="800224"/>
                      </a:lnTo>
                      <a:lnTo>
                        <a:pt x="212573" y="825259"/>
                      </a:lnTo>
                      <a:lnTo>
                        <a:pt x="205659" y="827084"/>
                      </a:lnTo>
                      <a:lnTo>
                        <a:pt x="204570" y="832174"/>
                      </a:lnTo>
                      <a:lnTo>
                        <a:pt x="211485" y="833967"/>
                      </a:lnTo>
                      <a:lnTo>
                        <a:pt x="207131" y="857914"/>
                      </a:lnTo>
                      <a:lnTo>
                        <a:pt x="212573" y="872416"/>
                      </a:lnTo>
                      <a:lnTo>
                        <a:pt x="220193" y="877858"/>
                      </a:lnTo>
                      <a:lnTo>
                        <a:pt x="228901" y="895626"/>
                      </a:lnTo>
                      <a:lnTo>
                        <a:pt x="240138" y="890568"/>
                      </a:lnTo>
                      <a:lnTo>
                        <a:pt x="245932" y="871712"/>
                      </a:lnTo>
                      <a:lnTo>
                        <a:pt x="261523" y="857914"/>
                      </a:lnTo>
                      <a:lnTo>
                        <a:pt x="299268" y="883685"/>
                      </a:lnTo>
                      <a:lnTo>
                        <a:pt x="293441" y="865533"/>
                      </a:lnTo>
                      <a:lnTo>
                        <a:pt x="321037" y="848469"/>
                      </a:lnTo>
                      <a:lnTo>
                        <a:pt x="319212" y="834703"/>
                      </a:lnTo>
                      <a:lnTo>
                        <a:pt x="341718" y="832879"/>
                      </a:lnTo>
                      <a:lnTo>
                        <a:pt x="349306" y="815847"/>
                      </a:lnTo>
                      <a:lnTo>
                        <a:pt x="360575" y="810757"/>
                      </a:lnTo>
                      <a:lnTo>
                        <a:pt x="363840" y="799520"/>
                      </a:lnTo>
                      <a:lnTo>
                        <a:pt x="385610" y="794430"/>
                      </a:lnTo>
                      <a:lnTo>
                        <a:pt x="401905" y="781368"/>
                      </a:lnTo>
                      <a:lnTo>
                        <a:pt x="418232" y="780632"/>
                      </a:lnTo>
                      <a:lnTo>
                        <a:pt x="425851" y="783193"/>
                      </a:lnTo>
                      <a:lnTo>
                        <a:pt x="437120" y="771956"/>
                      </a:lnTo>
                      <a:lnTo>
                        <a:pt x="438913" y="764336"/>
                      </a:lnTo>
                      <a:lnTo>
                        <a:pt x="448357" y="763248"/>
                      </a:lnTo>
                      <a:lnTo>
                        <a:pt x="449094" y="757421"/>
                      </a:lnTo>
                      <a:lnTo>
                        <a:pt x="458506" y="751275"/>
                      </a:lnTo>
                      <a:lnTo>
                        <a:pt x="469743" y="749450"/>
                      </a:lnTo>
                      <a:lnTo>
                        <a:pt x="478451" y="746921"/>
                      </a:lnTo>
                      <a:lnTo>
                        <a:pt x="481716" y="740006"/>
                      </a:lnTo>
                      <a:lnTo>
                        <a:pt x="510369" y="744360"/>
                      </a:lnTo>
                      <a:lnTo>
                        <a:pt x="516195" y="743655"/>
                      </a:lnTo>
                      <a:lnTo>
                        <a:pt x="518724" y="737477"/>
                      </a:lnTo>
                      <a:lnTo>
                        <a:pt x="538669" y="736740"/>
                      </a:lnTo>
                      <a:lnTo>
                        <a:pt x="554996" y="740006"/>
                      </a:lnTo>
                      <a:lnTo>
                        <a:pt x="588387" y="755629"/>
                      </a:lnTo>
                      <a:lnTo>
                        <a:pt x="603242" y="773748"/>
                      </a:lnTo>
                      <a:lnTo>
                        <a:pt x="617040" y="782104"/>
                      </a:lnTo>
                      <a:lnTo>
                        <a:pt x="637721" y="781368"/>
                      </a:lnTo>
                      <a:lnTo>
                        <a:pt x="661667" y="810757"/>
                      </a:lnTo>
                      <a:lnTo>
                        <a:pt x="788987" y="895626"/>
                      </a:lnTo>
                      <a:lnTo>
                        <a:pt x="814727" y="913042"/>
                      </a:lnTo>
                      <a:lnTo>
                        <a:pt x="820905" y="917396"/>
                      </a:lnTo>
                      <a:lnTo>
                        <a:pt x="870976" y="893097"/>
                      </a:lnTo>
                      <a:lnTo>
                        <a:pt x="913042" y="878595"/>
                      </a:lnTo>
                      <a:lnTo>
                        <a:pt x="919925" y="876770"/>
                      </a:lnTo>
                      <a:lnTo>
                        <a:pt x="934459" y="872416"/>
                      </a:lnTo>
                      <a:lnTo>
                        <a:pt x="946433" y="874977"/>
                      </a:lnTo>
                      <a:lnTo>
                        <a:pt x="951875" y="870975"/>
                      </a:lnTo>
                      <a:lnTo>
                        <a:pt x="958758" y="865533"/>
                      </a:lnTo>
                      <a:lnTo>
                        <a:pt x="959494" y="843411"/>
                      </a:lnTo>
                      <a:lnTo>
                        <a:pt x="1006651" y="749450"/>
                      </a:lnTo>
                      <a:lnTo>
                        <a:pt x="1061779" y="623923"/>
                      </a:lnTo>
                      <a:lnTo>
                        <a:pt x="1105671" y="494073"/>
                      </a:lnTo>
                      <a:lnTo>
                        <a:pt x="1116203" y="399376"/>
                      </a:lnTo>
                      <a:lnTo>
                        <a:pt x="1104934" y="328657"/>
                      </a:lnTo>
                      <a:lnTo>
                        <a:pt x="1097315" y="286558"/>
                      </a:lnTo>
                      <a:lnTo>
                        <a:pt x="1090432" y="245228"/>
                      </a:lnTo>
                      <a:lnTo>
                        <a:pt x="1076634" y="135292"/>
                      </a:lnTo>
                      <a:lnTo>
                        <a:pt x="1059250" y="135292"/>
                      </a:lnTo>
                      <a:lnTo>
                        <a:pt x="1050543" y="143647"/>
                      </a:lnTo>
                      <a:lnTo>
                        <a:pt x="1058514" y="172300"/>
                      </a:lnTo>
                      <a:lnTo>
                        <a:pt x="1053424" y="192981"/>
                      </a:lnTo>
                      <a:lnTo>
                        <a:pt x="1045452" y="204954"/>
                      </a:lnTo>
                      <a:lnTo>
                        <a:pt x="1031654" y="216927"/>
                      </a:lnTo>
                      <a:lnTo>
                        <a:pt x="1003386" y="218720"/>
                      </a:lnTo>
                      <a:lnTo>
                        <a:pt x="999032" y="206779"/>
                      </a:lnTo>
                      <a:lnTo>
                        <a:pt x="964553" y="204218"/>
                      </a:lnTo>
                      <a:lnTo>
                        <a:pt x="933723" y="191156"/>
                      </a:lnTo>
                      <a:lnTo>
                        <a:pt x="920661" y="191156"/>
                      </a:lnTo>
                      <a:lnTo>
                        <a:pt x="920661" y="179919"/>
                      </a:lnTo>
                      <a:lnTo>
                        <a:pt x="916307" y="178094"/>
                      </a:lnTo>
                      <a:lnTo>
                        <a:pt x="913042" y="166153"/>
                      </a:lnTo>
                      <a:lnTo>
                        <a:pt x="903630" y="172300"/>
                      </a:lnTo>
                      <a:lnTo>
                        <a:pt x="871680" y="153444"/>
                      </a:lnTo>
                      <a:lnTo>
                        <a:pt x="867326" y="143647"/>
                      </a:lnTo>
                      <a:lnTo>
                        <a:pt x="874241" y="138557"/>
                      </a:lnTo>
                      <a:lnTo>
                        <a:pt x="857914" y="135292"/>
                      </a:lnTo>
                      <a:lnTo>
                        <a:pt x="855353" y="124791"/>
                      </a:lnTo>
                      <a:lnTo>
                        <a:pt x="858618" y="117172"/>
                      </a:lnTo>
                      <a:lnTo>
                        <a:pt x="866622" y="120437"/>
                      </a:lnTo>
                      <a:lnTo>
                        <a:pt x="874945" y="112818"/>
                      </a:lnTo>
                      <a:lnTo>
                        <a:pt x="872416" y="97227"/>
                      </a:lnTo>
                      <a:lnTo>
                        <a:pt x="861531" y="88871"/>
                      </a:lnTo>
                      <a:lnTo>
                        <a:pt x="866622" y="71455"/>
                      </a:lnTo>
                      <a:lnTo>
                        <a:pt x="858618" y="68190"/>
                      </a:lnTo>
                      <a:lnTo>
                        <a:pt x="844116" y="80163"/>
                      </a:lnTo>
                      <a:lnTo>
                        <a:pt x="836496" y="73985"/>
                      </a:lnTo>
                      <a:lnTo>
                        <a:pt x="819081" y="80163"/>
                      </a:lnTo>
                      <a:lnTo>
                        <a:pt x="800961" y="86342"/>
                      </a:lnTo>
                      <a:lnTo>
                        <a:pt x="795134" y="84517"/>
                      </a:lnTo>
                      <a:lnTo>
                        <a:pt x="795870" y="75809"/>
                      </a:lnTo>
                      <a:lnTo>
                        <a:pt x="773749" y="67102"/>
                      </a:lnTo>
                      <a:lnTo>
                        <a:pt x="751243" y="4062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C51E1749-4A78-0570-C35B-953B80EFE717}"/>
                    </a:ext>
                  </a:extLst>
                </p:cNvPr>
                <p:cNvSpPr/>
                <p:nvPr/>
              </p:nvSpPr>
              <p:spPr>
                <a:xfrm>
                  <a:off x="2405295" y="3233331"/>
                  <a:ext cx="460362" cy="200600"/>
                </a:xfrm>
                <a:custGeom>
                  <a:avLst/>
                  <a:gdLst>
                    <a:gd name="csX0" fmla="*/ 117172 w 460362"/>
                    <a:gd name="csY0" fmla="*/ 1793 h 200600"/>
                    <a:gd name="csX1" fmla="*/ 103405 w 460362"/>
                    <a:gd name="csY1" fmla="*/ 1793 h 200600"/>
                    <a:gd name="csX2" fmla="*/ 17416 w 460362"/>
                    <a:gd name="csY2" fmla="*/ 1793 h 200600"/>
                    <a:gd name="csX3" fmla="*/ 0 w 460362"/>
                    <a:gd name="csY3" fmla="*/ 34447 h 200600"/>
                    <a:gd name="csX4" fmla="*/ 9444 w 460362"/>
                    <a:gd name="csY4" fmla="*/ 50774 h 200600"/>
                    <a:gd name="csX5" fmla="*/ 1825 w 460362"/>
                    <a:gd name="csY5" fmla="*/ 62748 h 200600"/>
                    <a:gd name="csX6" fmla="*/ 6915 w 460362"/>
                    <a:gd name="csY6" fmla="*/ 67102 h 200600"/>
                    <a:gd name="csX7" fmla="*/ 2561 w 460362"/>
                    <a:gd name="csY7" fmla="*/ 77634 h 200600"/>
                    <a:gd name="csX8" fmla="*/ 7619 w 460362"/>
                    <a:gd name="csY8" fmla="*/ 82692 h 200600"/>
                    <a:gd name="csX9" fmla="*/ 19977 w 460362"/>
                    <a:gd name="csY9" fmla="*/ 82692 h 200600"/>
                    <a:gd name="csX10" fmla="*/ 40658 w 460362"/>
                    <a:gd name="csY10" fmla="*/ 107727 h 200600"/>
                    <a:gd name="csX11" fmla="*/ 47541 w 460362"/>
                    <a:gd name="csY11" fmla="*/ 103373 h 200600"/>
                    <a:gd name="csX12" fmla="*/ 43891 w 460362"/>
                    <a:gd name="csY12" fmla="*/ 96490 h 200600"/>
                    <a:gd name="csX13" fmla="*/ 48982 w 460362"/>
                    <a:gd name="csY13" fmla="*/ 78338 h 200600"/>
                    <a:gd name="csX14" fmla="*/ 61339 w 460362"/>
                    <a:gd name="csY14" fmla="*/ 88871 h 200600"/>
                    <a:gd name="csX15" fmla="*/ 74017 w 460362"/>
                    <a:gd name="csY15" fmla="*/ 90312 h 200600"/>
                    <a:gd name="csX16" fmla="*/ 105230 w 460362"/>
                    <a:gd name="csY16" fmla="*/ 82692 h 200600"/>
                    <a:gd name="csX17" fmla="*/ 114642 w 460362"/>
                    <a:gd name="csY17" fmla="*/ 90312 h 200600"/>
                    <a:gd name="csX18" fmla="*/ 118644 w 460362"/>
                    <a:gd name="csY18" fmla="*/ 105903 h 200600"/>
                    <a:gd name="csX19" fmla="*/ 122262 w 460362"/>
                    <a:gd name="csY19" fmla="*/ 119701 h 200600"/>
                    <a:gd name="csX20" fmla="*/ 127352 w 460362"/>
                    <a:gd name="csY20" fmla="*/ 118964 h 200600"/>
                    <a:gd name="csX21" fmla="*/ 134235 w 460362"/>
                    <a:gd name="csY21" fmla="*/ 117876 h 200600"/>
                    <a:gd name="csX22" fmla="*/ 151651 w 460362"/>
                    <a:gd name="csY22" fmla="*/ 129849 h 200600"/>
                    <a:gd name="csX23" fmla="*/ 156741 w 460362"/>
                    <a:gd name="csY23" fmla="*/ 129849 h 200600"/>
                    <a:gd name="csX24" fmla="*/ 166890 w 460362"/>
                    <a:gd name="csY24" fmla="*/ 142207 h 200600"/>
                    <a:gd name="csX25" fmla="*/ 165449 w 460362"/>
                    <a:gd name="csY25" fmla="*/ 148001 h 200600"/>
                    <a:gd name="csX26" fmla="*/ 173773 w 460362"/>
                    <a:gd name="csY26" fmla="*/ 154148 h 200600"/>
                    <a:gd name="csX27" fmla="*/ 168714 w 460362"/>
                    <a:gd name="csY27" fmla="*/ 166121 h 200600"/>
                    <a:gd name="csX28" fmla="*/ 175597 w 460362"/>
                    <a:gd name="csY28" fmla="*/ 167946 h 200600"/>
                    <a:gd name="csX29" fmla="*/ 179951 w 460362"/>
                    <a:gd name="csY29" fmla="*/ 174829 h 200600"/>
                    <a:gd name="csX30" fmla="*/ 187571 w 460362"/>
                    <a:gd name="csY30" fmla="*/ 178094 h 200600"/>
                    <a:gd name="csX31" fmla="*/ 187571 w 460362"/>
                    <a:gd name="csY31" fmla="*/ 182448 h 200600"/>
                    <a:gd name="csX32" fmla="*/ 203161 w 460362"/>
                    <a:gd name="csY32" fmla="*/ 183185 h 200600"/>
                    <a:gd name="csX33" fmla="*/ 220193 w 460362"/>
                    <a:gd name="csY33" fmla="*/ 188627 h 200600"/>
                    <a:gd name="csX34" fmla="*/ 221281 w 460362"/>
                    <a:gd name="csY34" fmla="*/ 200600 h 200600"/>
                    <a:gd name="csX35" fmla="*/ 232550 w 460362"/>
                    <a:gd name="csY35" fmla="*/ 192981 h 200600"/>
                    <a:gd name="csX36" fmla="*/ 239433 w 460362"/>
                    <a:gd name="csY36" fmla="*/ 196983 h 200600"/>
                    <a:gd name="csX37" fmla="*/ 247789 w 460362"/>
                    <a:gd name="csY37" fmla="*/ 196983 h 200600"/>
                    <a:gd name="csX38" fmla="*/ 326128 w 460362"/>
                    <a:gd name="csY38" fmla="*/ 194422 h 200600"/>
                    <a:gd name="csX39" fmla="*/ 424443 w 460362"/>
                    <a:gd name="csY39" fmla="*/ 191156 h 200600"/>
                    <a:gd name="csX40" fmla="*/ 452007 w 460362"/>
                    <a:gd name="csY40" fmla="*/ 190068 h 200600"/>
                    <a:gd name="csX41" fmla="*/ 460363 w 460362"/>
                    <a:gd name="csY41" fmla="*/ 138557 h 200600"/>
                    <a:gd name="csX42" fmla="*/ 383817 w 460362"/>
                    <a:gd name="csY42" fmla="*/ 100844 h 200600"/>
                    <a:gd name="csX43" fmla="*/ 339189 w 460362"/>
                    <a:gd name="csY43" fmla="*/ 78338 h 200600"/>
                    <a:gd name="csX44" fmla="*/ 291680 w 460362"/>
                    <a:gd name="csY44" fmla="*/ 54392 h 200600"/>
                    <a:gd name="csX45" fmla="*/ 261555 w 460362"/>
                    <a:gd name="csY45" fmla="*/ 53303 h 200600"/>
                    <a:gd name="csX46" fmla="*/ 260115 w 460362"/>
                    <a:gd name="csY46" fmla="*/ 53303 h 200600"/>
                    <a:gd name="csX47" fmla="*/ 232550 w 460362"/>
                    <a:gd name="csY47" fmla="*/ 53303 h 200600"/>
                    <a:gd name="csX48" fmla="*/ 214398 w 460362"/>
                    <a:gd name="csY48" fmla="*/ 53303 h 200600"/>
                    <a:gd name="csX49" fmla="*/ 196278 w 460362"/>
                    <a:gd name="csY49" fmla="*/ 61307 h 200600"/>
                    <a:gd name="csX50" fmla="*/ 179215 w 460362"/>
                    <a:gd name="csY50" fmla="*/ 56953 h 200600"/>
                    <a:gd name="csX51" fmla="*/ 166153 w 460362"/>
                    <a:gd name="csY51" fmla="*/ 28653 h 200600"/>
                    <a:gd name="csX52" fmla="*/ 166890 w 460362"/>
                    <a:gd name="csY52" fmla="*/ 18120 h 200600"/>
                    <a:gd name="csX53" fmla="*/ 153091 w 460362"/>
                    <a:gd name="csY53" fmla="*/ 14854 h 200600"/>
                    <a:gd name="csX54" fmla="*/ 147297 w 460362"/>
                    <a:gd name="csY54" fmla="*/ 0 h 200600"/>
                    <a:gd name="csX55" fmla="*/ 127352 w 460362"/>
                    <a:gd name="csY55" fmla="*/ 1793 h 200600"/>
                    <a:gd name="csX56" fmla="*/ 117172 w 460362"/>
                    <a:gd name="csY56" fmla="*/ 1793 h 2006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460362" h="200600">
                      <a:moveTo>
                        <a:pt x="117172" y="1793"/>
                      </a:moveTo>
                      <a:lnTo>
                        <a:pt x="103405" y="1793"/>
                      </a:lnTo>
                      <a:lnTo>
                        <a:pt x="17416" y="1793"/>
                      </a:lnTo>
                      <a:lnTo>
                        <a:pt x="0" y="34447"/>
                      </a:lnTo>
                      <a:lnTo>
                        <a:pt x="9444" y="50774"/>
                      </a:lnTo>
                      <a:lnTo>
                        <a:pt x="1825" y="62748"/>
                      </a:lnTo>
                      <a:lnTo>
                        <a:pt x="6915" y="67102"/>
                      </a:lnTo>
                      <a:lnTo>
                        <a:pt x="2561" y="77634"/>
                      </a:lnTo>
                      <a:lnTo>
                        <a:pt x="7619" y="82692"/>
                      </a:lnTo>
                      <a:lnTo>
                        <a:pt x="19977" y="82692"/>
                      </a:lnTo>
                      <a:lnTo>
                        <a:pt x="40658" y="107727"/>
                      </a:lnTo>
                      <a:lnTo>
                        <a:pt x="47541" y="103373"/>
                      </a:lnTo>
                      <a:lnTo>
                        <a:pt x="43891" y="96490"/>
                      </a:lnTo>
                      <a:lnTo>
                        <a:pt x="48982" y="78338"/>
                      </a:lnTo>
                      <a:lnTo>
                        <a:pt x="61339" y="88871"/>
                      </a:lnTo>
                      <a:lnTo>
                        <a:pt x="74017" y="90312"/>
                      </a:lnTo>
                      <a:lnTo>
                        <a:pt x="105230" y="82692"/>
                      </a:lnTo>
                      <a:lnTo>
                        <a:pt x="114642" y="90312"/>
                      </a:lnTo>
                      <a:lnTo>
                        <a:pt x="118644" y="105903"/>
                      </a:lnTo>
                      <a:lnTo>
                        <a:pt x="122262" y="119701"/>
                      </a:lnTo>
                      <a:lnTo>
                        <a:pt x="127352" y="118964"/>
                      </a:lnTo>
                      <a:lnTo>
                        <a:pt x="134235" y="117876"/>
                      </a:lnTo>
                      <a:lnTo>
                        <a:pt x="151651" y="129849"/>
                      </a:lnTo>
                      <a:lnTo>
                        <a:pt x="156741" y="129849"/>
                      </a:lnTo>
                      <a:lnTo>
                        <a:pt x="166890" y="142207"/>
                      </a:lnTo>
                      <a:lnTo>
                        <a:pt x="165449" y="148001"/>
                      </a:lnTo>
                      <a:lnTo>
                        <a:pt x="173773" y="154148"/>
                      </a:lnTo>
                      <a:lnTo>
                        <a:pt x="168714" y="166121"/>
                      </a:lnTo>
                      <a:lnTo>
                        <a:pt x="175597" y="167946"/>
                      </a:lnTo>
                      <a:lnTo>
                        <a:pt x="179951" y="174829"/>
                      </a:lnTo>
                      <a:lnTo>
                        <a:pt x="187571" y="178094"/>
                      </a:lnTo>
                      <a:lnTo>
                        <a:pt x="187571" y="182448"/>
                      </a:lnTo>
                      <a:lnTo>
                        <a:pt x="203161" y="183185"/>
                      </a:lnTo>
                      <a:lnTo>
                        <a:pt x="220193" y="188627"/>
                      </a:lnTo>
                      <a:lnTo>
                        <a:pt x="221281" y="200600"/>
                      </a:lnTo>
                      <a:lnTo>
                        <a:pt x="232550" y="192981"/>
                      </a:lnTo>
                      <a:lnTo>
                        <a:pt x="239433" y="196983"/>
                      </a:lnTo>
                      <a:lnTo>
                        <a:pt x="247789" y="196983"/>
                      </a:lnTo>
                      <a:lnTo>
                        <a:pt x="326128" y="194422"/>
                      </a:lnTo>
                      <a:lnTo>
                        <a:pt x="424443" y="191156"/>
                      </a:lnTo>
                      <a:lnTo>
                        <a:pt x="452007" y="190068"/>
                      </a:lnTo>
                      <a:lnTo>
                        <a:pt x="460363" y="138557"/>
                      </a:lnTo>
                      <a:lnTo>
                        <a:pt x="383817" y="100844"/>
                      </a:lnTo>
                      <a:lnTo>
                        <a:pt x="339189" y="78338"/>
                      </a:lnTo>
                      <a:lnTo>
                        <a:pt x="291680" y="54392"/>
                      </a:lnTo>
                      <a:lnTo>
                        <a:pt x="261555" y="53303"/>
                      </a:lnTo>
                      <a:lnTo>
                        <a:pt x="260115" y="53303"/>
                      </a:lnTo>
                      <a:lnTo>
                        <a:pt x="232550" y="53303"/>
                      </a:lnTo>
                      <a:lnTo>
                        <a:pt x="214398" y="53303"/>
                      </a:lnTo>
                      <a:lnTo>
                        <a:pt x="196278" y="61307"/>
                      </a:lnTo>
                      <a:lnTo>
                        <a:pt x="179215" y="56953"/>
                      </a:lnTo>
                      <a:lnTo>
                        <a:pt x="166153" y="28653"/>
                      </a:lnTo>
                      <a:lnTo>
                        <a:pt x="166890" y="18120"/>
                      </a:lnTo>
                      <a:lnTo>
                        <a:pt x="153091" y="14854"/>
                      </a:lnTo>
                      <a:lnTo>
                        <a:pt x="147297" y="0"/>
                      </a:lnTo>
                      <a:lnTo>
                        <a:pt x="127352" y="1793"/>
                      </a:lnTo>
                      <a:lnTo>
                        <a:pt x="117172" y="179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BDC1633A-917E-C2AE-9ED7-EA83BD6CAFD8}"/>
                    </a:ext>
                  </a:extLst>
                </p:cNvPr>
                <p:cNvSpPr/>
                <p:nvPr/>
              </p:nvSpPr>
              <p:spPr>
                <a:xfrm>
                  <a:off x="2405295" y="3233331"/>
                  <a:ext cx="460362" cy="200600"/>
                </a:xfrm>
                <a:custGeom>
                  <a:avLst/>
                  <a:gdLst>
                    <a:gd name="csX0" fmla="*/ 117172 w 460362"/>
                    <a:gd name="csY0" fmla="*/ 1793 h 200600"/>
                    <a:gd name="csX1" fmla="*/ 103405 w 460362"/>
                    <a:gd name="csY1" fmla="*/ 1793 h 200600"/>
                    <a:gd name="csX2" fmla="*/ 17416 w 460362"/>
                    <a:gd name="csY2" fmla="*/ 1793 h 200600"/>
                    <a:gd name="csX3" fmla="*/ 0 w 460362"/>
                    <a:gd name="csY3" fmla="*/ 34447 h 200600"/>
                    <a:gd name="csX4" fmla="*/ 9444 w 460362"/>
                    <a:gd name="csY4" fmla="*/ 50774 h 200600"/>
                    <a:gd name="csX5" fmla="*/ 1825 w 460362"/>
                    <a:gd name="csY5" fmla="*/ 62748 h 200600"/>
                    <a:gd name="csX6" fmla="*/ 6915 w 460362"/>
                    <a:gd name="csY6" fmla="*/ 67102 h 200600"/>
                    <a:gd name="csX7" fmla="*/ 2561 w 460362"/>
                    <a:gd name="csY7" fmla="*/ 77634 h 200600"/>
                    <a:gd name="csX8" fmla="*/ 7619 w 460362"/>
                    <a:gd name="csY8" fmla="*/ 82692 h 200600"/>
                    <a:gd name="csX9" fmla="*/ 19977 w 460362"/>
                    <a:gd name="csY9" fmla="*/ 82692 h 200600"/>
                    <a:gd name="csX10" fmla="*/ 40658 w 460362"/>
                    <a:gd name="csY10" fmla="*/ 107727 h 200600"/>
                    <a:gd name="csX11" fmla="*/ 47541 w 460362"/>
                    <a:gd name="csY11" fmla="*/ 103373 h 200600"/>
                    <a:gd name="csX12" fmla="*/ 43891 w 460362"/>
                    <a:gd name="csY12" fmla="*/ 96490 h 200600"/>
                    <a:gd name="csX13" fmla="*/ 48982 w 460362"/>
                    <a:gd name="csY13" fmla="*/ 78338 h 200600"/>
                    <a:gd name="csX14" fmla="*/ 61339 w 460362"/>
                    <a:gd name="csY14" fmla="*/ 88871 h 200600"/>
                    <a:gd name="csX15" fmla="*/ 74017 w 460362"/>
                    <a:gd name="csY15" fmla="*/ 90312 h 200600"/>
                    <a:gd name="csX16" fmla="*/ 105230 w 460362"/>
                    <a:gd name="csY16" fmla="*/ 82692 h 200600"/>
                    <a:gd name="csX17" fmla="*/ 114642 w 460362"/>
                    <a:gd name="csY17" fmla="*/ 90312 h 200600"/>
                    <a:gd name="csX18" fmla="*/ 118644 w 460362"/>
                    <a:gd name="csY18" fmla="*/ 105903 h 200600"/>
                    <a:gd name="csX19" fmla="*/ 122262 w 460362"/>
                    <a:gd name="csY19" fmla="*/ 119701 h 200600"/>
                    <a:gd name="csX20" fmla="*/ 127352 w 460362"/>
                    <a:gd name="csY20" fmla="*/ 118964 h 200600"/>
                    <a:gd name="csX21" fmla="*/ 134235 w 460362"/>
                    <a:gd name="csY21" fmla="*/ 117876 h 200600"/>
                    <a:gd name="csX22" fmla="*/ 151651 w 460362"/>
                    <a:gd name="csY22" fmla="*/ 129849 h 200600"/>
                    <a:gd name="csX23" fmla="*/ 156741 w 460362"/>
                    <a:gd name="csY23" fmla="*/ 129849 h 200600"/>
                    <a:gd name="csX24" fmla="*/ 166890 w 460362"/>
                    <a:gd name="csY24" fmla="*/ 142207 h 200600"/>
                    <a:gd name="csX25" fmla="*/ 165449 w 460362"/>
                    <a:gd name="csY25" fmla="*/ 148001 h 200600"/>
                    <a:gd name="csX26" fmla="*/ 173773 w 460362"/>
                    <a:gd name="csY26" fmla="*/ 154148 h 200600"/>
                    <a:gd name="csX27" fmla="*/ 168714 w 460362"/>
                    <a:gd name="csY27" fmla="*/ 166121 h 200600"/>
                    <a:gd name="csX28" fmla="*/ 175597 w 460362"/>
                    <a:gd name="csY28" fmla="*/ 167946 h 200600"/>
                    <a:gd name="csX29" fmla="*/ 179951 w 460362"/>
                    <a:gd name="csY29" fmla="*/ 174829 h 200600"/>
                    <a:gd name="csX30" fmla="*/ 187571 w 460362"/>
                    <a:gd name="csY30" fmla="*/ 178094 h 200600"/>
                    <a:gd name="csX31" fmla="*/ 187571 w 460362"/>
                    <a:gd name="csY31" fmla="*/ 182448 h 200600"/>
                    <a:gd name="csX32" fmla="*/ 203161 w 460362"/>
                    <a:gd name="csY32" fmla="*/ 183185 h 200600"/>
                    <a:gd name="csX33" fmla="*/ 220193 w 460362"/>
                    <a:gd name="csY33" fmla="*/ 188627 h 200600"/>
                    <a:gd name="csX34" fmla="*/ 221281 w 460362"/>
                    <a:gd name="csY34" fmla="*/ 200600 h 200600"/>
                    <a:gd name="csX35" fmla="*/ 232550 w 460362"/>
                    <a:gd name="csY35" fmla="*/ 192981 h 200600"/>
                    <a:gd name="csX36" fmla="*/ 239433 w 460362"/>
                    <a:gd name="csY36" fmla="*/ 196983 h 200600"/>
                    <a:gd name="csX37" fmla="*/ 247789 w 460362"/>
                    <a:gd name="csY37" fmla="*/ 196983 h 200600"/>
                    <a:gd name="csX38" fmla="*/ 326128 w 460362"/>
                    <a:gd name="csY38" fmla="*/ 194422 h 200600"/>
                    <a:gd name="csX39" fmla="*/ 424443 w 460362"/>
                    <a:gd name="csY39" fmla="*/ 191156 h 200600"/>
                    <a:gd name="csX40" fmla="*/ 452007 w 460362"/>
                    <a:gd name="csY40" fmla="*/ 190068 h 200600"/>
                    <a:gd name="csX41" fmla="*/ 460363 w 460362"/>
                    <a:gd name="csY41" fmla="*/ 138557 h 200600"/>
                    <a:gd name="csX42" fmla="*/ 383817 w 460362"/>
                    <a:gd name="csY42" fmla="*/ 100844 h 200600"/>
                    <a:gd name="csX43" fmla="*/ 339189 w 460362"/>
                    <a:gd name="csY43" fmla="*/ 78338 h 200600"/>
                    <a:gd name="csX44" fmla="*/ 291680 w 460362"/>
                    <a:gd name="csY44" fmla="*/ 54392 h 200600"/>
                    <a:gd name="csX45" fmla="*/ 261555 w 460362"/>
                    <a:gd name="csY45" fmla="*/ 53303 h 200600"/>
                    <a:gd name="csX46" fmla="*/ 260115 w 460362"/>
                    <a:gd name="csY46" fmla="*/ 53303 h 200600"/>
                    <a:gd name="csX47" fmla="*/ 232550 w 460362"/>
                    <a:gd name="csY47" fmla="*/ 53303 h 200600"/>
                    <a:gd name="csX48" fmla="*/ 214398 w 460362"/>
                    <a:gd name="csY48" fmla="*/ 53303 h 200600"/>
                    <a:gd name="csX49" fmla="*/ 196278 w 460362"/>
                    <a:gd name="csY49" fmla="*/ 61307 h 200600"/>
                    <a:gd name="csX50" fmla="*/ 179215 w 460362"/>
                    <a:gd name="csY50" fmla="*/ 56953 h 200600"/>
                    <a:gd name="csX51" fmla="*/ 166153 w 460362"/>
                    <a:gd name="csY51" fmla="*/ 28653 h 200600"/>
                    <a:gd name="csX52" fmla="*/ 166890 w 460362"/>
                    <a:gd name="csY52" fmla="*/ 18120 h 200600"/>
                    <a:gd name="csX53" fmla="*/ 153091 w 460362"/>
                    <a:gd name="csY53" fmla="*/ 14854 h 200600"/>
                    <a:gd name="csX54" fmla="*/ 147297 w 460362"/>
                    <a:gd name="csY54" fmla="*/ 0 h 200600"/>
                    <a:gd name="csX55" fmla="*/ 127352 w 460362"/>
                    <a:gd name="csY55" fmla="*/ 1793 h 200600"/>
                    <a:gd name="csX56" fmla="*/ 117172 w 460362"/>
                    <a:gd name="csY56" fmla="*/ 1793 h 2006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460362" h="200600">
                      <a:moveTo>
                        <a:pt x="117172" y="1793"/>
                      </a:moveTo>
                      <a:lnTo>
                        <a:pt x="103405" y="1793"/>
                      </a:lnTo>
                      <a:lnTo>
                        <a:pt x="17416" y="1793"/>
                      </a:lnTo>
                      <a:lnTo>
                        <a:pt x="0" y="34447"/>
                      </a:lnTo>
                      <a:lnTo>
                        <a:pt x="9444" y="50774"/>
                      </a:lnTo>
                      <a:lnTo>
                        <a:pt x="1825" y="62748"/>
                      </a:lnTo>
                      <a:lnTo>
                        <a:pt x="6915" y="67102"/>
                      </a:lnTo>
                      <a:lnTo>
                        <a:pt x="2561" y="77634"/>
                      </a:lnTo>
                      <a:lnTo>
                        <a:pt x="7619" y="82692"/>
                      </a:lnTo>
                      <a:lnTo>
                        <a:pt x="19977" y="82692"/>
                      </a:lnTo>
                      <a:lnTo>
                        <a:pt x="40658" y="107727"/>
                      </a:lnTo>
                      <a:lnTo>
                        <a:pt x="47541" y="103373"/>
                      </a:lnTo>
                      <a:lnTo>
                        <a:pt x="43891" y="96490"/>
                      </a:lnTo>
                      <a:lnTo>
                        <a:pt x="48982" y="78338"/>
                      </a:lnTo>
                      <a:lnTo>
                        <a:pt x="61339" y="88871"/>
                      </a:lnTo>
                      <a:lnTo>
                        <a:pt x="74017" y="90312"/>
                      </a:lnTo>
                      <a:lnTo>
                        <a:pt x="105230" y="82692"/>
                      </a:lnTo>
                      <a:lnTo>
                        <a:pt x="114642" y="90312"/>
                      </a:lnTo>
                      <a:lnTo>
                        <a:pt x="118644" y="105903"/>
                      </a:lnTo>
                      <a:lnTo>
                        <a:pt x="122262" y="119701"/>
                      </a:lnTo>
                      <a:lnTo>
                        <a:pt x="127352" y="118964"/>
                      </a:lnTo>
                      <a:lnTo>
                        <a:pt x="134235" y="117876"/>
                      </a:lnTo>
                      <a:lnTo>
                        <a:pt x="151651" y="129849"/>
                      </a:lnTo>
                      <a:lnTo>
                        <a:pt x="156741" y="129849"/>
                      </a:lnTo>
                      <a:lnTo>
                        <a:pt x="166890" y="142207"/>
                      </a:lnTo>
                      <a:lnTo>
                        <a:pt x="165449" y="148001"/>
                      </a:lnTo>
                      <a:lnTo>
                        <a:pt x="173773" y="154148"/>
                      </a:lnTo>
                      <a:lnTo>
                        <a:pt x="168714" y="166121"/>
                      </a:lnTo>
                      <a:lnTo>
                        <a:pt x="175597" y="167946"/>
                      </a:lnTo>
                      <a:lnTo>
                        <a:pt x="179951" y="174829"/>
                      </a:lnTo>
                      <a:lnTo>
                        <a:pt x="187571" y="178094"/>
                      </a:lnTo>
                      <a:lnTo>
                        <a:pt x="187571" y="182448"/>
                      </a:lnTo>
                      <a:lnTo>
                        <a:pt x="203161" y="183185"/>
                      </a:lnTo>
                      <a:lnTo>
                        <a:pt x="220193" y="188627"/>
                      </a:lnTo>
                      <a:lnTo>
                        <a:pt x="221281" y="200600"/>
                      </a:lnTo>
                      <a:lnTo>
                        <a:pt x="232550" y="192981"/>
                      </a:lnTo>
                      <a:lnTo>
                        <a:pt x="239433" y="196983"/>
                      </a:lnTo>
                      <a:lnTo>
                        <a:pt x="247789" y="196983"/>
                      </a:lnTo>
                      <a:lnTo>
                        <a:pt x="326128" y="194422"/>
                      </a:lnTo>
                      <a:lnTo>
                        <a:pt x="424443" y="191156"/>
                      </a:lnTo>
                      <a:lnTo>
                        <a:pt x="452007" y="190068"/>
                      </a:lnTo>
                      <a:lnTo>
                        <a:pt x="460363" y="138557"/>
                      </a:lnTo>
                      <a:lnTo>
                        <a:pt x="383817" y="100844"/>
                      </a:lnTo>
                      <a:lnTo>
                        <a:pt x="339189" y="78338"/>
                      </a:lnTo>
                      <a:lnTo>
                        <a:pt x="291680" y="54392"/>
                      </a:lnTo>
                      <a:lnTo>
                        <a:pt x="261555" y="53303"/>
                      </a:lnTo>
                      <a:lnTo>
                        <a:pt x="260115" y="53303"/>
                      </a:lnTo>
                      <a:lnTo>
                        <a:pt x="232550" y="53303"/>
                      </a:lnTo>
                      <a:lnTo>
                        <a:pt x="214398" y="53303"/>
                      </a:lnTo>
                      <a:lnTo>
                        <a:pt x="196278" y="61307"/>
                      </a:lnTo>
                      <a:lnTo>
                        <a:pt x="179215" y="56953"/>
                      </a:lnTo>
                      <a:lnTo>
                        <a:pt x="166153" y="28653"/>
                      </a:lnTo>
                      <a:lnTo>
                        <a:pt x="166890" y="18120"/>
                      </a:lnTo>
                      <a:lnTo>
                        <a:pt x="153091" y="14854"/>
                      </a:lnTo>
                      <a:lnTo>
                        <a:pt x="147297" y="0"/>
                      </a:lnTo>
                      <a:lnTo>
                        <a:pt x="127352" y="1793"/>
                      </a:lnTo>
                      <a:lnTo>
                        <a:pt x="117172" y="179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583962E2-950F-02DE-A549-9FF962AA8053}"/>
                    </a:ext>
                  </a:extLst>
                </p:cNvPr>
                <p:cNvSpPr/>
                <p:nvPr/>
              </p:nvSpPr>
              <p:spPr>
                <a:xfrm>
                  <a:off x="2405295" y="3233331"/>
                  <a:ext cx="460362" cy="200600"/>
                </a:xfrm>
                <a:custGeom>
                  <a:avLst/>
                  <a:gdLst>
                    <a:gd name="csX0" fmla="*/ 117172 w 460362"/>
                    <a:gd name="csY0" fmla="*/ 1793 h 200600"/>
                    <a:gd name="csX1" fmla="*/ 103405 w 460362"/>
                    <a:gd name="csY1" fmla="*/ 1793 h 200600"/>
                    <a:gd name="csX2" fmla="*/ 17416 w 460362"/>
                    <a:gd name="csY2" fmla="*/ 1793 h 200600"/>
                    <a:gd name="csX3" fmla="*/ 0 w 460362"/>
                    <a:gd name="csY3" fmla="*/ 34447 h 200600"/>
                    <a:gd name="csX4" fmla="*/ 9444 w 460362"/>
                    <a:gd name="csY4" fmla="*/ 50774 h 200600"/>
                    <a:gd name="csX5" fmla="*/ 1825 w 460362"/>
                    <a:gd name="csY5" fmla="*/ 62748 h 200600"/>
                    <a:gd name="csX6" fmla="*/ 6915 w 460362"/>
                    <a:gd name="csY6" fmla="*/ 67102 h 200600"/>
                    <a:gd name="csX7" fmla="*/ 2561 w 460362"/>
                    <a:gd name="csY7" fmla="*/ 77634 h 200600"/>
                    <a:gd name="csX8" fmla="*/ 7619 w 460362"/>
                    <a:gd name="csY8" fmla="*/ 82692 h 200600"/>
                    <a:gd name="csX9" fmla="*/ 19977 w 460362"/>
                    <a:gd name="csY9" fmla="*/ 82692 h 200600"/>
                    <a:gd name="csX10" fmla="*/ 40658 w 460362"/>
                    <a:gd name="csY10" fmla="*/ 107727 h 200600"/>
                    <a:gd name="csX11" fmla="*/ 47541 w 460362"/>
                    <a:gd name="csY11" fmla="*/ 103373 h 200600"/>
                    <a:gd name="csX12" fmla="*/ 43891 w 460362"/>
                    <a:gd name="csY12" fmla="*/ 96490 h 200600"/>
                    <a:gd name="csX13" fmla="*/ 48982 w 460362"/>
                    <a:gd name="csY13" fmla="*/ 78338 h 200600"/>
                    <a:gd name="csX14" fmla="*/ 61339 w 460362"/>
                    <a:gd name="csY14" fmla="*/ 88871 h 200600"/>
                    <a:gd name="csX15" fmla="*/ 74017 w 460362"/>
                    <a:gd name="csY15" fmla="*/ 90312 h 200600"/>
                    <a:gd name="csX16" fmla="*/ 105230 w 460362"/>
                    <a:gd name="csY16" fmla="*/ 82692 h 200600"/>
                    <a:gd name="csX17" fmla="*/ 114642 w 460362"/>
                    <a:gd name="csY17" fmla="*/ 90312 h 200600"/>
                    <a:gd name="csX18" fmla="*/ 118644 w 460362"/>
                    <a:gd name="csY18" fmla="*/ 105903 h 200600"/>
                    <a:gd name="csX19" fmla="*/ 122262 w 460362"/>
                    <a:gd name="csY19" fmla="*/ 119701 h 200600"/>
                    <a:gd name="csX20" fmla="*/ 127352 w 460362"/>
                    <a:gd name="csY20" fmla="*/ 118964 h 200600"/>
                    <a:gd name="csX21" fmla="*/ 134235 w 460362"/>
                    <a:gd name="csY21" fmla="*/ 117876 h 200600"/>
                    <a:gd name="csX22" fmla="*/ 151651 w 460362"/>
                    <a:gd name="csY22" fmla="*/ 129849 h 200600"/>
                    <a:gd name="csX23" fmla="*/ 156741 w 460362"/>
                    <a:gd name="csY23" fmla="*/ 129849 h 200600"/>
                    <a:gd name="csX24" fmla="*/ 166890 w 460362"/>
                    <a:gd name="csY24" fmla="*/ 142207 h 200600"/>
                    <a:gd name="csX25" fmla="*/ 165449 w 460362"/>
                    <a:gd name="csY25" fmla="*/ 148001 h 200600"/>
                    <a:gd name="csX26" fmla="*/ 173773 w 460362"/>
                    <a:gd name="csY26" fmla="*/ 154148 h 200600"/>
                    <a:gd name="csX27" fmla="*/ 168714 w 460362"/>
                    <a:gd name="csY27" fmla="*/ 166121 h 200600"/>
                    <a:gd name="csX28" fmla="*/ 175597 w 460362"/>
                    <a:gd name="csY28" fmla="*/ 167946 h 200600"/>
                    <a:gd name="csX29" fmla="*/ 179951 w 460362"/>
                    <a:gd name="csY29" fmla="*/ 174829 h 200600"/>
                    <a:gd name="csX30" fmla="*/ 187571 w 460362"/>
                    <a:gd name="csY30" fmla="*/ 178094 h 200600"/>
                    <a:gd name="csX31" fmla="*/ 187571 w 460362"/>
                    <a:gd name="csY31" fmla="*/ 182448 h 200600"/>
                    <a:gd name="csX32" fmla="*/ 203161 w 460362"/>
                    <a:gd name="csY32" fmla="*/ 183185 h 200600"/>
                    <a:gd name="csX33" fmla="*/ 220193 w 460362"/>
                    <a:gd name="csY33" fmla="*/ 188627 h 200600"/>
                    <a:gd name="csX34" fmla="*/ 221281 w 460362"/>
                    <a:gd name="csY34" fmla="*/ 200600 h 200600"/>
                    <a:gd name="csX35" fmla="*/ 232550 w 460362"/>
                    <a:gd name="csY35" fmla="*/ 192981 h 200600"/>
                    <a:gd name="csX36" fmla="*/ 239433 w 460362"/>
                    <a:gd name="csY36" fmla="*/ 196983 h 200600"/>
                    <a:gd name="csX37" fmla="*/ 247789 w 460362"/>
                    <a:gd name="csY37" fmla="*/ 196983 h 200600"/>
                    <a:gd name="csX38" fmla="*/ 326128 w 460362"/>
                    <a:gd name="csY38" fmla="*/ 194422 h 200600"/>
                    <a:gd name="csX39" fmla="*/ 424443 w 460362"/>
                    <a:gd name="csY39" fmla="*/ 191156 h 200600"/>
                    <a:gd name="csX40" fmla="*/ 452007 w 460362"/>
                    <a:gd name="csY40" fmla="*/ 190068 h 200600"/>
                    <a:gd name="csX41" fmla="*/ 460363 w 460362"/>
                    <a:gd name="csY41" fmla="*/ 138557 h 200600"/>
                    <a:gd name="csX42" fmla="*/ 383817 w 460362"/>
                    <a:gd name="csY42" fmla="*/ 100844 h 200600"/>
                    <a:gd name="csX43" fmla="*/ 339189 w 460362"/>
                    <a:gd name="csY43" fmla="*/ 78338 h 200600"/>
                    <a:gd name="csX44" fmla="*/ 291680 w 460362"/>
                    <a:gd name="csY44" fmla="*/ 54392 h 200600"/>
                    <a:gd name="csX45" fmla="*/ 261555 w 460362"/>
                    <a:gd name="csY45" fmla="*/ 53303 h 200600"/>
                    <a:gd name="csX46" fmla="*/ 260115 w 460362"/>
                    <a:gd name="csY46" fmla="*/ 53303 h 200600"/>
                    <a:gd name="csX47" fmla="*/ 232550 w 460362"/>
                    <a:gd name="csY47" fmla="*/ 53303 h 200600"/>
                    <a:gd name="csX48" fmla="*/ 214398 w 460362"/>
                    <a:gd name="csY48" fmla="*/ 53303 h 200600"/>
                    <a:gd name="csX49" fmla="*/ 196278 w 460362"/>
                    <a:gd name="csY49" fmla="*/ 61307 h 200600"/>
                    <a:gd name="csX50" fmla="*/ 179215 w 460362"/>
                    <a:gd name="csY50" fmla="*/ 56953 h 200600"/>
                    <a:gd name="csX51" fmla="*/ 166153 w 460362"/>
                    <a:gd name="csY51" fmla="*/ 28653 h 200600"/>
                    <a:gd name="csX52" fmla="*/ 166890 w 460362"/>
                    <a:gd name="csY52" fmla="*/ 18120 h 200600"/>
                    <a:gd name="csX53" fmla="*/ 153091 w 460362"/>
                    <a:gd name="csY53" fmla="*/ 14854 h 200600"/>
                    <a:gd name="csX54" fmla="*/ 147297 w 460362"/>
                    <a:gd name="csY54" fmla="*/ 0 h 200600"/>
                    <a:gd name="csX55" fmla="*/ 127352 w 460362"/>
                    <a:gd name="csY55" fmla="*/ 1793 h 200600"/>
                    <a:gd name="csX56" fmla="*/ 117172 w 460362"/>
                    <a:gd name="csY56" fmla="*/ 1793 h 2006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460362" h="200600">
                      <a:moveTo>
                        <a:pt x="117172" y="1793"/>
                      </a:moveTo>
                      <a:lnTo>
                        <a:pt x="103405" y="1793"/>
                      </a:lnTo>
                      <a:lnTo>
                        <a:pt x="17416" y="1793"/>
                      </a:lnTo>
                      <a:lnTo>
                        <a:pt x="0" y="34447"/>
                      </a:lnTo>
                      <a:lnTo>
                        <a:pt x="9444" y="50774"/>
                      </a:lnTo>
                      <a:lnTo>
                        <a:pt x="1825" y="62748"/>
                      </a:lnTo>
                      <a:lnTo>
                        <a:pt x="6915" y="67102"/>
                      </a:lnTo>
                      <a:lnTo>
                        <a:pt x="2561" y="77634"/>
                      </a:lnTo>
                      <a:lnTo>
                        <a:pt x="7619" y="82692"/>
                      </a:lnTo>
                      <a:lnTo>
                        <a:pt x="19977" y="82692"/>
                      </a:lnTo>
                      <a:lnTo>
                        <a:pt x="40658" y="107727"/>
                      </a:lnTo>
                      <a:lnTo>
                        <a:pt x="47541" y="103373"/>
                      </a:lnTo>
                      <a:lnTo>
                        <a:pt x="43891" y="96490"/>
                      </a:lnTo>
                      <a:lnTo>
                        <a:pt x="48982" y="78338"/>
                      </a:lnTo>
                      <a:lnTo>
                        <a:pt x="61339" y="88871"/>
                      </a:lnTo>
                      <a:lnTo>
                        <a:pt x="74017" y="90312"/>
                      </a:lnTo>
                      <a:lnTo>
                        <a:pt x="105230" y="82692"/>
                      </a:lnTo>
                      <a:lnTo>
                        <a:pt x="114642" y="90312"/>
                      </a:lnTo>
                      <a:lnTo>
                        <a:pt x="118644" y="105903"/>
                      </a:lnTo>
                      <a:lnTo>
                        <a:pt x="122262" y="119701"/>
                      </a:lnTo>
                      <a:lnTo>
                        <a:pt x="127352" y="118964"/>
                      </a:lnTo>
                      <a:lnTo>
                        <a:pt x="134235" y="117876"/>
                      </a:lnTo>
                      <a:lnTo>
                        <a:pt x="151651" y="129849"/>
                      </a:lnTo>
                      <a:lnTo>
                        <a:pt x="156741" y="129849"/>
                      </a:lnTo>
                      <a:lnTo>
                        <a:pt x="166890" y="142207"/>
                      </a:lnTo>
                      <a:lnTo>
                        <a:pt x="165449" y="148001"/>
                      </a:lnTo>
                      <a:lnTo>
                        <a:pt x="173773" y="154148"/>
                      </a:lnTo>
                      <a:lnTo>
                        <a:pt x="168714" y="166121"/>
                      </a:lnTo>
                      <a:lnTo>
                        <a:pt x="175597" y="167946"/>
                      </a:lnTo>
                      <a:lnTo>
                        <a:pt x="179951" y="174829"/>
                      </a:lnTo>
                      <a:lnTo>
                        <a:pt x="187571" y="178094"/>
                      </a:lnTo>
                      <a:lnTo>
                        <a:pt x="187571" y="182448"/>
                      </a:lnTo>
                      <a:lnTo>
                        <a:pt x="203161" y="183185"/>
                      </a:lnTo>
                      <a:lnTo>
                        <a:pt x="220193" y="188627"/>
                      </a:lnTo>
                      <a:lnTo>
                        <a:pt x="221281" y="200600"/>
                      </a:lnTo>
                      <a:lnTo>
                        <a:pt x="232550" y="192981"/>
                      </a:lnTo>
                      <a:lnTo>
                        <a:pt x="239433" y="196983"/>
                      </a:lnTo>
                      <a:lnTo>
                        <a:pt x="247789" y="196983"/>
                      </a:lnTo>
                      <a:lnTo>
                        <a:pt x="326128" y="194422"/>
                      </a:lnTo>
                      <a:lnTo>
                        <a:pt x="424443" y="191156"/>
                      </a:lnTo>
                      <a:lnTo>
                        <a:pt x="452007" y="190068"/>
                      </a:lnTo>
                      <a:lnTo>
                        <a:pt x="460363" y="138557"/>
                      </a:lnTo>
                      <a:lnTo>
                        <a:pt x="383817" y="100844"/>
                      </a:lnTo>
                      <a:lnTo>
                        <a:pt x="339189" y="78338"/>
                      </a:lnTo>
                      <a:lnTo>
                        <a:pt x="291680" y="54392"/>
                      </a:lnTo>
                      <a:lnTo>
                        <a:pt x="261555" y="53303"/>
                      </a:lnTo>
                      <a:lnTo>
                        <a:pt x="260115" y="53303"/>
                      </a:lnTo>
                      <a:lnTo>
                        <a:pt x="232550" y="53303"/>
                      </a:lnTo>
                      <a:lnTo>
                        <a:pt x="214398" y="53303"/>
                      </a:lnTo>
                      <a:lnTo>
                        <a:pt x="196278" y="61307"/>
                      </a:lnTo>
                      <a:lnTo>
                        <a:pt x="179215" y="56953"/>
                      </a:lnTo>
                      <a:lnTo>
                        <a:pt x="166153" y="28653"/>
                      </a:lnTo>
                      <a:lnTo>
                        <a:pt x="166890" y="18120"/>
                      </a:lnTo>
                      <a:lnTo>
                        <a:pt x="153091" y="14854"/>
                      </a:lnTo>
                      <a:lnTo>
                        <a:pt x="147297" y="0"/>
                      </a:lnTo>
                      <a:lnTo>
                        <a:pt x="127352" y="1793"/>
                      </a:lnTo>
                      <a:lnTo>
                        <a:pt x="117172" y="179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8" name="Forma Livre: Forma 317">
                  <a:extLst>
                    <a:ext uri="{FF2B5EF4-FFF2-40B4-BE49-F238E27FC236}">
                      <a16:creationId xmlns:a16="http://schemas.microsoft.com/office/drawing/2014/main" id="{D480A5F0-F0A7-4767-A670-62A7E27AD32A}"/>
                    </a:ext>
                  </a:extLst>
                </p:cNvPr>
                <p:cNvSpPr/>
                <p:nvPr/>
              </p:nvSpPr>
              <p:spPr>
                <a:xfrm>
                  <a:off x="2405295" y="3233331"/>
                  <a:ext cx="460362" cy="200600"/>
                </a:xfrm>
                <a:custGeom>
                  <a:avLst/>
                  <a:gdLst>
                    <a:gd name="csX0" fmla="*/ 117172 w 460362"/>
                    <a:gd name="csY0" fmla="*/ 1793 h 200600"/>
                    <a:gd name="csX1" fmla="*/ 103405 w 460362"/>
                    <a:gd name="csY1" fmla="*/ 1793 h 200600"/>
                    <a:gd name="csX2" fmla="*/ 17416 w 460362"/>
                    <a:gd name="csY2" fmla="*/ 1793 h 200600"/>
                    <a:gd name="csX3" fmla="*/ 0 w 460362"/>
                    <a:gd name="csY3" fmla="*/ 34447 h 200600"/>
                    <a:gd name="csX4" fmla="*/ 9444 w 460362"/>
                    <a:gd name="csY4" fmla="*/ 50774 h 200600"/>
                    <a:gd name="csX5" fmla="*/ 1825 w 460362"/>
                    <a:gd name="csY5" fmla="*/ 62748 h 200600"/>
                    <a:gd name="csX6" fmla="*/ 6915 w 460362"/>
                    <a:gd name="csY6" fmla="*/ 67102 h 200600"/>
                    <a:gd name="csX7" fmla="*/ 2561 w 460362"/>
                    <a:gd name="csY7" fmla="*/ 77634 h 200600"/>
                    <a:gd name="csX8" fmla="*/ 7619 w 460362"/>
                    <a:gd name="csY8" fmla="*/ 82692 h 200600"/>
                    <a:gd name="csX9" fmla="*/ 19977 w 460362"/>
                    <a:gd name="csY9" fmla="*/ 82692 h 200600"/>
                    <a:gd name="csX10" fmla="*/ 40658 w 460362"/>
                    <a:gd name="csY10" fmla="*/ 107727 h 200600"/>
                    <a:gd name="csX11" fmla="*/ 47541 w 460362"/>
                    <a:gd name="csY11" fmla="*/ 103373 h 200600"/>
                    <a:gd name="csX12" fmla="*/ 43891 w 460362"/>
                    <a:gd name="csY12" fmla="*/ 96490 h 200600"/>
                    <a:gd name="csX13" fmla="*/ 48982 w 460362"/>
                    <a:gd name="csY13" fmla="*/ 78338 h 200600"/>
                    <a:gd name="csX14" fmla="*/ 61339 w 460362"/>
                    <a:gd name="csY14" fmla="*/ 88871 h 200600"/>
                    <a:gd name="csX15" fmla="*/ 74017 w 460362"/>
                    <a:gd name="csY15" fmla="*/ 90312 h 200600"/>
                    <a:gd name="csX16" fmla="*/ 105230 w 460362"/>
                    <a:gd name="csY16" fmla="*/ 82692 h 200600"/>
                    <a:gd name="csX17" fmla="*/ 114642 w 460362"/>
                    <a:gd name="csY17" fmla="*/ 90312 h 200600"/>
                    <a:gd name="csX18" fmla="*/ 118644 w 460362"/>
                    <a:gd name="csY18" fmla="*/ 105903 h 200600"/>
                    <a:gd name="csX19" fmla="*/ 122262 w 460362"/>
                    <a:gd name="csY19" fmla="*/ 119701 h 200600"/>
                    <a:gd name="csX20" fmla="*/ 127352 w 460362"/>
                    <a:gd name="csY20" fmla="*/ 118964 h 200600"/>
                    <a:gd name="csX21" fmla="*/ 134235 w 460362"/>
                    <a:gd name="csY21" fmla="*/ 117876 h 200600"/>
                    <a:gd name="csX22" fmla="*/ 151651 w 460362"/>
                    <a:gd name="csY22" fmla="*/ 129849 h 200600"/>
                    <a:gd name="csX23" fmla="*/ 156741 w 460362"/>
                    <a:gd name="csY23" fmla="*/ 129849 h 200600"/>
                    <a:gd name="csX24" fmla="*/ 166890 w 460362"/>
                    <a:gd name="csY24" fmla="*/ 142207 h 200600"/>
                    <a:gd name="csX25" fmla="*/ 165449 w 460362"/>
                    <a:gd name="csY25" fmla="*/ 148001 h 200600"/>
                    <a:gd name="csX26" fmla="*/ 173773 w 460362"/>
                    <a:gd name="csY26" fmla="*/ 154148 h 200600"/>
                    <a:gd name="csX27" fmla="*/ 168714 w 460362"/>
                    <a:gd name="csY27" fmla="*/ 166121 h 200600"/>
                    <a:gd name="csX28" fmla="*/ 175597 w 460362"/>
                    <a:gd name="csY28" fmla="*/ 167946 h 200600"/>
                    <a:gd name="csX29" fmla="*/ 179951 w 460362"/>
                    <a:gd name="csY29" fmla="*/ 174829 h 200600"/>
                    <a:gd name="csX30" fmla="*/ 187571 w 460362"/>
                    <a:gd name="csY30" fmla="*/ 178094 h 200600"/>
                    <a:gd name="csX31" fmla="*/ 187571 w 460362"/>
                    <a:gd name="csY31" fmla="*/ 182448 h 200600"/>
                    <a:gd name="csX32" fmla="*/ 203161 w 460362"/>
                    <a:gd name="csY32" fmla="*/ 183185 h 200600"/>
                    <a:gd name="csX33" fmla="*/ 220193 w 460362"/>
                    <a:gd name="csY33" fmla="*/ 188627 h 200600"/>
                    <a:gd name="csX34" fmla="*/ 221281 w 460362"/>
                    <a:gd name="csY34" fmla="*/ 200600 h 200600"/>
                    <a:gd name="csX35" fmla="*/ 232550 w 460362"/>
                    <a:gd name="csY35" fmla="*/ 192981 h 200600"/>
                    <a:gd name="csX36" fmla="*/ 239433 w 460362"/>
                    <a:gd name="csY36" fmla="*/ 196983 h 200600"/>
                    <a:gd name="csX37" fmla="*/ 247789 w 460362"/>
                    <a:gd name="csY37" fmla="*/ 196983 h 200600"/>
                    <a:gd name="csX38" fmla="*/ 326128 w 460362"/>
                    <a:gd name="csY38" fmla="*/ 194422 h 200600"/>
                    <a:gd name="csX39" fmla="*/ 424443 w 460362"/>
                    <a:gd name="csY39" fmla="*/ 191156 h 200600"/>
                    <a:gd name="csX40" fmla="*/ 452007 w 460362"/>
                    <a:gd name="csY40" fmla="*/ 190068 h 200600"/>
                    <a:gd name="csX41" fmla="*/ 460363 w 460362"/>
                    <a:gd name="csY41" fmla="*/ 138557 h 200600"/>
                    <a:gd name="csX42" fmla="*/ 383817 w 460362"/>
                    <a:gd name="csY42" fmla="*/ 100844 h 200600"/>
                    <a:gd name="csX43" fmla="*/ 339189 w 460362"/>
                    <a:gd name="csY43" fmla="*/ 78338 h 200600"/>
                    <a:gd name="csX44" fmla="*/ 291680 w 460362"/>
                    <a:gd name="csY44" fmla="*/ 54392 h 200600"/>
                    <a:gd name="csX45" fmla="*/ 261555 w 460362"/>
                    <a:gd name="csY45" fmla="*/ 53303 h 200600"/>
                    <a:gd name="csX46" fmla="*/ 260115 w 460362"/>
                    <a:gd name="csY46" fmla="*/ 53303 h 200600"/>
                    <a:gd name="csX47" fmla="*/ 232550 w 460362"/>
                    <a:gd name="csY47" fmla="*/ 53303 h 200600"/>
                    <a:gd name="csX48" fmla="*/ 214398 w 460362"/>
                    <a:gd name="csY48" fmla="*/ 53303 h 200600"/>
                    <a:gd name="csX49" fmla="*/ 196278 w 460362"/>
                    <a:gd name="csY49" fmla="*/ 61307 h 200600"/>
                    <a:gd name="csX50" fmla="*/ 179215 w 460362"/>
                    <a:gd name="csY50" fmla="*/ 56953 h 200600"/>
                    <a:gd name="csX51" fmla="*/ 166153 w 460362"/>
                    <a:gd name="csY51" fmla="*/ 28653 h 200600"/>
                    <a:gd name="csX52" fmla="*/ 166890 w 460362"/>
                    <a:gd name="csY52" fmla="*/ 18120 h 200600"/>
                    <a:gd name="csX53" fmla="*/ 153091 w 460362"/>
                    <a:gd name="csY53" fmla="*/ 14854 h 200600"/>
                    <a:gd name="csX54" fmla="*/ 147297 w 460362"/>
                    <a:gd name="csY54" fmla="*/ 0 h 200600"/>
                    <a:gd name="csX55" fmla="*/ 127352 w 460362"/>
                    <a:gd name="csY55" fmla="*/ 1793 h 200600"/>
                    <a:gd name="csX56" fmla="*/ 117172 w 460362"/>
                    <a:gd name="csY56" fmla="*/ 1793 h 2006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460362" h="200600">
                      <a:moveTo>
                        <a:pt x="117172" y="1793"/>
                      </a:moveTo>
                      <a:lnTo>
                        <a:pt x="103405" y="1793"/>
                      </a:lnTo>
                      <a:lnTo>
                        <a:pt x="17416" y="1793"/>
                      </a:lnTo>
                      <a:lnTo>
                        <a:pt x="0" y="34447"/>
                      </a:lnTo>
                      <a:lnTo>
                        <a:pt x="9444" y="50774"/>
                      </a:lnTo>
                      <a:lnTo>
                        <a:pt x="1825" y="62748"/>
                      </a:lnTo>
                      <a:lnTo>
                        <a:pt x="6915" y="67102"/>
                      </a:lnTo>
                      <a:lnTo>
                        <a:pt x="2561" y="77634"/>
                      </a:lnTo>
                      <a:lnTo>
                        <a:pt x="7619" y="82692"/>
                      </a:lnTo>
                      <a:lnTo>
                        <a:pt x="19977" y="82692"/>
                      </a:lnTo>
                      <a:lnTo>
                        <a:pt x="40658" y="107727"/>
                      </a:lnTo>
                      <a:lnTo>
                        <a:pt x="47541" y="103373"/>
                      </a:lnTo>
                      <a:lnTo>
                        <a:pt x="43891" y="96490"/>
                      </a:lnTo>
                      <a:lnTo>
                        <a:pt x="48982" y="78338"/>
                      </a:lnTo>
                      <a:lnTo>
                        <a:pt x="61339" y="88871"/>
                      </a:lnTo>
                      <a:lnTo>
                        <a:pt x="74017" y="90312"/>
                      </a:lnTo>
                      <a:lnTo>
                        <a:pt x="105230" y="82692"/>
                      </a:lnTo>
                      <a:lnTo>
                        <a:pt x="114642" y="90312"/>
                      </a:lnTo>
                      <a:lnTo>
                        <a:pt x="118644" y="105903"/>
                      </a:lnTo>
                      <a:lnTo>
                        <a:pt x="122262" y="119701"/>
                      </a:lnTo>
                      <a:lnTo>
                        <a:pt x="127352" y="118964"/>
                      </a:lnTo>
                      <a:lnTo>
                        <a:pt x="134235" y="117876"/>
                      </a:lnTo>
                      <a:lnTo>
                        <a:pt x="151651" y="129849"/>
                      </a:lnTo>
                      <a:lnTo>
                        <a:pt x="156741" y="129849"/>
                      </a:lnTo>
                      <a:lnTo>
                        <a:pt x="166890" y="142207"/>
                      </a:lnTo>
                      <a:lnTo>
                        <a:pt x="165449" y="148001"/>
                      </a:lnTo>
                      <a:lnTo>
                        <a:pt x="173773" y="154148"/>
                      </a:lnTo>
                      <a:lnTo>
                        <a:pt x="168714" y="166121"/>
                      </a:lnTo>
                      <a:lnTo>
                        <a:pt x="175597" y="167946"/>
                      </a:lnTo>
                      <a:lnTo>
                        <a:pt x="179951" y="174829"/>
                      </a:lnTo>
                      <a:lnTo>
                        <a:pt x="187571" y="178094"/>
                      </a:lnTo>
                      <a:lnTo>
                        <a:pt x="187571" y="182448"/>
                      </a:lnTo>
                      <a:lnTo>
                        <a:pt x="203161" y="183185"/>
                      </a:lnTo>
                      <a:lnTo>
                        <a:pt x="220193" y="188627"/>
                      </a:lnTo>
                      <a:lnTo>
                        <a:pt x="221281" y="200600"/>
                      </a:lnTo>
                      <a:lnTo>
                        <a:pt x="232550" y="192981"/>
                      </a:lnTo>
                      <a:lnTo>
                        <a:pt x="239433" y="196983"/>
                      </a:lnTo>
                      <a:lnTo>
                        <a:pt x="247789" y="196983"/>
                      </a:lnTo>
                      <a:lnTo>
                        <a:pt x="326128" y="194422"/>
                      </a:lnTo>
                      <a:lnTo>
                        <a:pt x="424443" y="191156"/>
                      </a:lnTo>
                      <a:lnTo>
                        <a:pt x="452007" y="190068"/>
                      </a:lnTo>
                      <a:lnTo>
                        <a:pt x="460363" y="138557"/>
                      </a:lnTo>
                      <a:lnTo>
                        <a:pt x="383817" y="100844"/>
                      </a:lnTo>
                      <a:lnTo>
                        <a:pt x="339189" y="78338"/>
                      </a:lnTo>
                      <a:lnTo>
                        <a:pt x="291680" y="54392"/>
                      </a:lnTo>
                      <a:lnTo>
                        <a:pt x="261555" y="53303"/>
                      </a:lnTo>
                      <a:lnTo>
                        <a:pt x="260115" y="53303"/>
                      </a:lnTo>
                      <a:lnTo>
                        <a:pt x="232550" y="53303"/>
                      </a:lnTo>
                      <a:lnTo>
                        <a:pt x="214398" y="53303"/>
                      </a:lnTo>
                      <a:lnTo>
                        <a:pt x="196278" y="61307"/>
                      </a:lnTo>
                      <a:lnTo>
                        <a:pt x="179215" y="56953"/>
                      </a:lnTo>
                      <a:lnTo>
                        <a:pt x="166153" y="28653"/>
                      </a:lnTo>
                      <a:lnTo>
                        <a:pt x="166890" y="18120"/>
                      </a:lnTo>
                      <a:lnTo>
                        <a:pt x="153091" y="14854"/>
                      </a:lnTo>
                      <a:lnTo>
                        <a:pt x="147297" y="0"/>
                      </a:lnTo>
                      <a:lnTo>
                        <a:pt x="127352" y="1793"/>
                      </a:lnTo>
                      <a:lnTo>
                        <a:pt x="117172" y="179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19" name="Forma Livre: Forma 318">
                  <a:extLst>
                    <a:ext uri="{FF2B5EF4-FFF2-40B4-BE49-F238E27FC236}">
                      <a16:creationId xmlns:a16="http://schemas.microsoft.com/office/drawing/2014/main" id="{7744316E-A532-2B95-3E6E-D1A855DCC821}"/>
                    </a:ext>
                  </a:extLst>
                </p:cNvPr>
                <p:cNvSpPr/>
                <p:nvPr/>
              </p:nvSpPr>
              <p:spPr>
                <a:xfrm>
                  <a:off x="2797083" y="6149174"/>
                  <a:ext cx="197718" cy="260818"/>
                </a:xfrm>
                <a:custGeom>
                  <a:avLst/>
                  <a:gdLst>
                    <a:gd name="csX0" fmla="*/ 185009 w 197718"/>
                    <a:gd name="csY0" fmla="*/ 0 h 260818"/>
                    <a:gd name="csX1" fmla="*/ 161799 w 197718"/>
                    <a:gd name="csY1" fmla="*/ 31182 h 260818"/>
                    <a:gd name="csX2" fmla="*/ 134939 w 197718"/>
                    <a:gd name="csY2" fmla="*/ 66365 h 260818"/>
                    <a:gd name="csX3" fmla="*/ 133147 w 197718"/>
                    <a:gd name="csY3" fmla="*/ 67838 h 260818"/>
                    <a:gd name="csX4" fmla="*/ 99756 w 197718"/>
                    <a:gd name="csY4" fmla="*/ 84517 h 260818"/>
                    <a:gd name="csX5" fmla="*/ 87783 w 197718"/>
                    <a:gd name="csY5" fmla="*/ 77634 h 260818"/>
                    <a:gd name="csX6" fmla="*/ 76546 w 197718"/>
                    <a:gd name="csY6" fmla="*/ 78338 h 260818"/>
                    <a:gd name="csX7" fmla="*/ 63484 w 197718"/>
                    <a:gd name="csY7" fmla="*/ 71455 h 260818"/>
                    <a:gd name="csX8" fmla="*/ 51511 w 197718"/>
                    <a:gd name="csY8" fmla="*/ 58394 h 260818"/>
                    <a:gd name="csX9" fmla="*/ 41010 w 197718"/>
                    <a:gd name="csY9" fmla="*/ 67101 h 260818"/>
                    <a:gd name="csX10" fmla="*/ 26476 w 197718"/>
                    <a:gd name="csY10" fmla="*/ 70719 h 260818"/>
                    <a:gd name="csX11" fmla="*/ 13798 w 197718"/>
                    <a:gd name="csY11" fmla="*/ 85254 h 260818"/>
                    <a:gd name="csX12" fmla="*/ 21417 w 197718"/>
                    <a:gd name="csY12" fmla="*/ 92841 h 260818"/>
                    <a:gd name="csX13" fmla="*/ 18856 w 197718"/>
                    <a:gd name="csY13" fmla="*/ 100844 h 260818"/>
                    <a:gd name="csX14" fmla="*/ 21417 w 197718"/>
                    <a:gd name="csY14" fmla="*/ 116083 h 260818"/>
                    <a:gd name="csX15" fmla="*/ 4002 w 197718"/>
                    <a:gd name="csY15" fmla="*/ 158502 h 260818"/>
                    <a:gd name="csX16" fmla="*/ 0 w 197718"/>
                    <a:gd name="csY16" fmla="*/ 180655 h 260818"/>
                    <a:gd name="csX17" fmla="*/ 736 w 197718"/>
                    <a:gd name="csY17" fmla="*/ 224547 h 260818"/>
                    <a:gd name="csX18" fmla="*/ 4002 w 197718"/>
                    <a:gd name="csY18" fmla="*/ 239049 h 260818"/>
                    <a:gd name="csX19" fmla="*/ 16327 w 197718"/>
                    <a:gd name="csY19" fmla="*/ 252815 h 260818"/>
                    <a:gd name="csX20" fmla="*/ 28300 w 197718"/>
                    <a:gd name="csY20" fmla="*/ 254640 h 260818"/>
                    <a:gd name="csX21" fmla="*/ 31566 w 197718"/>
                    <a:gd name="csY21" fmla="*/ 260819 h 260818"/>
                    <a:gd name="csX22" fmla="*/ 55865 w 197718"/>
                    <a:gd name="csY22" fmla="*/ 228901 h 260818"/>
                    <a:gd name="csX23" fmla="*/ 77986 w 197718"/>
                    <a:gd name="csY23" fmla="*/ 215839 h 260818"/>
                    <a:gd name="csX24" fmla="*/ 91784 w 197718"/>
                    <a:gd name="csY24" fmla="*/ 198071 h 260818"/>
                    <a:gd name="csX25" fmla="*/ 123702 w 197718"/>
                    <a:gd name="csY25" fmla="*/ 176301 h 260818"/>
                    <a:gd name="csX26" fmla="*/ 161799 w 197718"/>
                    <a:gd name="csY26" fmla="*/ 68926 h 260818"/>
                    <a:gd name="csX27" fmla="*/ 181392 w 197718"/>
                    <a:gd name="csY27" fmla="*/ 54392 h 260818"/>
                    <a:gd name="csX28" fmla="*/ 185009 w 197718"/>
                    <a:gd name="csY28" fmla="*/ 35183 h 260818"/>
                    <a:gd name="csX29" fmla="*/ 190100 w 197718"/>
                    <a:gd name="csY29" fmla="*/ 17415 h 260818"/>
                    <a:gd name="csX30" fmla="*/ 197719 w 197718"/>
                    <a:gd name="csY30" fmla="*/ 11973 h 260818"/>
                    <a:gd name="csX31" fmla="*/ 190804 w 197718"/>
                    <a:gd name="csY31" fmla="*/ 13062 h 260818"/>
                    <a:gd name="csX32" fmla="*/ 185009 w 197718"/>
                    <a:gd name="csY32" fmla="*/ 0 h 2608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</a:cxnLst>
                  <a:rect l="l" t="t" r="r" b="b"/>
                  <a:pathLst>
                    <a:path w="197718" h="260818">
                      <a:moveTo>
                        <a:pt x="185009" y="0"/>
                      </a:moveTo>
                      <a:lnTo>
                        <a:pt x="161799" y="31182"/>
                      </a:lnTo>
                      <a:lnTo>
                        <a:pt x="134939" y="66365"/>
                      </a:lnTo>
                      <a:lnTo>
                        <a:pt x="133147" y="67838"/>
                      </a:lnTo>
                      <a:lnTo>
                        <a:pt x="99756" y="84517"/>
                      </a:lnTo>
                      <a:lnTo>
                        <a:pt x="87783" y="77634"/>
                      </a:lnTo>
                      <a:lnTo>
                        <a:pt x="76546" y="78338"/>
                      </a:lnTo>
                      <a:lnTo>
                        <a:pt x="63484" y="71455"/>
                      </a:lnTo>
                      <a:lnTo>
                        <a:pt x="51511" y="58394"/>
                      </a:lnTo>
                      <a:lnTo>
                        <a:pt x="41010" y="67101"/>
                      </a:lnTo>
                      <a:lnTo>
                        <a:pt x="26476" y="70719"/>
                      </a:lnTo>
                      <a:lnTo>
                        <a:pt x="13798" y="85254"/>
                      </a:lnTo>
                      <a:lnTo>
                        <a:pt x="21417" y="92841"/>
                      </a:lnTo>
                      <a:lnTo>
                        <a:pt x="18856" y="100844"/>
                      </a:lnTo>
                      <a:lnTo>
                        <a:pt x="21417" y="116083"/>
                      </a:lnTo>
                      <a:lnTo>
                        <a:pt x="4002" y="158502"/>
                      </a:lnTo>
                      <a:lnTo>
                        <a:pt x="0" y="180655"/>
                      </a:lnTo>
                      <a:lnTo>
                        <a:pt x="736" y="224547"/>
                      </a:lnTo>
                      <a:lnTo>
                        <a:pt x="4002" y="239049"/>
                      </a:lnTo>
                      <a:lnTo>
                        <a:pt x="16327" y="252815"/>
                      </a:lnTo>
                      <a:lnTo>
                        <a:pt x="28300" y="254640"/>
                      </a:lnTo>
                      <a:lnTo>
                        <a:pt x="31566" y="260819"/>
                      </a:lnTo>
                      <a:lnTo>
                        <a:pt x="55865" y="228901"/>
                      </a:lnTo>
                      <a:lnTo>
                        <a:pt x="77986" y="215839"/>
                      </a:lnTo>
                      <a:lnTo>
                        <a:pt x="91784" y="198071"/>
                      </a:lnTo>
                      <a:lnTo>
                        <a:pt x="123702" y="176301"/>
                      </a:lnTo>
                      <a:lnTo>
                        <a:pt x="161799" y="68926"/>
                      </a:lnTo>
                      <a:lnTo>
                        <a:pt x="181392" y="54392"/>
                      </a:lnTo>
                      <a:lnTo>
                        <a:pt x="185009" y="35183"/>
                      </a:lnTo>
                      <a:lnTo>
                        <a:pt x="190100" y="17415"/>
                      </a:lnTo>
                      <a:lnTo>
                        <a:pt x="197719" y="11973"/>
                      </a:lnTo>
                      <a:lnTo>
                        <a:pt x="190804" y="13062"/>
                      </a:lnTo>
                      <a:lnTo>
                        <a:pt x="18500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0" name="Forma Livre: Forma 319">
                  <a:extLst>
                    <a:ext uri="{FF2B5EF4-FFF2-40B4-BE49-F238E27FC236}">
                      <a16:creationId xmlns:a16="http://schemas.microsoft.com/office/drawing/2014/main" id="{94246D59-7400-5689-7E7B-23620086F9AF}"/>
                    </a:ext>
                  </a:extLst>
                </p:cNvPr>
                <p:cNvSpPr/>
                <p:nvPr/>
              </p:nvSpPr>
              <p:spPr>
                <a:xfrm>
                  <a:off x="2797083" y="6149174"/>
                  <a:ext cx="197718" cy="260818"/>
                </a:xfrm>
                <a:custGeom>
                  <a:avLst/>
                  <a:gdLst>
                    <a:gd name="csX0" fmla="*/ 185009 w 197718"/>
                    <a:gd name="csY0" fmla="*/ 0 h 260818"/>
                    <a:gd name="csX1" fmla="*/ 161799 w 197718"/>
                    <a:gd name="csY1" fmla="*/ 31182 h 260818"/>
                    <a:gd name="csX2" fmla="*/ 134939 w 197718"/>
                    <a:gd name="csY2" fmla="*/ 66365 h 260818"/>
                    <a:gd name="csX3" fmla="*/ 133147 w 197718"/>
                    <a:gd name="csY3" fmla="*/ 67838 h 260818"/>
                    <a:gd name="csX4" fmla="*/ 99756 w 197718"/>
                    <a:gd name="csY4" fmla="*/ 84517 h 260818"/>
                    <a:gd name="csX5" fmla="*/ 87783 w 197718"/>
                    <a:gd name="csY5" fmla="*/ 77634 h 260818"/>
                    <a:gd name="csX6" fmla="*/ 76546 w 197718"/>
                    <a:gd name="csY6" fmla="*/ 78338 h 260818"/>
                    <a:gd name="csX7" fmla="*/ 63484 w 197718"/>
                    <a:gd name="csY7" fmla="*/ 71455 h 260818"/>
                    <a:gd name="csX8" fmla="*/ 51511 w 197718"/>
                    <a:gd name="csY8" fmla="*/ 58394 h 260818"/>
                    <a:gd name="csX9" fmla="*/ 41010 w 197718"/>
                    <a:gd name="csY9" fmla="*/ 67101 h 260818"/>
                    <a:gd name="csX10" fmla="*/ 26476 w 197718"/>
                    <a:gd name="csY10" fmla="*/ 70719 h 260818"/>
                    <a:gd name="csX11" fmla="*/ 13798 w 197718"/>
                    <a:gd name="csY11" fmla="*/ 85254 h 260818"/>
                    <a:gd name="csX12" fmla="*/ 21417 w 197718"/>
                    <a:gd name="csY12" fmla="*/ 92841 h 260818"/>
                    <a:gd name="csX13" fmla="*/ 18856 w 197718"/>
                    <a:gd name="csY13" fmla="*/ 100844 h 260818"/>
                    <a:gd name="csX14" fmla="*/ 21417 w 197718"/>
                    <a:gd name="csY14" fmla="*/ 116083 h 260818"/>
                    <a:gd name="csX15" fmla="*/ 4002 w 197718"/>
                    <a:gd name="csY15" fmla="*/ 158502 h 260818"/>
                    <a:gd name="csX16" fmla="*/ 0 w 197718"/>
                    <a:gd name="csY16" fmla="*/ 180655 h 260818"/>
                    <a:gd name="csX17" fmla="*/ 736 w 197718"/>
                    <a:gd name="csY17" fmla="*/ 224547 h 260818"/>
                    <a:gd name="csX18" fmla="*/ 4002 w 197718"/>
                    <a:gd name="csY18" fmla="*/ 239049 h 260818"/>
                    <a:gd name="csX19" fmla="*/ 16327 w 197718"/>
                    <a:gd name="csY19" fmla="*/ 252815 h 260818"/>
                    <a:gd name="csX20" fmla="*/ 28300 w 197718"/>
                    <a:gd name="csY20" fmla="*/ 254640 h 260818"/>
                    <a:gd name="csX21" fmla="*/ 31566 w 197718"/>
                    <a:gd name="csY21" fmla="*/ 260819 h 260818"/>
                    <a:gd name="csX22" fmla="*/ 55865 w 197718"/>
                    <a:gd name="csY22" fmla="*/ 228901 h 260818"/>
                    <a:gd name="csX23" fmla="*/ 77986 w 197718"/>
                    <a:gd name="csY23" fmla="*/ 215839 h 260818"/>
                    <a:gd name="csX24" fmla="*/ 91784 w 197718"/>
                    <a:gd name="csY24" fmla="*/ 198071 h 260818"/>
                    <a:gd name="csX25" fmla="*/ 123702 w 197718"/>
                    <a:gd name="csY25" fmla="*/ 176301 h 260818"/>
                    <a:gd name="csX26" fmla="*/ 161799 w 197718"/>
                    <a:gd name="csY26" fmla="*/ 68926 h 260818"/>
                    <a:gd name="csX27" fmla="*/ 181392 w 197718"/>
                    <a:gd name="csY27" fmla="*/ 54392 h 260818"/>
                    <a:gd name="csX28" fmla="*/ 185009 w 197718"/>
                    <a:gd name="csY28" fmla="*/ 35183 h 260818"/>
                    <a:gd name="csX29" fmla="*/ 190100 w 197718"/>
                    <a:gd name="csY29" fmla="*/ 17415 h 260818"/>
                    <a:gd name="csX30" fmla="*/ 197719 w 197718"/>
                    <a:gd name="csY30" fmla="*/ 11973 h 260818"/>
                    <a:gd name="csX31" fmla="*/ 190804 w 197718"/>
                    <a:gd name="csY31" fmla="*/ 13062 h 260818"/>
                    <a:gd name="csX32" fmla="*/ 185009 w 197718"/>
                    <a:gd name="csY32" fmla="*/ 0 h 2608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</a:cxnLst>
                  <a:rect l="l" t="t" r="r" b="b"/>
                  <a:pathLst>
                    <a:path w="197718" h="260818">
                      <a:moveTo>
                        <a:pt x="185009" y="0"/>
                      </a:moveTo>
                      <a:lnTo>
                        <a:pt x="161799" y="31182"/>
                      </a:lnTo>
                      <a:lnTo>
                        <a:pt x="134939" y="66365"/>
                      </a:lnTo>
                      <a:lnTo>
                        <a:pt x="133147" y="67838"/>
                      </a:lnTo>
                      <a:lnTo>
                        <a:pt x="99756" y="84517"/>
                      </a:lnTo>
                      <a:lnTo>
                        <a:pt x="87783" y="77634"/>
                      </a:lnTo>
                      <a:lnTo>
                        <a:pt x="76546" y="78338"/>
                      </a:lnTo>
                      <a:lnTo>
                        <a:pt x="63484" y="71455"/>
                      </a:lnTo>
                      <a:lnTo>
                        <a:pt x="51511" y="58394"/>
                      </a:lnTo>
                      <a:lnTo>
                        <a:pt x="41010" y="67101"/>
                      </a:lnTo>
                      <a:lnTo>
                        <a:pt x="26476" y="70719"/>
                      </a:lnTo>
                      <a:lnTo>
                        <a:pt x="13798" y="85254"/>
                      </a:lnTo>
                      <a:lnTo>
                        <a:pt x="21417" y="92841"/>
                      </a:lnTo>
                      <a:lnTo>
                        <a:pt x="18856" y="100844"/>
                      </a:lnTo>
                      <a:lnTo>
                        <a:pt x="21417" y="116083"/>
                      </a:lnTo>
                      <a:lnTo>
                        <a:pt x="4002" y="158502"/>
                      </a:lnTo>
                      <a:lnTo>
                        <a:pt x="0" y="180655"/>
                      </a:lnTo>
                      <a:lnTo>
                        <a:pt x="736" y="224547"/>
                      </a:lnTo>
                      <a:lnTo>
                        <a:pt x="4002" y="239049"/>
                      </a:lnTo>
                      <a:lnTo>
                        <a:pt x="16327" y="252815"/>
                      </a:lnTo>
                      <a:lnTo>
                        <a:pt x="28300" y="254640"/>
                      </a:lnTo>
                      <a:lnTo>
                        <a:pt x="31566" y="260819"/>
                      </a:lnTo>
                      <a:lnTo>
                        <a:pt x="55865" y="228901"/>
                      </a:lnTo>
                      <a:lnTo>
                        <a:pt x="77986" y="215839"/>
                      </a:lnTo>
                      <a:lnTo>
                        <a:pt x="91784" y="198071"/>
                      </a:lnTo>
                      <a:lnTo>
                        <a:pt x="123702" y="176301"/>
                      </a:lnTo>
                      <a:lnTo>
                        <a:pt x="161799" y="68926"/>
                      </a:lnTo>
                      <a:lnTo>
                        <a:pt x="181392" y="54392"/>
                      </a:lnTo>
                      <a:lnTo>
                        <a:pt x="185009" y="35183"/>
                      </a:lnTo>
                      <a:lnTo>
                        <a:pt x="190100" y="17415"/>
                      </a:lnTo>
                      <a:lnTo>
                        <a:pt x="197719" y="11973"/>
                      </a:lnTo>
                      <a:lnTo>
                        <a:pt x="190804" y="13062"/>
                      </a:lnTo>
                      <a:lnTo>
                        <a:pt x="18500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1" name="Forma Livre: Forma 320">
                  <a:extLst>
                    <a:ext uri="{FF2B5EF4-FFF2-40B4-BE49-F238E27FC236}">
                      <a16:creationId xmlns:a16="http://schemas.microsoft.com/office/drawing/2014/main" id="{8C1ADB88-4CF6-A25E-D76F-79A2C0FBC8B1}"/>
                    </a:ext>
                  </a:extLst>
                </p:cNvPr>
                <p:cNvSpPr/>
                <p:nvPr/>
              </p:nvSpPr>
              <p:spPr>
                <a:xfrm>
                  <a:off x="2797083" y="6149174"/>
                  <a:ext cx="197718" cy="260818"/>
                </a:xfrm>
                <a:custGeom>
                  <a:avLst/>
                  <a:gdLst>
                    <a:gd name="csX0" fmla="*/ 185009 w 197718"/>
                    <a:gd name="csY0" fmla="*/ 0 h 260818"/>
                    <a:gd name="csX1" fmla="*/ 161799 w 197718"/>
                    <a:gd name="csY1" fmla="*/ 31182 h 260818"/>
                    <a:gd name="csX2" fmla="*/ 134939 w 197718"/>
                    <a:gd name="csY2" fmla="*/ 66365 h 260818"/>
                    <a:gd name="csX3" fmla="*/ 133147 w 197718"/>
                    <a:gd name="csY3" fmla="*/ 67838 h 260818"/>
                    <a:gd name="csX4" fmla="*/ 99756 w 197718"/>
                    <a:gd name="csY4" fmla="*/ 84517 h 260818"/>
                    <a:gd name="csX5" fmla="*/ 87783 w 197718"/>
                    <a:gd name="csY5" fmla="*/ 77634 h 260818"/>
                    <a:gd name="csX6" fmla="*/ 76546 w 197718"/>
                    <a:gd name="csY6" fmla="*/ 78338 h 260818"/>
                    <a:gd name="csX7" fmla="*/ 63484 w 197718"/>
                    <a:gd name="csY7" fmla="*/ 71455 h 260818"/>
                    <a:gd name="csX8" fmla="*/ 51511 w 197718"/>
                    <a:gd name="csY8" fmla="*/ 58394 h 260818"/>
                    <a:gd name="csX9" fmla="*/ 41010 w 197718"/>
                    <a:gd name="csY9" fmla="*/ 67101 h 260818"/>
                    <a:gd name="csX10" fmla="*/ 26476 w 197718"/>
                    <a:gd name="csY10" fmla="*/ 70719 h 260818"/>
                    <a:gd name="csX11" fmla="*/ 13798 w 197718"/>
                    <a:gd name="csY11" fmla="*/ 85254 h 260818"/>
                    <a:gd name="csX12" fmla="*/ 21417 w 197718"/>
                    <a:gd name="csY12" fmla="*/ 92841 h 260818"/>
                    <a:gd name="csX13" fmla="*/ 18856 w 197718"/>
                    <a:gd name="csY13" fmla="*/ 100844 h 260818"/>
                    <a:gd name="csX14" fmla="*/ 21417 w 197718"/>
                    <a:gd name="csY14" fmla="*/ 116083 h 260818"/>
                    <a:gd name="csX15" fmla="*/ 4002 w 197718"/>
                    <a:gd name="csY15" fmla="*/ 158502 h 260818"/>
                    <a:gd name="csX16" fmla="*/ 0 w 197718"/>
                    <a:gd name="csY16" fmla="*/ 180655 h 260818"/>
                    <a:gd name="csX17" fmla="*/ 736 w 197718"/>
                    <a:gd name="csY17" fmla="*/ 224547 h 260818"/>
                    <a:gd name="csX18" fmla="*/ 4002 w 197718"/>
                    <a:gd name="csY18" fmla="*/ 239049 h 260818"/>
                    <a:gd name="csX19" fmla="*/ 16327 w 197718"/>
                    <a:gd name="csY19" fmla="*/ 252815 h 260818"/>
                    <a:gd name="csX20" fmla="*/ 28300 w 197718"/>
                    <a:gd name="csY20" fmla="*/ 254640 h 260818"/>
                    <a:gd name="csX21" fmla="*/ 31566 w 197718"/>
                    <a:gd name="csY21" fmla="*/ 260819 h 260818"/>
                    <a:gd name="csX22" fmla="*/ 55865 w 197718"/>
                    <a:gd name="csY22" fmla="*/ 228901 h 260818"/>
                    <a:gd name="csX23" fmla="*/ 77986 w 197718"/>
                    <a:gd name="csY23" fmla="*/ 215839 h 260818"/>
                    <a:gd name="csX24" fmla="*/ 91784 w 197718"/>
                    <a:gd name="csY24" fmla="*/ 198071 h 260818"/>
                    <a:gd name="csX25" fmla="*/ 123702 w 197718"/>
                    <a:gd name="csY25" fmla="*/ 176301 h 260818"/>
                    <a:gd name="csX26" fmla="*/ 161799 w 197718"/>
                    <a:gd name="csY26" fmla="*/ 68926 h 260818"/>
                    <a:gd name="csX27" fmla="*/ 181392 w 197718"/>
                    <a:gd name="csY27" fmla="*/ 54392 h 260818"/>
                    <a:gd name="csX28" fmla="*/ 185009 w 197718"/>
                    <a:gd name="csY28" fmla="*/ 35183 h 260818"/>
                    <a:gd name="csX29" fmla="*/ 190100 w 197718"/>
                    <a:gd name="csY29" fmla="*/ 17415 h 260818"/>
                    <a:gd name="csX30" fmla="*/ 197719 w 197718"/>
                    <a:gd name="csY30" fmla="*/ 11973 h 260818"/>
                    <a:gd name="csX31" fmla="*/ 190804 w 197718"/>
                    <a:gd name="csY31" fmla="*/ 13062 h 260818"/>
                    <a:gd name="csX32" fmla="*/ 185009 w 197718"/>
                    <a:gd name="csY32" fmla="*/ 0 h 2608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</a:cxnLst>
                  <a:rect l="l" t="t" r="r" b="b"/>
                  <a:pathLst>
                    <a:path w="197718" h="260818">
                      <a:moveTo>
                        <a:pt x="185009" y="0"/>
                      </a:moveTo>
                      <a:lnTo>
                        <a:pt x="161799" y="31182"/>
                      </a:lnTo>
                      <a:lnTo>
                        <a:pt x="134939" y="66365"/>
                      </a:lnTo>
                      <a:lnTo>
                        <a:pt x="133147" y="67838"/>
                      </a:lnTo>
                      <a:lnTo>
                        <a:pt x="99756" y="84517"/>
                      </a:lnTo>
                      <a:lnTo>
                        <a:pt x="87783" y="77634"/>
                      </a:lnTo>
                      <a:lnTo>
                        <a:pt x="76546" y="78338"/>
                      </a:lnTo>
                      <a:lnTo>
                        <a:pt x="63484" y="71455"/>
                      </a:lnTo>
                      <a:lnTo>
                        <a:pt x="51511" y="58394"/>
                      </a:lnTo>
                      <a:lnTo>
                        <a:pt x="41010" y="67101"/>
                      </a:lnTo>
                      <a:lnTo>
                        <a:pt x="26476" y="70719"/>
                      </a:lnTo>
                      <a:lnTo>
                        <a:pt x="13798" y="85254"/>
                      </a:lnTo>
                      <a:lnTo>
                        <a:pt x="21417" y="92841"/>
                      </a:lnTo>
                      <a:lnTo>
                        <a:pt x="18856" y="100844"/>
                      </a:lnTo>
                      <a:lnTo>
                        <a:pt x="21417" y="116083"/>
                      </a:lnTo>
                      <a:lnTo>
                        <a:pt x="4002" y="158502"/>
                      </a:lnTo>
                      <a:lnTo>
                        <a:pt x="0" y="180655"/>
                      </a:lnTo>
                      <a:lnTo>
                        <a:pt x="736" y="224547"/>
                      </a:lnTo>
                      <a:lnTo>
                        <a:pt x="4002" y="239049"/>
                      </a:lnTo>
                      <a:lnTo>
                        <a:pt x="16327" y="252815"/>
                      </a:lnTo>
                      <a:lnTo>
                        <a:pt x="28300" y="254640"/>
                      </a:lnTo>
                      <a:lnTo>
                        <a:pt x="31566" y="260819"/>
                      </a:lnTo>
                      <a:lnTo>
                        <a:pt x="55865" y="228901"/>
                      </a:lnTo>
                      <a:lnTo>
                        <a:pt x="77986" y="215839"/>
                      </a:lnTo>
                      <a:lnTo>
                        <a:pt x="91784" y="198071"/>
                      </a:lnTo>
                      <a:lnTo>
                        <a:pt x="123702" y="176301"/>
                      </a:lnTo>
                      <a:lnTo>
                        <a:pt x="161799" y="68926"/>
                      </a:lnTo>
                      <a:lnTo>
                        <a:pt x="181392" y="54392"/>
                      </a:lnTo>
                      <a:lnTo>
                        <a:pt x="185009" y="35183"/>
                      </a:lnTo>
                      <a:lnTo>
                        <a:pt x="190100" y="17415"/>
                      </a:lnTo>
                      <a:lnTo>
                        <a:pt x="197719" y="11973"/>
                      </a:lnTo>
                      <a:lnTo>
                        <a:pt x="190804" y="13062"/>
                      </a:lnTo>
                      <a:lnTo>
                        <a:pt x="18500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2" name="Forma Livre: Forma 321">
                  <a:extLst>
                    <a:ext uri="{FF2B5EF4-FFF2-40B4-BE49-F238E27FC236}">
                      <a16:creationId xmlns:a16="http://schemas.microsoft.com/office/drawing/2014/main" id="{D3BE4A19-56DB-3EDA-CD42-D5A08DF66DE4}"/>
                    </a:ext>
                  </a:extLst>
                </p:cNvPr>
                <p:cNvSpPr/>
                <p:nvPr/>
              </p:nvSpPr>
              <p:spPr>
                <a:xfrm>
                  <a:off x="2797083" y="6149174"/>
                  <a:ext cx="197718" cy="260818"/>
                </a:xfrm>
                <a:custGeom>
                  <a:avLst/>
                  <a:gdLst>
                    <a:gd name="csX0" fmla="*/ 185009 w 197718"/>
                    <a:gd name="csY0" fmla="*/ 0 h 260818"/>
                    <a:gd name="csX1" fmla="*/ 161799 w 197718"/>
                    <a:gd name="csY1" fmla="*/ 31182 h 260818"/>
                    <a:gd name="csX2" fmla="*/ 134939 w 197718"/>
                    <a:gd name="csY2" fmla="*/ 66365 h 260818"/>
                    <a:gd name="csX3" fmla="*/ 133147 w 197718"/>
                    <a:gd name="csY3" fmla="*/ 67838 h 260818"/>
                    <a:gd name="csX4" fmla="*/ 99756 w 197718"/>
                    <a:gd name="csY4" fmla="*/ 84517 h 260818"/>
                    <a:gd name="csX5" fmla="*/ 87783 w 197718"/>
                    <a:gd name="csY5" fmla="*/ 77634 h 260818"/>
                    <a:gd name="csX6" fmla="*/ 76546 w 197718"/>
                    <a:gd name="csY6" fmla="*/ 78338 h 260818"/>
                    <a:gd name="csX7" fmla="*/ 63484 w 197718"/>
                    <a:gd name="csY7" fmla="*/ 71455 h 260818"/>
                    <a:gd name="csX8" fmla="*/ 51511 w 197718"/>
                    <a:gd name="csY8" fmla="*/ 58394 h 260818"/>
                    <a:gd name="csX9" fmla="*/ 41010 w 197718"/>
                    <a:gd name="csY9" fmla="*/ 67101 h 260818"/>
                    <a:gd name="csX10" fmla="*/ 26476 w 197718"/>
                    <a:gd name="csY10" fmla="*/ 70719 h 260818"/>
                    <a:gd name="csX11" fmla="*/ 13798 w 197718"/>
                    <a:gd name="csY11" fmla="*/ 85254 h 260818"/>
                    <a:gd name="csX12" fmla="*/ 21417 w 197718"/>
                    <a:gd name="csY12" fmla="*/ 92841 h 260818"/>
                    <a:gd name="csX13" fmla="*/ 18856 w 197718"/>
                    <a:gd name="csY13" fmla="*/ 100844 h 260818"/>
                    <a:gd name="csX14" fmla="*/ 21417 w 197718"/>
                    <a:gd name="csY14" fmla="*/ 116083 h 260818"/>
                    <a:gd name="csX15" fmla="*/ 4002 w 197718"/>
                    <a:gd name="csY15" fmla="*/ 158502 h 260818"/>
                    <a:gd name="csX16" fmla="*/ 0 w 197718"/>
                    <a:gd name="csY16" fmla="*/ 180655 h 260818"/>
                    <a:gd name="csX17" fmla="*/ 736 w 197718"/>
                    <a:gd name="csY17" fmla="*/ 224547 h 260818"/>
                    <a:gd name="csX18" fmla="*/ 4002 w 197718"/>
                    <a:gd name="csY18" fmla="*/ 239049 h 260818"/>
                    <a:gd name="csX19" fmla="*/ 16327 w 197718"/>
                    <a:gd name="csY19" fmla="*/ 252815 h 260818"/>
                    <a:gd name="csX20" fmla="*/ 28300 w 197718"/>
                    <a:gd name="csY20" fmla="*/ 254640 h 260818"/>
                    <a:gd name="csX21" fmla="*/ 31566 w 197718"/>
                    <a:gd name="csY21" fmla="*/ 260819 h 260818"/>
                    <a:gd name="csX22" fmla="*/ 55865 w 197718"/>
                    <a:gd name="csY22" fmla="*/ 228901 h 260818"/>
                    <a:gd name="csX23" fmla="*/ 77986 w 197718"/>
                    <a:gd name="csY23" fmla="*/ 215839 h 260818"/>
                    <a:gd name="csX24" fmla="*/ 91784 w 197718"/>
                    <a:gd name="csY24" fmla="*/ 198071 h 260818"/>
                    <a:gd name="csX25" fmla="*/ 123702 w 197718"/>
                    <a:gd name="csY25" fmla="*/ 176301 h 260818"/>
                    <a:gd name="csX26" fmla="*/ 161799 w 197718"/>
                    <a:gd name="csY26" fmla="*/ 68926 h 260818"/>
                    <a:gd name="csX27" fmla="*/ 181392 w 197718"/>
                    <a:gd name="csY27" fmla="*/ 54392 h 260818"/>
                    <a:gd name="csX28" fmla="*/ 185009 w 197718"/>
                    <a:gd name="csY28" fmla="*/ 35183 h 260818"/>
                    <a:gd name="csX29" fmla="*/ 190100 w 197718"/>
                    <a:gd name="csY29" fmla="*/ 17415 h 260818"/>
                    <a:gd name="csX30" fmla="*/ 197719 w 197718"/>
                    <a:gd name="csY30" fmla="*/ 11973 h 260818"/>
                    <a:gd name="csX31" fmla="*/ 190804 w 197718"/>
                    <a:gd name="csY31" fmla="*/ 13062 h 260818"/>
                    <a:gd name="csX32" fmla="*/ 185009 w 197718"/>
                    <a:gd name="csY32" fmla="*/ 0 h 26081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</a:cxnLst>
                  <a:rect l="l" t="t" r="r" b="b"/>
                  <a:pathLst>
                    <a:path w="197718" h="260818">
                      <a:moveTo>
                        <a:pt x="185009" y="0"/>
                      </a:moveTo>
                      <a:lnTo>
                        <a:pt x="161799" y="31182"/>
                      </a:lnTo>
                      <a:lnTo>
                        <a:pt x="134939" y="66365"/>
                      </a:lnTo>
                      <a:lnTo>
                        <a:pt x="133147" y="67838"/>
                      </a:lnTo>
                      <a:lnTo>
                        <a:pt x="99756" y="84517"/>
                      </a:lnTo>
                      <a:lnTo>
                        <a:pt x="87783" y="77634"/>
                      </a:lnTo>
                      <a:lnTo>
                        <a:pt x="76546" y="78338"/>
                      </a:lnTo>
                      <a:lnTo>
                        <a:pt x="63484" y="71455"/>
                      </a:lnTo>
                      <a:lnTo>
                        <a:pt x="51511" y="58394"/>
                      </a:lnTo>
                      <a:lnTo>
                        <a:pt x="41010" y="67101"/>
                      </a:lnTo>
                      <a:lnTo>
                        <a:pt x="26476" y="70719"/>
                      </a:lnTo>
                      <a:lnTo>
                        <a:pt x="13798" y="85254"/>
                      </a:lnTo>
                      <a:lnTo>
                        <a:pt x="21417" y="92841"/>
                      </a:lnTo>
                      <a:lnTo>
                        <a:pt x="18856" y="100844"/>
                      </a:lnTo>
                      <a:lnTo>
                        <a:pt x="21417" y="116083"/>
                      </a:lnTo>
                      <a:lnTo>
                        <a:pt x="4002" y="158502"/>
                      </a:lnTo>
                      <a:lnTo>
                        <a:pt x="0" y="180655"/>
                      </a:lnTo>
                      <a:lnTo>
                        <a:pt x="736" y="224547"/>
                      </a:lnTo>
                      <a:lnTo>
                        <a:pt x="4002" y="239049"/>
                      </a:lnTo>
                      <a:lnTo>
                        <a:pt x="16327" y="252815"/>
                      </a:lnTo>
                      <a:lnTo>
                        <a:pt x="28300" y="254640"/>
                      </a:lnTo>
                      <a:lnTo>
                        <a:pt x="31566" y="260819"/>
                      </a:lnTo>
                      <a:lnTo>
                        <a:pt x="55865" y="228901"/>
                      </a:lnTo>
                      <a:lnTo>
                        <a:pt x="77986" y="215839"/>
                      </a:lnTo>
                      <a:lnTo>
                        <a:pt x="91784" y="198071"/>
                      </a:lnTo>
                      <a:lnTo>
                        <a:pt x="123702" y="176301"/>
                      </a:lnTo>
                      <a:lnTo>
                        <a:pt x="161799" y="68926"/>
                      </a:lnTo>
                      <a:lnTo>
                        <a:pt x="181392" y="54392"/>
                      </a:lnTo>
                      <a:lnTo>
                        <a:pt x="185009" y="35183"/>
                      </a:lnTo>
                      <a:lnTo>
                        <a:pt x="190100" y="17415"/>
                      </a:lnTo>
                      <a:lnTo>
                        <a:pt x="197719" y="11973"/>
                      </a:lnTo>
                      <a:lnTo>
                        <a:pt x="190804" y="13062"/>
                      </a:lnTo>
                      <a:lnTo>
                        <a:pt x="18500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3" name="Forma Livre: Forma 322">
                  <a:extLst>
                    <a:ext uri="{FF2B5EF4-FFF2-40B4-BE49-F238E27FC236}">
                      <a16:creationId xmlns:a16="http://schemas.microsoft.com/office/drawing/2014/main" id="{2765A6B0-5C30-D233-7D0B-F0D054C1DC8D}"/>
                    </a:ext>
                  </a:extLst>
                </p:cNvPr>
                <p:cNvSpPr/>
                <p:nvPr/>
              </p:nvSpPr>
              <p:spPr>
                <a:xfrm>
                  <a:off x="2846801" y="5286170"/>
                  <a:ext cx="384873" cy="238312"/>
                </a:xfrm>
                <a:custGeom>
                  <a:avLst/>
                  <a:gdLst>
                    <a:gd name="csX0" fmla="*/ 227428 w 384873"/>
                    <a:gd name="csY0" fmla="*/ 44980 h 238312"/>
                    <a:gd name="csX1" fmla="*/ 235047 w 384873"/>
                    <a:gd name="csY1" fmla="*/ 33743 h 238312"/>
                    <a:gd name="csX2" fmla="*/ 229957 w 384873"/>
                    <a:gd name="csY2" fmla="*/ 27564 h 238312"/>
                    <a:gd name="csX3" fmla="*/ 235047 w 384873"/>
                    <a:gd name="csY3" fmla="*/ 18856 h 238312"/>
                    <a:gd name="csX4" fmla="*/ 240138 w 384873"/>
                    <a:gd name="csY4" fmla="*/ 3618 h 238312"/>
                    <a:gd name="csX5" fmla="*/ 235784 w 384873"/>
                    <a:gd name="csY5" fmla="*/ 2529 h 238312"/>
                    <a:gd name="csX6" fmla="*/ 218720 w 384873"/>
                    <a:gd name="csY6" fmla="*/ 0 h 238312"/>
                    <a:gd name="csX7" fmla="*/ 201305 w 384873"/>
                    <a:gd name="csY7" fmla="*/ 4354 h 238312"/>
                    <a:gd name="csX8" fmla="*/ 191892 w 384873"/>
                    <a:gd name="csY8" fmla="*/ 21770 h 238312"/>
                    <a:gd name="csX9" fmla="*/ 178094 w 384873"/>
                    <a:gd name="csY9" fmla="*/ 27564 h 238312"/>
                    <a:gd name="csX10" fmla="*/ 172300 w 384873"/>
                    <a:gd name="csY10" fmla="*/ 38801 h 238312"/>
                    <a:gd name="csX11" fmla="*/ 174829 w 384873"/>
                    <a:gd name="csY11" fmla="*/ 46420 h 238312"/>
                    <a:gd name="csX12" fmla="*/ 165417 w 384873"/>
                    <a:gd name="csY12" fmla="*/ 52599 h 238312"/>
                    <a:gd name="csX13" fmla="*/ 167946 w 384873"/>
                    <a:gd name="csY13" fmla="*/ 69630 h 238312"/>
                    <a:gd name="csX14" fmla="*/ 162856 w 384873"/>
                    <a:gd name="csY14" fmla="*/ 82692 h 238312"/>
                    <a:gd name="csX15" fmla="*/ 144736 w 384873"/>
                    <a:gd name="csY15" fmla="*/ 69630 h 238312"/>
                    <a:gd name="csX16" fmla="*/ 121493 w 384873"/>
                    <a:gd name="csY16" fmla="*/ 64572 h 238312"/>
                    <a:gd name="csX17" fmla="*/ 104110 w 384873"/>
                    <a:gd name="csY17" fmla="*/ 44980 h 238312"/>
                    <a:gd name="csX18" fmla="*/ 105198 w 384873"/>
                    <a:gd name="csY18" fmla="*/ 39538 h 238312"/>
                    <a:gd name="csX19" fmla="*/ 73985 w 384873"/>
                    <a:gd name="csY19" fmla="*/ 54392 h 238312"/>
                    <a:gd name="csX20" fmla="*/ 69631 w 384873"/>
                    <a:gd name="csY20" fmla="*/ 48949 h 238312"/>
                    <a:gd name="csX21" fmla="*/ 56921 w 384873"/>
                    <a:gd name="csY21" fmla="*/ 50774 h 238312"/>
                    <a:gd name="csX22" fmla="*/ 33711 w 384873"/>
                    <a:gd name="csY22" fmla="*/ 69630 h 238312"/>
                    <a:gd name="csX23" fmla="*/ 22474 w 384873"/>
                    <a:gd name="csY23" fmla="*/ 71455 h 238312"/>
                    <a:gd name="csX24" fmla="*/ 32622 w 384873"/>
                    <a:gd name="csY24" fmla="*/ 83429 h 238312"/>
                    <a:gd name="csX25" fmla="*/ 32622 w 384873"/>
                    <a:gd name="csY25" fmla="*/ 100844 h 238312"/>
                    <a:gd name="csX26" fmla="*/ 17384 w 384873"/>
                    <a:gd name="csY26" fmla="*/ 105935 h 238312"/>
                    <a:gd name="csX27" fmla="*/ 18120 w 384873"/>
                    <a:gd name="csY27" fmla="*/ 119701 h 238312"/>
                    <a:gd name="csX28" fmla="*/ 11237 w 384873"/>
                    <a:gd name="csY28" fmla="*/ 124791 h 238312"/>
                    <a:gd name="csX29" fmla="*/ 15591 w 384873"/>
                    <a:gd name="csY29" fmla="*/ 137853 h 238312"/>
                    <a:gd name="csX30" fmla="*/ 4354 w 384873"/>
                    <a:gd name="csY30" fmla="*/ 135291 h 238312"/>
                    <a:gd name="csX31" fmla="*/ 0 w 384873"/>
                    <a:gd name="csY31" fmla="*/ 140382 h 238312"/>
                    <a:gd name="csX32" fmla="*/ 10501 w 384873"/>
                    <a:gd name="csY32" fmla="*/ 151618 h 238312"/>
                    <a:gd name="csX33" fmla="*/ 9412 w 384873"/>
                    <a:gd name="csY33" fmla="*/ 156709 h 238312"/>
                    <a:gd name="csX34" fmla="*/ 55832 w 384873"/>
                    <a:gd name="csY34" fmla="*/ 161063 h 238312"/>
                    <a:gd name="csX35" fmla="*/ 61307 w 384873"/>
                    <a:gd name="csY35" fmla="*/ 180655 h 238312"/>
                    <a:gd name="csX36" fmla="*/ 68190 w 384873"/>
                    <a:gd name="csY36" fmla="*/ 191892 h 238312"/>
                    <a:gd name="csX37" fmla="*/ 75073 w 384873"/>
                    <a:gd name="csY37" fmla="*/ 196246 h 238312"/>
                    <a:gd name="csX38" fmla="*/ 92137 w 384873"/>
                    <a:gd name="csY38" fmla="*/ 187539 h 238312"/>
                    <a:gd name="csX39" fmla="*/ 101549 w 384873"/>
                    <a:gd name="csY39" fmla="*/ 191156 h 238312"/>
                    <a:gd name="csX40" fmla="*/ 107727 w 384873"/>
                    <a:gd name="csY40" fmla="*/ 186802 h 238312"/>
                    <a:gd name="csX41" fmla="*/ 124055 w 384873"/>
                    <a:gd name="csY41" fmla="*/ 191892 h 238312"/>
                    <a:gd name="csX42" fmla="*/ 130938 w 384873"/>
                    <a:gd name="csY42" fmla="*/ 183185 h 238312"/>
                    <a:gd name="csX43" fmla="*/ 139645 w 384873"/>
                    <a:gd name="csY43" fmla="*/ 196246 h 238312"/>
                    <a:gd name="csX44" fmla="*/ 135292 w 384873"/>
                    <a:gd name="csY44" fmla="*/ 210044 h 238312"/>
                    <a:gd name="csX45" fmla="*/ 119701 w 384873"/>
                    <a:gd name="csY45" fmla="*/ 230694 h 238312"/>
                    <a:gd name="csX46" fmla="*/ 127320 w 384873"/>
                    <a:gd name="csY46" fmla="*/ 238313 h 238312"/>
                    <a:gd name="csX47" fmla="*/ 151619 w 384873"/>
                    <a:gd name="csY47" fmla="*/ 226340 h 238312"/>
                    <a:gd name="csX48" fmla="*/ 157413 w 384873"/>
                    <a:gd name="csY48" fmla="*/ 216927 h 238312"/>
                    <a:gd name="csX49" fmla="*/ 166121 w 384873"/>
                    <a:gd name="csY49" fmla="*/ 220193 h 238312"/>
                    <a:gd name="csX50" fmla="*/ 180623 w 384873"/>
                    <a:gd name="csY50" fmla="*/ 202425 h 238312"/>
                    <a:gd name="csX51" fmla="*/ 189331 w 384873"/>
                    <a:gd name="csY51" fmla="*/ 203129 h 238312"/>
                    <a:gd name="csX52" fmla="*/ 196246 w 384873"/>
                    <a:gd name="csY52" fmla="*/ 203866 h 238312"/>
                    <a:gd name="csX53" fmla="*/ 200600 w 384873"/>
                    <a:gd name="csY53" fmla="*/ 212573 h 238312"/>
                    <a:gd name="csX54" fmla="*/ 216927 w 384873"/>
                    <a:gd name="csY54" fmla="*/ 198071 h 238312"/>
                    <a:gd name="csX55" fmla="*/ 212574 w 384873"/>
                    <a:gd name="csY55" fmla="*/ 191892 h 238312"/>
                    <a:gd name="csX56" fmla="*/ 227428 w 384873"/>
                    <a:gd name="csY56" fmla="*/ 181744 h 238312"/>
                    <a:gd name="csX57" fmla="*/ 223074 w 384873"/>
                    <a:gd name="csY57" fmla="*/ 174861 h 238312"/>
                    <a:gd name="csX58" fmla="*/ 232518 w 384873"/>
                    <a:gd name="csY58" fmla="*/ 173036 h 238312"/>
                    <a:gd name="csX59" fmla="*/ 233223 w 384873"/>
                    <a:gd name="csY59" fmla="*/ 162888 h 238312"/>
                    <a:gd name="csX60" fmla="*/ 242667 w 384873"/>
                    <a:gd name="csY60" fmla="*/ 157413 h 238312"/>
                    <a:gd name="csX61" fmla="*/ 245196 w 384873"/>
                    <a:gd name="csY61" fmla="*/ 156709 h 238312"/>
                    <a:gd name="csX62" fmla="*/ 250638 w 384873"/>
                    <a:gd name="csY62" fmla="*/ 151618 h 238312"/>
                    <a:gd name="csX63" fmla="*/ 254640 w 384873"/>
                    <a:gd name="csY63" fmla="*/ 154884 h 238312"/>
                    <a:gd name="csX64" fmla="*/ 268438 w 384873"/>
                    <a:gd name="csY64" fmla="*/ 153091 h 238312"/>
                    <a:gd name="csX65" fmla="*/ 266966 w 384873"/>
                    <a:gd name="csY65" fmla="*/ 141118 h 238312"/>
                    <a:gd name="csX66" fmla="*/ 271319 w 384873"/>
                    <a:gd name="csY66" fmla="*/ 137853 h 238312"/>
                    <a:gd name="csX67" fmla="*/ 260819 w 384873"/>
                    <a:gd name="csY67" fmla="*/ 129145 h 238312"/>
                    <a:gd name="csX68" fmla="*/ 278234 w 384873"/>
                    <a:gd name="csY68" fmla="*/ 117876 h 238312"/>
                    <a:gd name="csX69" fmla="*/ 296002 w 384873"/>
                    <a:gd name="csY69" fmla="*/ 119701 h 238312"/>
                    <a:gd name="csX70" fmla="*/ 302885 w 384873"/>
                    <a:gd name="csY70" fmla="*/ 129145 h 238312"/>
                    <a:gd name="csX71" fmla="*/ 315947 w 384873"/>
                    <a:gd name="csY71" fmla="*/ 140382 h 238312"/>
                    <a:gd name="csX72" fmla="*/ 333011 w 384873"/>
                    <a:gd name="csY72" fmla="*/ 139293 h 238312"/>
                    <a:gd name="csX73" fmla="*/ 337333 w 384873"/>
                    <a:gd name="csY73" fmla="*/ 154180 h 238312"/>
                    <a:gd name="csX74" fmla="*/ 346777 w 384873"/>
                    <a:gd name="csY74" fmla="*/ 152355 h 238312"/>
                    <a:gd name="csX75" fmla="*/ 355485 w 384873"/>
                    <a:gd name="csY75" fmla="*/ 162888 h 238312"/>
                    <a:gd name="csX76" fmla="*/ 367458 w 384873"/>
                    <a:gd name="csY76" fmla="*/ 164328 h 238312"/>
                    <a:gd name="csX77" fmla="*/ 369283 w 384873"/>
                    <a:gd name="csY77" fmla="*/ 169419 h 238312"/>
                    <a:gd name="csX78" fmla="*/ 379431 w 384873"/>
                    <a:gd name="csY78" fmla="*/ 164328 h 238312"/>
                    <a:gd name="csX79" fmla="*/ 371075 w 384873"/>
                    <a:gd name="csY79" fmla="*/ 156709 h 238312"/>
                    <a:gd name="csX80" fmla="*/ 384873 w 384873"/>
                    <a:gd name="csY80" fmla="*/ 121526 h 238312"/>
                    <a:gd name="csX81" fmla="*/ 380520 w 384873"/>
                    <a:gd name="csY81" fmla="*/ 106639 h 238312"/>
                    <a:gd name="csX82" fmla="*/ 368546 w 384873"/>
                    <a:gd name="csY82" fmla="*/ 99020 h 238312"/>
                    <a:gd name="csX83" fmla="*/ 359102 w 384873"/>
                    <a:gd name="csY83" fmla="*/ 81988 h 238312"/>
                    <a:gd name="csX84" fmla="*/ 352219 w 384873"/>
                    <a:gd name="csY84" fmla="*/ 73984 h 238312"/>
                    <a:gd name="csX85" fmla="*/ 356221 w 384873"/>
                    <a:gd name="csY85" fmla="*/ 62748 h 238312"/>
                    <a:gd name="csX86" fmla="*/ 352955 w 384873"/>
                    <a:gd name="csY86" fmla="*/ 55865 h 238312"/>
                    <a:gd name="csX87" fmla="*/ 327920 w 384873"/>
                    <a:gd name="csY87" fmla="*/ 52599 h 238312"/>
                    <a:gd name="csX88" fmla="*/ 323566 w 384873"/>
                    <a:gd name="csY88" fmla="*/ 57657 h 238312"/>
                    <a:gd name="csX89" fmla="*/ 322830 w 384873"/>
                    <a:gd name="csY89" fmla="*/ 57657 h 238312"/>
                    <a:gd name="csX90" fmla="*/ 297795 w 384873"/>
                    <a:gd name="csY90" fmla="*/ 57657 h 238312"/>
                    <a:gd name="csX91" fmla="*/ 294530 w 384873"/>
                    <a:gd name="csY91" fmla="*/ 63836 h 238312"/>
                    <a:gd name="csX92" fmla="*/ 287647 w 384873"/>
                    <a:gd name="csY92" fmla="*/ 62748 h 238312"/>
                    <a:gd name="csX93" fmla="*/ 272792 w 384873"/>
                    <a:gd name="csY93" fmla="*/ 55865 h 238312"/>
                    <a:gd name="csX94" fmla="*/ 269527 w 384873"/>
                    <a:gd name="csY94" fmla="*/ 45716 h 238312"/>
                    <a:gd name="csX95" fmla="*/ 262612 w 384873"/>
                    <a:gd name="csY95" fmla="*/ 44980 h 238312"/>
                    <a:gd name="csX96" fmla="*/ 253199 w 384873"/>
                    <a:gd name="csY96" fmla="*/ 59482 h 238312"/>
                    <a:gd name="csX97" fmla="*/ 249550 w 384873"/>
                    <a:gd name="csY97" fmla="*/ 55865 h 238312"/>
                    <a:gd name="csX98" fmla="*/ 239401 w 384873"/>
                    <a:gd name="csY98" fmla="*/ 60218 h 238312"/>
                    <a:gd name="csX99" fmla="*/ 235047 w 384873"/>
                    <a:gd name="csY99" fmla="*/ 54392 h 238312"/>
                    <a:gd name="csX100" fmla="*/ 227428 w 384873"/>
                    <a:gd name="csY100" fmla="*/ 55128 h 238312"/>
                    <a:gd name="csX101" fmla="*/ 227428 w 384873"/>
                    <a:gd name="csY101" fmla="*/ 44980 h 23831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</a:cxnLst>
                  <a:rect l="l" t="t" r="r" b="b"/>
                  <a:pathLst>
                    <a:path w="384873" h="238312">
                      <a:moveTo>
                        <a:pt x="227428" y="44980"/>
                      </a:moveTo>
                      <a:lnTo>
                        <a:pt x="235047" y="33743"/>
                      </a:lnTo>
                      <a:lnTo>
                        <a:pt x="229957" y="27564"/>
                      </a:lnTo>
                      <a:lnTo>
                        <a:pt x="235047" y="18856"/>
                      </a:lnTo>
                      <a:lnTo>
                        <a:pt x="240138" y="3618"/>
                      </a:lnTo>
                      <a:lnTo>
                        <a:pt x="235784" y="2529"/>
                      </a:lnTo>
                      <a:lnTo>
                        <a:pt x="218720" y="0"/>
                      </a:lnTo>
                      <a:lnTo>
                        <a:pt x="201305" y="4354"/>
                      </a:lnTo>
                      <a:lnTo>
                        <a:pt x="191892" y="21770"/>
                      </a:lnTo>
                      <a:lnTo>
                        <a:pt x="178094" y="27564"/>
                      </a:lnTo>
                      <a:lnTo>
                        <a:pt x="172300" y="38801"/>
                      </a:lnTo>
                      <a:lnTo>
                        <a:pt x="174829" y="46420"/>
                      </a:lnTo>
                      <a:lnTo>
                        <a:pt x="165417" y="52599"/>
                      </a:lnTo>
                      <a:lnTo>
                        <a:pt x="167946" y="69630"/>
                      </a:lnTo>
                      <a:lnTo>
                        <a:pt x="162856" y="82692"/>
                      </a:lnTo>
                      <a:lnTo>
                        <a:pt x="144736" y="69630"/>
                      </a:lnTo>
                      <a:lnTo>
                        <a:pt x="121493" y="64572"/>
                      </a:lnTo>
                      <a:lnTo>
                        <a:pt x="104110" y="44980"/>
                      </a:lnTo>
                      <a:lnTo>
                        <a:pt x="105198" y="39538"/>
                      </a:lnTo>
                      <a:lnTo>
                        <a:pt x="73985" y="54392"/>
                      </a:lnTo>
                      <a:lnTo>
                        <a:pt x="69631" y="48949"/>
                      </a:lnTo>
                      <a:lnTo>
                        <a:pt x="56921" y="50774"/>
                      </a:lnTo>
                      <a:lnTo>
                        <a:pt x="33711" y="69630"/>
                      </a:lnTo>
                      <a:lnTo>
                        <a:pt x="22474" y="71455"/>
                      </a:lnTo>
                      <a:lnTo>
                        <a:pt x="32622" y="83429"/>
                      </a:lnTo>
                      <a:lnTo>
                        <a:pt x="32622" y="100844"/>
                      </a:lnTo>
                      <a:lnTo>
                        <a:pt x="17384" y="105935"/>
                      </a:lnTo>
                      <a:lnTo>
                        <a:pt x="18120" y="119701"/>
                      </a:lnTo>
                      <a:lnTo>
                        <a:pt x="11237" y="124791"/>
                      </a:lnTo>
                      <a:lnTo>
                        <a:pt x="15591" y="137853"/>
                      </a:lnTo>
                      <a:lnTo>
                        <a:pt x="4354" y="135291"/>
                      </a:lnTo>
                      <a:lnTo>
                        <a:pt x="0" y="140382"/>
                      </a:lnTo>
                      <a:lnTo>
                        <a:pt x="10501" y="151618"/>
                      </a:lnTo>
                      <a:lnTo>
                        <a:pt x="9412" y="156709"/>
                      </a:lnTo>
                      <a:lnTo>
                        <a:pt x="55832" y="161063"/>
                      </a:lnTo>
                      <a:lnTo>
                        <a:pt x="61307" y="180655"/>
                      </a:lnTo>
                      <a:lnTo>
                        <a:pt x="68190" y="191892"/>
                      </a:lnTo>
                      <a:lnTo>
                        <a:pt x="75073" y="196246"/>
                      </a:lnTo>
                      <a:lnTo>
                        <a:pt x="92137" y="187539"/>
                      </a:lnTo>
                      <a:lnTo>
                        <a:pt x="101549" y="191156"/>
                      </a:lnTo>
                      <a:lnTo>
                        <a:pt x="107727" y="186802"/>
                      </a:lnTo>
                      <a:lnTo>
                        <a:pt x="124055" y="191892"/>
                      </a:lnTo>
                      <a:lnTo>
                        <a:pt x="130938" y="183185"/>
                      </a:lnTo>
                      <a:lnTo>
                        <a:pt x="139645" y="196246"/>
                      </a:lnTo>
                      <a:lnTo>
                        <a:pt x="135292" y="210044"/>
                      </a:lnTo>
                      <a:lnTo>
                        <a:pt x="119701" y="230694"/>
                      </a:lnTo>
                      <a:lnTo>
                        <a:pt x="127320" y="238313"/>
                      </a:lnTo>
                      <a:lnTo>
                        <a:pt x="151619" y="226340"/>
                      </a:lnTo>
                      <a:lnTo>
                        <a:pt x="157413" y="216927"/>
                      </a:lnTo>
                      <a:lnTo>
                        <a:pt x="166121" y="220193"/>
                      </a:lnTo>
                      <a:lnTo>
                        <a:pt x="180623" y="202425"/>
                      </a:lnTo>
                      <a:lnTo>
                        <a:pt x="189331" y="203129"/>
                      </a:lnTo>
                      <a:lnTo>
                        <a:pt x="196246" y="203866"/>
                      </a:lnTo>
                      <a:lnTo>
                        <a:pt x="200600" y="212573"/>
                      </a:lnTo>
                      <a:lnTo>
                        <a:pt x="216927" y="198071"/>
                      </a:lnTo>
                      <a:lnTo>
                        <a:pt x="212574" y="191892"/>
                      </a:lnTo>
                      <a:lnTo>
                        <a:pt x="227428" y="181744"/>
                      </a:lnTo>
                      <a:lnTo>
                        <a:pt x="223074" y="174861"/>
                      </a:lnTo>
                      <a:lnTo>
                        <a:pt x="232518" y="173036"/>
                      </a:lnTo>
                      <a:lnTo>
                        <a:pt x="233223" y="162888"/>
                      </a:lnTo>
                      <a:lnTo>
                        <a:pt x="242667" y="157413"/>
                      </a:lnTo>
                      <a:lnTo>
                        <a:pt x="245196" y="156709"/>
                      </a:lnTo>
                      <a:lnTo>
                        <a:pt x="250638" y="151618"/>
                      </a:lnTo>
                      <a:lnTo>
                        <a:pt x="254640" y="154884"/>
                      </a:lnTo>
                      <a:lnTo>
                        <a:pt x="268438" y="153091"/>
                      </a:lnTo>
                      <a:lnTo>
                        <a:pt x="266966" y="141118"/>
                      </a:lnTo>
                      <a:lnTo>
                        <a:pt x="271319" y="137853"/>
                      </a:lnTo>
                      <a:lnTo>
                        <a:pt x="260819" y="129145"/>
                      </a:lnTo>
                      <a:lnTo>
                        <a:pt x="278234" y="117876"/>
                      </a:lnTo>
                      <a:lnTo>
                        <a:pt x="296002" y="119701"/>
                      </a:lnTo>
                      <a:lnTo>
                        <a:pt x="302885" y="129145"/>
                      </a:lnTo>
                      <a:lnTo>
                        <a:pt x="315947" y="140382"/>
                      </a:lnTo>
                      <a:lnTo>
                        <a:pt x="333011" y="139293"/>
                      </a:lnTo>
                      <a:lnTo>
                        <a:pt x="337333" y="154180"/>
                      </a:lnTo>
                      <a:lnTo>
                        <a:pt x="346777" y="152355"/>
                      </a:lnTo>
                      <a:lnTo>
                        <a:pt x="355485" y="162888"/>
                      </a:lnTo>
                      <a:lnTo>
                        <a:pt x="367458" y="164328"/>
                      </a:lnTo>
                      <a:lnTo>
                        <a:pt x="369283" y="169419"/>
                      </a:lnTo>
                      <a:lnTo>
                        <a:pt x="379431" y="164328"/>
                      </a:lnTo>
                      <a:lnTo>
                        <a:pt x="371075" y="156709"/>
                      </a:lnTo>
                      <a:lnTo>
                        <a:pt x="384873" y="121526"/>
                      </a:lnTo>
                      <a:lnTo>
                        <a:pt x="380520" y="106639"/>
                      </a:lnTo>
                      <a:lnTo>
                        <a:pt x="368546" y="99020"/>
                      </a:lnTo>
                      <a:lnTo>
                        <a:pt x="359102" y="81988"/>
                      </a:lnTo>
                      <a:lnTo>
                        <a:pt x="352219" y="73984"/>
                      </a:lnTo>
                      <a:lnTo>
                        <a:pt x="356221" y="62748"/>
                      </a:lnTo>
                      <a:lnTo>
                        <a:pt x="352955" y="55865"/>
                      </a:lnTo>
                      <a:lnTo>
                        <a:pt x="327920" y="52599"/>
                      </a:lnTo>
                      <a:lnTo>
                        <a:pt x="323566" y="57657"/>
                      </a:lnTo>
                      <a:lnTo>
                        <a:pt x="322830" y="57657"/>
                      </a:lnTo>
                      <a:lnTo>
                        <a:pt x="297795" y="57657"/>
                      </a:lnTo>
                      <a:lnTo>
                        <a:pt x="294530" y="63836"/>
                      </a:lnTo>
                      <a:lnTo>
                        <a:pt x="287647" y="62748"/>
                      </a:lnTo>
                      <a:lnTo>
                        <a:pt x="272792" y="55865"/>
                      </a:lnTo>
                      <a:lnTo>
                        <a:pt x="269527" y="45716"/>
                      </a:lnTo>
                      <a:lnTo>
                        <a:pt x="262612" y="44980"/>
                      </a:lnTo>
                      <a:lnTo>
                        <a:pt x="253199" y="59482"/>
                      </a:lnTo>
                      <a:lnTo>
                        <a:pt x="249550" y="55865"/>
                      </a:lnTo>
                      <a:lnTo>
                        <a:pt x="239401" y="60218"/>
                      </a:lnTo>
                      <a:lnTo>
                        <a:pt x="235047" y="54392"/>
                      </a:lnTo>
                      <a:lnTo>
                        <a:pt x="227428" y="55128"/>
                      </a:lnTo>
                      <a:lnTo>
                        <a:pt x="227428" y="4498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4" name="Forma Livre: Forma 323">
                  <a:extLst>
                    <a:ext uri="{FF2B5EF4-FFF2-40B4-BE49-F238E27FC236}">
                      <a16:creationId xmlns:a16="http://schemas.microsoft.com/office/drawing/2014/main" id="{77BEFD60-DC2B-5FD0-59B1-49F614F47888}"/>
                    </a:ext>
                  </a:extLst>
                </p:cNvPr>
                <p:cNvSpPr/>
                <p:nvPr/>
              </p:nvSpPr>
              <p:spPr>
                <a:xfrm>
                  <a:off x="2846801" y="5286170"/>
                  <a:ext cx="384873" cy="238312"/>
                </a:xfrm>
                <a:custGeom>
                  <a:avLst/>
                  <a:gdLst>
                    <a:gd name="csX0" fmla="*/ 227428 w 384873"/>
                    <a:gd name="csY0" fmla="*/ 44980 h 238312"/>
                    <a:gd name="csX1" fmla="*/ 235047 w 384873"/>
                    <a:gd name="csY1" fmla="*/ 33743 h 238312"/>
                    <a:gd name="csX2" fmla="*/ 229957 w 384873"/>
                    <a:gd name="csY2" fmla="*/ 27564 h 238312"/>
                    <a:gd name="csX3" fmla="*/ 235047 w 384873"/>
                    <a:gd name="csY3" fmla="*/ 18856 h 238312"/>
                    <a:gd name="csX4" fmla="*/ 240138 w 384873"/>
                    <a:gd name="csY4" fmla="*/ 3618 h 238312"/>
                    <a:gd name="csX5" fmla="*/ 235784 w 384873"/>
                    <a:gd name="csY5" fmla="*/ 2529 h 238312"/>
                    <a:gd name="csX6" fmla="*/ 218720 w 384873"/>
                    <a:gd name="csY6" fmla="*/ 0 h 238312"/>
                    <a:gd name="csX7" fmla="*/ 201305 w 384873"/>
                    <a:gd name="csY7" fmla="*/ 4354 h 238312"/>
                    <a:gd name="csX8" fmla="*/ 191892 w 384873"/>
                    <a:gd name="csY8" fmla="*/ 21770 h 238312"/>
                    <a:gd name="csX9" fmla="*/ 178094 w 384873"/>
                    <a:gd name="csY9" fmla="*/ 27564 h 238312"/>
                    <a:gd name="csX10" fmla="*/ 172300 w 384873"/>
                    <a:gd name="csY10" fmla="*/ 38801 h 238312"/>
                    <a:gd name="csX11" fmla="*/ 174829 w 384873"/>
                    <a:gd name="csY11" fmla="*/ 46420 h 238312"/>
                    <a:gd name="csX12" fmla="*/ 165417 w 384873"/>
                    <a:gd name="csY12" fmla="*/ 52599 h 238312"/>
                    <a:gd name="csX13" fmla="*/ 167946 w 384873"/>
                    <a:gd name="csY13" fmla="*/ 69630 h 238312"/>
                    <a:gd name="csX14" fmla="*/ 162856 w 384873"/>
                    <a:gd name="csY14" fmla="*/ 82692 h 238312"/>
                    <a:gd name="csX15" fmla="*/ 144736 w 384873"/>
                    <a:gd name="csY15" fmla="*/ 69630 h 238312"/>
                    <a:gd name="csX16" fmla="*/ 121493 w 384873"/>
                    <a:gd name="csY16" fmla="*/ 64572 h 238312"/>
                    <a:gd name="csX17" fmla="*/ 104110 w 384873"/>
                    <a:gd name="csY17" fmla="*/ 44980 h 238312"/>
                    <a:gd name="csX18" fmla="*/ 105198 w 384873"/>
                    <a:gd name="csY18" fmla="*/ 39538 h 238312"/>
                    <a:gd name="csX19" fmla="*/ 73985 w 384873"/>
                    <a:gd name="csY19" fmla="*/ 54392 h 238312"/>
                    <a:gd name="csX20" fmla="*/ 69631 w 384873"/>
                    <a:gd name="csY20" fmla="*/ 48949 h 238312"/>
                    <a:gd name="csX21" fmla="*/ 56921 w 384873"/>
                    <a:gd name="csY21" fmla="*/ 50774 h 238312"/>
                    <a:gd name="csX22" fmla="*/ 33711 w 384873"/>
                    <a:gd name="csY22" fmla="*/ 69630 h 238312"/>
                    <a:gd name="csX23" fmla="*/ 22474 w 384873"/>
                    <a:gd name="csY23" fmla="*/ 71455 h 238312"/>
                    <a:gd name="csX24" fmla="*/ 32622 w 384873"/>
                    <a:gd name="csY24" fmla="*/ 83429 h 238312"/>
                    <a:gd name="csX25" fmla="*/ 32622 w 384873"/>
                    <a:gd name="csY25" fmla="*/ 100844 h 238312"/>
                    <a:gd name="csX26" fmla="*/ 17384 w 384873"/>
                    <a:gd name="csY26" fmla="*/ 105935 h 238312"/>
                    <a:gd name="csX27" fmla="*/ 18120 w 384873"/>
                    <a:gd name="csY27" fmla="*/ 119701 h 238312"/>
                    <a:gd name="csX28" fmla="*/ 11237 w 384873"/>
                    <a:gd name="csY28" fmla="*/ 124791 h 238312"/>
                    <a:gd name="csX29" fmla="*/ 15591 w 384873"/>
                    <a:gd name="csY29" fmla="*/ 137853 h 238312"/>
                    <a:gd name="csX30" fmla="*/ 4354 w 384873"/>
                    <a:gd name="csY30" fmla="*/ 135291 h 238312"/>
                    <a:gd name="csX31" fmla="*/ 0 w 384873"/>
                    <a:gd name="csY31" fmla="*/ 140382 h 238312"/>
                    <a:gd name="csX32" fmla="*/ 10501 w 384873"/>
                    <a:gd name="csY32" fmla="*/ 151618 h 238312"/>
                    <a:gd name="csX33" fmla="*/ 9412 w 384873"/>
                    <a:gd name="csY33" fmla="*/ 156709 h 238312"/>
                    <a:gd name="csX34" fmla="*/ 55832 w 384873"/>
                    <a:gd name="csY34" fmla="*/ 161063 h 238312"/>
                    <a:gd name="csX35" fmla="*/ 61307 w 384873"/>
                    <a:gd name="csY35" fmla="*/ 180655 h 238312"/>
                    <a:gd name="csX36" fmla="*/ 68190 w 384873"/>
                    <a:gd name="csY36" fmla="*/ 191892 h 238312"/>
                    <a:gd name="csX37" fmla="*/ 75073 w 384873"/>
                    <a:gd name="csY37" fmla="*/ 196246 h 238312"/>
                    <a:gd name="csX38" fmla="*/ 92137 w 384873"/>
                    <a:gd name="csY38" fmla="*/ 187539 h 238312"/>
                    <a:gd name="csX39" fmla="*/ 101549 w 384873"/>
                    <a:gd name="csY39" fmla="*/ 191156 h 238312"/>
                    <a:gd name="csX40" fmla="*/ 107727 w 384873"/>
                    <a:gd name="csY40" fmla="*/ 186802 h 238312"/>
                    <a:gd name="csX41" fmla="*/ 124055 w 384873"/>
                    <a:gd name="csY41" fmla="*/ 191892 h 238312"/>
                    <a:gd name="csX42" fmla="*/ 130938 w 384873"/>
                    <a:gd name="csY42" fmla="*/ 183185 h 238312"/>
                    <a:gd name="csX43" fmla="*/ 139645 w 384873"/>
                    <a:gd name="csY43" fmla="*/ 196246 h 238312"/>
                    <a:gd name="csX44" fmla="*/ 135292 w 384873"/>
                    <a:gd name="csY44" fmla="*/ 210044 h 238312"/>
                    <a:gd name="csX45" fmla="*/ 119701 w 384873"/>
                    <a:gd name="csY45" fmla="*/ 230694 h 238312"/>
                    <a:gd name="csX46" fmla="*/ 127320 w 384873"/>
                    <a:gd name="csY46" fmla="*/ 238313 h 238312"/>
                    <a:gd name="csX47" fmla="*/ 151619 w 384873"/>
                    <a:gd name="csY47" fmla="*/ 226340 h 238312"/>
                    <a:gd name="csX48" fmla="*/ 157413 w 384873"/>
                    <a:gd name="csY48" fmla="*/ 216927 h 238312"/>
                    <a:gd name="csX49" fmla="*/ 166121 w 384873"/>
                    <a:gd name="csY49" fmla="*/ 220193 h 238312"/>
                    <a:gd name="csX50" fmla="*/ 180623 w 384873"/>
                    <a:gd name="csY50" fmla="*/ 202425 h 238312"/>
                    <a:gd name="csX51" fmla="*/ 189331 w 384873"/>
                    <a:gd name="csY51" fmla="*/ 203129 h 238312"/>
                    <a:gd name="csX52" fmla="*/ 196246 w 384873"/>
                    <a:gd name="csY52" fmla="*/ 203866 h 238312"/>
                    <a:gd name="csX53" fmla="*/ 200600 w 384873"/>
                    <a:gd name="csY53" fmla="*/ 212573 h 238312"/>
                    <a:gd name="csX54" fmla="*/ 216927 w 384873"/>
                    <a:gd name="csY54" fmla="*/ 198071 h 238312"/>
                    <a:gd name="csX55" fmla="*/ 212574 w 384873"/>
                    <a:gd name="csY55" fmla="*/ 191892 h 238312"/>
                    <a:gd name="csX56" fmla="*/ 227428 w 384873"/>
                    <a:gd name="csY56" fmla="*/ 181744 h 238312"/>
                    <a:gd name="csX57" fmla="*/ 223074 w 384873"/>
                    <a:gd name="csY57" fmla="*/ 174861 h 238312"/>
                    <a:gd name="csX58" fmla="*/ 232518 w 384873"/>
                    <a:gd name="csY58" fmla="*/ 173036 h 238312"/>
                    <a:gd name="csX59" fmla="*/ 233223 w 384873"/>
                    <a:gd name="csY59" fmla="*/ 162888 h 238312"/>
                    <a:gd name="csX60" fmla="*/ 242667 w 384873"/>
                    <a:gd name="csY60" fmla="*/ 157413 h 238312"/>
                    <a:gd name="csX61" fmla="*/ 245196 w 384873"/>
                    <a:gd name="csY61" fmla="*/ 156709 h 238312"/>
                    <a:gd name="csX62" fmla="*/ 250638 w 384873"/>
                    <a:gd name="csY62" fmla="*/ 151618 h 238312"/>
                    <a:gd name="csX63" fmla="*/ 254640 w 384873"/>
                    <a:gd name="csY63" fmla="*/ 154884 h 238312"/>
                    <a:gd name="csX64" fmla="*/ 268438 w 384873"/>
                    <a:gd name="csY64" fmla="*/ 153091 h 238312"/>
                    <a:gd name="csX65" fmla="*/ 266966 w 384873"/>
                    <a:gd name="csY65" fmla="*/ 141118 h 238312"/>
                    <a:gd name="csX66" fmla="*/ 271319 w 384873"/>
                    <a:gd name="csY66" fmla="*/ 137853 h 238312"/>
                    <a:gd name="csX67" fmla="*/ 260819 w 384873"/>
                    <a:gd name="csY67" fmla="*/ 129145 h 238312"/>
                    <a:gd name="csX68" fmla="*/ 278234 w 384873"/>
                    <a:gd name="csY68" fmla="*/ 117876 h 238312"/>
                    <a:gd name="csX69" fmla="*/ 296002 w 384873"/>
                    <a:gd name="csY69" fmla="*/ 119701 h 238312"/>
                    <a:gd name="csX70" fmla="*/ 302885 w 384873"/>
                    <a:gd name="csY70" fmla="*/ 129145 h 238312"/>
                    <a:gd name="csX71" fmla="*/ 315947 w 384873"/>
                    <a:gd name="csY71" fmla="*/ 140382 h 238312"/>
                    <a:gd name="csX72" fmla="*/ 333011 w 384873"/>
                    <a:gd name="csY72" fmla="*/ 139293 h 238312"/>
                    <a:gd name="csX73" fmla="*/ 337333 w 384873"/>
                    <a:gd name="csY73" fmla="*/ 154180 h 238312"/>
                    <a:gd name="csX74" fmla="*/ 346777 w 384873"/>
                    <a:gd name="csY74" fmla="*/ 152355 h 238312"/>
                    <a:gd name="csX75" fmla="*/ 355485 w 384873"/>
                    <a:gd name="csY75" fmla="*/ 162888 h 238312"/>
                    <a:gd name="csX76" fmla="*/ 367458 w 384873"/>
                    <a:gd name="csY76" fmla="*/ 164328 h 238312"/>
                    <a:gd name="csX77" fmla="*/ 369283 w 384873"/>
                    <a:gd name="csY77" fmla="*/ 169419 h 238312"/>
                    <a:gd name="csX78" fmla="*/ 379431 w 384873"/>
                    <a:gd name="csY78" fmla="*/ 164328 h 238312"/>
                    <a:gd name="csX79" fmla="*/ 371075 w 384873"/>
                    <a:gd name="csY79" fmla="*/ 156709 h 238312"/>
                    <a:gd name="csX80" fmla="*/ 384873 w 384873"/>
                    <a:gd name="csY80" fmla="*/ 121526 h 238312"/>
                    <a:gd name="csX81" fmla="*/ 380520 w 384873"/>
                    <a:gd name="csY81" fmla="*/ 106639 h 238312"/>
                    <a:gd name="csX82" fmla="*/ 368546 w 384873"/>
                    <a:gd name="csY82" fmla="*/ 99020 h 238312"/>
                    <a:gd name="csX83" fmla="*/ 359102 w 384873"/>
                    <a:gd name="csY83" fmla="*/ 81988 h 238312"/>
                    <a:gd name="csX84" fmla="*/ 352219 w 384873"/>
                    <a:gd name="csY84" fmla="*/ 73984 h 238312"/>
                    <a:gd name="csX85" fmla="*/ 356221 w 384873"/>
                    <a:gd name="csY85" fmla="*/ 62748 h 238312"/>
                    <a:gd name="csX86" fmla="*/ 352955 w 384873"/>
                    <a:gd name="csY86" fmla="*/ 55865 h 238312"/>
                    <a:gd name="csX87" fmla="*/ 327920 w 384873"/>
                    <a:gd name="csY87" fmla="*/ 52599 h 238312"/>
                    <a:gd name="csX88" fmla="*/ 323566 w 384873"/>
                    <a:gd name="csY88" fmla="*/ 57657 h 238312"/>
                    <a:gd name="csX89" fmla="*/ 322830 w 384873"/>
                    <a:gd name="csY89" fmla="*/ 57657 h 238312"/>
                    <a:gd name="csX90" fmla="*/ 297795 w 384873"/>
                    <a:gd name="csY90" fmla="*/ 57657 h 238312"/>
                    <a:gd name="csX91" fmla="*/ 294530 w 384873"/>
                    <a:gd name="csY91" fmla="*/ 63836 h 238312"/>
                    <a:gd name="csX92" fmla="*/ 287647 w 384873"/>
                    <a:gd name="csY92" fmla="*/ 62748 h 238312"/>
                    <a:gd name="csX93" fmla="*/ 272792 w 384873"/>
                    <a:gd name="csY93" fmla="*/ 55865 h 238312"/>
                    <a:gd name="csX94" fmla="*/ 269527 w 384873"/>
                    <a:gd name="csY94" fmla="*/ 45716 h 238312"/>
                    <a:gd name="csX95" fmla="*/ 262612 w 384873"/>
                    <a:gd name="csY95" fmla="*/ 44980 h 238312"/>
                    <a:gd name="csX96" fmla="*/ 253199 w 384873"/>
                    <a:gd name="csY96" fmla="*/ 59482 h 238312"/>
                    <a:gd name="csX97" fmla="*/ 249550 w 384873"/>
                    <a:gd name="csY97" fmla="*/ 55865 h 238312"/>
                    <a:gd name="csX98" fmla="*/ 239401 w 384873"/>
                    <a:gd name="csY98" fmla="*/ 60218 h 238312"/>
                    <a:gd name="csX99" fmla="*/ 235047 w 384873"/>
                    <a:gd name="csY99" fmla="*/ 54392 h 238312"/>
                    <a:gd name="csX100" fmla="*/ 227428 w 384873"/>
                    <a:gd name="csY100" fmla="*/ 55128 h 238312"/>
                    <a:gd name="csX101" fmla="*/ 227428 w 384873"/>
                    <a:gd name="csY101" fmla="*/ 44980 h 23831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</a:cxnLst>
                  <a:rect l="l" t="t" r="r" b="b"/>
                  <a:pathLst>
                    <a:path w="384873" h="238312">
                      <a:moveTo>
                        <a:pt x="227428" y="44980"/>
                      </a:moveTo>
                      <a:lnTo>
                        <a:pt x="235047" y="33743"/>
                      </a:lnTo>
                      <a:lnTo>
                        <a:pt x="229957" y="27564"/>
                      </a:lnTo>
                      <a:lnTo>
                        <a:pt x="235047" y="18856"/>
                      </a:lnTo>
                      <a:lnTo>
                        <a:pt x="240138" y="3618"/>
                      </a:lnTo>
                      <a:lnTo>
                        <a:pt x="235784" y="2529"/>
                      </a:lnTo>
                      <a:lnTo>
                        <a:pt x="218720" y="0"/>
                      </a:lnTo>
                      <a:lnTo>
                        <a:pt x="201305" y="4354"/>
                      </a:lnTo>
                      <a:lnTo>
                        <a:pt x="191892" y="21770"/>
                      </a:lnTo>
                      <a:lnTo>
                        <a:pt x="178094" y="27564"/>
                      </a:lnTo>
                      <a:lnTo>
                        <a:pt x="172300" y="38801"/>
                      </a:lnTo>
                      <a:lnTo>
                        <a:pt x="174829" y="46420"/>
                      </a:lnTo>
                      <a:lnTo>
                        <a:pt x="165417" y="52599"/>
                      </a:lnTo>
                      <a:lnTo>
                        <a:pt x="167946" y="69630"/>
                      </a:lnTo>
                      <a:lnTo>
                        <a:pt x="162856" y="82692"/>
                      </a:lnTo>
                      <a:lnTo>
                        <a:pt x="144736" y="69630"/>
                      </a:lnTo>
                      <a:lnTo>
                        <a:pt x="121493" y="64572"/>
                      </a:lnTo>
                      <a:lnTo>
                        <a:pt x="104110" y="44980"/>
                      </a:lnTo>
                      <a:lnTo>
                        <a:pt x="105198" y="39538"/>
                      </a:lnTo>
                      <a:lnTo>
                        <a:pt x="73985" y="54392"/>
                      </a:lnTo>
                      <a:lnTo>
                        <a:pt x="69631" y="48949"/>
                      </a:lnTo>
                      <a:lnTo>
                        <a:pt x="56921" y="50774"/>
                      </a:lnTo>
                      <a:lnTo>
                        <a:pt x="33711" y="69630"/>
                      </a:lnTo>
                      <a:lnTo>
                        <a:pt x="22474" y="71455"/>
                      </a:lnTo>
                      <a:lnTo>
                        <a:pt x="32622" y="83429"/>
                      </a:lnTo>
                      <a:lnTo>
                        <a:pt x="32622" y="100844"/>
                      </a:lnTo>
                      <a:lnTo>
                        <a:pt x="17384" y="105935"/>
                      </a:lnTo>
                      <a:lnTo>
                        <a:pt x="18120" y="119701"/>
                      </a:lnTo>
                      <a:lnTo>
                        <a:pt x="11237" y="124791"/>
                      </a:lnTo>
                      <a:lnTo>
                        <a:pt x="15591" y="137853"/>
                      </a:lnTo>
                      <a:lnTo>
                        <a:pt x="4354" y="135291"/>
                      </a:lnTo>
                      <a:lnTo>
                        <a:pt x="0" y="140382"/>
                      </a:lnTo>
                      <a:lnTo>
                        <a:pt x="10501" y="151618"/>
                      </a:lnTo>
                      <a:lnTo>
                        <a:pt x="9412" y="156709"/>
                      </a:lnTo>
                      <a:lnTo>
                        <a:pt x="55832" y="161063"/>
                      </a:lnTo>
                      <a:lnTo>
                        <a:pt x="61307" y="180655"/>
                      </a:lnTo>
                      <a:lnTo>
                        <a:pt x="68190" y="191892"/>
                      </a:lnTo>
                      <a:lnTo>
                        <a:pt x="75073" y="196246"/>
                      </a:lnTo>
                      <a:lnTo>
                        <a:pt x="92137" y="187539"/>
                      </a:lnTo>
                      <a:lnTo>
                        <a:pt x="101549" y="191156"/>
                      </a:lnTo>
                      <a:lnTo>
                        <a:pt x="107727" y="186802"/>
                      </a:lnTo>
                      <a:lnTo>
                        <a:pt x="124055" y="191892"/>
                      </a:lnTo>
                      <a:lnTo>
                        <a:pt x="130938" y="183185"/>
                      </a:lnTo>
                      <a:lnTo>
                        <a:pt x="139645" y="196246"/>
                      </a:lnTo>
                      <a:lnTo>
                        <a:pt x="135292" y="210044"/>
                      </a:lnTo>
                      <a:lnTo>
                        <a:pt x="119701" y="230694"/>
                      </a:lnTo>
                      <a:lnTo>
                        <a:pt x="127320" y="238313"/>
                      </a:lnTo>
                      <a:lnTo>
                        <a:pt x="151619" y="226340"/>
                      </a:lnTo>
                      <a:lnTo>
                        <a:pt x="157413" y="216927"/>
                      </a:lnTo>
                      <a:lnTo>
                        <a:pt x="166121" y="220193"/>
                      </a:lnTo>
                      <a:lnTo>
                        <a:pt x="180623" y="202425"/>
                      </a:lnTo>
                      <a:lnTo>
                        <a:pt x="189331" y="203129"/>
                      </a:lnTo>
                      <a:lnTo>
                        <a:pt x="196246" y="203866"/>
                      </a:lnTo>
                      <a:lnTo>
                        <a:pt x="200600" y="212573"/>
                      </a:lnTo>
                      <a:lnTo>
                        <a:pt x="216927" y="198071"/>
                      </a:lnTo>
                      <a:lnTo>
                        <a:pt x="212574" y="191892"/>
                      </a:lnTo>
                      <a:lnTo>
                        <a:pt x="227428" y="181744"/>
                      </a:lnTo>
                      <a:lnTo>
                        <a:pt x="223074" y="174861"/>
                      </a:lnTo>
                      <a:lnTo>
                        <a:pt x="232518" y="173036"/>
                      </a:lnTo>
                      <a:lnTo>
                        <a:pt x="233223" y="162888"/>
                      </a:lnTo>
                      <a:lnTo>
                        <a:pt x="242667" y="157413"/>
                      </a:lnTo>
                      <a:lnTo>
                        <a:pt x="245196" y="156709"/>
                      </a:lnTo>
                      <a:lnTo>
                        <a:pt x="250638" y="151618"/>
                      </a:lnTo>
                      <a:lnTo>
                        <a:pt x="254640" y="154884"/>
                      </a:lnTo>
                      <a:lnTo>
                        <a:pt x="268438" y="153091"/>
                      </a:lnTo>
                      <a:lnTo>
                        <a:pt x="266966" y="141118"/>
                      </a:lnTo>
                      <a:lnTo>
                        <a:pt x="271319" y="137853"/>
                      </a:lnTo>
                      <a:lnTo>
                        <a:pt x="260819" y="129145"/>
                      </a:lnTo>
                      <a:lnTo>
                        <a:pt x="278234" y="117876"/>
                      </a:lnTo>
                      <a:lnTo>
                        <a:pt x="296002" y="119701"/>
                      </a:lnTo>
                      <a:lnTo>
                        <a:pt x="302885" y="129145"/>
                      </a:lnTo>
                      <a:lnTo>
                        <a:pt x="315947" y="140382"/>
                      </a:lnTo>
                      <a:lnTo>
                        <a:pt x="333011" y="139293"/>
                      </a:lnTo>
                      <a:lnTo>
                        <a:pt x="337333" y="154180"/>
                      </a:lnTo>
                      <a:lnTo>
                        <a:pt x="346777" y="152355"/>
                      </a:lnTo>
                      <a:lnTo>
                        <a:pt x="355485" y="162888"/>
                      </a:lnTo>
                      <a:lnTo>
                        <a:pt x="367458" y="164328"/>
                      </a:lnTo>
                      <a:lnTo>
                        <a:pt x="369283" y="169419"/>
                      </a:lnTo>
                      <a:lnTo>
                        <a:pt x="379431" y="164328"/>
                      </a:lnTo>
                      <a:lnTo>
                        <a:pt x="371075" y="156709"/>
                      </a:lnTo>
                      <a:lnTo>
                        <a:pt x="384873" y="121526"/>
                      </a:lnTo>
                      <a:lnTo>
                        <a:pt x="380520" y="106639"/>
                      </a:lnTo>
                      <a:lnTo>
                        <a:pt x="368546" y="99020"/>
                      </a:lnTo>
                      <a:lnTo>
                        <a:pt x="359102" y="81988"/>
                      </a:lnTo>
                      <a:lnTo>
                        <a:pt x="352219" y="73984"/>
                      </a:lnTo>
                      <a:lnTo>
                        <a:pt x="356221" y="62748"/>
                      </a:lnTo>
                      <a:lnTo>
                        <a:pt x="352955" y="55865"/>
                      </a:lnTo>
                      <a:lnTo>
                        <a:pt x="327920" y="52599"/>
                      </a:lnTo>
                      <a:lnTo>
                        <a:pt x="323566" y="57657"/>
                      </a:lnTo>
                      <a:lnTo>
                        <a:pt x="322830" y="57657"/>
                      </a:lnTo>
                      <a:lnTo>
                        <a:pt x="297795" y="57657"/>
                      </a:lnTo>
                      <a:lnTo>
                        <a:pt x="294530" y="63836"/>
                      </a:lnTo>
                      <a:lnTo>
                        <a:pt x="287647" y="62748"/>
                      </a:lnTo>
                      <a:lnTo>
                        <a:pt x="272792" y="55865"/>
                      </a:lnTo>
                      <a:lnTo>
                        <a:pt x="269527" y="45716"/>
                      </a:lnTo>
                      <a:lnTo>
                        <a:pt x="262612" y="44980"/>
                      </a:lnTo>
                      <a:lnTo>
                        <a:pt x="253199" y="59482"/>
                      </a:lnTo>
                      <a:lnTo>
                        <a:pt x="249550" y="55865"/>
                      </a:lnTo>
                      <a:lnTo>
                        <a:pt x="239401" y="60218"/>
                      </a:lnTo>
                      <a:lnTo>
                        <a:pt x="235047" y="54392"/>
                      </a:lnTo>
                      <a:lnTo>
                        <a:pt x="227428" y="55128"/>
                      </a:lnTo>
                      <a:lnTo>
                        <a:pt x="227428" y="4498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5" name="Forma Livre: Forma 324">
                  <a:extLst>
                    <a:ext uri="{FF2B5EF4-FFF2-40B4-BE49-F238E27FC236}">
                      <a16:creationId xmlns:a16="http://schemas.microsoft.com/office/drawing/2014/main" id="{286B72EF-F8DD-29D3-E15B-B50DE125A613}"/>
                    </a:ext>
                  </a:extLst>
                </p:cNvPr>
                <p:cNvSpPr/>
                <p:nvPr/>
              </p:nvSpPr>
              <p:spPr>
                <a:xfrm>
                  <a:off x="2846801" y="5286170"/>
                  <a:ext cx="384873" cy="238312"/>
                </a:xfrm>
                <a:custGeom>
                  <a:avLst/>
                  <a:gdLst>
                    <a:gd name="csX0" fmla="*/ 227428 w 384873"/>
                    <a:gd name="csY0" fmla="*/ 44980 h 238312"/>
                    <a:gd name="csX1" fmla="*/ 235047 w 384873"/>
                    <a:gd name="csY1" fmla="*/ 33743 h 238312"/>
                    <a:gd name="csX2" fmla="*/ 229957 w 384873"/>
                    <a:gd name="csY2" fmla="*/ 27564 h 238312"/>
                    <a:gd name="csX3" fmla="*/ 235047 w 384873"/>
                    <a:gd name="csY3" fmla="*/ 18856 h 238312"/>
                    <a:gd name="csX4" fmla="*/ 240138 w 384873"/>
                    <a:gd name="csY4" fmla="*/ 3618 h 238312"/>
                    <a:gd name="csX5" fmla="*/ 235784 w 384873"/>
                    <a:gd name="csY5" fmla="*/ 2529 h 238312"/>
                    <a:gd name="csX6" fmla="*/ 218720 w 384873"/>
                    <a:gd name="csY6" fmla="*/ 0 h 238312"/>
                    <a:gd name="csX7" fmla="*/ 201305 w 384873"/>
                    <a:gd name="csY7" fmla="*/ 4354 h 238312"/>
                    <a:gd name="csX8" fmla="*/ 191892 w 384873"/>
                    <a:gd name="csY8" fmla="*/ 21770 h 238312"/>
                    <a:gd name="csX9" fmla="*/ 178094 w 384873"/>
                    <a:gd name="csY9" fmla="*/ 27564 h 238312"/>
                    <a:gd name="csX10" fmla="*/ 172300 w 384873"/>
                    <a:gd name="csY10" fmla="*/ 38801 h 238312"/>
                    <a:gd name="csX11" fmla="*/ 174829 w 384873"/>
                    <a:gd name="csY11" fmla="*/ 46420 h 238312"/>
                    <a:gd name="csX12" fmla="*/ 165417 w 384873"/>
                    <a:gd name="csY12" fmla="*/ 52599 h 238312"/>
                    <a:gd name="csX13" fmla="*/ 167946 w 384873"/>
                    <a:gd name="csY13" fmla="*/ 69630 h 238312"/>
                    <a:gd name="csX14" fmla="*/ 162856 w 384873"/>
                    <a:gd name="csY14" fmla="*/ 82692 h 238312"/>
                    <a:gd name="csX15" fmla="*/ 144736 w 384873"/>
                    <a:gd name="csY15" fmla="*/ 69630 h 238312"/>
                    <a:gd name="csX16" fmla="*/ 121493 w 384873"/>
                    <a:gd name="csY16" fmla="*/ 64572 h 238312"/>
                    <a:gd name="csX17" fmla="*/ 104110 w 384873"/>
                    <a:gd name="csY17" fmla="*/ 44980 h 238312"/>
                    <a:gd name="csX18" fmla="*/ 105198 w 384873"/>
                    <a:gd name="csY18" fmla="*/ 39538 h 238312"/>
                    <a:gd name="csX19" fmla="*/ 73985 w 384873"/>
                    <a:gd name="csY19" fmla="*/ 54392 h 238312"/>
                    <a:gd name="csX20" fmla="*/ 69631 w 384873"/>
                    <a:gd name="csY20" fmla="*/ 48949 h 238312"/>
                    <a:gd name="csX21" fmla="*/ 56921 w 384873"/>
                    <a:gd name="csY21" fmla="*/ 50774 h 238312"/>
                    <a:gd name="csX22" fmla="*/ 33711 w 384873"/>
                    <a:gd name="csY22" fmla="*/ 69630 h 238312"/>
                    <a:gd name="csX23" fmla="*/ 22474 w 384873"/>
                    <a:gd name="csY23" fmla="*/ 71455 h 238312"/>
                    <a:gd name="csX24" fmla="*/ 32622 w 384873"/>
                    <a:gd name="csY24" fmla="*/ 83429 h 238312"/>
                    <a:gd name="csX25" fmla="*/ 32622 w 384873"/>
                    <a:gd name="csY25" fmla="*/ 100844 h 238312"/>
                    <a:gd name="csX26" fmla="*/ 17384 w 384873"/>
                    <a:gd name="csY26" fmla="*/ 105935 h 238312"/>
                    <a:gd name="csX27" fmla="*/ 18120 w 384873"/>
                    <a:gd name="csY27" fmla="*/ 119701 h 238312"/>
                    <a:gd name="csX28" fmla="*/ 11237 w 384873"/>
                    <a:gd name="csY28" fmla="*/ 124791 h 238312"/>
                    <a:gd name="csX29" fmla="*/ 15591 w 384873"/>
                    <a:gd name="csY29" fmla="*/ 137853 h 238312"/>
                    <a:gd name="csX30" fmla="*/ 4354 w 384873"/>
                    <a:gd name="csY30" fmla="*/ 135291 h 238312"/>
                    <a:gd name="csX31" fmla="*/ 0 w 384873"/>
                    <a:gd name="csY31" fmla="*/ 140382 h 238312"/>
                    <a:gd name="csX32" fmla="*/ 10501 w 384873"/>
                    <a:gd name="csY32" fmla="*/ 151618 h 238312"/>
                    <a:gd name="csX33" fmla="*/ 9412 w 384873"/>
                    <a:gd name="csY33" fmla="*/ 156709 h 238312"/>
                    <a:gd name="csX34" fmla="*/ 55832 w 384873"/>
                    <a:gd name="csY34" fmla="*/ 161063 h 238312"/>
                    <a:gd name="csX35" fmla="*/ 61307 w 384873"/>
                    <a:gd name="csY35" fmla="*/ 180655 h 238312"/>
                    <a:gd name="csX36" fmla="*/ 68190 w 384873"/>
                    <a:gd name="csY36" fmla="*/ 191892 h 238312"/>
                    <a:gd name="csX37" fmla="*/ 75073 w 384873"/>
                    <a:gd name="csY37" fmla="*/ 196246 h 238312"/>
                    <a:gd name="csX38" fmla="*/ 92137 w 384873"/>
                    <a:gd name="csY38" fmla="*/ 187539 h 238312"/>
                    <a:gd name="csX39" fmla="*/ 101549 w 384873"/>
                    <a:gd name="csY39" fmla="*/ 191156 h 238312"/>
                    <a:gd name="csX40" fmla="*/ 107727 w 384873"/>
                    <a:gd name="csY40" fmla="*/ 186802 h 238312"/>
                    <a:gd name="csX41" fmla="*/ 124055 w 384873"/>
                    <a:gd name="csY41" fmla="*/ 191892 h 238312"/>
                    <a:gd name="csX42" fmla="*/ 130938 w 384873"/>
                    <a:gd name="csY42" fmla="*/ 183185 h 238312"/>
                    <a:gd name="csX43" fmla="*/ 139645 w 384873"/>
                    <a:gd name="csY43" fmla="*/ 196246 h 238312"/>
                    <a:gd name="csX44" fmla="*/ 135292 w 384873"/>
                    <a:gd name="csY44" fmla="*/ 210044 h 238312"/>
                    <a:gd name="csX45" fmla="*/ 119701 w 384873"/>
                    <a:gd name="csY45" fmla="*/ 230694 h 238312"/>
                    <a:gd name="csX46" fmla="*/ 127320 w 384873"/>
                    <a:gd name="csY46" fmla="*/ 238313 h 238312"/>
                    <a:gd name="csX47" fmla="*/ 151619 w 384873"/>
                    <a:gd name="csY47" fmla="*/ 226340 h 238312"/>
                    <a:gd name="csX48" fmla="*/ 157413 w 384873"/>
                    <a:gd name="csY48" fmla="*/ 216927 h 238312"/>
                    <a:gd name="csX49" fmla="*/ 166121 w 384873"/>
                    <a:gd name="csY49" fmla="*/ 220193 h 238312"/>
                    <a:gd name="csX50" fmla="*/ 180623 w 384873"/>
                    <a:gd name="csY50" fmla="*/ 202425 h 238312"/>
                    <a:gd name="csX51" fmla="*/ 189331 w 384873"/>
                    <a:gd name="csY51" fmla="*/ 203129 h 238312"/>
                    <a:gd name="csX52" fmla="*/ 196246 w 384873"/>
                    <a:gd name="csY52" fmla="*/ 203866 h 238312"/>
                    <a:gd name="csX53" fmla="*/ 200600 w 384873"/>
                    <a:gd name="csY53" fmla="*/ 212573 h 238312"/>
                    <a:gd name="csX54" fmla="*/ 216927 w 384873"/>
                    <a:gd name="csY54" fmla="*/ 198071 h 238312"/>
                    <a:gd name="csX55" fmla="*/ 212574 w 384873"/>
                    <a:gd name="csY55" fmla="*/ 191892 h 238312"/>
                    <a:gd name="csX56" fmla="*/ 227428 w 384873"/>
                    <a:gd name="csY56" fmla="*/ 181744 h 238312"/>
                    <a:gd name="csX57" fmla="*/ 223074 w 384873"/>
                    <a:gd name="csY57" fmla="*/ 174861 h 238312"/>
                    <a:gd name="csX58" fmla="*/ 232518 w 384873"/>
                    <a:gd name="csY58" fmla="*/ 173036 h 238312"/>
                    <a:gd name="csX59" fmla="*/ 233223 w 384873"/>
                    <a:gd name="csY59" fmla="*/ 162888 h 238312"/>
                    <a:gd name="csX60" fmla="*/ 242667 w 384873"/>
                    <a:gd name="csY60" fmla="*/ 157413 h 238312"/>
                    <a:gd name="csX61" fmla="*/ 245196 w 384873"/>
                    <a:gd name="csY61" fmla="*/ 156709 h 238312"/>
                    <a:gd name="csX62" fmla="*/ 250638 w 384873"/>
                    <a:gd name="csY62" fmla="*/ 151618 h 238312"/>
                    <a:gd name="csX63" fmla="*/ 254640 w 384873"/>
                    <a:gd name="csY63" fmla="*/ 154884 h 238312"/>
                    <a:gd name="csX64" fmla="*/ 268438 w 384873"/>
                    <a:gd name="csY64" fmla="*/ 153091 h 238312"/>
                    <a:gd name="csX65" fmla="*/ 266966 w 384873"/>
                    <a:gd name="csY65" fmla="*/ 141118 h 238312"/>
                    <a:gd name="csX66" fmla="*/ 271319 w 384873"/>
                    <a:gd name="csY66" fmla="*/ 137853 h 238312"/>
                    <a:gd name="csX67" fmla="*/ 260819 w 384873"/>
                    <a:gd name="csY67" fmla="*/ 129145 h 238312"/>
                    <a:gd name="csX68" fmla="*/ 278234 w 384873"/>
                    <a:gd name="csY68" fmla="*/ 117876 h 238312"/>
                    <a:gd name="csX69" fmla="*/ 296002 w 384873"/>
                    <a:gd name="csY69" fmla="*/ 119701 h 238312"/>
                    <a:gd name="csX70" fmla="*/ 302885 w 384873"/>
                    <a:gd name="csY70" fmla="*/ 129145 h 238312"/>
                    <a:gd name="csX71" fmla="*/ 315947 w 384873"/>
                    <a:gd name="csY71" fmla="*/ 140382 h 238312"/>
                    <a:gd name="csX72" fmla="*/ 333011 w 384873"/>
                    <a:gd name="csY72" fmla="*/ 139293 h 238312"/>
                    <a:gd name="csX73" fmla="*/ 337333 w 384873"/>
                    <a:gd name="csY73" fmla="*/ 154180 h 238312"/>
                    <a:gd name="csX74" fmla="*/ 346777 w 384873"/>
                    <a:gd name="csY74" fmla="*/ 152355 h 238312"/>
                    <a:gd name="csX75" fmla="*/ 355485 w 384873"/>
                    <a:gd name="csY75" fmla="*/ 162888 h 238312"/>
                    <a:gd name="csX76" fmla="*/ 367458 w 384873"/>
                    <a:gd name="csY76" fmla="*/ 164328 h 238312"/>
                    <a:gd name="csX77" fmla="*/ 369283 w 384873"/>
                    <a:gd name="csY77" fmla="*/ 169419 h 238312"/>
                    <a:gd name="csX78" fmla="*/ 379431 w 384873"/>
                    <a:gd name="csY78" fmla="*/ 164328 h 238312"/>
                    <a:gd name="csX79" fmla="*/ 371075 w 384873"/>
                    <a:gd name="csY79" fmla="*/ 156709 h 238312"/>
                    <a:gd name="csX80" fmla="*/ 384873 w 384873"/>
                    <a:gd name="csY80" fmla="*/ 121526 h 238312"/>
                    <a:gd name="csX81" fmla="*/ 380520 w 384873"/>
                    <a:gd name="csY81" fmla="*/ 106639 h 238312"/>
                    <a:gd name="csX82" fmla="*/ 368546 w 384873"/>
                    <a:gd name="csY82" fmla="*/ 99020 h 238312"/>
                    <a:gd name="csX83" fmla="*/ 359102 w 384873"/>
                    <a:gd name="csY83" fmla="*/ 81988 h 238312"/>
                    <a:gd name="csX84" fmla="*/ 352219 w 384873"/>
                    <a:gd name="csY84" fmla="*/ 73984 h 238312"/>
                    <a:gd name="csX85" fmla="*/ 356221 w 384873"/>
                    <a:gd name="csY85" fmla="*/ 62748 h 238312"/>
                    <a:gd name="csX86" fmla="*/ 352955 w 384873"/>
                    <a:gd name="csY86" fmla="*/ 55865 h 238312"/>
                    <a:gd name="csX87" fmla="*/ 327920 w 384873"/>
                    <a:gd name="csY87" fmla="*/ 52599 h 238312"/>
                    <a:gd name="csX88" fmla="*/ 323566 w 384873"/>
                    <a:gd name="csY88" fmla="*/ 57657 h 238312"/>
                    <a:gd name="csX89" fmla="*/ 322830 w 384873"/>
                    <a:gd name="csY89" fmla="*/ 57657 h 238312"/>
                    <a:gd name="csX90" fmla="*/ 297795 w 384873"/>
                    <a:gd name="csY90" fmla="*/ 57657 h 238312"/>
                    <a:gd name="csX91" fmla="*/ 294530 w 384873"/>
                    <a:gd name="csY91" fmla="*/ 63836 h 238312"/>
                    <a:gd name="csX92" fmla="*/ 287647 w 384873"/>
                    <a:gd name="csY92" fmla="*/ 62748 h 238312"/>
                    <a:gd name="csX93" fmla="*/ 272792 w 384873"/>
                    <a:gd name="csY93" fmla="*/ 55865 h 238312"/>
                    <a:gd name="csX94" fmla="*/ 269527 w 384873"/>
                    <a:gd name="csY94" fmla="*/ 45716 h 238312"/>
                    <a:gd name="csX95" fmla="*/ 262612 w 384873"/>
                    <a:gd name="csY95" fmla="*/ 44980 h 238312"/>
                    <a:gd name="csX96" fmla="*/ 253199 w 384873"/>
                    <a:gd name="csY96" fmla="*/ 59482 h 238312"/>
                    <a:gd name="csX97" fmla="*/ 249550 w 384873"/>
                    <a:gd name="csY97" fmla="*/ 55865 h 238312"/>
                    <a:gd name="csX98" fmla="*/ 239401 w 384873"/>
                    <a:gd name="csY98" fmla="*/ 60218 h 238312"/>
                    <a:gd name="csX99" fmla="*/ 235047 w 384873"/>
                    <a:gd name="csY99" fmla="*/ 54392 h 238312"/>
                    <a:gd name="csX100" fmla="*/ 227428 w 384873"/>
                    <a:gd name="csY100" fmla="*/ 55128 h 238312"/>
                    <a:gd name="csX101" fmla="*/ 227428 w 384873"/>
                    <a:gd name="csY101" fmla="*/ 44980 h 23831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</a:cxnLst>
                  <a:rect l="l" t="t" r="r" b="b"/>
                  <a:pathLst>
                    <a:path w="384873" h="238312">
                      <a:moveTo>
                        <a:pt x="227428" y="44980"/>
                      </a:moveTo>
                      <a:lnTo>
                        <a:pt x="235047" y="33743"/>
                      </a:lnTo>
                      <a:lnTo>
                        <a:pt x="229957" y="27564"/>
                      </a:lnTo>
                      <a:lnTo>
                        <a:pt x="235047" y="18856"/>
                      </a:lnTo>
                      <a:lnTo>
                        <a:pt x="240138" y="3618"/>
                      </a:lnTo>
                      <a:lnTo>
                        <a:pt x="235784" y="2529"/>
                      </a:lnTo>
                      <a:lnTo>
                        <a:pt x="218720" y="0"/>
                      </a:lnTo>
                      <a:lnTo>
                        <a:pt x="201305" y="4354"/>
                      </a:lnTo>
                      <a:lnTo>
                        <a:pt x="191892" y="21770"/>
                      </a:lnTo>
                      <a:lnTo>
                        <a:pt x="178094" y="27564"/>
                      </a:lnTo>
                      <a:lnTo>
                        <a:pt x="172300" y="38801"/>
                      </a:lnTo>
                      <a:lnTo>
                        <a:pt x="174829" y="46420"/>
                      </a:lnTo>
                      <a:lnTo>
                        <a:pt x="165417" y="52599"/>
                      </a:lnTo>
                      <a:lnTo>
                        <a:pt x="167946" y="69630"/>
                      </a:lnTo>
                      <a:lnTo>
                        <a:pt x="162856" y="82692"/>
                      </a:lnTo>
                      <a:lnTo>
                        <a:pt x="144736" y="69630"/>
                      </a:lnTo>
                      <a:lnTo>
                        <a:pt x="121493" y="64572"/>
                      </a:lnTo>
                      <a:lnTo>
                        <a:pt x="104110" y="44980"/>
                      </a:lnTo>
                      <a:lnTo>
                        <a:pt x="105198" y="39538"/>
                      </a:lnTo>
                      <a:lnTo>
                        <a:pt x="73985" y="54392"/>
                      </a:lnTo>
                      <a:lnTo>
                        <a:pt x="69631" y="48949"/>
                      </a:lnTo>
                      <a:lnTo>
                        <a:pt x="56921" y="50774"/>
                      </a:lnTo>
                      <a:lnTo>
                        <a:pt x="33711" y="69630"/>
                      </a:lnTo>
                      <a:lnTo>
                        <a:pt x="22474" y="71455"/>
                      </a:lnTo>
                      <a:lnTo>
                        <a:pt x="32622" y="83429"/>
                      </a:lnTo>
                      <a:lnTo>
                        <a:pt x="32622" y="100844"/>
                      </a:lnTo>
                      <a:lnTo>
                        <a:pt x="17384" y="105935"/>
                      </a:lnTo>
                      <a:lnTo>
                        <a:pt x="18120" y="119701"/>
                      </a:lnTo>
                      <a:lnTo>
                        <a:pt x="11237" y="124791"/>
                      </a:lnTo>
                      <a:lnTo>
                        <a:pt x="15591" y="137853"/>
                      </a:lnTo>
                      <a:lnTo>
                        <a:pt x="4354" y="135291"/>
                      </a:lnTo>
                      <a:lnTo>
                        <a:pt x="0" y="140382"/>
                      </a:lnTo>
                      <a:lnTo>
                        <a:pt x="10501" y="151618"/>
                      </a:lnTo>
                      <a:lnTo>
                        <a:pt x="9412" y="156709"/>
                      </a:lnTo>
                      <a:lnTo>
                        <a:pt x="55832" y="161063"/>
                      </a:lnTo>
                      <a:lnTo>
                        <a:pt x="61307" y="180655"/>
                      </a:lnTo>
                      <a:lnTo>
                        <a:pt x="68190" y="191892"/>
                      </a:lnTo>
                      <a:lnTo>
                        <a:pt x="75073" y="196246"/>
                      </a:lnTo>
                      <a:lnTo>
                        <a:pt x="92137" y="187539"/>
                      </a:lnTo>
                      <a:lnTo>
                        <a:pt x="101549" y="191156"/>
                      </a:lnTo>
                      <a:lnTo>
                        <a:pt x="107727" y="186802"/>
                      </a:lnTo>
                      <a:lnTo>
                        <a:pt x="124055" y="191892"/>
                      </a:lnTo>
                      <a:lnTo>
                        <a:pt x="130938" y="183185"/>
                      </a:lnTo>
                      <a:lnTo>
                        <a:pt x="139645" y="196246"/>
                      </a:lnTo>
                      <a:lnTo>
                        <a:pt x="135292" y="210044"/>
                      </a:lnTo>
                      <a:lnTo>
                        <a:pt x="119701" y="230694"/>
                      </a:lnTo>
                      <a:lnTo>
                        <a:pt x="127320" y="238313"/>
                      </a:lnTo>
                      <a:lnTo>
                        <a:pt x="151619" y="226340"/>
                      </a:lnTo>
                      <a:lnTo>
                        <a:pt x="157413" y="216927"/>
                      </a:lnTo>
                      <a:lnTo>
                        <a:pt x="166121" y="220193"/>
                      </a:lnTo>
                      <a:lnTo>
                        <a:pt x="180623" y="202425"/>
                      </a:lnTo>
                      <a:lnTo>
                        <a:pt x="189331" y="203129"/>
                      </a:lnTo>
                      <a:lnTo>
                        <a:pt x="196246" y="203866"/>
                      </a:lnTo>
                      <a:lnTo>
                        <a:pt x="200600" y="212573"/>
                      </a:lnTo>
                      <a:lnTo>
                        <a:pt x="216927" y="198071"/>
                      </a:lnTo>
                      <a:lnTo>
                        <a:pt x="212574" y="191892"/>
                      </a:lnTo>
                      <a:lnTo>
                        <a:pt x="227428" y="181744"/>
                      </a:lnTo>
                      <a:lnTo>
                        <a:pt x="223074" y="174861"/>
                      </a:lnTo>
                      <a:lnTo>
                        <a:pt x="232518" y="173036"/>
                      </a:lnTo>
                      <a:lnTo>
                        <a:pt x="233223" y="162888"/>
                      </a:lnTo>
                      <a:lnTo>
                        <a:pt x="242667" y="157413"/>
                      </a:lnTo>
                      <a:lnTo>
                        <a:pt x="245196" y="156709"/>
                      </a:lnTo>
                      <a:lnTo>
                        <a:pt x="250638" y="151618"/>
                      </a:lnTo>
                      <a:lnTo>
                        <a:pt x="254640" y="154884"/>
                      </a:lnTo>
                      <a:lnTo>
                        <a:pt x="268438" y="153091"/>
                      </a:lnTo>
                      <a:lnTo>
                        <a:pt x="266966" y="141118"/>
                      </a:lnTo>
                      <a:lnTo>
                        <a:pt x="271319" y="137853"/>
                      </a:lnTo>
                      <a:lnTo>
                        <a:pt x="260819" y="129145"/>
                      </a:lnTo>
                      <a:lnTo>
                        <a:pt x="278234" y="117876"/>
                      </a:lnTo>
                      <a:lnTo>
                        <a:pt x="296002" y="119701"/>
                      </a:lnTo>
                      <a:lnTo>
                        <a:pt x="302885" y="129145"/>
                      </a:lnTo>
                      <a:lnTo>
                        <a:pt x="315947" y="140382"/>
                      </a:lnTo>
                      <a:lnTo>
                        <a:pt x="333011" y="139293"/>
                      </a:lnTo>
                      <a:lnTo>
                        <a:pt x="337333" y="154180"/>
                      </a:lnTo>
                      <a:lnTo>
                        <a:pt x="346777" y="152355"/>
                      </a:lnTo>
                      <a:lnTo>
                        <a:pt x="355485" y="162888"/>
                      </a:lnTo>
                      <a:lnTo>
                        <a:pt x="367458" y="164328"/>
                      </a:lnTo>
                      <a:lnTo>
                        <a:pt x="369283" y="169419"/>
                      </a:lnTo>
                      <a:lnTo>
                        <a:pt x="379431" y="164328"/>
                      </a:lnTo>
                      <a:lnTo>
                        <a:pt x="371075" y="156709"/>
                      </a:lnTo>
                      <a:lnTo>
                        <a:pt x="384873" y="121526"/>
                      </a:lnTo>
                      <a:lnTo>
                        <a:pt x="380520" y="106639"/>
                      </a:lnTo>
                      <a:lnTo>
                        <a:pt x="368546" y="99020"/>
                      </a:lnTo>
                      <a:lnTo>
                        <a:pt x="359102" y="81988"/>
                      </a:lnTo>
                      <a:lnTo>
                        <a:pt x="352219" y="73984"/>
                      </a:lnTo>
                      <a:lnTo>
                        <a:pt x="356221" y="62748"/>
                      </a:lnTo>
                      <a:lnTo>
                        <a:pt x="352955" y="55865"/>
                      </a:lnTo>
                      <a:lnTo>
                        <a:pt x="327920" y="52599"/>
                      </a:lnTo>
                      <a:lnTo>
                        <a:pt x="323566" y="57657"/>
                      </a:lnTo>
                      <a:lnTo>
                        <a:pt x="322830" y="57657"/>
                      </a:lnTo>
                      <a:lnTo>
                        <a:pt x="297795" y="57657"/>
                      </a:lnTo>
                      <a:lnTo>
                        <a:pt x="294530" y="63836"/>
                      </a:lnTo>
                      <a:lnTo>
                        <a:pt x="287647" y="62748"/>
                      </a:lnTo>
                      <a:lnTo>
                        <a:pt x="272792" y="55865"/>
                      </a:lnTo>
                      <a:lnTo>
                        <a:pt x="269527" y="45716"/>
                      </a:lnTo>
                      <a:lnTo>
                        <a:pt x="262612" y="44980"/>
                      </a:lnTo>
                      <a:lnTo>
                        <a:pt x="253199" y="59482"/>
                      </a:lnTo>
                      <a:lnTo>
                        <a:pt x="249550" y="55865"/>
                      </a:lnTo>
                      <a:lnTo>
                        <a:pt x="239401" y="60218"/>
                      </a:lnTo>
                      <a:lnTo>
                        <a:pt x="235047" y="54392"/>
                      </a:lnTo>
                      <a:lnTo>
                        <a:pt x="227428" y="55128"/>
                      </a:lnTo>
                      <a:lnTo>
                        <a:pt x="227428" y="4498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6" name="Forma Livre: Forma 325">
                  <a:extLst>
                    <a:ext uri="{FF2B5EF4-FFF2-40B4-BE49-F238E27FC236}">
                      <a16:creationId xmlns:a16="http://schemas.microsoft.com/office/drawing/2014/main" id="{54CB5B68-C5FE-C819-1DD2-C0DAA7B82826}"/>
                    </a:ext>
                  </a:extLst>
                </p:cNvPr>
                <p:cNvSpPr/>
                <p:nvPr/>
              </p:nvSpPr>
              <p:spPr>
                <a:xfrm>
                  <a:off x="2846801" y="5286170"/>
                  <a:ext cx="384873" cy="238312"/>
                </a:xfrm>
                <a:custGeom>
                  <a:avLst/>
                  <a:gdLst>
                    <a:gd name="csX0" fmla="*/ 227428 w 384873"/>
                    <a:gd name="csY0" fmla="*/ 44980 h 238312"/>
                    <a:gd name="csX1" fmla="*/ 235047 w 384873"/>
                    <a:gd name="csY1" fmla="*/ 33743 h 238312"/>
                    <a:gd name="csX2" fmla="*/ 229957 w 384873"/>
                    <a:gd name="csY2" fmla="*/ 27564 h 238312"/>
                    <a:gd name="csX3" fmla="*/ 235047 w 384873"/>
                    <a:gd name="csY3" fmla="*/ 18856 h 238312"/>
                    <a:gd name="csX4" fmla="*/ 240138 w 384873"/>
                    <a:gd name="csY4" fmla="*/ 3618 h 238312"/>
                    <a:gd name="csX5" fmla="*/ 235784 w 384873"/>
                    <a:gd name="csY5" fmla="*/ 2529 h 238312"/>
                    <a:gd name="csX6" fmla="*/ 218720 w 384873"/>
                    <a:gd name="csY6" fmla="*/ 0 h 238312"/>
                    <a:gd name="csX7" fmla="*/ 201305 w 384873"/>
                    <a:gd name="csY7" fmla="*/ 4354 h 238312"/>
                    <a:gd name="csX8" fmla="*/ 191892 w 384873"/>
                    <a:gd name="csY8" fmla="*/ 21770 h 238312"/>
                    <a:gd name="csX9" fmla="*/ 178094 w 384873"/>
                    <a:gd name="csY9" fmla="*/ 27564 h 238312"/>
                    <a:gd name="csX10" fmla="*/ 172300 w 384873"/>
                    <a:gd name="csY10" fmla="*/ 38801 h 238312"/>
                    <a:gd name="csX11" fmla="*/ 174829 w 384873"/>
                    <a:gd name="csY11" fmla="*/ 46420 h 238312"/>
                    <a:gd name="csX12" fmla="*/ 165417 w 384873"/>
                    <a:gd name="csY12" fmla="*/ 52599 h 238312"/>
                    <a:gd name="csX13" fmla="*/ 167946 w 384873"/>
                    <a:gd name="csY13" fmla="*/ 69630 h 238312"/>
                    <a:gd name="csX14" fmla="*/ 162856 w 384873"/>
                    <a:gd name="csY14" fmla="*/ 82692 h 238312"/>
                    <a:gd name="csX15" fmla="*/ 144736 w 384873"/>
                    <a:gd name="csY15" fmla="*/ 69630 h 238312"/>
                    <a:gd name="csX16" fmla="*/ 121493 w 384873"/>
                    <a:gd name="csY16" fmla="*/ 64572 h 238312"/>
                    <a:gd name="csX17" fmla="*/ 104110 w 384873"/>
                    <a:gd name="csY17" fmla="*/ 44980 h 238312"/>
                    <a:gd name="csX18" fmla="*/ 105198 w 384873"/>
                    <a:gd name="csY18" fmla="*/ 39538 h 238312"/>
                    <a:gd name="csX19" fmla="*/ 73985 w 384873"/>
                    <a:gd name="csY19" fmla="*/ 54392 h 238312"/>
                    <a:gd name="csX20" fmla="*/ 69631 w 384873"/>
                    <a:gd name="csY20" fmla="*/ 48949 h 238312"/>
                    <a:gd name="csX21" fmla="*/ 56921 w 384873"/>
                    <a:gd name="csY21" fmla="*/ 50774 h 238312"/>
                    <a:gd name="csX22" fmla="*/ 33711 w 384873"/>
                    <a:gd name="csY22" fmla="*/ 69630 h 238312"/>
                    <a:gd name="csX23" fmla="*/ 22474 w 384873"/>
                    <a:gd name="csY23" fmla="*/ 71455 h 238312"/>
                    <a:gd name="csX24" fmla="*/ 32622 w 384873"/>
                    <a:gd name="csY24" fmla="*/ 83429 h 238312"/>
                    <a:gd name="csX25" fmla="*/ 32622 w 384873"/>
                    <a:gd name="csY25" fmla="*/ 100844 h 238312"/>
                    <a:gd name="csX26" fmla="*/ 17384 w 384873"/>
                    <a:gd name="csY26" fmla="*/ 105935 h 238312"/>
                    <a:gd name="csX27" fmla="*/ 18120 w 384873"/>
                    <a:gd name="csY27" fmla="*/ 119701 h 238312"/>
                    <a:gd name="csX28" fmla="*/ 11237 w 384873"/>
                    <a:gd name="csY28" fmla="*/ 124791 h 238312"/>
                    <a:gd name="csX29" fmla="*/ 15591 w 384873"/>
                    <a:gd name="csY29" fmla="*/ 137853 h 238312"/>
                    <a:gd name="csX30" fmla="*/ 4354 w 384873"/>
                    <a:gd name="csY30" fmla="*/ 135291 h 238312"/>
                    <a:gd name="csX31" fmla="*/ 0 w 384873"/>
                    <a:gd name="csY31" fmla="*/ 140382 h 238312"/>
                    <a:gd name="csX32" fmla="*/ 10501 w 384873"/>
                    <a:gd name="csY32" fmla="*/ 151618 h 238312"/>
                    <a:gd name="csX33" fmla="*/ 9412 w 384873"/>
                    <a:gd name="csY33" fmla="*/ 156709 h 238312"/>
                    <a:gd name="csX34" fmla="*/ 55832 w 384873"/>
                    <a:gd name="csY34" fmla="*/ 161063 h 238312"/>
                    <a:gd name="csX35" fmla="*/ 61307 w 384873"/>
                    <a:gd name="csY35" fmla="*/ 180655 h 238312"/>
                    <a:gd name="csX36" fmla="*/ 68190 w 384873"/>
                    <a:gd name="csY36" fmla="*/ 191892 h 238312"/>
                    <a:gd name="csX37" fmla="*/ 75073 w 384873"/>
                    <a:gd name="csY37" fmla="*/ 196246 h 238312"/>
                    <a:gd name="csX38" fmla="*/ 92137 w 384873"/>
                    <a:gd name="csY38" fmla="*/ 187539 h 238312"/>
                    <a:gd name="csX39" fmla="*/ 101549 w 384873"/>
                    <a:gd name="csY39" fmla="*/ 191156 h 238312"/>
                    <a:gd name="csX40" fmla="*/ 107727 w 384873"/>
                    <a:gd name="csY40" fmla="*/ 186802 h 238312"/>
                    <a:gd name="csX41" fmla="*/ 124055 w 384873"/>
                    <a:gd name="csY41" fmla="*/ 191892 h 238312"/>
                    <a:gd name="csX42" fmla="*/ 130938 w 384873"/>
                    <a:gd name="csY42" fmla="*/ 183185 h 238312"/>
                    <a:gd name="csX43" fmla="*/ 139645 w 384873"/>
                    <a:gd name="csY43" fmla="*/ 196246 h 238312"/>
                    <a:gd name="csX44" fmla="*/ 135292 w 384873"/>
                    <a:gd name="csY44" fmla="*/ 210044 h 238312"/>
                    <a:gd name="csX45" fmla="*/ 119701 w 384873"/>
                    <a:gd name="csY45" fmla="*/ 230694 h 238312"/>
                    <a:gd name="csX46" fmla="*/ 127320 w 384873"/>
                    <a:gd name="csY46" fmla="*/ 238313 h 238312"/>
                    <a:gd name="csX47" fmla="*/ 151619 w 384873"/>
                    <a:gd name="csY47" fmla="*/ 226340 h 238312"/>
                    <a:gd name="csX48" fmla="*/ 157413 w 384873"/>
                    <a:gd name="csY48" fmla="*/ 216927 h 238312"/>
                    <a:gd name="csX49" fmla="*/ 166121 w 384873"/>
                    <a:gd name="csY49" fmla="*/ 220193 h 238312"/>
                    <a:gd name="csX50" fmla="*/ 180623 w 384873"/>
                    <a:gd name="csY50" fmla="*/ 202425 h 238312"/>
                    <a:gd name="csX51" fmla="*/ 189331 w 384873"/>
                    <a:gd name="csY51" fmla="*/ 203129 h 238312"/>
                    <a:gd name="csX52" fmla="*/ 196246 w 384873"/>
                    <a:gd name="csY52" fmla="*/ 203866 h 238312"/>
                    <a:gd name="csX53" fmla="*/ 200600 w 384873"/>
                    <a:gd name="csY53" fmla="*/ 212573 h 238312"/>
                    <a:gd name="csX54" fmla="*/ 216927 w 384873"/>
                    <a:gd name="csY54" fmla="*/ 198071 h 238312"/>
                    <a:gd name="csX55" fmla="*/ 212574 w 384873"/>
                    <a:gd name="csY55" fmla="*/ 191892 h 238312"/>
                    <a:gd name="csX56" fmla="*/ 227428 w 384873"/>
                    <a:gd name="csY56" fmla="*/ 181744 h 238312"/>
                    <a:gd name="csX57" fmla="*/ 223074 w 384873"/>
                    <a:gd name="csY57" fmla="*/ 174861 h 238312"/>
                    <a:gd name="csX58" fmla="*/ 232518 w 384873"/>
                    <a:gd name="csY58" fmla="*/ 173036 h 238312"/>
                    <a:gd name="csX59" fmla="*/ 233223 w 384873"/>
                    <a:gd name="csY59" fmla="*/ 162888 h 238312"/>
                    <a:gd name="csX60" fmla="*/ 242667 w 384873"/>
                    <a:gd name="csY60" fmla="*/ 157413 h 238312"/>
                    <a:gd name="csX61" fmla="*/ 245196 w 384873"/>
                    <a:gd name="csY61" fmla="*/ 156709 h 238312"/>
                    <a:gd name="csX62" fmla="*/ 250638 w 384873"/>
                    <a:gd name="csY62" fmla="*/ 151618 h 238312"/>
                    <a:gd name="csX63" fmla="*/ 254640 w 384873"/>
                    <a:gd name="csY63" fmla="*/ 154884 h 238312"/>
                    <a:gd name="csX64" fmla="*/ 268438 w 384873"/>
                    <a:gd name="csY64" fmla="*/ 153091 h 238312"/>
                    <a:gd name="csX65" fmla="*/ 266966 w 384873"/>
                    <a:gd name="csY65" fmla="*/ 141118 h 238312"/>
                    <a:gd name="csX66" fmla="*/ 271319 w 384873"/>
                    <a:gd name="csY66" fmla="*/ 137853 h 238312"/>
                    <a:gd name="csX67" fmla="*/ 260819 w 384873"/>
                    <a:gd name="csY67" fmla="*/ 129145 h 238312"/>
                    <a:gd name="csX68" fmla="*/ 278234 w 384873"/>
                    <a:gd name="csY68" fmla="*/ 117876 h 238312"/>
                    <a:gd name="csX69" fmla="*/ 296002 w 384873"/>
                    <a:gd name="csY69" fmla="*/ 119701 h 238312"/>
                    <a:gd name="csX70" fmla="*/ 302885 w 384873"/>
                    <a:gd name="csY70" fmla="*/ 129145 h 238312"/>
                    <a:gd name="csX71" fmla="*/ 315947 w 384873"/>
                    <a:gd name="csY71" fmla="*/ 140382 h 238312"/>
                    <a:gd name="csX72" fmla="*/ 333011 w 384873"/>
                    <a:gd name="csY72" fmla="*/ 139293 h 238312"/>
                    <a:gd name="csX73" fmla="*/ 337333 w 384873"/>
                    <a:gd name="csY73" fmla="*/ 154180 h 238312"/>
                    <a:gd name="csX74" fmla="*/ 346777 w 384873"/>
                    <a:gd name="csY74" fmla="*/ 152355 h 238312"/>
                    <a:gd name="csX75" fmla="*/ 355485 w 384873"/>
                    <a:gd name="csY75" fmla="*/ 162888 h 238312"/>
                    <a:gd name="csX76" fmla="*/ 367458 w 384873"/>
                    <a:gd name="csY76" fmla="*/ 164328 h 238312"/>
                    <a:gd name="csX77" fmla="*/ 369283 w 384873"/>
                    <a:gd name="csY77" fmla="*/ 169419 h 238312"/>
                    <a:gd name="csX78" fmla="*/ 379431 w 384873"/>
                    <a:gd name="csY78" fmla="*/ 164328 h 238312"/>
                    <a:gd name="csX79" fmla="*/ 371075 w 384873"/>
                    <a:gd name="csY79" fmla="*/ 156709 h 238312"/>
                    <a:gd name="csX80" fmla="*/ 384873 w 384873"/>
                    <a:gd name="csY80" fmla="*/ 121526 h 238312"/>
                    <a:gd name="csX81" fmla="*/ 380520 w 384873"/>
                    <a:gd name="csY81" fmla="*/ 106639 h 238312"/>
                    <a:gd name="csX82" fmla="*/ 368546 w 384873"/>
                    <a:gd name="csY82" fmla="*/ 99020 h 238312"/>
                    <a:gd name="csX83" fmla="*/ 359102 w 384873"/>
                    <a:gd name="csY83" fmla="*/ 81988 h 238312"/>
                    <a:gd name="csX84" fmla="*/ 352219 w 384873"/>
                    <a:gd name="csY84" fmla="*/ 73984 h 238312"/>
                    <a:gd name="csX85" fmla="*/ 356221 w 384873"/>
                    <a:gd name="csY85" fmla="*/ 62748 h 238312"/>
                    <a:gd name="csX86" fmla="*/ 352955 w 384873"/>
                    <a:gd name="csY86" fmla="*/ 55865 h 238312"/>
                    <a:gd name="csX87" fmla="*/ 327920 w 384873"/>
                    <a:gd name="csY87" fmla="*/ 52599 h 238312"/>
                    <a:gd name="csX88" fmla="*/ 323566 w 384873"/>
                    <a:gd name="csY88" fmla="*/ 57657 h 238312"/>
                    <a:gd name="csX89" fmla="*/ 322830 w 384873"/>
                    <a:gd name="csY89" fmla="*/ 57657 h 238312"/>
                    <a:gd name="csX90" fmla="*/ 297795 w 384873"/>
                    <a:gd name="csY90" fmla="*/ 57657 h 238312"/>
                    <a:gd name="csX91" fmla="*/ 294530 w 384873"/>
                    <a:gd name="csY91" fmla="*/ 63836 h 238312"/>
                    <a:gd name="csX92" fmla="*/ 287647 w 384873"/>
                    <a:gd name="csY92" fmla="*/ 62748 h 238312"/>
                    <a:gd name="csX93" fmla="*/ 272792 w 384873"/>
                    <a:gd name="csY93" fmla="*/ 55865 h 238312"/>
                    <a:gd name="csX94" fmla="*/ 269527 w 384873"/>
                    <a:gd name="csY94" fmla="*/ 45716 h 238312"/>
                    <a:gd name="csX95" fmla="*/ 262612 w 384873"/>
                    <a:gd name="csY95" fmla="*/ 44980 h 238312"/>
                    <a:gd name="csX96" fmla="*/ 253199 w 384873"/>
                    <a:gd name="csY96" fmla="*/ 59482 h 238312"/>
                    <a:gd name="csX97" fmla="*/ 249550 w 384873"/>
                    <a:gd name="csY97" fmla="*/ 55865 h 238312"/>
                    <a:gd name="csX98" fmla="*/ 239401 w 384873"/>
                    <a:gd name="csY98" fmla="*/ 60218 h 238312"/>
                    <a:gd name="csX99" fmla="*/ 235047 w 384873"/>
                    <a:gd name="csY99" fmla="*/ 54392 h 238312"/>
                    <a:gd name="csX100" fmla="*/ 227428 w 384873"/>
                    <a:gd name="csY100" fmla="*/ 55128 h 238312"/>
                    <a:gd name="csX101" fmla="*/ 227428 w 384873"/>
                    <a:gd name="csY101" fmla="*/ 44980 h 23831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</a:cxnLst>
                  <a:rect l="l" t="t" r="r" b="b"/>
                  <a:pathLst>
                    <a:path w="384873" h="238312">
                      <a:moveTo>
                        <a:pt x="227428" y="44980"/>
                      </a:moveTo>
                      <a:lnTo>
                        <a:pt x="235047" y="33743"/>
                      </a:lnTo>
                      <a:lnTo>
                        <a:pt x="229957" y="27564"/>
                      </a:lnTo>
                      <a:lnTo>
                        <a:pt x="235047" y="18856"/>
                      </a:lnTo>
                      <a:lnTo>
                        <a:pt x="240138" y="3618"/>
                      </a:lnTo>
                      <a:lnTo>
                        <a:pt x="235784" y="2529"/>
                      </a:lnTo>
                      <a:lnTo>
                        <a:pt x="218720" y="0"/>
                      </a:lnTo>
                      <a:lnTo>
                        <a:pt x="201305" y="4354"/>
                      </a:lnTo>
                      <a:lnTo>
                        <a:pt x="191892" y="21770"/>
                      </a:lnTo>
                      <a:lnTo>
                        <a:pt x="178094" y="27564"/>
                      </a:lnTo>
                      <a:lnTo>
                        <a:pt x="172300" y="38801"/>
                      </a:lnTo>
                      <a:lnTo>
                        <a:pt x="174829" y="46420"/>
                      </a:lnTo>
                      <a:lnTo>
                        <a:pt x="165417" y="52599"/>
                      </a:lnTo>
                      <a:lnTo>
                        <a:pt x="167946" y="69630"/>
                      </a:lnTo>
                      <a:lnTo>
                        <a:pt x="162856" y="82692"/>
                      </a:lnTo>
                      <a:lnTo>
                        <a:pt x="144736" y="69630"/>
                      </a:lnTo>
                      <a:lnTo>
                        <a:pt x="121493" y="64572"/>
                      </a:lnTo>
                      <a:lnTo>
                        <a:pt x="104110" y="44980"/>
                      </a:lnTo>
                      <a:lnTo>
                        <a:pt x="105198" y="39538"/>
                      </a:lnTo>
                      <a:lnTo>
                        <a:pt x="73985" y="54392"/>
                      </a:lnTo>
                      <a:lnTo>
                        <a:pt x="69631" y="48949"/>
                      </a:lnTo>
                      <a:lnTo>
                        <a:pt x="56921" y="50774"/>
                      </a:lnTo>
                      <a:lnTo>
                        <a:pt x="33711" y="69630"/>
                      </a:lnTo>
                      <a:lnTo>
                        <a:pt x="22474" y="71455"/>
                      </a:lnTo>
                      <a:lnTo>
                        <a:pt x="32622" y="83429"/>
                      </a:lnTo>
                      <a:lnTo>
                        <a:pt x="32622" y="100844"/>
                      </a:lnTo>
                      <a:lnTo>
                        <a:pt x="17384" y="105935"/>
                      </a:lnTo>
                      <a:lnTo>
                        <a:pt x="18120" y="119701"/>
                      </a:lnTo>
                      <a:lnTo>
                        <a:pt x="11237" y="124791"/>
                      </a:lnTo>
                      <a:lnTo>
                        <a:pt x="15591" y="137853"/>
                      </a:lnTo>
                      <a:lnTo>
                        <a:pt x="4354" y="135291"/>
                      </a:lnTo>
                      <a:lnTo>
                        <a:pt x="0" y="140382"/>
                      </a:lnTo>
                      <a:lnTo>
                        <a:pt x="10501" y="151618"/>
                      </a:lnTo>
                      <a:lnTo>
                        <a:pt x="9412" y="156709"/>
                      </a:lnTo>
                      <a:lnTo>
                        <a:pt x="55832" y="161063"/>
                      </a:lnTo>
                      <a:lnTo>
                        <a:pt x="61307" y="180655"/>
                      </a:lnTo>
                      <a:lnTo>
                        <a:pt x="68190" y="191892"/>
                      </a:lnTo>
                      <a:lnTo>
                        <a:pt x="75073" y="196246"/>
                      </a:lnTo>
                      <a:lnTo>
                        <a:pt x="92137" y="187539"/>
                      </a:lnTo>
                      <a:lnTo>
                        <a:pt x="101549" y="191156"/>
                      </a:lnTo>
                      <a:lnTo>
                        <a:pt x="107727" y="186802"/>
                      </a:lnTo>
                      <a:lnTo>
                        <a:pt x="124055" y="191892"/>
                      </a:lnTo>
                      <a:lnTo>
                        <a:pt x="130938" y="183185"/>
                      </a:lnTo>
                      <a:lnTo>
                        <a:pt x="139645" y="196246"/>
                      </a:lnTo>
                      <a:lnTo>
                        <a:pt x="135292" y="210044"/>
                      </a:lnTo>
                      <a:lnTo>
                        <a:pt x="119701" y="230694"/>
                      </a:lnTo>
                      <a:lnTo>
                        <a:pt x="127320" y="238313"/>
                      </a:lnTo>
                      <a:lnTo>
                        <a:pt x="151619" y="226340"/>
                      </a:lnTo>
                      <a:lnTo>
                        <a:pt x="157413" y="216927"/>
                      </a:lnTo>
                      <a:lnTo>
                        <a:pt x="166121" y="220193"/>
                      </a:lnTo>
                      <a:lnTo>
                        <a:pt x="180623" y="202425"/>
                      </a:lnTo>
                      <a:lnTo>
                        <a:pt x="189331" y="203129"/>
                      </a:lnTo>
                      <a:lnTo>
                        <a:pt x="196246" y="203866"/>
                      </a:lnTo>
                      <a:lnTo>
                        <a:pt x="200600" y="212573"/>
                      </a:lnTo>
                      <a:lnTo>
                        <a:pt x="216927" y="198071"/>
                      </a:lnTo>
                      <a:lnTo>
                        <a:pt x="212574" y="191892"/>
                      </a:lnTo>
                      <a:lnTo>
                        <a:pt x="227428" y="181744"/>
                      </a:lnTo>
                      <a:lnTo>
                        <a:pt x="223074" y="174861"/>
                      </a:lnTo>
                      <a:lnTo>
                        <a:pt x="232518" y="173036"/>
                      </a:lnTo>
                      <a:lnTo>
                        <a:pt x="233223" y="162888"/>
                      </a:lnTo>
                      <a:lnTo>
                        <a:pt x="242667" y="157413"/>
                      </a:lnTo>
                      <a:lnTo>
                        <a:pt x="245196" y="156709"/>
                      </a:lnTo>
                      <a:lnTo>
                        <a:pt x="250638" y="151618"/>
                      </a:lnTo>
                      <a:lnTo>
                        <a:pt x="254640" y="154884"/>
                      </a:lnTo>
                      <a:lnTo>
                        <a:pt x="268438" y="153091"/>
                      </a:lnTo>
                      <a:lnTo>
                        <a:pt x="266966" y="141118"/>
                      </a:lnTo>
                      <a:lnTo>
                        <a:pt x="271319" y="137853"/>
                      </a:lnTo>
                      <a:lnTo>
                        <a:pt x="260819" y="129145"/>
                      </a:lnTo>
                      <a:lnTo>
                        <a:pt x="278234" y="117876"/>
                      </a:lnTo>
                      <a:lnTo>
                        <a:pt x="296002" y="119701"/>
                      </a:lnTo>
                      <a:lnTo>
                        <a:pt x="302885" y="129145"/>
                      </a:lnTo>
                      <a:lnTo>
                        <a:pt x="315947" y="140382"/>
                      </a:lnTo>
                      <a:lnTo>
                        <a:pt x="333011" y="139293"/>
                      </a:lnTo>
                      <a:lnTo>
                        <a:pt x="337333" y="154180"/>
                      </a:lnTo>
                      <a:lnTo>
                        <a:pt x="346777" y="152355"/>
                      </a:lnTo>
                      <a:lnTo>
                        <a:pt x="355485" y="162888"/>
                      </a:lnTo>
                      <a:lnTo>
                        <a:pt x="367458" y="164328"/>
                      </a:lnTo>
                      <a:lnTo>
                        <a:pt x="369283" y="169419"/>
                      </a:lnTo>
                      <a:lnTo>
                        <a:pt x="379431" y="164328"/>
                      </a:lnTo>
                      <a:lnTo>
                        <a:pt x="371075" y="156709"/>
                      </a:lnTo>
                      <a:lnTo>
                        <a:pt x="384873" y="121526"/>
                      </a:lnTo>
                      <a:lnTo>
                        <a:pt x="380520" y="106639"/>
                      </a:lnTo>
                      <a:lnTo>
                        <a:pt x="368546" y="99020"/>
                      </a:lnTo>
                      <a:lnTo>
                        <a:pt x="359102" y="81988"/>
                      </a:lnTo>
                      <a:lnTo>
                        <a:pt x="352219" y="73984"/>
                      </a:lnTo>
                      <a:lnTo>
                        <a:pt x="356221" y="62748"/>
                      </a:lnTo>
                      <a:lnTo>
                        <a:pt x="352955" y="55865"/>
                      </a:lnTo>
                      <a:lnTo>
                        <a:pt x="327920" y="52599"/>
                      </a:lnTo>
                      <a:lnTo>
                        <a:pt x="323566" y="57657"/>
                      </a:lnTo>
                      <a:lnTo>
                        <a:pt x="322830" y="57657"/>
                      </a:lnTo>
                      <a:lnTo>
                        <a:pt x="297795" y="57657"/>
                      </a:lnTo>
                      <a:lnTo>
                        <a:pt x="294530" y="63836"/>
                      </a:lnTo>
                      <a:lnTo>
                        <a:pt x="287647" y="62748"/>
                      </a:lnTo>
                      <a:lnTo>
                        <a:pt x="272792" y="55865"/>
                      </a:lnTo>
                      <a:lnTo>
                        <a:pt x="269527" y="45716"/>
                      </a:lnTo>
                      <a:lnTo>
                        <a:pt x="262612" y="44980"/>
                      </a:lnTo>
                      <a:lnTo>
                        <a:pt x="253199" y="59482"/>
                      </a:lnTo>
                      <a:lnTo>
                        <a:pt x="249550" y="55865"/>
                      </a:lnTo>
                      <a:lnTo>
                        <a:pt x="239401" y="60218"/>
                      </a:lnTo>
                      <a:lnTo>
                        <a:pt x="235047" y="54392"/>
                      </a:lnTo>
                      <a:lnTo>
                        <a:pt x="227428" y="55128"/>
                      </a:lnTo>
                      <a:lnTo>
                        <a:pt x="227428" y="4498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7" name="Forma Livre: Forma 326">
                  <a:extLst>
                    <a:ext uri="{FF2B5EF4-FFF2-40B4-BE49-F238E27FC236}">
                      <a16:creationId xmlns:a16="http://schemas.microsoft.com/office/drawing/2014/main" id="{631D5879-A1AC-6228-6B6D-22601FFB8853}"/>
                    </a:ext>
                  </a:extLst>
                </p:cNvPr>
                <p:cNvSpPr/>
                <p:nvPr/>
              </p:nvSpPr>
              <p:spPr>
                <a:xfrm>
                  <a:off x="3203022" y="3914943"/>
                  <a:ext cx="359134" cy="309800"/>
                </a:xfrm>
                <a:custGeom>
                  <a:avLst/>
                  <a:gdLst>
                    <a:gd name="csX0" fmla="*/ 150915 w 359134"/>
                    <a:gd name="csY0" fmla="*/ 42803 h 309800"/>
                    <a:gd name="csX1" fmla="*/ 157797 w 359134"/>
                    <a:gd name="csY1" fmla="*/ 28300 h 309800"/>
                    <a:gd name="csX2" fmla="*/ 172300 w 359134"/>
                    <a:gd name="csY2" fmla="*/ 18856 h 309800"/>
                    <a:gd name="csX3" fmla="*/ 179919 w 359134"/>
                    <a:gd name="csY3" fmla="*/ 0 h 309800"/>
                    <a:gd name="csX4" fmla="*/ 154180 w 359134"/>
                    <a:gd name="csY4" fmla="*/ 18152 h 309800"/>
                    <a:gd name="csX5" fmla="*/ 149090 w 359134"/>
                    <a:gd name="csY5" fmla="*/ 27564 h 309800"/>
                    <a:gd name="csX6" fmla="*/ 126584 w 359134"/>
                    <a:gd name="csY6" fmla="*/ 42803 h 309800"/>
                    <a:gd name="csX7" fmla="*/ 124055 w 359134"/>
                    <a:gd name="csY7" fmla="*/ 50774 h 309800"/>
                    <a:gd name="csX8" fmla="*/ 101549 w 359134"/>
                    <a:gd name="csY8" fmla="*/ 74017 h 309800"/>
                    <a:gd name="csX9" fmla="*/ 75809 w 359134"/>
                    <a:gd name="csY9" fmla="*/ 61659 h 309800"/>
                    <a:gd name="csX10" fmla="*/ 49334 w 359134"/>
                    <a:gd name="csY10" fmla="*/ 58394 h 309800"/>
                    <a:gd name="csX11" fmla="*/ 25035 w 359134"/>
                    <a:gd name="csY11" fmla="*/ 50774 h 309800"/>
                    <a:gd name="csX12" fmla="*/ 13062 w 359134"/>
                    <a:gd name="csY12" fmla="*/ 76546 h 309800"/>
                    <a:gd name="csX13" fmla="*/ 1793 w 359134"/>
                    <a:gd name="csY13" fmla="*/ 85254 h 309800"/>
                    <a:gd name="csX14" fmla="*/ 11237 w 359134"/>
                    <a:gd name="csY14" fmla="*/ 91048 h 309800"/>
                    <a:gd name="csX15" fmla="*/ 8708 w 359134"/>
                    <a:gd name="csY15" fmla="*/ 97227 h 309800"/>
                    <a:gd name="csX16" fmla="*/ 0 w 359134"/>
                    <a:gd name="csY16" fmla="*/ 97227 h 309800"/>
                    <a:gd name="csX17" fmla="*/ 1089 w 359134"/>
                    <a:gd name="csY17" fmla="*/ 125527 h 309800"/>
                    <a:gd name="csX18" fmla="*/ 13766 w 359134"/>
                    <a:gd name="csY18" fmla="*/ 167594 h 309800"/>
                    <a:gd name="csX19" fmla="*/ 19208 w 359134"/>
                    <a:gd name="csY19" fmla="*/ 170123 h 309800"/>
                    <a:gd name="csX20" fmla="*/ 23210 w 359134"/>
                    <a:gd name="csY20" fmla="*/ 183185 h 309800"/>
                    <a:gd name="csX21" fmla="*/ 26123 w 359134"/>
                    <a:gd name="csY21" fmla="*/ 182480 h 309800"/>
                    <a:gd name="csX22" fmla="*/ 33007 w 359134"/>
                    <a:gd name="csY22" fmla="*/ 180655 h 309800"/>
                    <a:gd name="csX23" fmla="*/ 38801 w 359134"/>
                    <a:gd name="csY23" fmla="*/ 171211 h 309800"/>
                    <a:gd name="csX24" fmla="*/ 57657 w 359134"/>
                    <a:gd name="csY24" fmla="*/ 171211 h 309800"/>
                    <a:gd name="csX25" fmla="*/ 62011 w 359134"/>
                    <a:gd name="csY25" fmla="*/ 161799 h 309800"/>
                    <a:gd name="csX26" fmla="*/ 78338 w 359134"/>
                    <a:gd name="csY26" fmla="*/ 163240 h 309800"/>
                    <a:gd name="csX27" fmla="*/ 89607 w 359134"/>
                    <a:gd name="csY27" fmla="*/ 157445 h 309800"/>
                    <a:gd name="csX28" fmla="*/ 92136 w 359134"/>
                    <a:gd name="csY28" fmla="*/ 167594 h 309800"/>
                    <a:gd name="csX29" fmla="*/ 100844 w 359134"/>
                    <a:gd name="csY29" fmla="*/ 171948 h 309800"/>
                    <a:gd name="csX30" fmla="*/ 101549 w 359134"/>
                    <a:gd name="csY30" fmla="*/ 190804 h 309800"/>
                    <a:gd name="csX31" fmla="*/ 110257 w 359134"/>
                    <a:gd name="csY31" fmla="*/ 215839 h 309800"/>
                    <a:gd name="csX32" fmla="*/ 121526 w 359134"/>
                    <a:gd name="csY32" fmla="*/ 229637 h 309800"/>
                    <a:gd name="csX33" fmla="*/ 146560 w 359134"/>
                    <a:gd name="csY33" fmla="*/ 240874 h 309800"/>
                    <a:gd name="csX34" fmla="*/ 145472 w 359134"/>
                    <a:gd name="csY34" fmla="*/ 252111 h 309800"/>
                    <a:gd name="csX35" fmla="*/ 165417 w 359134"/>
                    <a:gd name="csY35" fmla="*/ 256113 h 309800"/>
                    <a:gd name="csX36" fmla="*/ 178479 w 359134"/>
                    <a:gd name="csY36" fmla="*/ 268438 h 309800"/>
                    <a:gd name="csX37" fmla="*/ 182448 w 359134"/>
                    <a:gd name="csY37" fmla="*/ 272792 h 309800"/>
                    <a:gd name="csX38" fmla="*/ 192981 w 359134"/>
                    <a:gd name="csY38" fmla="*/ 276057 h 309800"/>
                    <a:gd name="csX39" fmla="*/ 214366 w 359134"/>
                    <a:gd name="csY39" fmla="*/ 298563 h 309800"/>
                    <a:gd name="csX40" fmla="*/ 225635 w 359134"/>
                    <a:gd name="csY40" fmla="*/ 300004 h 309800"/>
                    <a:gd name="csX41" fmla="*/ 278939 w 359134"/>
                    <a:gd name="csY41" fmla="*/ 296002 h 309800"/>
                    <a:gd name="csX42" fmla="*/ 336628 w 359134"/>
                    <a:gd name="csY42" fmla="*/ 309800 h 309800"/>
                    <a:gd name="csX43" fmla="*/ 359134 w 359134"/>
                    <a:gd name="csY43" fmla="*/ 299268 h 309800"/>
                    <a:gd name="csX44" fmla="*/ 359134 w 359134"/>
                    <a:gd name="csY44" fmla="*/ 298563 h 309800"/>
                    <a:gd name="csX45" fmla="*/ 333363 w 359134"/>
                    <a:gd name="csY45" fmla="*/ 265909 h 309800"/>
                    <a:gd name="csX46" fmla="*/ 314154 w 359134"/>
                    <a:gd name="csY46" fmla="*/ 265909 h 309800"/>
                    <a:gd name="csX47" fmla="*/ 296355 w 359134"/>
                    <a:gd name="csY47" fmla="*/ 255376 h 309800"/>
                    <a:gd name="csX48" fmla="*/ 281500 w 359134"/>
                    <a:gd name="csY48" fmla="*/ 240874 h 309800"/>
                    <a:gd name="csX49" fmla="*/ 275673 w 359134"/>
                    <a:gd name="csY49" fmla="*/ 203866 h 309800"/>
                    <a:gd name="csX50" fmla="*/ 270231 w 359134"/>
                    <a:gd name="csY50" fmla="*/ 199512 h 309800"/>
                    <a:gd name="csX51" fmla="*/ 260082 w 359134"/>
                    <a:gd name="csY51" fmla="*/ 200248 h 309800"/>
                    <a:gd name="csX52" fmla="*/ 266998 w 359134"/>
                    <a:gd name="csY52" fmla="*/ 189011 h 309800"/>
                    <a:gd name="csX53" fmla="*/ 262644 w 359134"/>
                    <a:gd name="csY53" fmla="*/ 186450 h 309800"/>
                    <a:gd name="csX54" fmla="*/ 268790 w 359134"/>
                    <a:gd name="csY54" fmla="*/ 171948 h 309800"/>
                    <a:gd name="csX55" fmla="*/ 278939 w 359134"/>
                    <a:gd name="csY55" fmla="*/ 165769 h 309800"/>
                    <a:gd name="csX56" fmla="*/ 266261 w 359134"/>
                    <a:gd name="csY56" fmla="*/ 154884 h 309800"/>
                    <a:gd name="csX57" fmla="*/ 260082 w 359134"/>
                    <a:gd name="csY57" fmla="*/ 153796 h 309800"/>
                    <a:gd name="csX58" fmla="*/ 248109 w 359134"/>
                    <a:gd name="csY58" fmla="*/ 141118 h 309800"/>
                    <a:gd name="csX59" fmla="*/ 252463 w 359134"/>
                    <a:gd name="csY59" fmla="*/ 121173 h 309800"/>
                    <a:gd name="csX60" fmla="*/ 220545 w 359134"/>
                    <a:gd name="csY60" fmla="*/ 97227 h 309800"/>
                    <a:gd name="csX61" fmla="*/ 218720 w 359134"/>
                    <a:gd name="csY61" fmla="*/ 72928 h 309800"/>
                    <a:gd name="csX62" fmla="*/ 200600 w 359134"/>
                    <a:gd name="csY62" fmla="*/ 80899 h 309800"/>
                    <a:gd name="csX63" fmla="*/ 196246 w 359134"/>
                    <a:gd name="csY63" fmla="*/ 74017 h 309800"/>
                    <a:gd name="csX64" fmla="*/ 198776 w 359134"/>
                    <a:gd name="csY64" fmla="*/ 70367 h 309800"/>
                    <a:gd name="csX65" fmla="*/ 190452 w 359134"/>
                    <a:gd name="csY65" fmla="*/ 61659 h 309800"/>
                    <a:gd name="csX66" fmla="*/ 171564 w 359134"/>
                    <a:gd name="csY66" fmla="*/ 44628 h 309800"/>
                    <a:gd name="csX67" fmla="*/ 157797 w 359134"/>
                    <a:gd name="csY67" fmla="*/ 48245 h 309800"/>
                    <a:gd name="csX68" fmla="*/ 150915 w 359134"/>
                    <a:gd name="csY68" fmla="*/ 42803 h 3098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359134" h="309800">
                      <a:moveTo>
                        <a:pt x="150915" y="42803"/>
                      </a:moveTo>
                      <a:lnTo>
                        <a:pt x="157797" y="28300"/>
                      </a:lnTo>
                      <a:lnTo>
                        <a:pt x="172300" y="18856"/>
                      </a:lnTo>
                      <a:lnTo>
                        <a:pt x="179919" y="0"/>
                      </a:lnTo>
                      <a:lnTo>
                        <a:pt x="154180" y="18152"/>
                      </a:lnTo>
                      <a:lnTo>
                        <a:pt x="149090" y="27564"/>
                      </a:lnTo>
                      <a:lnTo>
                        <a:pt x="126584" y="42803"/>
                      </a:lnTo>
                      <a:lnTo>
                        <a:pt x="124055" y="50774"/>
                      </a:lnTo>
                      <a:lnTo>
                        <a:pt x="101549" y="74017"/>
                      </a:lnTo>
                      <a:lnTo>
                        <a:pt x="75809" y="61659"/>
                      </a:lnTo>
                      <a:lnTo>
                        <a:pt x="49334" y="58394"/>
                      </a:lnTo>
                      <a:lnTo>
                        <a:pt x="25035" y="50774"/>
                      </a:lnTo>
                      <a:lnTo>
                        <a:pt x="13062" y="76546"/>
                      </a:lnTo>
                      <a:lnTo>
                        <a:pt x="1793" y="85254"/>
                      </a:lnTo>
                      <a:lnTo>
                        <a:pt x="11237" y="91048"/>
                      </a:lnTo>
                      <a:lnTo>
                        <a:pt x="8708" y="97227"/>
                      </a:lnTo>
                      <a:lnTo>
                        <a:pt x="0" y="97227"/>
                      </a:lnTo>
                      <a:lnTo>
                        <a:pt x="1089" y="125527"/>
                      </a:lnTo>
                      <a:lnTo>
                        <a:pt x="13766" y="167594"/>
                      </a:lnTo>
                      <a:lnTo>
                        <a:pt x="19208" y="170123"/>
                      </a:lnTo>
                      <a:lnTo>
                        <a:pt x="23210" y="183185"/>
                      </a:lnTo>
                      <a:lnTo>
                        <a:pt x="26123" y="182480"/>
                      </a:lnTo>
                      <a:lnTo>
                        <a:pt x="33007" y="180655"/>
                      </a:lnTo>
                      <a:lnTo>
                        <a:pt x="38801" y="171211"/>
                      </a:lnTo>
                      <a:lnTo>
                        <a:pt x="57657" y="171211"/>
                      </a:lnTo>
                      <a:lnTo>
                        <a:pt x="62011" y="161799"/>
                      </a:lnTo>
                      <a:lnTo>
                        <a:pt x="78338" y="163240"/>
                      </a:lnTo>
                      <a:lnTo>
                        <a:pt x="89607" y="157445"/>
                      </a:lnTo>
                      <a:lnTo>
                        <a:pt x="92136" y="167594"/>
                      </a:lnTo>
                      <a:lnTo>
                        <a:pt x="100844" y="171948"/>
                      </a:lnTo>
                      <a:lnTo>
                        <a:pt x="101549" y="190804"/>
                      </a:lnTo>
                      <a:lnTo>
                        <a:pt x="110257" y="215839"/>
                      </a:lnTo>
                      <a:lnTo>
                        <a:pt x="121526" y="229637"/>
                      </a:lnTo>
                      <a:lnTo>
                        <a:pt x="146560" y="240874"/>
                      </a:lnTo>
                      <a:lnTo>
                        <a:pt x="145472" y="252111"/>
                      </a:lnTo>
                      <a:lnTo>
                        <a:pt x="165417" y="256113"/>
                      </a:lnTo>
                      <a:lnTo>
                        <a:pt x="178479" y="268438"/>
                      </a:lnTo>
                      <a:lnTo>
                        <a:pt x="182448" y="272792"/>
                      </a:lnTo>
                      <a:lnTo>
                        <a:pt x="192981" y="276057"/>
                      </a:lnTo>
                      <a:lnTo>
                        <a:pt x="214366" y="298563"/>
                      </a:lnTo>
                      <a:lnTo>
                        <a:pt x="225635" y="300004"/>
                      </a:lnTo>
                      <a:lnTo>
                        <a:pt x="278939" y="296002"/>
                      </a:lnTo>
                      <a:lnTo>
                        <a:pt x="336628" y="309800"/>
                      </a:lnTo>
                      <a:lnTo>
                        <a:pt x="359134" y="299268"/>
                      </a:lnTo>
                      <a:lnTo>
                        <a:pt x="359134" y="298563"/>
                      </a:lnTo>
                      <a:lnTo>
                        <a:pt x="333363" y="265909"/>
                      </a:lnTo>
                      <a:lnTo>
                        <a:pt x="314154" y="265909"/>
                      </a:lnTo>
                      <a:lnTo>
                        <a:pt x="296355" y="255376"/>
                      </a:lnTo>
                      <a:lnTo>
                        <a:pt x="281500" y="240874"/>
                      </a:lnTo>
                      <a:lnTo>
                        <a:pt x="275673" y="203866"/>
                      </a:lnTo>
                      <a:lnTo>
                        <a:pt x="270231" y="199512"/>
                      </a:lnTo>
                      <a:lnTo>
                        <a:pt x="260082" y="200248"/>
                      </a:lnTo>
                      <a:lnTo>
                        <a:pt x="266998" y="189011"/>
                      </a:lnTo>
                      <a:lnTo>
                        <a:pt x="262644" y="186450"/>
                      </a:lnTo>
                      <a:lnTo>
                        <a:pt x="268790" y="171948"/>
                      </a:lnTo>
                      <a:lnTo>
                        <a:pt x="278939" y="165769"/>
                      </a:lnTo>
                      <a:lnTo>
                        <a:pt x="266261" y="154884"/>
                      </a:lnTo>
                      <a:lnTo>
                        <a:pt x="260082" y="153796"/>
                      </a:lnTo>
                      <a:lnTo>
                        <a:pt x="248109" y="141118"/>
                      </a:lnTo>
                      <a:lnTo>
                        <a:pt x="252463" y="121173"/>
                      </a:lnTo>
                      <a:lnTo>
                        <a:pt x="220545" y="97227"/>
                      </a:lnTo>
                      <a:lnTo>
                        <a:pt x="218720" y="72928"/>
                      </a:lnTo>
                      <a:lnTo>
                        <a:pt x="200600" y="80899"/>
                      </a:lnTo>
                      <a:lnTo>
                        <a:pt x="196246" y="74017"/>
                      </a:lnTo>
                      <a:lnTo>
                        <a:pt x="198776" y="70367"/>
                      </a:lnTo>
                      <a:lnTo>
                        <a:pt x="190452" y="61659"/>
                      </a:lnTo>
                      <a:lnTo>
                        <a:pt x="171564" y="44628"/>
                      </a:lnTo>
                      <a:lnTo>
                        <a:pt x="157797" y="48245"/>
                      </a:lnTo>
                      <a:lnTo>
                        <a:pt x="150915" y="4280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8" name="Forma Livre: Forma 327">
                  <a:extLst>
                    <a:ext uri="{FF2B5EF4-FFF2-40B4-BE49-F238E27FC236}">
                      <a16:creationId xmlns:a16="http://schemas.microsoft.com/office/drawing/2014/main" id="{7DF42BFF-4D09-3B47-B9E3-01251F2C1632}"/>
                    </a:ext>
                  </a:extLst>
                </p:cNvPr>
                <p:cNvSpPr/>
                <p:nvPr/>
              </p:nvSpPr>
              <p:spPr>
                <a:xfrm>
                  <a:off x="3203022" y="3914943"/>
                  <a:ext cx="359134" cy="309800"/>
                </a:xfrm>
                <a:custGeom>
                  <a:avLst/>
                  <a:gdLst>
                    <a:gd name="csX0" fmla="*/ 150915 w 359134"/>
                    <a:gd name="csY0" fmla="*/ 42803 h 309800"/>
                    <a:gd name="csX1" fmla="*/ 157797 w 359134"/>
                    <a:gd name="csY1" fmla="*/ 28300 h 309800"/>
                    <a:gd name="csX2" fmla="*/ 172300 w 359134"/>
                    <a:gd name="csY2" fmla="*/ 18856 h 309800"/>
                    <a:gd name="csX3" fmla="*/ 179919 w 359134"/>
                    <a:gd name="csY3" fmla="*/ 0 h 309800"/>
                    <a:gd name="csX4" fmla="*/ 154180 w 359134"/>
                    <a:gd name="csY4" fmla="*/ 18152 h 309800"/>
                    <a:gd name="csX5" fmla="*/ 149090 w 359134"/>
                    <a:gd name="csY5" fmla="*/ 27564 h 309800"/>
                    <a:gd name="csX6" fmla="*/ 126584 w 359134"/>
                    <a:gd name="csY6" fmla="*/ 42803 h 309800"/>
                    <a:gd name="csX7" fmla="*/ 124055 w 359134"/>
                    <a:gd name="csY7" fmla="*/ 50774 h 309800"/>
                    <a:gd name="csX8" fmla="*/ 101549 w 359134"/>
                    <a:gd name="csY8" fmla="*/ 74017 h 309800"/>
                    <a:gd name="csX9" fmla="*/ 75809 w 359134"/>
                    <a:gd name="csY9" fmla="*/ 61659 h 309800"/>
                    <a:gd name="csX10" fmla="*/ 49334 w 359134"/>
                    <a:gd name="csY10" fmla="*/ 58394 h 309800"/>
                    <a:gd name="csX11" fmla="*/ 25035 w 359134"/>
                    <a:gd name="csY11" fmla="*/ 50774 h 309800"/>
                    <a:gd name="csX12" fmla="*/ 13062 w 359134"/>
                    <a:gd name="csY12" fmla="*/ 76546 h 309800"/>
                    <a:gd name="csX13" fmla="*/ 1793 w 359134"/>
                    <a:gd name="csY13" fmla="*/ 85254 h 309800"/>
                    <a:gd name="csX14" fmla="*/ 11237 w 359134"/>
                    <a:gd name="csY14" fmla="*/ 91048 h 309800"/>
                    <a:gd name="csX15" fmla="*/ 8708 w 359134"/>
                    <a:gd name="csY15" fmla="*/ 97227 h 309800"/>
                    <a:gd name="csX16" fmla="*/ 0 w 359134"/>
                    <a:gd name="csY16" fmla="*/ 97227 h 309800"/>
                    <a:gd name="csX17" fmla="*/ 1089 w 359134"/>
                    <a:gd name="csY17" fmla="*/ 125527 h 309800"/>
                    <a:gd name="csX18" fmla="*/ 13766 w 359134"/>
                    <a:gd name="csY18" fmla="*/ 167594 h 309800"/>
                    <a:gd name="csX19" fmla="*/ 19208 w 359134"/>
                    <a:gd name="csY19" fmla="*/ 170123 h 309800"/>
                    <a:gd name="csX20" fmla="*/ 23210 w 359134"/>
                    <a:gd name="csY20" fmla="*/ 183185 h 309800"/>
                    <a:gd name="csX21" fmla="*/ 26123 w 359134"/>
                    <a:gd name="csY21" fmla="*/ 182480 h 309800"/>
                    <a:gd name="csX22" fmla="*/ 33007 w 359134"/>
                    <a:gd name="csY22" fmla="*/ 180655 h 309800"/>
                    <a:gd name="csX23" fmla="*/ 38801 w 359134"/>
                    <a:gd name="csY23" fmla="*/ 171211 h 309800"/>
                    <a:gd name="csX24" fmla="*/ 57657 w 359134"/>
                    <a:gd name="csY24" fmla="*/ 171211 h 309800"/>
                    <a:gd name="csX25" fmla="*/ 62011 w 359134"/>
                    <a:gd name="csY25" fmla="*/ 161799 h 309800"/>
                    <a:gd name="csX26" fmla="*/ 78338 w 359134"/>
                    <a:gd name="csY26" fmla="*/ 163240 h 309800"/>
                    <a:gd name="csX27" fmla="*/ 89607 w 359134"/>
                    <a:gd name="csY27" fmla="*/ 157445 h 309800"/>
                    <a:gd name="csX28" fmla="*/ 92136 w 359134"/>
                    <a:gd name="csY28" fmla="*/ 167594 h 309800"/>
                    <a:gd name="csX29" fmla="*/ 100844 w 359134"/>
                    <a:gd name="csY29" fmla="*/ 171948 h 309800"/>
                    <a:gd name="csX30" fmla="*/ 101549 w 359134"/>
                    <a:gd name="csY30" fmla="*/ 190804 h 309800"/>
                    <a:gd name="csX31" fmla="*/ 110257 w 359134"/>
                    <a:gd name="csY31" fmla="*/ 215839 h 309800"/>
                    <a:gd name="csX32" fmla="*/ 121526 w 359134"/>
                    <a:gd name="csY32" fmla="*/ 229637 h 309800"/>
                    <a:gd name="csX33" fmla="*/ 146560 w 359134"/>
                    <a:gd name="csY33" fmla="*/ 240874 h 309800"/>
                    <a:gd name="csX34" fmla="*/ 145472 w 359134"/>
                    <a:gd name="csY34" fmla="*/ 252111 h 309800"/>
                    <a:gd name="csX35" fmla="*/ 165417 w 359134"/>
                    <a:gd name="csY35" fmla="*/ 256113 h 309800"/>
                    <a:gd name="csX36" fmla="*/ 178479 w 359134"/>
                    <a:gd name="csY36" fmla="*/ 268438 h 309800"/>
                    <a:gd name="csX37" fmla="*/ 182448 w 359134"/>
                    <a:gd name="csY37" fmla="*/ 272792 h 309800"/>
                    <a:gd name="csX38" fmla="*/ 192981 w 359134"/>
                    <a:gd name="csY38" fmla="*/ 276057 h 309800"/>
                    <a:gd name="csX39" fmla="*/ 214366 w 359134"/>
                    <a:gd name="csY39" fmla="*/ 298563 h 309800"/>
                    <a:gd name="csX40" fmla="*/ 225635 w 359134"/>
                    <a:gd name="csY40" fmla="*/ 300004 h 309800"/>
                    <a:gd name="csX41" fmla="*/ 278939 w 359134"/>
                    <a:gd name="csY41" fmla="*/ 296002 h 309800"/>
                    <a:gd name="csX42" fmla="*/ 336628 w 359134"/>
                    <a:gd name="csY42" fmla="*/ 309800 h 309800"/>
                    <a:gd name="csX43" fmla="*/ 359134 w 359134"/>
                    <a:gd name="csY43" fmla="*/ 299268 h 309800"/>
                    <a:gd name="csX44" fmla="*/ 359134 w 359134"/>
                    <a:gd name="csY44" fmla="*/ 298563 h 309800"/>
                    <a:gd name="csX45" fmla="*/ 333363 w 359134"/>
                    <a:gd name="csY45" fmla="*/ 265909 h 309800"/>
                    <a:gd name="csX46" fmla="*/ 314154 w 359134"/>
                    <a:gd name="csY46" fmla="*/ 265909 h 309800"/>
                    <a:gd name="csX47" fmla="*/ 296355 w 359134"/>
                    <a:gd name="csY47" fmla="*/ 255376 h 309800"/>
                    <a:gd name="csX48" fmla="*/ 281500 w 359134"/>
                    <a:gd name="csY48" fmla="*/ 240874 h 309800"/>
                    <a:gd name="csX49" fmla="*/ 275673 w 359134"/>
                    <a:gd name="csY49" fmla="*/ 203866 h 309800"/>
                    <a:gd name="csX50" fmla="*/ 270231 w 359134"/>
                    <a:gd name="csY50" fmla="*/ 199512 h 309800"/>
                    <a:gd name="csX51" fmla="*/ 260082 w 359134"/>
                    <a:gd name="csY51" fmla="*/ 200248 h 309800"/>
                    <a:gd name="csX52" fmla="*/ 266998 w 359134"/>
                    <a:gd name="csY52" fmla="*/ 189011 h 309800"/>
                    <a:gd name="csX53" fmla="*/ 262644 w 359134"/>
                    <a:gd name="csY53" fmla="*/ 186450 h 309800"/>
                    <a:gd name="csX54" fmla="*/ 268790 w 359134"/>
                    <a:gd name="csY54" fmla="*/ 171948 h 309800"/>
                    <a:gd name="csX55" fmla="*/ 278939 w 359134"/>
                    <a:gd name="csY55" fmla="*/ 165769 h 309800"/>
                    <a:gd name="csX56" fmla="*/ 266261 w 359134"/>
                    <a:gd name="csY56" fmla="*/ 154884 h 309800"/>
                    <a:gd name="csX57" fmla="*/ 260082 w 359134"/>
                    <a:gd name="csY57" fmla="*/ 153796 h 309800"/>
                    <a:gd name="csX58" fmla="*/ 248109 w 359134"/>
                    <a:gd name="csY58" fmla="*/ 141118 h 309800"/>
                    <a:gd name="csX59" fmla="*/ 252463 w 359134"/>
                    <a:gd name="csY59" fmla="*/ 121173 h 309800"/>
                    <a:gd name="csX60" fmla="*/ 220545 w 359134"/>
                    <a:gd name="csY60" fmla="*/ 97227 h 309800"/>
                    <a:gd name="csX61" fmla="*/ 218720 w 359134"/>
                    <a:gd name="csY61" fmla="*/ 72928 h 309800"/>
                    <a:gd name="csX62" fmla="*/ 200600 w 359134"/>
                    <a:gd name="csY62" fmla="*/ 80899 h 309800"/>
                    <a:gd name="csX63" fmla="*/ 196246 w 359134"/>
                    <a:gd name="csY63" fmla="*/ 74017 h 309800"/>
                    <a:gd name="csX64" fmla="*/ 198776 w 359134"/>
                    <a:gd name="csY64" fmla="*/ 70367 h 309800"/>
                    <a:gd name="csX65" fmla="*/ 190452 w 359134"/>
                    <a:gd name="csY65" fmla="*/ 61659 h 309800"/>
                    <a:gd name="csX66" fmla="*/ 171564 w 359134"/>
                    <a:gd name="csY66" fmla="*/ 44628 h 309800"/>
                    <a:gd name="csX67" fmla="*/ 157797 w 359134"/>
                    <a:gd name="csY67" fmla="*/ 48245 h 309800"/>
                    <a:gd name="csX68" fmla="*/ 150915 w 359134"/>
                    <a:gd name="csY68" fmla="*/ 42803 h 3098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359134" h="309800">
                      <a:moveTo>
                        <a:pt x="150915" y="42803"/>
                      </a:moveTo>
                      <a:lnTo>
                        <a:pt x="157797" y="28300"/>
                      </a:lnTo>
                      <a:lnTo>
                        <a:pt x="172300" y="18856"/>
                      </a:lnTo>
                      <a:lnTo>
                        <a:pt x="179919" y="0"/>
                      </a:lnTo>
                      <a:lnTo>
                        <a:pt x="154180" y="18152"/>
                      </a:lnTo>
                      <a:lnTo>
                        <a:pt x="149090" y="27564"/>
                      </a:lnTo>
                      <a:lnTo>
                        <a:pt x="126584" y="42803"/>
                      </a:lnTo>
                      <a:lnTo>
                        <a:pt x="124055" y="50774"/>
                      </a:lnTo>
                      <a:lnTo>
                        <a:pt x="101549" y="74017"/>
                      </a:lnTo>
                      <a:lnTo>
                        <a:pt x="75809" y="61659"/>
                      </a:lnTo>
                      <a:lnTo>
                        <a:pt x="49334" y="58394"/>
                      </a:lnTo>
                      <a:lnTo>
                        <a:pt x="25035" y="50774"/>
                      </a:lnTo>
                      <a:lnTo>
                        <a:pt x="13062" y="76546"/>
                      </a:lnTo>
                      <a:lnTo>
                        <a:pt x="1793" y="85254"/>
                      </a:lnTo>
                      <a:lnTo>
                        <a:pt x="11237" y="91048"/>
                      </a:lnTo>
                      <a:lnTo>
                        <a:pt x="8708" y="97227"/>
                      </a:lnTo>
                      <a:lnTo>
                        <a:pt x="0" y="97227"/>
                      </a:lnTo>
                      <a:lnTo>
                        <a:pt x="1089" y="125527"/>
                      </a:lnTo>
                      <a:lnTo>
                        <a:pt x="13766" y="167594"/>
                      </a:lnTo>
                      <a:lnTo>
                        <a:pt x="19208" y="170123"/>
                      </a:lnTo>
                      <a:lnTo>
                        <a:pt x="23210" y="183185"/>
                      </a:lnTo>
                      <a:lnTo>
                        <a:pt x="26123" y="182480"/>
                      </a:lnTo>
                      <a:lnTo>
                        <a:pt x="33007" y="180655"/>
                      </a:lnTo>
                      <a:lnTo>
                        <a:pt x="38801" y="171211"/>
                      </a:lnTo>
                      <a:lnTo>
                        <a:pt x="57657" y="171211"/>
                      </a:lnTo>
                      <a:lnTo>
                        <a:pt x="62011" y="161799"/>
                      </a:lnTo>
                      <a:lnTo>
                        <a:pt x="78338" y="163240"/>
                      </a:lnTo>
                      <a:lnTo>
                        <a:pt x="89607" y="157445"/>
                      </a:lnTo>
                      <a:lnTo>
                        <a:pt x="92136" y="167594"/>
                      </a:lnTo>
                      <a:lnTo>
                        <a:pt x="100844" y="171948"/>
                      </a:lnTo>
                      <a:lnTo>
                        <a:pt x="101549" y="190804"/>
                      </a:lnTo>
                      <a:lnTo>
                        <a:pt x="110257" y="215839"/>
                      </a:lnTo>
                      <a:lnTo>
                        <a:pt x="121526" y="229637"/>
                      </a:lnTo>
                      <a:lnTo>
                        <a:pt x="146560" y="240874"/>
                      </a:lnTo>
                      <a:lnTo>
                        <a:pt x="145472" y="252111"/>
                      </a:lnTo>
                      <a:lnTo>
                        <a:pt x="165417" y="256113"/>
                      </a:lnTo>
                      <a:lnTo>
                        <a:pt x="178479" y="268438"/>
                      </a:lnTo>
                      <a:lnTo>
                        <a:pt x="182448" y="272792"/>
                      </a:lnTo>
                      <a:lnTo>
                        <a:pt x="192981" y="276057"/>
                      </a:lnTo>
                      <a:lnTo>
                        <a:pt x="214366" y="298563"/>
                      </a:lnTo>
                      <a:lnTo>
                        <a:pt x="225635" y="300004"/>
                      </a:lnTo>
                      <a:lnTo>
                        <a:pt x="278939" y="296002"/>
                      </a:lnTo>
                      <a:lnTo>
                        <a:pt x="336628" y="309800"/>
                      </a:lnTo>
                      <a:lnTo>
                        <a:pt x="359134" y="299268"/>
                      </a:lnTo>
                      <a:lnTo>
                        <a:pt x="359134" y="298563"/>
                      </a:lnTo>
                      <a:lnTo>
                        <a:pt x="333363" y="265909"/>
                      </a:lnTo>
                      <a:lnTo>
                        <a:pt x="314154" y="265909"/>
                      </a:lnTo>
                      <a:lnTo>
                        <a:pt x="296355" y="255376"/>
                      </a:lnTo>
                      <a:lnTo>
                        <a:pt x="281500" y="240874"/>
                      </a:lnTo>
                      <a:lnTo>
                        <a:pt x="275673" y="203866"/>
                      </a:lnTo>
                      <a:lnTo>
                        <a:pt x="270231" y="199512"/>
                      </a:lnTo>
                      <a:lnTo>
                        <a:pt x="260082" y="200248"/>
                      </a:lnTo>
                      <a:lnTo>
                        <a:pt x="266998" y="189011"/>
                      </a:lnTo>
                      <a:lnTo>
                        <a:pt x="262644" y="186450"/>
                      </a:lnTo>
                      <a:lnTo>
                        <a:pt x="268790" y="171948"/>
                      </a:lnTo>
                      <a:lnTo>
                        <a:pt x="278939" y="165769"/>
                      </a:lnTo>
                      <a:lnTo>
                        <a:pt x="266261" y="154884"/>
                      </a:lnTo>
                      <a:lnTo>
                        <a:pt x="260082" y="153796"/>
                      </a:lnTo>
                      <a:lnTo>
                        <a:pt x="248109" y="141118"/>
                      </a:lnTo>
                      <a:lnTo>
                        <a:pt x="252463" y="121173"/>
                      </a:lnTo>
                      <a:lnTo>
                        <a:pt x="220545" y="97227"/>
                      </a:lnTo>
                      <a:lnTo>
                        <a:pt x="218720" y="72928"/>
                      </a:lnTo>
                      <a:lnTo>
                        <a:pt x="200600" y="80899"/>
                      </a:lnTo>
                      <a:lnTo>
                        <a:pt x="196246" y="74017"/>
                      </a:lnTo>
                      <a:lnTo>
                        <a:pt x="198776" y="70367"/>
                      </a:lnTo>
                      <a:lnTo>
                        <a:pt x="190452" y="61659"/>
                      </a:lnTo>
                      <a:lnTo>
                        <a:pt x="171564" y="44628"/>
                      </a:lnTo>
                      <a:lnTo>
                        <a:pt x="157797" y="48245"/>
                      </a:lnTo>
                      <a:lnTo>
                        <a:pt x="150915" y="4280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29" name="Forma Livre: Forma 328">
                  <a:extLst>
                    <a:ext uri="{FF2B5EF4-FFF2-40B4-BE49-F238E27FC236}">
                      <a16:creationId xmlns:a16="http://schemas.microsoft.com/office/drawing/2014/main" id="{697E1FB6-5C5D-FA6F-B3A5-6E0DEBCFEBB2}"/>
                    </a:ext>
                  </a:extLst>
                </p:cNvPr>
                <p:cNvSpPr/>
                <p:nvPr/>
              </p:nvSpPr>
              <p:spPr>
                <a:xfrm>
                  <a:off x="3203022" y="3914943"/>
                  <a:ext cx="359134" cy="309800"/>
                </a:xfrm>
                <a:custGeom>
                  <a:avLst/>
                  <a:gdLst>
                    <a:gd name="csX0" fmla="*/ 150915 w 359134"/>
                    <a:gd name="csY0" fmla="*/ 42803 h 309800"/>
                    <a:gd name="csX1" fmla="*/ 157797 w 359134"/>
                    <a:gd name="csY1" fmla="*/ 28300 h 309800"/>
                    <a:gd name="csX2" fmla="*/ 172300 w 359134"/>
                    <a:gd name="csY2" fmla="*/ 18856 h 309800"/>
                    <a:gd name="csX3" fmla="*/ 179919 w 359134"/>
                    <a:gd name="csY3" fmla="*/ 0 h 309800"/>
                    <a:gd name="csX4" fmla="*/ 154180 w 359134"/>
                    <a:gd name="csY4" fmla="*/ 18152 h 309800"/>
                    <a:gd name="csX5" fmla="*/ 149090 w 359134"/>
                    <a:gd name="csY5" fmla="*/ 27564 h 309800"/>
                    <a:gd name="csX6" fmla="*/ 126584 w 359134"/>
                    <a:gd name="csY6" fmla="*/ 42803 h 309800"/>
                    <a:gd name="csX7" fmla="*/ 124055 w 359134"/>
                    <a:gd name="csY7" fmla="*/ 50774 h 309800"/>
                    <a:gd name="csX8" fmla="*/ 101549 w 359134"/>
                    <a:gd name="csY8" fmla="*/ 74017 h 309800"/>
                    <a:gd name="csX9" fmla="*/ 75809 w 359134"/>
                    <a:gd name="csY9" fmla="*/ 61659 h 309800"/>
                    <a:gd name="csX10" fmla="*/ 49334 w 359134"/>
                    <a:gd name="csY10" fmla="*/ 58394 h 309800"/>
                    <a:gd name="csX11" fmla="*/ 25035 w 359134"/>
                    <a:gd name="csY11" fmla="*/ 50774 h 309800"/>
                    <a:gd name="csX12" fmla="*/ 13062 w 359134"/>
                    <a:gd name="csY12" fmla="*/ 76546 h 309800"/>
                    <a:gd name="csX13" fmla="*/ 1793 w 359134"/>
                    <a:gd name="csY13" fmla="*/ 85254 h 309800"/>
                    <a:gd name="csX14" fmla="*/ 11237 w 359134"/>
                    <a:gd name="csY14" fmla="*/ 91048 h 309800"/>
                    <a:gd name="csX15" fmla="*/ 8708 w 359134"/>
                    <a:gd name="csY15" fmla="*/ 97227 h 309800"/>
                    <a:gd name="csX16" fmla="*/ 0 w 359134"/>
                    <a:gd name="csY16" fmla="*/ 97227 h 309800"/>
                    <a:gd name="csX17" fmla="*/ 1089 w 359134"/>
                    <a:gd name="csY17" fmla="*/ 125527 h 309800"/>
                    <a:gd name="csX18" fmla="*/ 13766 w 359134"/>
                    <a:gd name="csY18" fmla="*/ 167594 h 309800"/>
                    <a:gd name="csX19" fmla="*/ 19208 w 359134"/>
                    <a:gd name="csY19" fmla="*/ 170123 h 309800"/>
                    <a:gd name="csX20" fmla="*/ 23210 w 359134"/>
                    <a:gd name="csY20" fmla="*/ 183185 h 309800"/>
                    <a:gd name="csX21" fmla="*/ 26123 w 359134"/>
                    <a:gd name="csY21" fmla="*/ 182480 h 309800"/>
                    <a:gd name="csX22" fmla="*/ 33007 w 359134"/>
                    <a:gd name="csY22" fmla="*/ 180655 h 309800"/>
                    <a:gd name="csX23" fmla="*/ 38801 w 359134"/>
                    <a:gd name="csY23" fmla="*/ 171211 h 309800"/>
                    <a:gd name="csX24" fmla="*/ 57657 w 359134"/>
                    <a:gd name="csY24" fmla="*/ 171211 h 309800"/>
                    <a:gd name="csX25" fmla="*/ 62011 w 359134"/>
                    <a:gd name="csY25" fmla="*/ 161799 h 309800"/>
                    <a:gd name="csX26" fmla="*/ 78338 w 359134"/>
                    <a:gd name="csY26" fmla="*/ 163240 h 309800"/>
                    <a:gd name="csX27" fmla="*/ 89607 w 359134"/>
                    <a:gd name="csY27" fmla="*/ 157445 h 309800"/>
                    <a:gd name="csX28" fmla="*/ 92136 w 359134"/>
                    <a:gd name="csY28" fmla="*/ 167594 h 309800"/>
                    <a:gd name="csX29" fmla="*/ 100844 w 359134"/>
                    <a:gd name="csY29" fmla="*/ 171948 h 309800"/>
                    <a:gd name="csX30" fmla="*/ 101549 w 359134"/>
                    <a:gd name="csY30" fmla="*/ 190804 h 309800"/>
                    <a:gd name="csX31" fmla="*/ 110257 w 359134"/>
                    <a:gd name="csY31" fmla="*/ 215839 h 309800"/>
                    <a:gd name="csX32" fmla="*/ 121526 w 359134"/>
                    <a:gd name="csY32" fmla="*/ 229637 h 309800"/>
                    <a:gd name="csX33" fmla="*/ 146560 w 359134"/>
                    <a:gd name="csY33" fmla="*/ 240874 h 309800"/>
                    <a:gd name="csX34" fmla="*/ 145472 w 359134"/>
                    <a:gd name="csY34" fmla="*/ 252111 h 309800"/>
                    <a:gd name="csX35" fmla="*/ 165417 w 359134"/>
                    <a:gd name="csY35" fmla="*/ 256113 h 309800"/>
                    <a:gd name="csX36" fmla="*/ 178479 w 359134"/>
                    <a:gd name="csY36" fmla="*/ 268438 h 309800"/>
                    <a:gd name="csX37" fmla="*/ 182448 w 359134"/>
                    <a:gd name="csY37" fmla="*/ 272792 h 309800"/>
                    <a:gd name="csX38" fmla="*/ 192981 w 359134"/>
                    <a:gd name="csY38" fmla="*/ 276057 h 309800"/>
                    <a:gd name="csX39" fmla="*/ 214366 w 359134"/>
                    <a:gd name="csY39" fmla="*/ 298563 h 309800"/>
                    <a:gd name="csX40" fmla="*/ 225635 w 359134"/>
                    <a:gd name="csY40" fmla="*/ 300004 h 309800"/>
                    <a:gd name="csX41" fmla="*/ 278939 w 359134"/>
                    <a:gd name="csY41" fmla="*/ 296002 h 309800"/>
                    <a:gd name="csX42" fmla="*/ 336628 w 359134"/>
                    <a:gd name="csY42" fmla="*/ 309800 h 309800"/>
                    <a:gd name="csX43" fmla="*/ 359134 w 359134"/>
                    <a:gd name="csY43" fmla="*/ 299268 h 309800"/>
                    <a:gd name="csX44" fmla="*/ 359134 w 359134"/>
                    <a:gd name="csY44" fmla="*/ 298563 h 309800"/>
                    <a:gd name="csX45" fmla="*/ 333363 w 359134"/>
                    <a:gd name="csY45" fmla="*/ 265909 h 309800"/>
                    <a:gd name="csX46" fmla="*/ 314154 w 359134"/>
                    <a:gd name="csY46" fmla="*/ 265909 h 309800"/>
                    <a:gd name="csX47" fmla="*/ 296355 w 359134"/>
                    <a:gd name="csY47" fmla="*/ 255376 h 309800"/>
                    <a:gd name="csX48" fmla="*/ 281500 w 359134"/>
                    <a:gd name="csY48" fmla="*/ 240874 h 309800"/>
                    <a:gd name="csX49" fmla="*/ 275673 w 359134"/>
                    <a:gd name="csY49" fmla="*/ 203866 h 309800"/>
                    <a:gd name="csX50" fmla="*/ 270231 w 359134"/>
                    <a:gd name="csY50" fmla="*/ 199512 h 309800"/>
                    <a:gd name="csX51" fmla="*/ 260082 w 359134"/>
                    <a:gd name="csY51" fmla="*/ 200248 h 309800"/>
                    <a:gd name="csX52" fmla="*/ 266998 w 359134"/>
                    <a:gd name="csY52" fmla="*/ 189011 h 309800"/>
                    <a:gd name="csX53" fmla="*/ 262644 w 359134"/>
                    <a:gd name="csY53" fmla="*/ 186450 h 309800"/>
                    <a:gd name="csX54" fmla="*/ 268790 w 359134"/>
                    <a:gd name="csY54" fmla="*/ 171948 h 309800"/>
                    <a:gd name="csX55" fmla="*/ 278939 w 359134"/>
                    <a:gd name="csY55" fmla="*/ 165769 h 309800"/>
                    <a:gd name="csX56" fmla="*/ 266261 w 359134"/>
                    <a:gd name="csY56" fmla="*/ 154884 h 309800"/>
                    <a:gd name="csX57" fmla="*/ 260082 w 359134"/>
                    <a:gd name="csY57" fmla="*/ 153796 h 309800"/>
                    <a:gd name="csX58" fmla="*/ 248109 w 359134"/>
                    <a:gd name="csY58" fmla="*/ 141118 h 309800"/>
                    <a:gd name="csX59" fmla="*/ 252463 w 359134"/>
                    <a:gd name="csY59" fmla="*/ 121173 h 309800"/>
                    <a:gd name="csX60" fmla="*/ 220545 w 359134"/>
                    <a:gd name="csY60" fmla="*/ 97227 h 309800"/>
                    <a:gd name="csX61" fmla="*/ 218720 w 359134"/>
                    <a:gd name="csY61" fmla="*/ 72928 h 309800"/>
                    <a:gd name="csX62" fmla="*/ 200600 w 359134"/>
                    <a:gd name="csY62" fmla="*/ 80899 h 309800"/>
                    <a:gd name="csX63" fmla="*/ 196246 w 359134"/>
                    <a:gd name="csY63" fmla="*/ 74017 h 309800"/>
                    <a:gd name="csX64" fmla="*/ 198776 w 359134"/>
                    <a:gd name="csY64" fmla="*/ 70367 h 309800"/>
                    <a:gd name="csX65" fmla="*/ 190452 w 359134"/>
                    <a:gd name="csY65" fmla="*/ 61659 h 309800"/>
                    <a:gd name="csX66" fmla="*/ 171564 w 359134"/>
                    <a:gd name="csY66" fmla="*/ 44628 h 309800"/>
                    <a:gd name="csX67" fmla="*/ 157797 w 359134"/>
                    <a:gd name="csY67" fmla="*/ 48245 h 309800"/>
                    <a:gd name="csX68" fmla="*/ 150915 w 359134"/>
                    <a:gd name="csY68" fmla="*/ 42803 h 3098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359134" h="309800">
                      <a:moveTo>
                        <a:pt x="150915" y="42803"/>
                      </a:moveTo>
                      <a:lnTo>
                        <a:pt x="157797" y="28300"/>
                      </a:lnTo>
                      <a:lnTo>
                        <a:pt x="172300" y="18856"/>
                      </a:lnTo>
                      <a:lnTo>
                        <a:pt x="179919" y="0"/>
                      </a:lnTo>
                      <a:lnTo>
                        <a:pt x="154180" y="18152"/>
                      </a:lnTo>
                      <a:lnTo>
                        <a:pt x="149090" y="27564"/>
                      </a:lnTo>
                      <a:lnTo>
                        <a:pt x="126584" y="42803"/>
                      </a:lnTo>
                      <a:lnTo>
                        <a:pt x="124055" y="50774"/>
                      </a:lnTo>
                      <a:lnTo>
                        <a:pt x="101549" y="74017"/>
                      </a:lnTo>
                      <a:lnTo>
                        <a:pt x="75809" y="61659"/>
                      </a:lnTo>
                      <a:lnTo>
                        <a:pt x="49334" y="58394"/>
                      </a:lnTo>
                      <a:lnTo>
                        <a:pt x="25035" y="50774"/>
                      </a:lnTo>
                      <a:lnTo>
                        <a:pt x="13062" y="76546"/>
                      </a:lnTo>
                      <a:lnTo>
                        <a:pt x="1793" y="85254"/>
                      </a:lnTo>
                      <a:lnTo>
                        <a:pt x="11237" y="91048"/>
                      </a:lnTo>
                      <a:lnTo>
                        <a:pt x="8708" y="97227"/>
                      </a:lnTo>
                      <a:lnTo>
                        <a:pt x="0" y="97227"/>
                      </a:lnTo>
                      <a:lnTo>
                        <a:pt x="1089" y="125527"/>
                      </a:lnTo>
                      <a:lnTo>
                        <a:pt x="13766" y="167594"/>
                      </a:lnTo>
                      <a:lnTo>
                        <a:pt x="19208" y="170123"/>
                      </a:lnTo>
                      <a:lnTo>
                        <a:pt x="23210" y="183185"/>
                      </a:lnTo>
                      <a:lnTo>
                        <a:pt x="26123" y="182480"/>
                      </a:lnTo>
                      <a:lnTo>
                        <a:pt x="33007" y="180655"/>
                      </a:lnTo>
                      <a:lnTo>
                        <a:pt x="38801" y="171211"/>
                      </a:lnTo>
                      <a:lnTo>
                        <a:pt x="57657" y="171211"/>
                      </a:lnTo>
                      <a:lnTo>
                        <a:pt x="62011" y="161799"/>
                      </a:lnTo>
                      <a:lnTo>
                        <a:pt x="78338" y="163240"/>
                      </a:lnTo>
                      <a:lnTo>
                        <a:pt x="89607" y="157445"/>
                      </a:lnTo>
                      <a:lnTo>
                        <a:pt x="92136" y="167594"/>
                      </a:lnTo>
                      <a:lnTo>
                        <a:pt x="100844" y="171948"/>
                      </a:lnTo>
                      <a:lnTo>
                        <a:pt x="101549" y="190804"/>
                      </a:lnTo>
                      <a:lnTo>
                        <a:pt x="110257" y="215839"/>
                      </a:lnTo>
                      <a:lnTo>
                        <a:pt x="121526" y="229637"/>
                      </a:lnTo>
                      <a:lnTo>
                        <a:pt x="146560" y="240874"/>
                      </a:lnTo>
                      <a:lnTo>
                        <a:pt x="145472" y="252111"/>
                      </a:lnTo>
                      <a:lnTo>
                        <a:pt x="165417" y="256113"/>
                      </a:lnTo>
                      <a:lnTo>
                        <a:pt x="178479" y="268438"/>
                      </a:lnTo>
                      <a:lnTo>
                        <a:pt x="182448" y="272792"/>
                      </a:lnTo>
                      <a:lnTo>
                        <a:pt x="192981" y="276057"/>
                      </a:lnTo>
                      <a:lnTo>
                        <a:pt x="214366" y="298563"/>
                      </a:lnTo>
                      <a:lnTo>
                        <a:pt x="225635" y="300004"/>
                      </a:lnTo>
                      <a:lnTo>
                        <a:pt x="278939" y="296002"/>
                      </a:lnTo>
                      <a:lnTo>
                        <a:pt x="336628" y="309800"/>
                      </a:lnTo>
                      <a:lnTo>
                        <a:pt x="359134" y="299268"/>
                      </a:lnTo>
                      <a:lnTo>
                        <a:pt x="359134" y="298563"/>
                      </a:lnTo>
                      <a:lnTo>
                        <a:pt x="333363" y="265909"/>
                      </a:lnTo>
                      <a:lnTo>
                        <a:pt x="314154" y="265909"/>
                      </a:lnTo>
                      <a:lnTo>
                        <a:pt x="296355" y="255376"/>
                      </a:lnTo>
                      <a:lnTo>
                        <a:pt x="281500" y="240874"/>
                      </a:lnTo>
                      <a:lnTo>
                        <a:pt x="275673" y="203866"/>
                      </a:lnTo>
                      <a:lnTo>
                        <a:pt x="270231" y="199512"/>
                      </a:lnTo>
                      <a:lnTo>
                        <a:pt x="260082" y="200248"/>
                      </a:lnTo>
                      <a:lnTo>
                        <a:pt x="266998" y="189011"/>
                      </a:lnTo>
                      <a:lnTo>
                        <a:pt x="262644" y="186450"/>
                      </a:lnTo>
                      <a:lnTo>
                        <a:pt x="268790" y="171948"/>
                      </a:lnTo>
                      <a:lnTo>
                        <a:pt x="278939" y="165769"/>
                      </a:lnTo>
                      <a:lnTo>
                        <a:pt x="266261" y="154884"/>
                      </a:lnTo>
                      <a:lnTo>
                        <a:pt x="260082" y="153796"/>
                      </a:lnTo>
                      <a:lnTo>
                        <a:pt x="248109" y="141118"/>
                      </a:lnTo>
                      <a:lnTo>
                        <a:pt x="252463" y="121173"/>
                      </a:lnTo>
                      <a:lnTo>
                        <a:pt x="220545" y="97227"/>
                      </a:lnTo>
                      <a:lnTo>
                        <a:pt x="218720" y="72928"/>
                      </a:lnTo>
                      <a:lnTo>
                        <a:pt x="200600" y="80899"/>
                      </a:lnTo>
                      <a:lnTo>
                        <a:pt x="196246" y="74017"/>
                      </a:lnTo>
                      <a:lnTo>
                        <a:pt x="198776" y="70367"/>
                      </a:lnTo>
                      <a:lnTo>
                        <a:pt x="190452" y="61659"/>
                      </a:lnTo>
                      <a:lnTo>
                        <a:pt x="171564" y="44628"/>
                      </a:lnTo>
                      <a:lnTo>
                        <a:pt x="157797" y="48245"/>
                      </a:lnTo>
                      <a:lnTo>
                        <a:pt x="150915" y="42803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0" name="Forma Livre: Forma 329">
                  <a:extLst>
                    <a:ext uri="{FF2B5EF4-FFF2-40B4-BE49-F238E27FC236}">
                      <a16:creationId xmlns:a16="http://schemas.microsoft.com/office/drawing/2014/main" id="{6E0EC984-52A6-E4EA-2CAD-7909DED206B1}"/>
                    </a:ext>
                  </a:extLst>
                </p:cNvPr>
                <p:cNvSpPr/>
                <p:nvPr/>
              </p:nvSpPr>
              <p:spPr>
                <a:xfrm>
                  <a:off x="3203022" y="3914943"/>
                  <a:ext cx="359134" cy="309800"/>
                </a:xfrm>
                <a:custGeom>
                  <a:avLst/>
                  <a:gdLst>
                    <a:gd name="csX0" fmla="*/ 150915 w 359134"/>
                    <a:gd name="csY0" fmla="*/ 42803 h 309800"/>
                    <a:gd name="csX1" fmla="*/ 157797 w 359134"/>
                    <a:gd name="csY1" fmla="*/ 28300 h 309800"/>
                    <a:gd name="csX2" fmla="*/ 172300 w 359134"/>
                    <a:gd name="csY2" fmla="*/ 18856 h 309800"/>
                    <a:gd name="csX3" fmla="*/ 179919 w 359134"/>
                    <a:gd name="csY3" fmla="*/ 0 h 309800"/>
                    <a:gd name="csX4" fmla="*/ 154180 w 359134"/>
                    <a:gd name="csY4" fmla="*/ 18152 h 309800"/>
                    <a:gd name="csX5" fmla="*/ 149090 w 359134"/>
                    <a:gd name="csY5" fmla="*/ 27564 h 309800"/>
                    <a:gd name="csX6" fmla="*/ 126584 w 359134"/>
                    <a:gd name="csY6" fmla="*/ 42803 h 309800"/>
                    <a:gd name="csX7" fmla="*/ 124055 w 359134"/>
                    <a:gd name="csY7" fmla="*/ 50774 h 309800"/>
                    <a:gd name="csX8" fmla="*/ 101549 w 359134"/>
                    <a:gd name="csY8" fmla="*/ 74017 h 309800"/>
                    <a:gd name="csX9" fmla="*/ 75809 w 359134"/>
                    <a:gd name="csY9" fmla="*/ 61659 h 309800"/>
                    <a:gd name="csX10" fmla="*/ 49334 w 359134"/>
                    <a:gd name="csY10" fmla="*/ 58394 h 309800"/>
                    <a:gd name="csX11" fmla="*/ 25035 w 359134"/>
                    <a:gd name="csY11" fmla="*/ 50774 h 309800"/>
                    <a:gd name="csX12" fmla="*/ 13062 w 359134"/>
                    <a:gd name="csY12" fmla="*/ 76546 h 309800"/>
                    <a:gd name="csX13" fmla="*/ 1793 w 359134"/>
                    <a:gd name="csY13" fmla="*/ 85254 h 309800"/>
                    <a:gd name="csX14" fmla="*/ 11237 w 359134"/>
                    <a:gd name="csY14" fmla="*/ 91048 h 309800"/>
                    <a:gd name="csX15" fmla="*/ 8708 w 359134"/>
                    <a:gd name="csY15" fmla="*/ 97227 h 309800"/>
                    <a:gd name="csX16" fmla="*/ 0 w 359134"/>
                    <a:gd name="csY16" fmla="*/ 97227 h 309800"/>
                    <a:gd name="csX17" fmla="*/ 1089 w 359134"/>
                    <a:gd name="csY17" fmla="*/ 125527 h 309800"/>
                    <a:gd name="csX18" fmla="*/ 13766 w 359134"/>
                    <a:gd name="csY18" fmla="*/ 167594 h 309800"/>
                    <a:gd name="csX19" fmla="*/ 19208 w 359134"/>
                    <a:gd name="csY19" fmla="*/ 170123 h 309800"/>
                    <a:gd name="csX20" fmla="*/ 23210 w 359134"/>
                    <a:gd name="csY20" fmla="*/ 183185 h 309800"/>
                    <a:gd name="csX21" fmla="*/ 26123 w 359134"/>
                    <a:gd name="csY21" fmla="*/ 182480 h 309800"/>
                    <a:gd name="csX22" fmla="*/ 33007 w 359134"/>
                    <a:gd name="csY22" fmla="*/ 180655 h 309800"/>
                    <a:gd name="csX23" fmla="*/ 38801 w 359134"/>
                    <a:gd name="csY23" fmla="*/ 171211 h 309800"/>
                    <a:gd name="csX24" fmla="*/ 57657 w 359134"/>
                    <a:gd name="csY24" fmla="*/ 171211 h 309800"/>
                    <a:gd name="csX25" fmla="*/ 62011 w 359134"/>
                    <a:gd name="csY25" fmla="*/ 161799 h 309800"/>
                    <a:gd name="csX26" fmla="*/ 78338 w 359134"/>
                    <a:gd name="csY26" fmla="*/ 163240 h 309800"/>
                    <a:gd name="csX27" fmla="*/ 89607 w 359134"/>
                    <a:gd name="csY27" fmla="*/ 157445 h 309800"/>
                    <a:gd name="csX28" fmla="*/ 92136 w 359134"/>
                    <a:gd name="csY28" fmla="*/ 167594 h 309800"/>
                    <a:gd name="csX29" fmla="*/ 100844 w 359134"/>
                    <a:gd name="csY29" fmla="*/ 171948 h 309800"/>
                    <a:gd name="csX30" fmla="*/ 101549 w 359134"/>
                    <a:gd name="csY30" fmla="*/ 190804 h 309800"/>
                    <a:gd name="csX31" fmla="*/ 110257 w 359134"/>
                    <a:gd name="csY31" fmla="*/ 215839 h 309800"/>
                    <a:gd name="csX32" fmla="*/ 121526 w 359134"/>
                    <a:gd name="csY32" fmla="*/ 229637 h 309800"/>
                    <a:gd name="csX33" fmla="*/ 146560 w 359134"/>
                    <a:gd name="csY33" fmla="*/ 240874 h 309800"/>
                    <a:gd name="csX34" fmla="*/ 145472 w 359134"/>
                    <a:gd name="csY34" fmla="*/ 252111 h 309800"/>
                    <a:gd name="csX35" fmla="*/ 165417 w 359134"/>
                    <a:gd name="csY35" fmla="*/ 256113 h 309800"/>
                    <a:gd name="csX36" fmla="*/ 178479 w 359134"/>
                    <a:gd name="csY36" fmla="*/ 268438 h 309800"/>
                    <a:gd name="csX37" fmla="*/ 182448 w 359134"/>
                    <a:gd name="csY37" fmla="*/ 272792 h 309800"/>
                    <a:gd name="csX38" fmla="*/ 192981 w 359134"/>
                    <a:gd name="csY38" fmla="*/ 276057 h 309800"/>
                    <a:gd name="csX39" fmla="*/ 214366 w 359134"/>
                    <a:gd name="csY39" fmla="*/ 298563 h 309800"/>
                    <a:gd name="csX40" fmla="*/ 225635 w 359134"/>
                    <a:gd name="csY40" fmla="*/ 300004 h 309800"/>
                    <a:gd name="csX41" fmla="*/ 278939 w 359134"/>
                    <a:gd name="csY41" fmla="*/ 296002 h 309800"/>
                    <a:gd name="csX42" fmla="*/ 336628 w 359134"/>
                    <a:gd name="csY42" fmla="*/ 309800 h 309800"/>
                    <a:gd name="csX43" fmla="*/ 359134 w 359134"/>
                    <a:gd name="csY43" fmla="*/ 299268 h 309800"/>
                    <a:gd name="csX44" fmla="*/ 359134 w 359134"/>
                    <a:gd name="csY44" fmla="*/ 298563 h 309800"/>
                    <a:gd name="csX45" fmla="*/ 333363 w 359134"/>
                    <a:gd name="csY45" fmla="*/ 265909 h 309800"/>
                    <a:gd name="csX46" fmla="*/ 314154 w 359134"/>
                    <a:gd name="csY46" fmla="*/ 265909 h 309800"/>
                    <a:gd name="csX47" fmla="*/ 296355 w 359134"/>
                    <a:gd name="csY47" fmla="*/ 255376 h 309800"/>
                    <a:gd name="csX48" fmla="*/ 281500 w 359134"/>
                    <a:gd name="csY48" fmla="*/ 240874 h 309800"/>
                    <a:gd name="csX49" fmla="*/ 275673 w 359134"/>
                    <a:gd name="csY49" fmla="*/ 203866 h 309800"/>
                    <a:gd name="csX50" fmla="*/ 270231 w 359134"/>
                    <a:gd name="csY50" fmla="*/ 199512 h 309800"/>
                    <a:gd name="csX51" fmla="*/ 260082 w 359134"/>
                    <a:gd name="csY51" fmla="*/ 200248 h 309800"/>
                    <a:gd name="csX52" fmla="*/ 266998 w 359134"/>
                    <a:gd name="csY52" fmla="*/ 189011 h 309800"/>
                    <a:gd name="csX53" fmla="*/ 262644 w 359134"/>
                    <a:gd name="csY53" fmla="*/ 186450 h 309800"/>
                    <a:gd name="csX54" fmla="*/ 268790 w 359134"/>
                    <a:gd name="csY54" fmla="*/ 171948 h 309800"/>
                    <a:gd name="csX55" fmla="*/ 278939 w 359134"/>
                    <a:gd name="csY55" fmla="*/ 165769 h 309800"/>
                    <a:gd name="csX56" fmla="*/ 266261 w 359134"/>
                    <a:gd name="csY56" fmla="*/ 154884 h 309800"/>
                    <a:gd name="csX57" fmla="*/ 260082 w 359134"/>
                    <a:gd name="csY57" fmla="*/ 153796 h 309800"/>
                    <a:gd name="csX58" fmla="*/ 248109 w 359134"/>
                    <a:gd name="csY58" fmla="*/ 141118 h 309800"/>
                    <a:gd name="csX59" fmla="*/ 252463 w 359134"/>
                    <a:gd name="csY59" fmla="*/ 121173 h 309800"/>
                    <a:gd name="csX60" fmla="*/ 220545 w 359134"/>
                    <a:gd name="csY60" fmla="*/ 97227 h 309800"/>
                    <a:gd name="csX61" fmla="*/ 218720 w 359134"/>
                    <a:gd name="csY61" fmla="*/ 72928 h 309800"/>
                    <a:gd name="csX62" fmla="*/ 200600 w 359134"/>
                    <a:gd name="csY62" fmla="*/ 80899 h 309800"/>
                    <a:gd name="csX63" fmla="*/ 196246 w 359134"/>
                    <a:gd name="csY63" fmla="*/ 74017 h 309800"/>
                    <a:gd name="csX64" fmla="*/ 198776 w 359134"/>
                    <a:gd name="csY64" fmla="*/ 70367 h 309800"/>
                    <a:gd name="csX65" fmla="*/ 190452 w 359134"/>
                    <a:gd name="csY65" fmla="*/ 61659 h 309800"/>
                    <a:gd name="csX66" fmla="*/ 171564 w 359134"/>
                    <a:gd name="csY66" fmla="*/ 44628 h 309800"/>
                    <a:gd name="csX67" fmla="*/ 157797 w 359134"/>
                    <a:gd name="csY67" fmla="*/ 48245 h 309800"/>
                    <a:gd name="csX68" fmla="*/ 150915 w 359134"/>
                    <a:gd name="csY68" fmla="*/ 42803 h 3098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359134" h="309800">
                      <a:moveTo>
                        <a:pt x="150915" y="42803"/>
                      </a:moveTo>
                      <a:lnTo>
                        <a:pt x="157797" y="28300"/>
                      </a:lnTo>
                      <a:lnTo>
                        <a:pt x="172300" y="18856"/>
                      </a:lnTo>
                      <a:lnTo>
                        <a:pt x="179919" y="0"/>
                      </a:lnTo>
                      <a:lnTo>
                        <a:pt x="154180" y="18152"/>
                      </a:lnTo>
                      <a:lnTo>
                        <a:pt x="149090" y="27564"/>
                      </a:lnTo>
                      <a:lnTo>
                        <a:pt x="126584" y="42803"/>
                      </a:lnTo>
                      <a:lnTo>
                        <a:pt x="124055" y="50774"/>
                      </a:lnTo>
                      <a:lnTo>
                        <a:pt x="101549" y="74017"/>
                      </a:lnTo>
                      <a:lnTo>
                        <a:pt x="75809" y="61659"/>
                      </a:lnTo>
                      <a:lnTo>
                        <a:pt x="49334" y="58394"/>
                      </a:lnTo>
                      <a:lnTo>
                        <a:pt x="25035" y="50774"/>
                      </a:lnTo>
                      <a:lnTo>
                        <a:pt x="13062" y="76546"/>
                      </a:lnTo>
                      <a:lnTo>
                        <a:pt x="1793" y="85254"/>
                      </a:lnTo>
                      <a:lnTo>
                        <a:pt x="11237" y="91048"/>
                      </a:lnTo>
                      <a:lnTo>
                        <a:pt x="8708" y="97227"/>
                      </a:lnTo>
                      <a:lnTo>
                        <a:pt x="0" y="97227"/>
                      </a:lnTo>
                      <a:lnTo>
                        <a:pt x="1089" y="125527"/>
                      </a:lnTo>
                      <a:lnTo>
                        <a:pt x="13766" y="167594"/>
                      </a:lnTo>
                      <a:lnTo>
                        <a:pt x="19208" y="170123"/>
                      </a:lnTo>
                      <a:lnTo>
                        <a:pt x="23210" y="183185"/>
                      </a:lnTo>
                      <a:lnTo>
                        <a:pt x="26123" y="182480"/>
                      </a:lnTo>
                      <a:lnTo>
                        <a:pt x="33007" y="180655"/>
                      </a:lnTo>
                      <a:lnTo>
                        <a:pt x="38801" y="171211"/>
                      </a:lnTo>
                      <a:lnTo>
                        <a:pt x="57657" y="171211"/>
                      </a:lnTo>
                      <a:lnTo>
                        <a:pt x="62011" y="161799"/>
                      </a:lnTo>
                      <a:lnTo>
                        <a:pt x="78338" y="163240"/>
                      </a:lnTo>
                      <a:lnTo>
                        <a:pt x="89607" y="157445"/>
                      </a:lnTo>
                      <a:lnTo>
                        <a:pt x="92136" y="167594"/>
                      </a:lnTo>
                      <a:lnTo>
                        <a:pt x="100844" y="171948"/>
                      </a:lnTo>
                      <a:lnTo>
                        <a:pt x="101549" y="190804"/>
                      </a:lnTo>
                      <a:lnTo>
                        <a:pt x="110257" y="215839"/>
                      </a:lnTo>
                      <a:lnTo>
                        <a:pt x="121526" y="229637"/>
                      </a:lnTo>
                      <a:lnTo>
                        <a:pt x="146560" y="240874"/>
                      </a:lnTo>
                      <a:lnTo>
                        <a:pt x="145472" y="252111"/>
                      </a:lnTo>
                      <a:lnTo>
                        <a:pt x="165417" y="256113"/>
                      </a:lnTo>
                      <a:lnTo>
                        <a:pt x="178479" y="268438"/>
                      </a:lnTo>
                      <a:lnTo>
                        <a:pt x="182448" y="272792"/>
                      </a:lnTo>
                      <a:lnTo>
                        <a:pt x="192981" y="276057"/>
                      </a:lnTo>
                      <a:lnTo>
                        <a:pt x="214366" y="298563"/>
                      </a:lnTo>
                      <a:lnTo>
                        <a:pt x="225635" y="300004"/>
                      </a:lnTo>
                      <a:lnTo>
                        <a:pt x="278939" y="296002"/>
                      </a:lnTo>
                      <a:lnTo>
                        <a:pt x="336628" y="309800"/>
                      </a:lnTo>
                      <a:lnTo>
                        <a:pt x="359134" y="299268"/>
                      </a:lnTo>
                      <a:lnTo>
                        <a:pt x="359134" y="298563"/>
                      </a:lnTo>
                      <a:lnTo>
                        <a:pt x="333363" y="265909"/>
                      </a:lnTo>
                      <a:lnTo>
                        <a:pt x="314154" y="265909"/>
                      </a:lnTo>
                      <a:lnTo>
                        <a:pt x="296355" y="255376"/>
                      </a:lnTo>
                      <a:lnTo>
                        <a:pt x="281500" y="240874"/>
                      </a:lnTo>
                      <a:lnTo>
                        <a:pt x="275673" y="203866"/>
                      </a:lnTo>
                      <a:lnTo>
                        <a:pt x="270231" y="199512"/>
                      </a:lnTo>
                      <a:lnTo>
                        <a:pt x="260082" y="200248"/>
                      </a:lnTo>
                      <a:lnTo>
                        <a:pt x="266998" y="189011"/>
                      </a:lnTo>
                      <a:lnTo>
                        <a:pt x="262644" y="186450"/>
                      </a:lnTo>
                      <a:lnTo>
                        <a:pt x="268790" y="171948"/>
                      </a:lnTo>
                      <a:lnTo>
                        <a:pt x="278939" y="165769"/>
                      </a:lnTo>
                      <a:lnTo>
                        <a:pt x="266261" y="154884"/>
                      </a:lnTo>
                      <a:lnTo>
                        <a:pt x="260082" y="153796"/>
                      </a:lnTo>
                      <a:lnTo>
                        <a:pt x="248109" y="141118"/>
                      </a:lnTo>
                      <a:lnTo>
                        <a:pt x="252463" y="121173"/>
                      </a:lnTo>
                      <a:lnTo>
                        <a:pt x="220545" y="97227"/>
                      </a:lnTo>
                      <a:lnTo>
                        <a:pt x="218720" y="72928"/>
                      </a:lnTo>
                      <a:lnTo>
                        <a:pt x="200600" y="80899"/>
                      </a:lnTo>
                      <a:lnTo>
                        <a:pt x="196246" y="74017"/>
                      </a:lnTo>
                      <a:lnTo>
                        <a:pt x="198776" y="70367"/>
                      </a:lnTo>
                      <a:lnTo>
                        <a:pt x="190452" y="61659"/>
                      </a:lnTo>
                      <a:lnTo>
                        <a:pt x="171564" y="44628"/>
                      </a:lnTo>
                      <a:lnTo>
                        <a:pt x="157797" y="48245"/>
                      </a:lnTo>
                      <a:lnTo>
                        <a:pt x="150915" y="42803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1" name="Forma Livre: Forma 330">
                  <a:extLst>
                    <a:ext uri="{FF2B5EF4-FFF2-40B4-BE49-F238E27FC236}">
                      <a16:creationId xmlns:a16="http://schemas.microsoft.com/office/drawing/2014/main" id="{DABED220-4DAF-223A-9A07-6A80A4301B15}"/>
                    </a:ext>
                  </a:extLst>
                </p:cNvPr>
                <p:cNvSpPr/>
                <p:nvPr/>
              </p:nvSpPr>
              <p:spPr>
                <a:xfrm>
                  <a:off x="3464929" y="2074677"/>
                  <a:ext cx="471567" cy="526343"/>
                </a:xfrm>
                <a:custGeom>
                  <a:avLst/>
                  <a:gdLst>
                    <a:gd name="csX0" fmla="*/ 104110 w 471567"/>
                    <a:gd name="csY0" fmla="*/ 0 h 526343"/>
                    <a:gd name="csX1" fmla="*/ 97227 w 471567"/>
                    <a:gd name="csY1" fmla="*/ 6883 h 526343"/>
                    <a:gd name="csX2" fmla="*/ 90312 w 471567"/>
                    <a:gd name="csY2" fmla="*/ 13414 h 526343"/>
                    <a:gd name="csX3" fmla="*/ 84165 w 471567"/>
                    <a:gd name="csY3" fmla="*/ 43539 h 526343"/>
                    <a:gd name="csX4" fmla="*/ 73985 w 471567"/>
                    <a:gd name="csY4" fmla="*/ 53335 h 526343"/>
                    <a:gd name="csX5" fmla="*/ 69631 w 471567"/>
                    <a:gd name="csY5" fmla="*/ 62748 h 526343"/>
                    <a:gd name="csX6" fmla="*/ 66013 w 471567"/>
                    <a:gd name="csY6" fmla="*/ 79811 h 526343"/>
                    <a:gd name="csX7" fmla="*/ 60955 w 471567"/>
                    <a:gd name="csY7" fmla="*/ 109904 h 526343"/>
                    <a:gd name="csX8" fmla="*/ 72896 w 471567"/>
                    <a:gd name="csY8" fmla="*/ 142559 h 526343"/>
                    <a:gd name="csX9" fmla="*/ 69631 w 471567"/>
                    <a:gd name="csY9" fmla="*/ 151267 h 526343"/>
                    <a:gd name="csX10" fmla="*/ 32654 w 471567"/>
                    <a:gd name="csY10" fmla="*/ 220193 h 526343"/>
                    <a:gd name="csX11" fmla="*/ 31566 w 471567"/>
                    <a:gd name="csY11" fmla="*/ 246669 h 526343"/>
                    <a:gd name="csX12" fmla="*/ 3266 w 471567"/>
                    <a:gd name="csY12" fmla="*/ 266613 h 526343"/>
                    <a:gd name="csX13" fmla="*/ 8324 w 471567"/>
                    <a:gd name="csY13" fmla="*/ 272440 h 526343"/>
                    <a:gd name="csX14" fmla="*/ 0 w 471567"/>
                    <a:gd name="csY14" fmla="*/ 286206 h 526343"/>
                    <a:gd name="csX15" fmla="*/ 3266 w 471567"/>
                    <a:gd name="csY15" fmla="*/ 306151 h 526343"/>
                    <a:gd name="csX16" fmla="*/ 22122 w 471567"/>
                    <a:gd name="csY16" fmla="*/ 322478 h 526343"/>
                    <a:gd name="csX17" fmla="*/ 21385 w 471567"/>
                    <a:gd name="csY17" fmla="*/ 327568 h 526343"/>
                    <a:gd name="csX18" fmla="*/ 34447 w 471567"/>
                    <a:gd name="csY18" fmla="*/ 340630 h 526343"/>
                    <a:gd name="csX19" fmla="*/ 28301 w 471567"/>
                    <a:gd name="csY19" fmla="*/ 358782 h 526343"/>
                    <a:gd name="csX20" fmla="*/ 33359 w 471567"/>
                    <a:gd name="csY20" fmla="*/ 382696 h 526343"/>
                    <a:gd name="csX21" fmla="*/ 29005 w 471567"/>
                    <a:gd name="csY21" fmla="*/ 391404 h 526343"/>
                    <a:gd name="csX22" fmla="*/ 30093 w 471567"/>
                    <a:gd name="csY22" fmla="*/ 399760 h 526343"/>
                    <a:gd name="csX23" fmla="*/ 26476 w 471567"/>
                    <a:gd name="csY23" fmla="*/ 442915 h 526343"/>
                    <a:gd name="csX24" fmla="*/ 62748 w 471567"/>
                    <a:gd name="csY24" fmla="*/ 442211 h 526343"/>
                    <a:gd name="csX25" fmla="*/ 74721 w 471567"/>
                    <a:gd name="csY25" fmla="*/ 465421 h 526343"/>
                    <a:gd name="csX26" fmla="*/ 102285 w 471567"/>
                    <a:gd name="csY26" fmla="*/ 464332 h 526343"/>
                    <a:gd name="csX27" fmla="*/ 110993 w 471567"/>
                    <a:gd name="csY27" fmla="*/ 472304 h 526343"/>
                    <a:gd name="csX28" fmla="*/ 132410 w 471567"/>
                    <a:gd name="csY28" fmla="*/ 473040 h 526343"/>
                    <a:gd name="csX29" fmla="*/ 136028 w 471567"/>
                    <a:gd name="csY29" fmla="*/ 478098 h 526343"/>
                    <a:gd name="csX30" fmla="*/ 143647 w 471567"/>
                    <a:gd name="csY30" fmla="*/ 496250 h 526343"/>
                    <a:gd name="csX31" fmla="*/ 182448 w 471567"/>
                    <a:gd name="csY31" fmla="*/ 513314 h 526343"/>
                    <a:gd name="csX32" fmla="*/ 201337 w 471567"/>
                    <a:gd name="csY32" fmla="*/ 516195 h 526343"/>
                    <a:gd name="csX33" fmla="*/ 224547 w 471567"/>
                    <a:gd name="csY33" fmla="*/ 510049 h 526343"/>
                    <a:gd name="csX34" fmla="*/ 240874 w 471567"/>
                    <a:gd name="csY34" fmla="*/ 522022 h 526343"/>
                    <a:gd name="csX35" fmla="*/ 260819 w 471567"/>
                    <a:gd name="csY35" fmla="*/ 526344 h 526343"/>
                    <a:gd name="csX36" fmla="*/ 271704 w 471567"/>
                    <a:gd name="csY36" fmla="*/ 514402 h 526343"/>
                    <a:gd name="csX37" fmla="*/ 293473 w 471567"/>
                    <a:gd name="csY37" fmla="*/ 518756 h 526343"/>
                    <a:gd name="csX38" fmla="*/ 297827 w 471567"/>
                    <a:gd name="csY38" fmla="*/ 512578 h 526343"/>
                    <a:gd name="csX39" fmla="*/ 296739 w 471567"/>
                    <a:gd name="csY39" fmla="*/ 498780 h 526343"/>
                    <a:gd name="csX40" fmla="*/ 307976 w 471567"/>
                    <a:gd name="csY40" fmla="*/ 489367 h 526343"/>
                    <a:gd name="csX41" fmla="*/ 317420 w 471567"/>
                    <a:gd name="csY41" fmla="*/ 487543 h 526343"/>
                    <a:gd name="csX42" fmla="*/ 330481 w 471567"/>
                    <a:gd name="csY42" fmla="*/ 496250 h 526343"/>
                    <a:gd name="csX43" fmla="*/ 354396 w 471567"/>
                    <a:gd name="csY43" fmla="*/ 493721 h 526343"/>
                    <a:gd name="csX44" fmla="*/ 358046 w 471567"/>
                    <a:gd name="csY44" fmla="*/ 489367 h 526343"/>
                    <a:gd name="csX45" fmla="*/ 365665 w 471567"/>
                    <a:gd name="csY45" fmla="*/ 491897 h 526343"/>
                    <a:gd name="csX46" fmla="*/ 383785 w 471567"/>
                    <a:gd name="csY46" fmla="*/ 482452 h 526343"/>
                    <a:gd name="csX47" fmla="*/ 395758 w 471567"/>
                    <a:gd name="csY47" fmla="*/ 481748 h 526343"/>
                    <a:gd name="csX48" fmla="*/ 416439 w 471567"/>
                    <a:gd name="csY48" fmla="*/ 468686 h 526343"/>
                    <a:gd name="csX49" fmla="*/ 419705 w 471567"/>
                    <a:gd name="csY49" fmla="*/ 466157 h 526343"/>
                    <a:gd name="csX50" fmla="*/ 455977 w 471567"/>
                    <a:gd name="csY50" fmla="*/ 380167 h 526343"/>
                    <a:gd name="csX51" fmla="*/ 471568 w 471567"/>
                    <a:gd name="csY51" fmla="*/ 342071 h 526343"/>
                    <a:gd name="csX52" fmla="*/ 469775 w 471567"/>
                    <a:gd name="csY52" fmla="*/ 328657 h 526343"/>
                    <a:gd name="csX53" fmla="*/ 470479 w 471567"/>
                    <a:gd name="csY53" fmla="*/ 322478 h 526343"/>
                    <a:gd name="csX54" fmla="*/ 450182 w 471567"/>
                    <a:gd name="csY54" fmla="*/ 299268 h 526343"/>
                    <a:gd name="csX55" fmla="*/ 448357 w 471567"/>
                    <a:gd name="csY55" fmla="*/ 286206 h 526343"/>
                    <a:gd name="csX56" fmla="*/ 458506 w 471567"/>
                    <a:gd name="csY56" fmla="*/ 276058 h 526343"/>
                    <a:gd name="csX57" fmla="*/ 464685 w 471567"/>
                    <a:gd name="csY57" fmla="*/ 244139 h 526343"/>
                    <a:gd name="csX58" fmla="*/ 451623 w 471567"/>
                    <a:gd name="csY58" fmla="*/ 228549 h 526343"/>
                    <a:gd name="csX59" fmla="*/ 444004 w 471567"/>
                    <a:gd name="csY59" fmla="*/ 225283 h 526343"/>
                    <a:gd name="csX60" fmla="*/ 421530 w 471567"/>
                    <a:gd name="csY60" fmla="*/ 220193 h 526343"/>
                    <a:gd name="csX61" fmla="*/ 420793 w 471567"/>
                    <a:gd name="csY61" fmla="*/ 213310 h 526343"/>
                    <a:gd name="csX62" fmla="*/ 395758 w 471567"/>
                    <a:gd name="csY62" fmla="*/ 200248 h 526343"/>
                    <a:gd name="csX63" fmla="*/ 388875 w 471567"/>
                    <a:gd name="csY63" fmla="*/ 190804 h 526343"/>
                    <a:gd name="csX64" fmla="*/ 378727 w 471567"/>
                    <a:gd name="csY64" fmla="*/ 190804 h 526343"/>
                    <a:gd name="csX65" fmla="*/ 370723 w 471567"/>
                    <a:gd name="csY65" fmla="*/ 183185 h 526343"/>
                    <a:gd name="csX66" fmla="*/ 358750 w 471567"/>
                    <a:gd name="csY66" fmla="*/ 172684 h 526343"/>
                    <a:gd name="csX67" fmla="*/ 349338 w 471567"/>
                    <a:gd name="csY67" fmla="*/ 150530 h 526343"/>
                    <a:gd name="csX68" fmla="*/ 321037 w 471567"/>
                    <a:gd name="csY68" fmla="*/ 137469 h 526343"/>
                    <a:gd name="csX69" fmla="*/ 313066 w 471567"/>
                    <a:gd name="csY69" fmla="*/ 129881 h 526343"/>
                    <a:gd name="csX70" fmla="*/ 297827 w 471567"/>
                    <a:gd name="csY70" fmla="*/ 77282 h 526343"/>
                    <a:gd name="csX71" fmla="*/ 253936 w 471567"/>
                    <a:gd name="csY71" fmla="*/ 65309 h 526343"/>
                    <a:gd name="csX72" fmla="*/ 239049 w 471567"/>
                    <a:gd name="csY72" fmla="*/ 52247 h 526343"/>
                    <a:gd name="csX73" fmla="*/ 226372 w 471567"/>
                    <a:gd name="csY73" fmla="*/ 53335 h 526343"/>
                    <a:gd name="csX74" fmla="*/ 206395 w 471567"/>
                    <a:gd name="csY74" fmla="*/ 38449 h 526343"/>
                    <a:gd name="csX75" fmla="*/ 206395 w 471567"/>
                    <a:gd name="csY75" fmla="*/ 32654 h 526343"/>
                    <a:gd name="csX76" fmla="*/ 185714 w 471567"/>
                    <a:gd name="csY76" fmla="*/ 32654 h 526343"/>
                    <a:gd name="csX77" fmla="*/ 178094 w 471567"/>
                    <a:gd name="csY77" fmla="*/ 23210 h 526343"/>
                    <a:gd name="csX78" fmla="*/ 163240 w 471567"/>
                    <a:gd name="csY78" fmla="*/ 21417 h 526343"/>
                    <a:gd name="csX79" fmla="*/ 149442 w 471567"/>
                    <a:gd name="csY79" fmla="*/ 6883 h 526343"/>
                    <a:gd name="csX80" fmla="*/ 130585 w 471567"/>
                    <a:gd name="csY80" fmla="*/ 1441 h 526343"/>
                    <a:gd name="csX81" fmla="*/ 120437 w 471567"/>
                    <a:gd name="csY81" fmla="*/ 10148 h 526343"/>
                    <a:gd name="csX82" fmla="*/ 104110 w 471567"/>
                    <a:gd name="csY82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471567" h="526343">
                      <a:moveTo>
                        <a:pt x="104110" y="0"/>
                      </a:moveTo>
                      <a:lnTo>
                        <a:pt x="97227" y="6883"/>
                      </a:lnTo>
                      <a:lnTo>
                        <a:pt x="90312" y="13414"/>
                      </a:lnTo>
                      <a:lnTo>
                        <a:pt x="84165" y="43539"/>
                      </a:lnTo>
                      <a:lnTo>
                        <a:pt x="73985" y="53335"/>
                      </a:lnTo>
                      <a:lnTo>
                        <a:pt x="69631" y="62748"/>
                      </a:lnTo>
                      <a:lnTo>
                        <a:pt x="66013" y="79811"/>
                      </a:lnTo>
                      <a:lnTo>
                        <a:pt x="60955" y="109904"/>
                      </a:lnTo>
                      <a:lnTo>
                        <a:pt x="72896" y="142559"/>
                      </a:lnTo>
                      <a:lnTo>
                        <a:pt x="69631" y="151267"/>
                      </a:lnTo>
                      <a:lnTo>
                        <a:pt x="32654" y="220193"/>
                      </a:lnTo>
                      <a:lnTo>
                        <a:pt x="31566" y="246669"/>
                      </a:lnTo>
                      <a:lnTo>
                        <a:pt x="3266" y="266613"/>
                      </a:lnTo>
                      <a:lnTo>
                        <a:pt x="8324" y="272440"/>
                      </a:lnTo>
                      <a:lnTo>
                        <a:pt x="0" y="286206"/>
                      </a:lnTo>
                      <a:lnTo>
                        <a:pt x="3266" y="306151"/>
                      </a:lnTo>
                      <a:lnTo>
                        <a:pt x="22122" y="322478"/>
                      </a:lnTo>
                      <a:lnTo>
                        <a:pt x="21385" y="327568"/>
                      </a:lnTo>
                      <a:lnTo>
                        <a:pt x="34447" y="340630"/>
                      </a:lnTo>
                      <a:lnTo>
                        <a:pt x="28301" y="358782"/>
                      </a:lnTo>
                      <a:lnTo>
                        <a:pt x="33359" y="382696"/>
                      </a:lnTo>
                      <a:lnTo>
                        <a:pt x="29005" y="391404"/>
                      </a:lnTo>
                      <a:lnTo>
                        <a:pt x="30093" y="399760"/>
                      </a:lnTo>
                      <a:lnTo>
                        <a:pt x="26476" y="442915"/>
                      </a:lnTo>
                      <a:lnTo>
                        <a:pt x="62748" y="442211"/>
                      </a:lnTo>
                      <a:lnTo>
                        <a:pt x="74721" y="465421"/>
                      </a:lnTo>
                      <a:lnTo>
                        <a:pt x="102285" y="464332"/>
                      </a:lnTo>
                      <a:lnTo>
                        <a:pt x="110993" y="472304"/>
                      </a:lnTo>
                      <a:lnTo>
                        <a:pt x="132410" y="473040"/>
                      </a:lnTo>
                      <a:lnTo>
                        <a:pt x="136028" y="478098"/>
                      </a:lnTo>
                      <a:lnTo>
                        <a:pt x="143647" y="496250"/>
                      </a:lnTo>
                      <a:lnTo>
                        <a:pt x="182448" y="513314"/>
                      </a:lnTo>
                      <a:lnTo>
                        <a:pt x="201337" y="516195"/>
                      </a:lnTo>
                      <a:lnTo>
                        <a:pt x="224547" y="510049"/>
                      </a:lnTo>
                      <a:lnTo>
                        <a:pt x="240874" y="522022"/>
                      </a:lnTo>
                      <a:lnTo>
                        <a:pt x="260819" y="526344"/>
                      </a:lnTo>
                      <a:lnTo>
                        <a:pt x="271704" y="514402"/>
                      </a:lnTo>
                      <a:lnTo>
                        <a:pt x="293473" y="518756"/>
                      </a:lnTo>
                      <a:lnTo>
                        <a:pt x="297827" y="512578"/>
                      </a:lnTo>
                      <a:lnTo>
                        <a:pt x="296739" y="498780"/>
                      </a:lnTo>
                      <a:lnTo>
                        <a:pt x="307976" y="489367"/>
                      </a:lnTo>
                      <a:lnTo>
                        <a:pt x="317420" y="487543"/>
                      </a:lnTo>
                      <a:lnTo>
                        <a:pt x="330481" y="496250"/>
                      </a:lnTo>
                      <a:lnTo>
                        <a:pt x="354396" y="493721"/>
                      </a:lnTo>
                      <a:lnTo>
                        <a:pt x="358046" y="489367"/>
                      </a:lnTo>
                      <a:lnTo>
                        <a:pt x="365665" y="491897"/>
                      </a:lnTo>
                      <a:lnTo>
                        <a:pt x="383785" y="482452"/>
                      </a:lnTo>
                      <a:lnTo>
                        <a:pt x="395758" y="481748"/>
                      </a:lnTo>
                      <a:lnTo>
                        <a:pt x="416439" y="468686"/>
                      </a:lnTo>
                      <a:lnTo>
                        <a:pt x="419705" y="466157"/>
                      </a:lnTo>
                      <a:lnTo>
                        <a:pt x="455977" y="380167"/>
                      </a:lnTo>
                      <a:lnTo>
                        <a:pt x="471568" y="342071"/>
                      </a:lnTo>
                      <a:lnTo>
                        <a:pt x="469775" y="328657"/>
                      </a:lnTo>
                      <a:lnTo>
                        <a:pt x="470479" y="322478"/>
                      </a:lnTo>
                      <a:lnTo>
                        <a:pt x="450182" y="299268"/>
                      </a:lnTo>
                      <a:lnTo>
                        <a:pt x="448357" y="286206"/>
                      </a:lnTo>
                      <a:lnTo>
                        <a:pt x="458506" y="276058"/>
                      </a:lnTo>
                      <a:lnTo>
                        <a:pt x="464685" y="244139"/>
                      </a:lnTo>
                      <a:lnTo>
                        <a:pt x="451623" y="228549"/>
                      </a:lnTo>
                      <a:lnTo>
                        <a:pt x="444004" y="225283"/>
                      </a:lnTo>
                      <a:lnTo>
                        <a:pt x="421530" y="220193"/>
                      </a:lnTo>
                      <a:lnTo>
                        <a:pt x="420793" y="213310"/>
                      </a:lnTo>
                      <a:lnTo>
                        <a:pt x="395758" y="200248"/>
                      </a:lnTo>
                      <a:lnTo>
                        <a:pt x="388875" y="190804"/>
                      </a:lnTo>
                      <a:lnTo>
                        <a:pt x="378727" y="190804"/>
                      </a:lnTo>
                      <a:lnTo>
                        <a:pt x="370723" y="183185"/>
                      </a:lnTo>
                      <a:lnTo>
                        <a:pt x="358750" y="172684"/>
                      </a:lnTo>
                      <a:lnTo>
                        <a:pt x="349338" y="150530"/>
                      </a:lnTo>
                      <a:lnTo>
                        <a:pt x="321037" y="137469"/>
                      </a:lnTo>
                      <a:lnTo>
                        <a:pt x="313066" y="129881"/>
                      </a:lnTo>
                      <a:lnTo>
                        <a:pt x="297827" y="77282"/>
                      </a:lnTo>
                      <a:lnTo>
                        <a:pt x="253936" y="65309"/>
                      </a:lnTo>
                      <a:lnTo>
                        <a:pt x="239049" y="52247"/>
                      </a:lnTo>
                      <a:lnTo>
                        <a:pt x="226372" y="53335"/>
                      </a:lnTo>
                      <a:lnTo>
                        <a:pt x="206395" y="38449"/>
                      </a:lnTo>
                      <a:lnTo>
                        <a:pt x="206395" y="32654"/>
                      </a:lnTo>
                      <a:lnTo>
                        <a:pt x="185714" y="32654"/>
                      </a:lnTo>
                      <a:lnTo>
                        <a:pt x="178094" y="23210"/>
                      </a:lnTo>
                      <a:lnTo>
                        <a:pt x="163240" y="21417"/>
                      </a:lnTo>
                      <a:lnTo>
                        <a:pt x="149442" y="6883"/>
                      </a:lnTo>
                      <a:lnTo>
                        <a:pt x="130585" y="1441"/>
                      </a:lnTo>
                      <a:lnTo>
                        <a:pt x="120437" y="10148"/>
                      </a:lnTo>
                      <a:lnTo>
                        <a:pt x="104110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2" name="Forma Livre: Forma 331">
                  <a:extLst>
                    <a:ext uri="{FF2B5EF4-FFF2-40B4-BE49-F238E27FC236}">
                      <a16:creationId xmlns:a16="http://schemas.microsoft.com/office/drawing/2014/main" id="{9E60388B-535D-E16E-FB5B-A1F4A8B703F3}"/>
                    </a:ext>
                  </a:extLst>
                </p:cNvPr>
                <p:cNvSpPr/>
                <p:nvPr/>
              </p:nvSpPr>
              <p:spPr>
                <a:xfrm>
                  <a:off x="3464929" y="2074677"/>
                  <a:ext cx="471567" cy="526343"/>
                </a:xfrm>
                <a:custGeom>
                  <a:avLst/>
                  <a:gdLst>
                    <a:gd name="csX0" fmla="*/ 104110 w 471567"/>
                    <a:gd name="csY0" fmla="*/ 0 h 526343"/>
                    <a:gd name="csX1" fmla="*/ 97227 w 471567"/>
                    <a:gd name="csY1" fmla="*/ 6883 h 526343"/>
                    <a:gd name="csX2" fmla="*/ 90312 w 471567"/>
                    <a:gd name="csY2" fmla="*/ 13414 h 526343"/>
                    <a:gd name="csX3" fmla="*/ 84165 w 471567"/>
                    <a:gd name="csY3" fmla="*/ 43539 h 526343"/>
                    <a:gd name="csX4" fmla="*/ 73985 w 471567"/>
                    <a:gd name="csY4" fmla="*/ 53335 h 526343"/>
                    <a:gd name="csX5" fmla="*/ 69631 w 471567"/>
                    <a:gd name="csY5" fmla="*/ 62748 h 526343"/>
                    <a:gd name="csX6" fmla="*/ 66013 w 471567"/>
                    <a:gd name="csY6" fmla="*/ 79811 h 526343"/>
                    <a:gd name="csX7" fmla="*/ 60955 w 471567"/>
                    <a:gd name="csY7" fmla="*/ 109904 h 526343"/>
                    <a:gd name="csX8" fmla="*/ 72896 w 471567"/>
                    <a:gd name="csY8" fmla="*/ 142559 h 526343"/>
                    <a:gd name="csX9" fmla="*/ 69631 w 471567"/>
                    <a:gd name="csY9" fmla="*/ 151267 h 526343"/>
                    <a:gd name="csX10" fmla="*/ 32654 w 471567"/>
                    <a:gd name="csY10" fmla="*/ 220193 h 526343"/>
                    <a:gd name="csX11" fmla="*/ 31566 w 471567"/>
                    <a:gd name="csY11" fmla="*/ 246669 h 526343"/>
                    <a:gd name="csX12" fmla="*/ 3266 w 471567"/>
                    <a:gd name="csY12" fmla="*/ 266613 h 526343"/>
                    <a:gd name="csX13" fmla="*/ 8324 w 471567"/>
                    <a:gd name="csY13" fmla="*/ 272440 h 526343"/>
                    <a:gd name="csX14" fmla="*/ 0 w 471567"/>
                    <a:gd name="csY14" fmla="*/ 286206 h 526343"/>
                    <a:gd name="csX15" fmla="*/ 3266 w 471567"/>
                    <a:gd name="csY15" fmla="*/ 306151 h 526343"/>
                    <a:gd name="csX16" fmla="*/ 22122 w 471567"/>
                    <a:gd name="csY16" fmla="*/ 322478 h 526343"/>
                    <a:gd name="csX17" fmla="*/ 21385 w 471567"/>
                    <a:gd name="csY17" fmla="*/ 327568 h 526343"/>
                    <a:gd name="csX18" fmla="*/ 34447 w 471567"/>
                    <a:gd name="csY18" fmla="*/ 340630 h 526343"/>
                    <a:gd name="csX19" fmla="*/ 28301 w 471567"/>
                    <a:gd name="csY19" fmla="*/ 358782 h 526343"/>
                    <a:gd name="csX20" fmla="*/ 33359 w 471567"/>
                    <a:gd name="csY20" fmla="*/ 382696 h 526343"/>
                    <a:gd name="csX21" fmla="*/ 29005 w 471567"/>
                    <a:gd name="csY21" fmla="*/ 391404 h 526343"/>
                    <a:gd name="csX22" fmla="*/ 30093 w 471567"/>
                    <a:gd name="csY22" fmla="*/ 399760 h 526343"/>
                    <a:gd name="csX23" fmla="*/ 26476 w 471567"/>
                    <a:gd name="csY23" fmla="*/ 442915 h 526343"/>
                    <a:gd name="csX24" fmla="*/ 62748 w 471567"/>
                    <a:gd name="csY24" fmla="*/ 442211 h 526343"/>
                    <a:gd name="csX25" fmla="*/ 74721 w 471567"/>
                    <a:gd name="csY25" fmla="*/ 465421 h 526343"/>
                    <a:gd name="csX26" fmla="*/ 102285 w 471567"/>
                    <a:gd name="csY26" fmla="*/ 464332 h 526343"/>
                    <a:gd name="csX27" fmla="*/ 110993 w 471567"/>
                    <a:gd name="csY27" fmla="*/ 472304 h 526343"/>
                    <a:gd name="csX28" fmla="*/ 132410 w 471567"/>
                    <a:gd name="csY28" fmla="*/ 473040 h 526343"/>
                    <a:gd name="csX29" fmla="*/ 136028 w 471567"/>
                    <a:gd name="csY29" fmla="*/ 478098 h 526343"/>
                    <a:gd name="csX30" fmla="*/ 143647 w 471567"/>
                    <a:gd name="csY30" fmla="*/ 496250 h 526343"/>
                    <a:gd name="csX31" fmla="*/ 182448 w 471567"/>
                    <a:gd name="csY31" fmla="*/ 513314 h 526343"/>
                    <a:gd name="csX32" fmla="*/ 201337 w 471567"/>
                    <a:gd name="csY32" fmla="*/ 516195 h 526343"/>
                    <a:gd name="csX33" fmla="*/ 224547 w 471567"/>
                    <a:gd name="csY33" fmla="*/ 510049 h 526343"/>
                    <a:gd name="csX34" fmla="*/ 240874 w 471567"/>
                    <a:gd name="csY34" fmla="*/ 522022 h 526343"/>
                    <a:gd name="csX35" fmla="*/ 260819 w 471567"/>
                    <a:gd name="csY35" fmla="*/ 526344 h 526343"/>
                    <a:gd name="csX36" fmla="*/ 271704 w 471567"/>
                    <a:gd name="csY36" fmla="*/ 514402 h 526343"/>
                    <a:gd name="csX37" fmla="*/ 293473 w 471567"/>
                    <a:gd name="csY37" fmla="*/ 518756 h 526343"/>
                    <a:gd name="csX38" fmla="*/ 297827 w 471567"/>
                    <a:gd name="csY38" fmla="*/ 512578 h 526343"/>
                    <a:gd name="csX39" fmla="*/ 296739 w 471567"/>
                    <a:gd name="csY39" fmla="*/ 498780 h 526343"/>
                    <a:gd name="csX40" fmla="*/ 307976 w 471567"/>
                    <a:gd name="csY40" fmla="*/ 489367 h 526343"/>
                    <a:gd name="csX41" fmla="*/ 317420 w 471567"/>
                    <a:gd name="csY41" fmla="*/ 487543 h 526343"/>
                    <a:gd name="csX42" fmla="*/ 330481 w 471567"/>
                    <a:gd name="csY42" fmla="*/ 496250 h 526343"/>
                    <a:gd name="csX43" fmla="*/ 354396 w 471567"/>
                    <a:gd name="csY43" fmla="*/ 493721 h 526343"/>
                    <a:gd name="csX44" fmla="*/ 358046 w 471567"/>
                    <a:gd name="csY44" fmla="*/ 489367 h 526343"/>
                    <a:gd name="csX45" fmla="*/ 365665 w 471567"/>
                    <a:gd name="csY45" fmla="*/ 491897 h 526343"/>
                    <a:gd name="csX46" fmla="*/ 383785 w 471567"/>
                    <a:gd name="csY46" fmla="*/ 482452 h 526343"/>
                    <a:gd name="csX47" fmla="*/ 395758 w 471567"/>
                    <a:gd name="csY47" fmla="*/ 481748 h 526343"/>
                    <a:gd name="csX48" fmla="*/ 416439 w 471567"/>
                    <a:gd name="csY48" fmla="*/ 468686 h 526343"/>
                    <a:gd name="csX49" fmla="*/ 419705 w 471567"/>
                    <a:gd name="csY49" fmla="*/ 466157 h 526343"/>
                    <a:gd name="csX50" fmla="*/ 455977 w 471567"/>
                    <a:gd name="csY50" fmla="*/ 380167 h 526343"/>
                    <a:gd name="csX51" fmla="*/ 471568 w 471567"/>
                    <a:gd name="csY51" fmla="*/ 342071 h 526343"/>
                    <a:gd name="csX52" fmla="*/ 469775 w 471567"/>
                    <a:gd name="csY52" fmla="*/ 328657 h 526343"/>
                    <a:gd name="csX53" fmla="*/ 470479 w 471567"/>
                    <a:gd name="csY53" fmla="*/ 322478 h 526343"/>
                    <a:gd name="csX54" fmla="*/ 450182 w 471567"/>
                    <a:gd name="csY54" fmla="*/ 299268 h 526343"/>
                    <a:gd name="csX55" fmla="*/ 448357 w 471567"/>
                    <a:gd name="csY55" fmla="*/ 286206 h 526343"/>
                    <a:gd name="csX56" fmla="*/ 458506 w 471567"/>
                    <a:gd name="csY56" fmla="*/ 276058 h 526343"/>
                    <a:gd name="csX57" fmla="*/ 464685 w 471567"/>
                    <a:gd name="csY57" fmla="*/ 244139 h 526343"/>
                    <a:gd name="csX58" fmla="*/ 451623 w 471567"/>
                    <a:gd name="csY58" fmla="*/ 228549 h 526343"/>
                    <a:gd name="csX59" fmla="*/ 444004 w 471567"/>
                    <a:gd name="csY59" fmla="*/ 225283 h 526343"/>
                    <a:gd name="csX60" fmla="*/ 421530 w 471567"/>
                    <a:gd name="csY60" fmla="*/ 220193 h 526343"/>
                    <a:gd name="csX61" fmla="*/ 420793 w 471567"/>
                    <a:gd name="csY61" fmla="*/ 213310 h 526343"/>
                    <a:gd name="csX62" fmla="*/ 395758 w 471567"/>
                    <a:gd name="csY62" fmla="*/ 200248 h 526343"/>
                    <a:gd name="csX63" fmla="*/ 388875 w 471567"/>
                    <a:gd name="csY63" fmla="*/ 190804 h 526343"/>
                    <a:gd name="csX64" fmla="*/ 378727 w 471567"/>
                    <a:gd name="csY64" fmla="*/ 190804 h 526343"/>
                    <a:gd name="csX65" fmla="*/ 370723 w 471567"/>
                    <a:gd name="csY65" fmla="*/ 183185 h 526343"/>
                    <a:gd name="csX66" fmla="*/ 358750 w 471567"/>
                    <a:gd name="csY66" fmla="*/ 172684 h 526343"/>
                    <a:gd name="csX67" fmla="*/ 349338 w 471567"/>
                    <a:gd name="csY67" fmla="*/ 150530 h 526343"/>
                    <a:gd name="csX68" fmla="*/ 321037 w 471567"/>
                    <a:gd name="csY68" fmla="*/ 137469 h 526343"/>
                    <a:gd name="csX69" fmla="*/ 313066 w 471567"/>
                    <a:gd name="csY69" fmla="*/ 129881 h 526343"/>
                    <a:gd name="csX70" fmla="*/ 297827 w 471567"/>
                    <a:gd name="csY70" fmla="*/ 77282 h 526343"/>
                    <a:gd name="csX71" fmla="*/ 253936 w 471567"/>
                    <a:gd name="csY71" fmla="*/ 65309 h 526343"/>
                    <a:gd name="csX72" fmla="*/ 239049 w 471567"/>
                    <a:gd name="csY72" fmla="*/ 52247 h 526343"/>
                    <a:gd name="csX73" fmla="*/ 226372 w 471567"/>
                    <a:gd name="csY73" fmla="*/ 53335 h 526343"/>
                    <a:gd name="csX74" fmla="*/ 206395 w 471567"/>
                    <a:gd name="csY74" fmla="*/ 38449 h 526343"/>
                    <a:gd name="csX75" fmla="*/ 206395 w 471567"/>
                    <a:gd name="csY75" fmla="*/ 32654 h 526343"/>
                    <a:gd name="csX76" fmla="*/ 185714 w 471567"/>
                    <a:gd name="csY76" fmla="*/ 32654 h 526343"/>
                    <a:gd name="csX77" fmla="*/ 178094 w 471567"/>
                    <a:gd name="csY77" fmla="*/ 23210 h 526343"/>
                    <a:gd name="csX78" fmla="*/ 163240 w 471567"/>
                    <a:gd name="csY78" fmla="*/ 21417 h 526343"/>
                    <a:gd name="csX79" fmla="*/ 149442 w 471567"/>
                    <a:gd name="csY79" fmla="*/ 6883 h 526343"/>
                    <a:gd name="csX80" fmla="*/ 130585 w 471567"/>
                    <a:gd name="csY80" fmla="*/ 1441 h 526343"/>
                    <a:gd name="csX81" fmla="*/ 120437 w 471567"/>
                    <a:gd name="csY81" fmla="*/ 10148 h 526343"/>
                    <a:gd name="csX82" fmla="*/ 104110 w 471567"/>
                    <a:gd name="csY82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471567" h="526343">
                      <a:moveTo>
                        <a:pt x="104110" y="0"/>
                      </a:moveTo>
                      <a:lnTo>
                        <a:pt x="97227" y="6883"/>
                      </a:lnTo>
                      <a:lnTo>
                        <a:pt x="90312" y="13414"/>
                      </a:lnTo>
                      <a:lnTo>
                        <a:pt x="84165" y="43539"/>
                      </a:lnTo>
                      <a:lnTo>
                        <a:pt x="73985" y="53335"/>
                      </a:lnTo>
                      <a:lnTo>
                        <a:pt x="69631" y="62748"/>
                      </a:lnTo>
                      <a:lnTo>
                        <a:pt x="66013" y="79811"/>
                      </a:lnTo>
                      <a:lnTo>
                        <a:pt x="60955" y="109904"/>
                      </a:lnTo>
                      <a:lnTo>
                        <a:pt x="72896" y="142559"/>
                      </a:lnTo>
                      <a:lnTo>
                        <a:pt x="69631" y="151267"/>
                      </a:lnTo>
                      <a:lnTo>
                        <a:pt x="32654" y="220193"/>
                      </a:lnTo>
                      <a:lnTo>
                        <a:pt x="31566" y="246669"/>
                      </a:lnTo>
                      <a:lnTo>
                        <a:pt x="3266" y="266613"/>
                      </a:lnTo>
                      <a:lnTo>
                        <a:pt x="8324" y="272440"/>
                      </a:lnTo>
                      <a:lnTo>
                        <a:pt x="0" y="286206"/>
                      </a:lnTo>
                      <a:lnTo>
                        <a:pt x="3266" y="306151"/>
                      </a:lnTo>
                      <a:lnTo>
                        <a:pt x="22122" y="322478"/>
                      </a:lnTo>
                      <a:lnTo>
                        <a:pt x="21385" y="327568"/>
                      </a:lnTo>
                      <a:lnTo>
                        <a:pt x="34447" y="340630"/>
                      </a:lnTo>
                      <a:lnTo>
                        <a:pt x="28301" y="358782"/>
                      </a:lnTo>
                      <a:lnTo>
                        <a:pt x="33359" y="382696"/>
                      </a:lnTo>
                      <a:lnTo>
                        <a:pt x="29005" y="391404"/>
                      </a:lnTo>
                      <a:lnTo>
                        <a:pt x="30093" y="399760"/>
                      </a:lnTo>
                      <a:lnTo>
                        <a:pt x="26476" y="442915"/>
                      </a:lnTo>
                      <a:lnTo>
                        <a:pt x="62748" y="442211"/>
                      </a:lnTo>
                      <a:lnTo>
                        <a:pt x="74721" y="465421"/>
                      </a:lnTo>
                      <a:lnTo>
                        <a:pt x="102285" y="464332"/>
                      </a:lnTo>
                      <a:lnTo>
                        <a:pt x="110993" y="472304"/>
                      </a:lnTo>
                      <a:lnTo>
                        <a:pt x="132410" y="473040"/>
                      </a:lnTo>
                      <a:lnTo>
                        <a:pt x="136028" y="478098"/>
                      </a:lnTo>
                      <a:lnTo>
                        <a:pt x="143647" y="496250"/>
                      </a:lnTo>
                      <a:lnTo>
                        <a:pt x="182448" y="513314"/>
                      </a:lnTo>
                      <a:lnTo>
                        <a:pt x="201337" y="516195"/>
                      </a:lnTo>
                      <a:lnTo>
                        <a:pt x="224547" y="510049"/>
                      </a:lnTo>
                      <a:lnTo>
                        <a:pt x="240874" y="522022"/>
                      </a:lnTo>
                      <a:lnTo>
                        <a:pt x="260819" y="526344"/>
                      </a:lnTo>
                      <a:lnTo>
                        <a:pt x="271704" y="514402"/>
                      </a:lnTo>
                      <a:lnTo>
                        <a:pt x="293473" y="518756"/>
                      </a:lnTo>
                      <a:lnTo>
                        <a:pt x="297827" y="512578"/>
                      </a:lnTo>
                      <a:lnTo>
                        <a:pt x="296739" y="498780"/>
                      </a:lnTo>
                      <a:lnTo>
                        <a:pt x="307976" y="489367"/>
                      </a:lnTo>
                      <a:lnTo>
                        <a:pt x="317420" y="487543"/>
                      </a:lnTo>
                      <a:lnTo>
                        <a:pt x="330481" y="496250"/>
                      </a:lnTo>
                      <a:lnTo>
                        <a:pt x="354396" y="493721"/>
                      </a:lnTo>
                      <a:lnTo>
                        <a:pt x="358046" y="489367"/>
                      </a:lnTo>
                      <a:lnTo>
                        <a:pt x="365665" y="491897"/>
                      </a:lnTo>
                      <a:lnTo>
                        <a:pt x="383785" y="482452"/>
                      </a:lnTo>
                      <a:lnTo>
                        <a:pt x="395758" y="481748"/>
                      </a:lnTo>
                      <a:lnTo>
                        <a:pt x="416439" y="468686"/>
                      </a:lnTo>
                      <a:lnTo>
                        <a:pt x="419705" y="466157"/>
                      </a:lnTo>
                      <a:lnTo>
                        <a:pt x="455977" y="380167"/>
                      </a:lnTo>
                      <a:lnTo>
                        <a:pt x="471568" y="342071"/>
                      </a:lnTo>
                      <a:lnTo>
                        <a:pt x="469775" y="328657"/>
                      </a:lnTo>
                      <a:lnTo>
                        <a:pt x="470479" y="322478"/>
                      </a:lnTo>
                      <a:lnTo>
                        <a:pt x="450182" y="299268"/>
                      </a:lnTo>
                      <a:lnTo>
                        <a:pt x="448357" y="286206"/>
                      </a:lnTo>
                      <a:lnTo>
                        <a:pt x="458506" y="276058"/>
                      </a:lnTo>
                      <a:lnTo>
                        <a:pt x="464685" y="244139"/>
                      </a:lnTo>
                      <a:lnTo>
                        <a:pt x="451623" y="228549"/>
                      </a:lnTo>
                      <a:lnTo>
                        <a:pt x="444004" y="225283"/>
                      </a:lnTo>
                      <a:lnTo>
                        <a:pt x="421530" y="220193"/>
                      </a:lnTo>
                      <a:lnTo>
                        <a:pt x="420793" y="213310"/>
                      </a:lnTo>
                      <a:lnTo>
                        <a:pt x="395758" y="200248"/>
                      </a:lnTo>
                      <a:lnTo>
                        <a:pt x="388875" y="190804"/>
                      </a:lnTo>
                      <a:lnTo>
                        <a:pt x="378727" y="190804"/>
                      </a:lnTo>
                      <a:lnTo>
                        <a:pt x="370723" y="183185"/>
                      </a:lnTo>
                      <a:lnTo>
                        <a:pt x="358750" y="172684"/>
                      </a:lnTo>
                      <a:lnTo>
                        <a:pt x="349338" y="150530"/>
                      </a:lnTo>
                      <a:lnTo>
                        <a:pt x="321037" y="137469"/>
                      </a:lnTo>
                      <a:lnTo>
                        <a:pt x="313066" y="129881"/>
                      </a:lnTo>
                      <a:lnTo>
                        <a:pt x="297827" y="77282"/>
                      </a:lnTo>
                      <a:lnTo>
                        <a:pt x="253936" y="65309"/>
                      </a:lnTo>
                      <a:lnTo>
                        <a:pt x="239049" y="52247"/>
                      </a:lnTo>
                      <a:lnTo>
                        <a:pt x="226372" y="53335"/>
                      </a:lnTo>
                      <a:lnTo>
                        <a:pt x="206395" y="38449"/>
                      </a:lnTo>
                      <a:lnTo>
                        <a:pt x="206395" y="32654"/>
                      </a:lnTo>
                      <a:lnTo>
                        <a:pt x="185714" y="32654"/>
                      </a:lnTo>
                      <a:lnTo>
                        <a:pt x="178094" y="23210"/>
                      </a:lnTo>
                      <a:lnTo>
                        <a:pt x="163240" y="21417"/>
                      </a:lnTo>
                      <a:lnTo>
                        <a:pt x="149442" y="6883"/>
                      </a:lnTo>
                      <a:lnTo>
                        <a:pt x="130585" y="1441"/>
                      </a:lnTo>
                      <a:lnTo>
                        <a:pt x="120437" y="10148"/>
                      </a:lnTo>
                      <a:lnTo>
                        <a:pt x="104110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3" name="Forma Livre: Forma 332">
                  <a:extLst>
                    <a:ext uri="{FF2B5EF4-FFF2-40B4-BE49-F238E27FC236}">
                      <a16:creationId xmlns:a16="http://schemas.microsoft.com/office/drawing/2014/main" id="{521F06D3-1124-0E81-C9A5-FDBB649FA5F1}"/>
                    </a:ext>
                  </a:extLst>
                </p:cNvPr>
                <p:cNvSpPr/>
                <p:nvPr/>
              </p:nvSpPr>
              <p:spPr>
                <a:xfrm>
                  <a:off x="3464929" y="2074677"/>
                  <a:ext cx="471567" cy="526343"/>
                </a:xfrm>
                <a:custGeom>
                  <a:avLst/>
                  <a:gdLst>
                    <a:gd name="csX0" fmla="*/ 104110 w 471567"/>
                    <a:gd name="csY0" fmla="*/ 0 h 526343"/>
                    <a:gd name="csX1" fmla="*/ 97227 w 471567"/>
                    <a:gd name="csY1" fmla="*/ 6883 h 526343"/>
                    <a:gd name="csX2" fmla="*/ 90312 w 471567"/>
                    <a:gd name="csY2" fmla="*/ 13414 h 526343"/>
                    <a:gd name="csX3" fmla="*/ 84165 w 471567"/>
                    <a:gd name="csY3" fmla="*/ 43539 h 526343"/>
                    <a:gd name="csX4" fmla="*/ 73985 w 471567"/>
                    <a:gd name="csY4" fmla="*/ 53335 h 526343"/>
                    <a:gd name="csX5" fmla="*/ 69631 w 471567"/>
                    <a:gd name="csY5" fmla="*/ 62748 h 526343"/>
                    <a:gd name="csX6" fmla="*/ 66013 w 471567"/>
                    <a:gd name="csY6" fmla="*/ 79811 h 526343"/>
                    <a:gd name="csX7" fmla="*/ 60955 w 471567"/>
                    <a:gd name="csY7" fmla="*/ 109904 h 526343"/>
                    <a:gd name="csX8" fmla="*/ 72896 w 471567"/>
                    <a:gd name="csY8" fmla="*/ 142559 h 526343"/>
                    <a:gd name="csX9" fmla="*/ 69631 w 471567"/>
                    <a:gd name="csY9" fmla="*/ 151267 h 526343"/>
                    <a:gd name="csX10" fmla="*/ 32654 w 471567"/>
                    <a:gd name="csY10" fmla="*/ 220193 h 526343"/>
                    <a:gd name="csX11" fmla="*/ 31566 w 471567"/>
                    <a:gd name="csY11" fmla="*/ 246669 h 526343"/>
                    <a:gd name="csX12" fmla="*/ 3266 w 471567"/>
                    <a:gd name="csY12" fmla="*/ 266613 h 526343"/>
                    <a:gd name="csX13" fmla="*/ 8324 w 471567"/>
                    <a:gd name="csY13" fmla="*/ 272440 h 526343"/>
                    <a:gd name="csX14" fmla="*/ 0 w 471567"/>
                    <a:gd name="csY14" fmla="*/ 286206 h 526343"/>
                    <a:gd name="csX15" fmla="*/ 3266 w 471567"/>
                    <a:gd name="csY15" fmla="*/ 306151 h 526343"/>
                    <a:gd name="csX16" fmla="*/ 22122 w 471567"/>
                    <a:gd name="csY16" fmla="*/ 322478 h 526343"/>
                    <a:gd name="csX17" fmla="*/ 21385 w 471567"/>
                    <a:gd name="csY17" fmla="*/ 327568 h 526343"/>
                    <a:gd name="csX18" fmla="*/ 34447 w 471567"/>
                    <a:gd name="csY18" fmla="*/ 340630 h 526343"/>
                    <a:gd name="csX19" fmla="*/ 28301 w 471567"/>
                    <a:gd name="csY19" fmla="*/ 358782 h 526343"/>
                    <a:gd name="csX20" fmla="*/ 33359 w 471567"/>
                    <a:gd name="csY20" fmla="*/ 382696 h 526343"/>
                    <a:gd name="csX21" fmla="*/ 29005 w 471567"/>
                    <a:gd name="csY21" fmla="*/ 391404 h 526343"/>
                    <a:gd name="csX22" fmla="*/ 30093 w 471567"/>
                    <a:gd name="csY22" fmla="*/ 399760 h 526343"/>
                    <a:gd name="csX23" fmla="*/ 26476 w 471567"/>
                    <a:gd name="csY23" fmla="*/ 442915 h 526343"/>
                    <a:gd name="csX24" fmla="*/ 62748 w 471567"/>
                    <a:gd name="csY24" fmla="*/ 442211 h 526343"/>
                    <a:gd name="csX25" fmla="*/ 74721 w 471567"/>
                    <a:gd name="csY25" fmla="*/ 465421 h 526343"/>
                    <a:gd name="csX26" fmla="*/ 102285 w 471567"/>
                    <a:gd name="csY26" fmla="*/ 464332 h 526343"/>
                    <a:gd name="csX27" fmla="*/ 110993 w 471567"/>
                    <a:gd name="csY27" fmla="*/ 472304 h 526343"/>
                    <a:gd name="csX28" fmla="*/ 132410 w 471567"/>
                    <a:gd name="csY28" fmla="*/ 473040 h 526343"/>
                    <a:gd name="csX29" fmla="*/ 136028 w 471567"/>
                    <a:gd name="csY29" fmla="*/ 478098 h 526343"/>
                    <a:gd name="csX30" fmla="*/ 143647 w 471567"/>
                    <a:gd name="csY30" fmla="*/ 496250 h 526343"/>
                    <a:gd name="csX31" fmla="*/ 182448 w 471567"/>
                    <a:gd name="csY31" fmla="*/ 513314 h 526343"/>
                    <a:gd name="csX32" fmla="*/ 201337 w 471567"/>
                    <a:gd name="csY32" fmla="*/ 516195 h 526343"/>
                    <a:gd name="csX33" fmla="*/ 224547 w 471567"/>
                    <a:gd name="csY33" fmla="*/ 510049 h 526343"/>
                    <a:gd name="csX34" fmla="*/ 240874 w 471567"/>
                    <a:gd name="csY34" fmla="*/ 522022 h 526343"/>
                    <a:gd name="csX35" fmla="*/ 260819 w 471567"/>
                    <a:gd name="csY35" fmla="*/ 526344 h 526343"/>
                    <a:gd name="csX36" fmla="*/ 271704 w 471567"/>
                    <a:gd name="csY36" fmla="*/ 514402 h 526343"/>
                    <a:gd name="csX37" fmla="*/ 293473 w 471567"/>
                    <a:gd name="csY37" fmla="*/ 518756 h 526343"/>
                    <a:gd name="csX38" fmla="*/ 297827 w 471567"/>
                    <a:gd name="csY38" fmla="*/ 512578 h 526343"/>
                    <a:gd name="csX39" fmla="*/ 296739 w 471567"/>
                    <a:gd name="csY39" fmla="*/ 498780 h 526343"/>
                    <a:gd name="csX40" fmla="*/ 307976 w 471567"/>
                    <a:gd name="csY40" fmla="*/ 489367 h 526343"/>
                    <a:gd name="csX41" fmla="*/ 317420 w 471567"/>
                    <a:gd name="csY41" fmla="*/ 487543 h 526343"/>
                    <a:gd name="csX42" fmla="*/ 330481 w 471567"/>
                    <a:gd name="csY42" fmla="*/ 496250 h 526343"/>
                    <a:gd name="csX43" fmla="*/ 354396 w 471567"/>
                    <a:gd name="csY43" fmla="*/ 493721 h 526343"/>
                    <a:gd name="csX44" fmla="*/ 358046 w 471567"/>
                    <a:gd name="csY44" fmla="*/ 489367 h 526343"/>
                    <a:gd name="csX45" fmla="*/ 365665 w 471567"/>
                    <a:gd name="csY45" fmla="*/ 491897 h 526343"/>
                    <a:gd name="csX46" fmla="*/ 383785 w 471567"/>
                    <a:gd name="csY46" fmla="*/ 482452 h 526343"/>
                    <a:gd name="csX47" fmla="*/ 395758 w 471567"/>
                    <a:gd name="csY47" fmla="*/ 481748 h 526343"/>
                    <a:gd name="csX48" fmla="*/ 416439 w 471567"/>
                    <a:gd name="csY48" fmla="*/ 468686 h 526343"/>
                    <a:gd name="csX49" fmla="*/ 419705 w 471567"/>
                    <a:gd name="csY49" fmla="*/ 466157 h 526343"/>
                    <a:gd name="csX50" fmla="*/ 455977 w 471567"/>
                    <a:gd name="csY50" fmla="*/ 380167 h 526343"/>
                    <a:gd name="csX51" fmla="*/ 471568 w 471567"/>
                    <a:gd name="csY51" fmla="*/ 342071 h 526343"/>
                    <a:gd name="csX52" fmla="*/ 469775 w 471567"/>
                    <a:gd name="csY52" fmla="*/ 328657 h 526343"/>
                    <a:gd name="csX53" fmla="*/ 470479 w 471567"/>
                    <a:gd name="csY53" fmla="*/ 322478 h 526343"/>
                    <a:gd name="csX54" fmla="*/ 450182 w 471567"/>
                    <a:gd name="csY54" fmla="*/ 299268 h 526343"/>
                    <a:gd name="csX55" fmla="*/ 448357 w 471567"/>
                    <a:gd name="csY55" fmla="*/ 286206 h 526343"/>
                    <a:gd name="csX56" fmla="*/ 458506 w 471567"/>
                    <a:gd name="csY56" fmla="*/ 276058 h 526343"/>
                    <a:gd name="csX57" fmla="*/ 464685 w 471567"/>
                    <a:gd name="csY57" fmla="*/ 244139 h 526343"/>
                    <a:gd name="csX58" fmla="*/ 451623 w 471567"/>
                    <a:gd name="csY58" fmla="*/ 228549 h 526343"/>
                    <a:gd name="csX59" fmla="*/ 444004 w 471567"/>
                    <a:gd name="csY59" fmla="*/ 225283 h 526343"/>
                    <a:gd name="csX60" fmla="*/ 421530 w 471567"/>
                    <a:gd name="csY60" fmla="*/ 220193 h 526343"/>
                    <a:gd name="csX61" fmla="*/ 420793 w 471567"/>
                    <a:gd name="csY61" fmla="*/ 213310 h 526343"/>
                    <a:gd name="csX62" fmla="*/ 395758 w 471567"/>
                    <a:gd name="csY62" fmla="*/ 200248 h 526343"/>
                    <a:gd name="csX63" fmla="*/ 388875 w 471567"/>
                    <a:gd name="csY63" fmla="*/ 190804 h 526343"/>
                    <a:gd name="csX64" fmla="*/ 378727 w 471567"/>
                    <a:gd name="csY64" fmla="*/ 190804 h 526343"/>
                    <a:gd name="csX65" fmla="*/ 370723 w 471567"/>
                    <a:gd name="csY65" fmla="*/ 183185 h 526343"/>
                    <a:gd name="csX66" fmla="*/ 358750 w 471567"/>
                    <a:gd name="csY66" fmla="*/ 172684 h 526343"/>
                    <a:gd name="csX67" fmla="*/ 349338 w 471567"/>
                    <a:gd name="csY67" fmla="*/ 150530 h 526343"/>
                    <a:gd name="csX68" fmla="*/ 321037 w 471567"/>
                    <a:gd name="csY68" fmla="*/ 137469 h 526343"/>
                    <a:gd name="csX69" fmla="*/ 313066 w 471567"/>
                    <a:gd name="csY69" fmla="*/ 129881 h 526343"/>
                    <a:gd name="csX70" fmla="*/ 297827 w 471567"/>
                    <a:gd name="csY70" fmla="*/ 77282 h 526343"/>
                    <a:gd name="csX71" fmla="*/ 253936 w 471567"/>
                    <a:gd name="csY71" fmla="*/ 65309 h 526343"/>
                    <a:gd name="csX72" fmla="*/ 239049 w 471567"/>
                    <a:gd name="csY72" fmla="*/ 52247 h 526343"/>
                    <a:gd name="csX73" fmla="*/ 226372 w 471567"/>
                    <a:gd name="csY73" fmla="*/ 53335 h 526343"/>
                    <a:gd name="csX74" fmla="*/ 206395 w 471567"/>
                    <a:gd name="csY74" fmla="*/ 38449 h 526343"/>
                    <a:gd name="csX75" fmla="*/ 206395 w 471567"/>
                    <a:gd name="csY75" fmla="*/ 32654 h 526343"/>
                    <a:gd name="csX76" fmla="*/ 185714 w 471567"/>
                    <a:gd name="csY76" fmla="*/ 32654 h 526343"/>
                    <a:gd name="csX77" fmla="*/ 178094 w 471567"/>
                    <a:gd name="csY77" fmla="*/ 23210 h 526343"/>
                    <a:gd name="csX78" fmla="*/ 163240 w 471567"/>
                    <a:gd name="csY78" fmla="*/ 21417 h 526343"/>
                    <a:gd name="csX79" fmla="*/ 149442 w 471567"/>
                    <a:gd name="csY79" fmla="*/ 6883 h 526343"/>
                    <a:gd name="csX80" fmla="*/ 130585 w 471567"/>
                    <a:gd name="csY80" fmla="*/ 1441 h 526343"/>
                    <a:gd name="csX81" fmla="*/ 120437 w 471567"/>
                    <a:gd name="csY81" fmla="*/ 10148 h 526343"/>
                    <a:gd name="csX82" fmla="*/ 104110 w 471567"/>
                    <a:gd name="csY82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471567" h="526343">
                      <a:moveTo>
                        <a:pt x="104110" y="0"/>
                      </a:moveTo>
                      <a:lnTo>
                        <a:pt x="97227" y="6883"/>
                      </a:lnTo>
                      <a:lnTo>
                        <a:pt x="90312" y="13414"/>
                      </a:lnTo>
                      <a:lnTo>
                        <a:pt x="84165" y="43539"/>
                      </a:lnTo>
                      <a:lnTo>
                        <a:pt x="73985" y="53335"/>
                      </a:lnTo>
                      <a:lnTo>
                        <a:pt x="69631" y="62748"/>
                      </a:lnTo>
                      <a:lnTo>
                        <a:pt x="66013" y="79811"/>
                      </a:lnTo>
                      <a:lnTo>
                        <a:pt x="60955" y="109904"/>
                      </a:lnTo>
                      <a:lnTo>
                        <a:pt x="72896" y="142559"/>
                      </a:lnTo>
                      <a:lnTo>
                        <a:pt x="69631" y="151267"/>
                      </a:lnTo>
                      <a:lnTo>
                        <a:pt x="32654" y="220193"/>
                      </a:lnTo>
                      <a:lnTo>
                        <a:pt x="31566" y="246669"/>
                      </a:lnTo>
                      <a:lnTo>
                        <a:pt x="3266" y="266613"/>
                      </a:lnTo>
                      <a:lnTo>
                        <a:pt x="8324" y="272440"/>
                      </a:lnTo>
                      <a:lnTo>
                        <a:pt x="0" y="286206"/>
                      </a:lnTo>
                      <a:lnTo>
                        <a:pt x="3266" y="306151"/>
                      </a:lnTo>
                      <a:lnTo>
                        <a:pt x="22122" y="322478"/>
                      </a:lnTo>
                      <a:lnTo>
                        <a:pt x="21385" y="327568"/>
                      </a:lnTo>
                      <a:lnTo>
                        <a:pt x="34447" y="340630"/>
                      </a:lnTo>
                      <a:lnTo>
                        <a:pt x="28301" y="358782"/>
                      </a:lnTo>
                      <a:lnTo>
                        <a:pt x="33359" y="382696"/>
                      </a:lnTo>
                      <a:lnTo>
                        <a:pt x="29005" y="391404"/>
                      </a:lnTo>
                      <a:lnTo>
                        <a:pt x="30093" y="399760"/>
                      </a:lnTo>
                      <a:lnTo>
                        <a:pt x="26476" y="442915"/>
                      </a:lnTo>
                      <a:lnTo>
                        <a:pt x="62748" y="442211"/>
                      </a:lnTo>
                      <a:lnTo>
                        <a:pt x="74721" y="465421"/>
                      </a:lnTo>
                      <a:lnTo>
                        <a:pt x="102285" y="464332"/>
                      </a:lnTo>
                      <a:lnTo>
                        <a:pt x="110993" y="472304"/>
                      </a:lnTo>
                      <a:lnTo>
                        <a:pt x="132410" y="473040"/>
                      </a:lnTo>
                      <a:lnTo>
                        <a:pt x="136028" y="478098"/>
                      </a:lnTo>
                      <a:lnTo>
                        <a:pt x="143647" y="496250"/>
                      </a:lnTo>
                      <a:lnTo>
                        <a:pt x="182448" y="513314"/>
                      </a:lnTo>
                      <a:lnTo>
                        <a:pt x="201337" y="516195"/>
                      </a:lnTo>
                      <a:lnTo>
                        <a:pt x="224547" y="510049"/>
                      </a:lnTo>
                      <a:lnTo>
                        <a:pt x="240874" y="522022"/>
                      </a:lnTo>
                      <a:lnTo>
                        <a:pt x="260819" y="526344"/>
                      </a:lnTo>
                      <a:lnTo>
                        <a:pt x="271704" y="514402"/>
                      </a:lnTo>
                      <a:lnTo>
                        <a:pt x="293473" y="518756"/>
                      </a:lnTo>
                      <a:lnTo>
                        <a:pt x="297827" y="512578"/>
                      </a:lnTo>
                      <a:lnTo>
                        <a:pt x="296739" y="498780"/>
                      </a:lnTo>
                      <a:lnTo>
                        <a:pt x="307976" y="489367"/>
                      </a:lnTo>
                      <a:lnTo>
                        <a:pt x="317420" y="487543"/>
                      </a:lnTo>
                      <a:lnTo>
                        <a:pt x="330481" y="496250"/>
                      </a:lnTo>
                      <a:lnTo>
                        <a:pt x="354396" y="493721"/>
                      </a:lnTo>
                      <a:lnTo>
                        <a:pt x="358046" y="489367"/>
                      </a:lnTo>
                      <a:lnTo>
                        <a:pt x="365665" y="491897"/>
                      </a:lnTo>
                      <a:lnTo>
                        <a:pt x="383785" y="482452"/>
                      </a:lnTo>
                      <a:lnTo>
                        <a:pt x="395758" y="481748"/>
                      </a:lnTo>
                      <a:lnTo>
                        <a:pt x="416439" y="468686"/>
                      </a:lnTo>
                      <a:lnTo>
                        <a:pt x="419705" y="466157"/>
                      </a:lnTo>
                      <a:lnTo>
                        <a:pt x="455977" y="380167"/>
                      </a:lnTo>
                      <a:lnTo>
                        <a:pt x="471568" y="342071"/>
                      </a:lnTo>
                      <a:lnTo>
                        <a:pt x="469775" y="328657"/>
                      </a:lnTo>
                      <a:lnTo>
                        <a:pt x="470479" y="322478"/>
                      </a:lnTo>
                      <a:lnTo>
                        <a:pt x="450182" y="299268"/>
                      </a:lnTo>
                      <a:lnTo>
                        <a:pt x="448357" y="286206"/>
                      </a:lnTo>
                      <a:lnTo>
                        <a:pt x="458506" y="276058"/>
                      </a:lnTo>
                      <a:lnTo>
                        <a:pt x="464685" y="244139"/>
                      </a:lnTo>
                      <a:lnTo>
                        <a:pt x="451623" y="228549"/>
                      </a:lnTo>
                      <a:lnTo>
                        <a:pt x="444004" y="225283"/>
                      </a:lnTo>
                      <a:lnTo>
                        <a:pt x="421530" y="220193"/>
                      </a:lnTo>
                      <a:lnTo>
                        <a:pt x="420793" y="213310"/>
                      </a:lnTo>
                      <a:lnTo>
                        <a:pt x="395758" y="200248"/>
                      </a:lnTo>
                      <a:lnTo>
                        <a:pt x="388875" y="190804"/>
                      </a:lnTo>
                      <a:lnTo>
                        <a:pt x="378727" y="190804"/>
                      </a:lnTo>
                      <a:lnTo>
                        <a:pt x="370723" y="183185"/>
                      </a:lnTo>
                      <a:lnTo>
                        <a:pt x="358750" y="172684"/>
                      </a:lnTo>
                      <a:lnTo>
                        <a:pt x="349338" y="150530"/>
                      </a:lnTo>
                      <a:lnTo>
                        <a:pt x="321037" y="137469"/>
                      </a:lnTo>
                      <a:lnTo>
                        <a:pt x="313066" y="129881"/>
                      </a:lnTo>
                      <a:lnTo>
                        <a:pt x="297827" y="77282"/>
                      </a:lnTo>
                      <a:lnTo>
                        <a:pt x="253936" y="65309"/>
                      </a:lnTo>
                      <a:lnTo>
                        <a:pt x="239049" y="52247"/>
                      </a:lnTo>
                      <a:lnTo>
                        <a:pt x="226372" y="53335"/>
                      </a:lnTo>
                      <a:lnTo>
                        <a:pt x="206395" y="38449"/>
                      </a:lnTo>
                      <a:lnTo>
                        <a:pt x="206395" y="32654"/>
                      </a:lnTo>
                      <a:lnTo>
                        <a:pt x="185714" y="32654"/>
                      </a:lnTo>
                      <a:lnTo>
                        <a:pt x="178094" y="23210"/>
                      </a:lnTo>
                      <a:lnTo>
                        <a:pt x="163240" y="21417"/>
                      </a:lnTo>
                      <a:lnTo>
                        <a:pt x="149442" y="6883"/>
                      </a:lnTo>
                      <a:lnTo>
                        <a:pt x="130585" y="1441"/>
                      </a:lnTo>
                      <a:lnTo>
                        <a:pt x="120437" y="10148"/>
                      </a:lnTo>
                      <a:lnTo>
                        <a:pt x="104110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4" name="Forma Livre: Forma 333">
                  <a:extLst>
                    <a:ext uri="{FF2B5EF4-FFF2-40B4-BE49-F238E27FC236}">
                      <a16:creationId xmlns:a16="http://schemas.microsoft.com/office/drawing/2014/main" id="{B0118ECE-9F81-ACE1-D536-60EA6AF70C34}"/>
                    </a:ext>
                  </a:extLst>
                </p:cNvPr>
                <p:cNvSpPr/>
                <p:nvPr/>
              </p:nvSpPr>
              <p:spPr>
                <a:xfrm>
                  <a:off x="3464929" y="2074677"/>
                  <a:ext cx="471567" cy="526343"/>
                </a:xfrm>
                <a:custGeom>
                  <a:avLst/>
                  <a:gdLst>
                    <a:gd name="csX0" fmla="*/ 104110 w 471567"/>
                    <a:gd name="csY0" fmla="*/ 0 h 526343"/>
                    <a:gd name="csX1" fmla="*/ 97227 w 471567"/>
                    <a:gd name="csY1" fmla="*/ 6883 h 526343"/>
                    <a:gd name="csX2" fmla="*/ 90312 w 471567"/>
                    <a:gd name="csY2" fmla="*/ 13414 h 526343"/>
                    <a:gd name="csX3" fmla="*/ 84165 w 471567"/>
                    <a:gd name="csY3" fmla="*/ 43539 h 526343"/>
                    <a:gd name="csX4" fmla="*/ 73985 w 471567"/>
                    <a:gd name="csY4" fmla="*/ 53335 h 526343"/>
                    <a:gd name="csX5" fmla="*/ 69631 w 471567"/>
                    <a:gd name="csY5" fmla="*/ 62748 h 526343"/>
                    <a:gd name="csX6" fmla="*/ 66013 w 471567"/>
                    <a:gd name="csY6" fmla="*/ 79811 h 526343"/>
                    <a:gd name="csX7" fmla="*/ 60955 w 471567"/>
                    <a:gd name="csY7" fmla="*/ 109904 h 526343"/>
                    <a:gd name="csX8" fmla="*/ 72896 w 471567"/>
                    <a:gd name="csY8" fmla="*/ 142559 h 526343"/>
                    <a:gd name="csX9" fmla="*/ 69631 w 471567"/>
                    <a:gd name="csY9" fmla="*/ 151267 h 526343"/>
                    <a:gd name="csX10" fmla="*/ 32654 w 471567"/>
                    <a:gd name="csY10" fmla="*/ 220193 h 526343"/>
                    <a:gd name="csX11" fmla="*/ 31566 w 471567"/>
                    <a:gd name="csY11" fmla="*/ 246669 h 526343"/>
                    <a:gd name="csX12" fmla="*/ 3266 w 471567"/>
                    <a:gd name="csY12" fmla="*/ 266613 h 526343"/>
                    <a:gd name="csX13" fmla="*/ 8324 w 471567"/>
                    <a:gd name="csY13" fmla="*/ 272440 h 526343"/>
                    <a:gd name="csX14" fmla="*/ 0 w 471567"/>
                    <a:gd name="csY14" fmla="*/ 286206 h 526343"/>
                    <a:gd name="csX15" fmla="*/ 3266 w 471567"/>
                    <a:gd name="csY15" fmla="*/ 306151 h 526343"/>
                    <a:gd name="csX16" fmla="*/ 22122 w 471567"/>
                    <a:gd name="csY16" fmla="*/ 322478 h 526343"/>
                    <a:gd name="csX17" fmla="*/ 21385 w 471567"/>
                    <a:gd name="csY17" fmla="*/ 327568 h 526343"/>
                    <a:gd name="csX18" fmla="*/ 34447 w 471567"/>
                    <a:gd name="csY18" fmla="*/ 340630 h 526343"/>
                    <a:gd name="csX19" fmla="*/ 28301 w 471567"/>
                    <a:gd name="csY19" fmla="*/ 358782 h 526343"/>
                    <a:gd name="csX20" fmla="*/ 33359 w 471567"/>
                    <a:gd name="csY20" fmla="*/ 382696 h 526343"/>
                    <a:gd name="csX21" fmla="*/ 29005 w 471567"/>
                    <a:gd name="csY21" fmla="*/ 391404 h 526343"/>
                    <a:gd name="csX22" fmla="*/ 30093 w 471567"/>
                    <a:gd name="csY22" fmla="*/ 399760 h 526343"/>
                    <a:gd name="csX23" fmla="*/ 26476 w 471567"/>
                    <a:gd name="csY23" fmla="*/ 442915 h 526343"/>
                    <a:gd name="csX24" fmla="*/ 62748 w 471567"/>
                    <a:gd name="csY24" fmla="*/ 442211 h 526343"/>
                    <a:gd name="csX25" fmla="*/ 74721 w 471567"/>
                    <a:gd name="csY25" fmla="*/ 465421 h 526343"/>
                    <a:gd name="csX26" fmla="*/ 102285 w 471567"/>
                    <a:gd name="csY26" fmla="*/ 464332 h 526343"/>
                    <a:gd name="csX27" fmla="*/ 110993 w 471567"/>
                    <a:gd name="csY27" fmla="*/ 472304 h 526343"/>
                    <a:gd name="csX28" fmla="*/ 132410 w 471567"/>
                    <a:gd name="csY28" fmla="*/ 473040 h 526343"/>
                    <a:gd name="csX29" fmla="*/ 136028 w 471567"/>
                    <a:gd name="csY29" fmla="*/ 478098 h 526343"/>
                    <a:gd name="csX30" fmla="*/ 143647 w 471567"/>
                    <a:gd name="csY30" fmla="*/ 496250 h 526343"/>
                    <a:gd name="csX31" fmla="*/ 182448 w 471567"/>
                    <a:gd name="csY31" fmla="*/ 513314 h 526343"/>
                    <a:gd name="csX32" fmla="*/ 201337 w 471567"/>
                    <a:gd name="csY32" fmla="*/ 516195 h 526343"/>
                    <a:gd name="csX33" fmla="*/ 224547 w 471567"/>
                    <a:gd name="csY33" fmla="*/ 510049 h 526343"/>
                    <a:gd name="csX34" fmla="*/ 240874 w 471567"/>
                    <a:gd name="csY34" fmla="*/ 522022 h 526343"/>
                    <a:gd name="csX35" fmla="*/ 260819 w 471567"/>
                    <a:gd name="csY35" fmla="*/ 526344 h 526343"/>
                    <a:gd name="csX36" fmla="*/ 271704 w 471567"/>
                    <a:gd name="csY36" fmla="*/ 514402 h 526343"/>
                    <a:gd name="csX37" fmla="*/ 293473 w 471567"/>
                    <a:gd name="csY37" fmla="*/ 518756 h 526343"/>
                    <a:gd name="csX38" fmla="*/ 297827 w 471567"/>
                    <a:gd name="csY38" fmla="*/ 512578 h 526343"/>
                    <a:gd name="csX39" fmla="*/ 296739 w 471567"/>
                    <a:gd name="csY39" fmla="*/ 498780 h 526343"/>
                    <a:gd name="csX40" fmla="*/ 307976 w 471567"/>
                    <a:gd name="csY40" fmla="*/ 489367 h 526343"/>
                    <a:gd name="csX41" fmla="*/ 317420 w 471567"/>
                    <a:gd name="csY41" fmla="*/ 487543 h 526343"/>
                    <a:gd name="csX42" fmla="*/ 330481 w 471567"/>
                    <a:gd name="csY42" fmla="*/ 496250 h 526343"/>
                    <a:gd name="csX43" fmla="*/ 354396 w 471567"/>
                    <a:gd name="csY43" fmla="*/ 493721 h 526343"/>
                    <a:gd name="csX44" fmla="*/ 358046 w 471567"/>
                    <a:gd name="csY44" fmla="*/ 489367 h 526343"/>
                    <a:gd name="csX45" fmla="*/ 365665 w 471567"/>
                    <a:gd name="csY45" fmla="*/ 491897 h 526343"/>
                    <a:gd name="csX46" fmla="*/ 383785 w 471567"/>
                    <a:gd name="csY46" fmla="*/ 482452 h 526343"/>
                    <a:gd name="csX47" fmla="*/ 395758 w 471567"/>
                    <a:gd name="csY47" fmla="*/ 481748 h 526343"/>
                    <a:gd name="csX48" fmla="*/ 416439 w 471567"/>
                    <a:gd name="csY48" fmla="*/ 468686 h 526343"/>
                    <a:gd name="csX49" fmla="*/ 419705 w 471567"/>
                    <a:gd name="csY49" fmla="*/ 466157 h 526343"/>
                    <a:gd name="csX50" fmla="*/ 455977 w 471567"/>
                    <a:gd name="csY50" fmla="*/ 380167 h 526343"/>
                    <a:gd name="csX51" fmla="*/ 471568 w 471567"/>
                    <a:gd name="csY51" fmla="*/ 342071 h 526343"/>
                    <a:gd name="csX52" fmla="*/ 469775 w 471567"/>
                    <a:gd name="csY52" fmla="*/ 328657 h 526343"/>
                    <a:gd name="csX53" fmla="*/ 470479 w 471567"/>
                    <a:gd name="csY53" fmla="*/ 322478 h 526343"/>
                    <a:gd name="csX54" fmla="*/ 450182 w 471567"/>
                    <a:gd name="csY54" fmla="*/ 299268 h 526343"/>
                    <a:gd name="csX55" fmla="*/ 448357 w 471567"/>
                    <a:gd name="csY55" fmla="*/ 286206 h 526343"/>
                    <a:gd name="csX56" fmla="*/ 458506 w 471567"/>
                    <a:gd name="csY56" fmla="*/ 276058 h 526343"/>
                    <a:gd name="csX57" fmla="*/ 464685 w 471567"/>
                    <a:gd name="csY57" fmla="*/ 244139 h 526343"/>
                    <a:gd name="csX58" fmla="*/ 451623 w 471567"/>
                    <a:gd name="csY58" fmla="*/ 228549 h 526343"/>
                    <a:gd name="csX59" fmla="*/ 444004 w 471567"/>
                    <a:gd name="csY59" fmla="*/ 225283 h 526343"/>
                    <a:gd name="csX60" fmla="*/ 421530 w 471567"/>
                    <a:gd name="csY60" fmla="*/ 220193 h 526343"/>
                    <a:gd name="csX61" fmla="*/ 420793 w 471567"/>
                    <a:gd name="csY61" fmla="*/ 213310 h 526343"/>
                    <a:gd name="csX62" fmla="*/ 395758 w 471567"/>
                    <a:gd name="csY62" fmla="*/ 200248 h 526343"/>
                    <a:gd name="csX63" fmla="*/ 388875 w 471567"/>
                    <a:gd name="csY63" fmla="*/ 190804 h 526343"/>
                    <a:gd name="csX64" fmla="*/ 378727 w 471567"/>
                    <a:gd name="csY64" fmla="*/ 190804 h 526343"/>
                    <a:gd name="csX65" fmla="*/ 370723 w 471567"/>
                    <a:gd name="csY65" fmla="*/ 183185 h 526343"/>
                    <a:gd name="csX66" fmla="*/ 358750 w 471567"/>
                    <a:gd name="csY66" fmla="*/ 172684 h 526343"/>
                    <a:gd name="csX67" fmla="*/ 349338 w 471567"/>
                    <a:gd name="csY67" fmla="*/ 150530 h 526343"/>
                    <a:gd name="csX68" fmla="*/ 321037 w 471567"/>
                    <a:gd name="csY68" fmla="*/ 137469 h 526343"/>
                    <a:gd name="csX69" fmla="*/ 313066 w 471567"/>
                    <a:gd name="csY69" fmla="*/ 129881 h 526343"/>
                    <a:gd name="csX70" fmla="*/ 297827 w 471567"/>
                    <a:gd name="csY70" fmla="*/ 77282 h 526343"/>
                    <a:gd name="csX71" fmla="*/ 253936 w 471567"/>
                    <a:gd name="csY71" fmla="*/ 65309 h 526343"/>
                    <a:gd name="csX72" fmla="*/ 239049 w 471567"/>
                    <a:gd name="csY72" fmla="*/ 52247 h 526343"/>
                    <a:gd name="csX73" fmla="*/ 226372 w 471567"/>
                    <a:gd name="csY73" fmla="*/ 53335 h 526343"/>
                    <a:gd name="csX74" fmla="*/ 206395 w 471567"/>
                    <a:gd name="csY74" fmla="*/ 38449 h 526343"/>
                    <a:gd name="csX75" fmla="*/ 206395 w 471567"/>
                    <a:gd name="csY75" fmla="*/ 32654 h 526343"/>
                    <a:gd name="csX76" fmla="*/ 185714 w 471567"/>
                    <a:gd name="csY76" fmla="*/ 32654 h 526343"/>
                    <a:gd name="csX77" fmla="*/ 178094 w 471567"/>
                    <a:gd name="csY77" fmla="*/ 23210 h 526343"/>
                    <a:gd name="csX78" fmla="*/ 163240 w 471567"/>
                    <a:gd name="csY78" fmla="*/ 21417 h 526343"/>
                    <a:gd name="csX79" fmla="*/ 149442 w 471567"/>
                    <a:gd name="csY79" fmla="*/ 6883 h 526343"/>
                    <a:gd name="csX80" fmla="*/ 130585 w 471567"/>
                    <a:gd name="csY80" fmla="*/ 1441 h 526343"/>
                    <a:gd name="csX81" fmla="*/ 120437 w 471567"/>
                    <a:gd name="csY81" fmla="*/ 10148 h 526343"/>
                    <a:gd name="csX82" fmla="*/ 104110 w 471567"/>
                    <a:gd name="csY82" fmla="*/ 0 h 5263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</a:cxnLst>
                  <a:rect l="l" t="t" r="r" b="b"/>
                  <a:pathLst>
                    <a:path w="471567" h="526343">
                      <a:moveTo>
                        <a:pt x="104110" y="0"/>
                      </a:moveTo>
                      <a:lnTo>
                        <a:pt x="97227" y="6883"/>
                      </a:lnTo>
                      <a:lnTo>
                        <a:pt x="90312" y="13414"/>
                      </a:lnTo>
                      <a:lnTo>
                        <a:pt x="84165" y="43539"/>
                      </a:lnTo>
                      <a:lnTo>
                        <a:pt x="73985" y="53335"/>
                      </a:lnTo>
                      <a:lnTo>
                        <a:pt x="69631" y="62748"/>
                      </a:lnTo>
                      <a:lnTo>
                        <a:pt x="66013" y="79811"/>
                      </a:lnTo>
                      <a:lnTo>
                        <a:pt x="60955" y="109904"/>
                      </a:lnTo>
                      <a:lnTo>
                        <a:pt x="72896" y="142559"/>
                      </a:lnTo>
                      <a:lnTo>
                        <a:pt x="69631" y="151267"/>
                      </a:lnTo>
                      <a:lnTo>
                        <a:pt x="32654" y="220193"/>
                      </a:lnTo>
                      <a:lnTo>
                        <a:pt x="31566" y="246669"/>
                      </a:lnTo>
                      <a:lnTo>
                        <a:pt x="3266" y="266613"/>
                      </a:lnTo>
                      <a:lnTo>
                        <a:pt x="8324" y="272440"/>
                      </a:lnTo>
                      <a:lnTo>
                        <a:pt x="0" y="286206"/>
                      </a:lnTo>
                      <a:lnTo>
                        <a:pt x="3266" y="306151"/>
                      </a:lnTo>
                      <a:lnTo>
                        <a:pt x="22122" y="322478"/>
                      </a:lnTo>
                      <a:lnTo>
                        <a:pt x="21385" y="327568"/>
                      </a:lnTo>
                      <a:lnTo>
                        <a:pt x="34447" y="340630"/>
                      </a:lnTo>
                      <a:lnTo>
                        <a:pt x="28301" y="358782"/>
                      </a:lnTo>
                      <a:lnTo>
                        <a:pt x="33359" y="382696"/>
                      </a:lnTo>
                      <a:lnTo>
                        <a:pt x="29005" y="391404"/>
                      </a:lnTo>
                      <a:lnTo>
                        <a:pt x="30093" y="399760"/>
                      </a:lnTo>
                      <a:lnTo>
                        <a:pt x="26476" y="442915"/>
                      </a:lnTo>
                      <a:lnTo>
                        <a:pt x="62748" y="442211"/>
                      </a:lnTo>
                      <a:lnTo>
                        <a:pt x="74721" y="465421"/>
                      </a:lnTo>
                      <a:lnTo>
                        <a:pt x="102285" y="464332"/>
                      </a:lnTo>
                      <a:lnTo>
                        <a:pt x="110993" y="472304"/>
                      </a:lnTo>
                      <a:lnTo>
                        <a:pt x="132410" y="473040"/>
                      </a:lnTo>
                      <a:lnTo>
                        <a:pt x="136028" y="478098"/>
                      </a:lnTo>
                      <a:lnTo>
                        <a:pt x="143647" y="496250"/>
                      </a:lnTo>
                      <a:lnTo>
                        <a:pt x="182448" y="513314"/>
                      </a:lnTo>
                      <a:lnTo>
                        <a:pt x="201337" y="516195"/>
                      </a:lnTo>
                      <a:lnTo>
                        <a:pt x="224547" y="510049"/>
                      </a:lnTo>
                      <a:lnTo>
                        <a:pt x="240874" y="522022"/>
                      </a:lnTo>
                      <a:lnTo>
                        <a:pt x="260819" y="526344"/>
                      </a:lnTo>
                      <a:lnTo>
                        <a:pt x="271704" y="514402"/>
                      </a:lnTo>
                      <a:lnTo>
                        <a:pt x="293473" y="518756"/>
                      </a:lnTo>
                      <a:lnTo>
                        <a:pt x="297827" y="512578"/>
                      </a:lnTo>
                      <a:lnTo>
                        <a:pt x="296739" y="498780"/>
                      </a:lnTo>
                      <a:lnTo>
                        <a:pt x="307976" y="489367"/>
                      </a:lnTo>
                      <a:lnTo>
                        <a:pt x="317420" y="487543"/>
                      </a:lnTo>
                      <a:lnTo>
                        <a:pt x="330481" y="496250"/>
                      </a:lnTo>
                      <a:lnTo>
                        <a:pt x="354396" y="493721"/>
                      </a:lnTo>
                      <a:lnTo>
                        <a:pt x="358046" y="489367"/>
                      </a:lnTo>
                      <a:lnTo>
                        <a:pt x="365665" y="491897"/>
                      </a:lnTo>
                      <a:lnTo>
                        <a:pt x="383785" y="482452"/>
                      </a:lnTo>
                      <a:lnTo>
                        <a:pt x="395758" y="481748"/>
                      </a:lnTo>
                      <a:lnTo>
                        <a:pt x="416439" y="468686"/>
                      </a:lnTo>
                      <a:lnTo>
                        <a:pt x="419705" y="466157"/>
                      </a:lnTo>
                      <a:lnTo>
                        <a:pt x="455977" y="380167"/>
                      </a:lnTo>
                      <a:lnTo>
                        <a:pt x="471568" y="342071"/>
                      </a:lnTo>
                      <a:lnTo>
                        <a:pt x="469775" y="328657"/>
                      </a:lnTo>
                      <a:lnTo>
                        <a:pt x="470479" y="322478"/>
                      </a:lnTo>
                      <a:lnTo>
                        <a:pt x="450182" y="299268"/>
                      </a:lnTo>
                      <a:lnTo>
                        <a:pt x="448357" y="286206"/>
                      </a:lnTo>
                      <a:lnTo>
                        <a:pt x="458506" y="276058"/>
                      </a:lnTo>
                      <a:lnTo>
                        <a:pt x="464685" y="244139"/>
                      </a:lnTo>
                      <a:lnTo>
                        <a:pt x="451623" y="228549"/>
                      </a:lnTo>
                      <a:lnTo>
                        <a:pt x="444004" y="225283"/>
                      </a:lnTo>
                      <a:lnTo>
                        <a:pt x="421530" y="220193"/>
                      </a:lnTo>
                      <a:lnTo>
                        <a:pt x="420793" y="213310"/>
                      </a:lnTo>
                      <a:lnTo>
                        <a:pt x="395758" y="200248"/>
                      </a:lnTo>
                      <a:lnTo>
                        <a:pt x="388875" y="190804"/>
                      </a:lnTo>
                      <a:lnTo>
                        <a:pt x="378727" y="190804"/>
                      </a:lnTo>
                      <a:lnTo>
                        <a:pt x="370723" y="183185"/>
                      </a:lnTo>
                      <a:lnTo>
                        <a:pt x="358750" y="172684"/>
                      </a:lnTo>
                      <a:lnTo>
                        <a:pt x="349338" y="150530"/>
                      </a:lnTo>
                      <a:lnTo>
                        <a:pt x="321037" y="137469"/>
                      </a:lnTo>
                      <a:lnTo>
                        <a:pt x="313066" y="129881"/>
                      </a:lnTo>
                      <a:lnTo>
                        <a:pt x="297827" y="77282"/>
                      </a:lnTo>
                      <a:lnTo>
                        <a:pt x="253936" y="65309"/>
                      </a:lnTo>
                      <a:lnTo>
                        <a:pt x="239049" y="52247"/>
                      </a:lnTo>
                      <a:lnTo>
                        <a:pt x="226372" y="53335"/>
                      </a:lnTo>
                      <a:lnTo>
                        <a:pt x="206395" y="38449"/>
                      </a:lnTo>
                      <a:lnTo>
                        <a:pt x="206395" y="32654"/>
                      </a:lnTo>
                      <a:lnTo>
                        <a:pt x="185714" y="32654"/>
                      </a:lnTo>
                      <a:lnTo>
                        <a:pt x="178094" y="23210"/>
                      </a:lnTo>
                      <a:lnTo>
                        <a:pt x="163240" y="21417"/>
                      </a:lnTo>
                      <a:lnTo>
                        <a:pt x="149442" y="6883"/>
                      </a:lnTo>
                      <a:lnTo>
                        <a:pt x="130585" y="1441"/>
                      </a:lnTo>
                      <a:lnTo>
                        <a:pt x="120437" y="10148"/>
                      </a:lnTo>
                      <a:lnTo>
                        <a:pt x="104110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5" name="Forma Livre: Forma 334">
                  <a:extLst>
                    <a:ext uri="{FF2B5EF4-FFF2-40B4-BE49-F238E27FC236}">
                      <a16:creationId xmlns:a16="http://schemas.microsoft.com/office/drawing/2014/main" id="{7FDDF54F-D37F-B5F6-62A5-57BA533076F8}"/>
                    </a:ext>
                  </a:extLst>
                </p:cNvPr>
                <p:cNvSpPr/>
                <p:nvPr/>
              </p:nvSpPr>
              <p:spPr>
                <a:xfrm>
                  <a:off x="3179075" y="2034051"/>
                  <a:ext cx="383080" cy="327920"/>
                </a:xfrm>
                <a:custGeom>
                  <a:avLst/>
                  <a:gdLst>
                    <a:gd name="csX0" fmla="*/ 191156 w 383080"/>
                    <a:gd name="csY0" fmla="*/ 2529 h 327920"/>
                    <a:gd name="csX1" fmla="*/ 178831 w 383080"/>
                    <a:gd name="csY1" fmla="*/ 0 h 327920"/>
                    <a:gd name="csX2" fmla="*/ 163592 w 383080"/>
                    <a:gd name="csY2" fmla="*/ 11973 h 327920"/>
                    <a:gd name="csX3" fmla="*/ 151619 w 383080"/>
                    <a:gd name="csY3" fmla="*/ 20681 h 327920"/>
                    <a:gd name="csX4" fmla="*/ 124791 w 383080"/>
                    <a:gd name="csY4" fmla="*/ 31918 h 327920"/>
                    <a:gd name="csX5" fmla="*/ 102285 w 383080"/>
                    <a:gd name="csY5" fmla="*/ 34447 h 327920"/>
                    <a:gd name="csX6" fmla="*/ 103374 w 383080"/>
                    <a:gd name="csY6" fmla="*/ 58394 h 327920"/>
                    <a:gd name="csX7" fmla="*/ 99020 w 383080"/>
                    <a:gd name="csY7" fmla="*/ 62748 h 327920"/>
                    <a:gd name="csX8" fmla="*/ 85958 w 383080"/>
                    <a:gd name="csY8" fmla="*/ 58394 h 327920"/>
                    <a:gd name="csX9" fmla="*/ 64572 w 383080"/>
                    <a:gd name="csY9" fmla="*/ 63836 h 327920"/>
                    <a:gd name="csX10" fmla="*/ 65309 w 383080"/>
                    <a:gd name="csY10" fmla="*/ 76546 h 327920"/>
                    <a:gd name="csX11" fmla="*/ 59482 w 383080"/>
                    <a:gd name="csY11" fmla="*/ 84165 h 327920"/>
                    <a:gd name="csX12" fmla="*/ 53335 w 383080"/>
                    <a:gd name="csY12" fmla="*/ 91048 h 327920"/>
                    <a:gd name="csX13" fmla="*/ 63836 w 383080"/>
                    <a:gd name="csY13" fmla="*/ 99756 h 327920"/>
                    <a:gd name="csX14" fmla="*/ 50070 w 383080"/>
                    <a:gd name="csY14" fmla="*/ 110993 h 327920"/>
                    <a:gd name="csX15" fmla="*/ 48982 w 383080"/>
                    <a:gd name="csY15" fmla="*/ 129145 h 327920"/>
                    <a:gd name="csX16" fmla="*/ 21385 w 383080"/>
                    <a:gd name="csY16" fmla="*/ 134939 h 327920"/>
                    <a:gd name="csX17" fmla="*/ 13766 w 383080"/>
                    <a:gd name="csY17" fmla="*/ 152355 h 327920"/>
                    <a:gd name="csX18" fmla="*/ 0 w 383080"/>
                    <a:gd name="csY18" fmla="*/ 159974 h 327920"/>
                    <a:gd name="csX19" fmla="*/ 3266 w 383080"/>
                    <a:gd name="csY19" fmla="*/ 176302 h 327920"/>
                    <a:gd name="csX20" fmla="*/ 18120 w 383080"/>
                    <a:gd name="csY20" fmla="*/ 186802 h 327920"/>
                    <a:gd name="csX21" fmla="*/ 30830 w 383080"/>
                    <a:gd name="csY21" fmla="*/ 190068 h 327920"/>
                    <a:gd name="csX22" fmla="*/ 41362 w 383080"/>
                    <a:gd name="csY22" fmla="*/ 214398 h 327920"/>
                    <a:gd name="csX23" fmla="*/ 44628 w 383080"/>
                    <a:gd name="csY23" fmla="*/ 240138 h 327920"/>
                    <a:gd name="csX24" fmla="*/ 64572 w 383080"/>
                    <a:gd name="csY24" fmla="*/ 265909 h 327920"/>
                    <a:gd name="csX25" fmla="*/ 65309 w 383080"/>
                    <a:gd name="csY25" fmla="*/ 285470 h 327920"/>
                    <a:gd name="csX26" fmla="*/ 74721 w 383080"/>
                    <a:gd name="csY26" fmla="*/ 276058 h 327920"/>
                    <a:gd name="csX27" fmla="*/ 80163 w 383080"/>
                    <a:gd name="csY27" fmla="*/ 275321 h 327920"/>
                    <a:gd name="csX28" fmla="*/ 87046 w 383080"/>
                    <a:gd name="csY28" fmla="*/ 277882 h 327920"/>
                    <a:gd name="csX29" fmla="*/ 92873 w 383080"/>
                    <a:gd name="csY29" fmla="*/ 287294 h 327920"/>
                    <a:gd name="csX30" fmla="*/ 109200 w 383080"/>
                    <a:gd name="csY30" fmla="*/ 272792 h 327920"/>
                    <a:gd name="csX31" fmla="*/ 120437 w 383080"/>
                    <a:gd name="csY31" fmla="*/ 277146 h 327920"/>
                    <a:gd name="csX32" fmla="*/ 137853 w 383080"/>
                    <a:gd name="csY32" fmla="*/ 295298 h 327920"/>
                    <a:gd name="csX33" fmla="*/ 132410 w 383080"/>
                    <a:gd name="csY33" fmla="*/ 317420 h 327920"/>
                    <a:gd name="csX34" fmla="*/ 136028 w 383080"/>
                    <a:gd name="csY34" fmla="*/ 327920 h 327920"/>
                    <a:gd name="csX35" fmla="*/ 141118 w 383080"/>
                    <a:gd name="csY35" fmla="*/ 326128 h 327920"/>
                    <a:gd name="csX36" fmla="*/ 142911 w 383080"/>
                    <a:gd name="csY36" fmla="*/ 314859 h 327920"/>
                    <a:gd name="csX37" fmla="*/ 153092 w 383080"/>
                    <a:gd name="csY37" fmla="*/ 309800 h 327920"/>
                    <a:gd name="csX38" fmla="*/ 157445 w 383080"/>
                    <a:gd name="csY38" fmla="*/ 300356 h 327920"/>
                    <a:gd name="csX39" fmla="*/ 159238 w 383080"/>
                    <a:gd name="csY39" fmla="*/ 278971 h 327920"/>
                    <a:gd name="csX40" fmla="*/ 165417 w 383080"/>
                    <a:gd name="csY40" fmla="*/ 293473 h 327920"/>
                    <a:gd name="csX41" fmla="*/ 178126 w 383080"/>
                    <a:gd name="csY41" fmla="*/ 296002 h 327920"/>
                    <a:gd name="csX42" fmla="*/ 203866 w 383080"/>
                    <a:gd name="csY42" fmla="*/ 319949 h 327920"/>
                    <a:gd name="csX43" fmla="*/ 241963 w 383080"/>
                    <a:gd name="csY43" fmla="*/ 319213 h 327920"/>
                    <a:gd name="csX44" fmla="*/ 265909 w 383080"/>
                    <a:gd name="csY44" fmla="*/ 303622 h 327920"/>
                    <a:gd name="csX45" fmla="*/ 289119 w 383080"/>
                    <a:gd name="csY45" fmla="*/ 307239 h 327920"/>
                    <a:gd name="csX46" fmla="*/ 317420 w 383080"/>
                    <a:gd name="csY46" fmla="*/ 287294 h 327920"/>
                    <a:gd name="csX47" fmla="*/ 318508 w 383080"/>
                    <a:gd name="csY47" fmla="*/ 260819 h 327920"/>
                    <a:gd name="csX48" fmla="*/ 355517 w 383080"/>
                    <a:gd name="csY48" fmla="*/ 191892 h 327920"/>
                    <a:gd name="csX49" fmla="*/ 358750 w 383080"/>
                    <a:gd name="csY49" fmla="*/ 183185 h 327920"/>
                    <a:gd name="csX50" fmla="*/ 346809 w 383080"/>
                    <a:gd name="csY50" fmla="*/ 150530 h 327920"/>
                    <a:gd name="csX51" fmla="*/ 351867 w 383080"/>
                    <a:gd name="csY51" fmla="*/ 120437 h 327920"/>
                    <a:gd name="csX52" fmla="*/ 355517 w 383080"/>
                    <a:gd name="csY52" fmla="*/ 103374 h 327920"/>
                    <a:gd name="csX53" fmla="*/ 359838 w 383080"/>
                    <a:gd name="csY53" fmla="*/ 93961 h 327920"/>
                    <a:gd name="csX54" fmla="*/ 370019 w 383080"/>
                    <a:gd name="csY54" fmla="*/ 84165 h 327920"/>
                    <a:gd name="csX55" fmla="*/ 376166 w 383080"/>
                    <a:gd name="csY55" fmla="*/ 54040 h 327920"/>
                    <a:gd name="csX56" fmla="*/ 383081 w 383080"/>
                    <a:gd name="csY56" fmla="*/ 47509 h 327920"/>
                    <a:gd name="csX57" fmla="*/ 365665 w 383080"/>
                    <a:gd name="csY57" fmla="*/ 48245 h 327920"/>
                    <a:gd name="csX58" fmla="*/ 358046 w 383080"/>
                    <a:gd name="csY58" fmla="*/ 43155 h 327920"/>
                    <a:gd name="csX59" fmla="*/ 343543 w 383080"/>
                    <a:gd name="csY59" fmla="*/ 42067 h 327920"/>
                    <a:gd name="csX60" fmla="*/ 324303 w 383080"/>
                    <a:gd name="csY60" fmla="*/ 46420 h 327920"/>
                    <a:gd name="csX61" fmla="*/ 304710 w 383080"/>
                    <a:gd name="csY61" fmla="*/ 38801 h 327920"/>
                    <a:gd name="csX62" fmla="*/ 276410 w 383080"/>
                    <a:gd name="csY62" fmla="*/ 35183 h 327920"/>
                    <a:gd name="csX63" fmla="*/ 268438 w 383080"/>
                    <a:gd name="csY63" fmla="*/ 37713 h 327920"/>
                    <a:gd name="csX64" fmla="*/ 262644 w 383080"/>
                    <a:gd name="csY64" fmla="*/ 48245 h 327920"/>
                    <a:gd name="csX65" fmla="*/ 235784 w 383080"/>
                    <a:gd name="csY65" fmla="*/ 22474 h 327920"/>
                    <a:gd name="csX66" fmla="*/ 210045 w 383080"/>
                    <a:gd name="csY66" fmla="*/ 25035 h 327920"/>
                    <a:gd name="csX67" fmla="*/ 191156 w 383080"/>
                    <a:gd name="csY67" fmla="*/ 2529 h 3279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383080" h="327920">
                      <a:moveTo>
                        <a:pt x="191156" y="2529"/>
                      </a:moveTo>
                      <a:lnTo>
                        <a:pt x="178831" y="0"/>
                      </a:lnTo>
                      <a:lnTo>
                        <a:pt x="163592" y="11973"/>
                      </a:lnTo>
                      <a:lnTo>
                        <a:pt x="151619" y="20681"/>
                      </a:lnTo>
                      <a:lnTo>
                        <a:pt x="124791" y="31918"/>
                      </a:lnTo>
                      <a:lnTo>
                        <a:pt x="102285" y="34447"/>
                      </a:lnTo>
                      <a:lnTo>
                        <a:pt x="103374" y="58394"/>
                      </a:lnTo>
                      <a:lnTo>
                        <a:pt x="99020" y="62748"/>
                      </a:lnTo>
                      <a:lnTo>
                        <a:pt x="85958" y="58394"/>
                      </a:lnTo>
                      <a:lnTo>
                        <a:pt x="64572" y="63836"/>
                      </a:lnTo>
                      <a:lnTo>
                        <a:pt x="65309" y="76546"/>
                      </a:lnTo>
                      <a:lnTo>
                        <a:pt x="59482" y="84165"/>
                      </a:lnTo>
                      <a:lnTo>
                        <a:pt x="53335" y="91048"/>
                      </a:lnTo>
                      <a:lnTo>
                        <a:pt x="63836" y="99756"/>
                      </a:lnTo>
                      <a:lnTo>
                        <a:pt x="50070" y="110993"/>
                      </a:lnTo>
                      <a:lnTo>
                        <a:pt x="48982" y="129145"/>
                      </a:lnTo>
                      <a:lnTo>
                        <a:pt x="21385" y="134939"/>
                      </a:lnTo>
                      <a:lnTo>
                        <a:pt x="13766" y="152355"/>
                      </a:lnTo>
                      <a:lnTo>
                        <a:pt x="0" y="159974"/>
                      </a:lnTo>
                      <a:lnTo>
                        <a:pt x="3266" y="176302"/>
                      </a:lnTo>
                      <a:lnTo>
                        <a:pt x="18120" y="186802"/>
                      </a:lnTo>
                      <a:lnTo>
                        <a:pt x="30830" y="190068"/>
                      </a:lnTo>
                      <a:lnTo>
                        <a:pt x="41362" y="214398"/>
                      </a:lnTo>
                      <a:lnTo>
                        <a:pt x="44628" y="240138"/>
                      </a:lnTo>
                      <a:lnTo>
                        <a:pt x="64572" y="265909"/>
                      </a:lnTo>
                      <a:lnTo>
                        <a:pt x="65309" y="285470"/>
                      </a:lnTo>
                      <a:lnTo>
                        <a:pt x="74721" y="276058"/>
                      </a:lnTo>
                      <a:lnTo>
                        <a:pt x="80163" y="275321"/>
                      </a:lnTo>
                      <a:lnTo>
                        <a:pt x="87046" y="277882"/>
                      </a:lnTo>
                      <a:lnTo>
                        <a:pt x="92873" y="287294"/>
                      </a:lnTo>
                      <a:lnTo>
                        <a:pt x="109200" y="272792"/>
                      </a:lnTo>
                      <a:lnTo>
                        <a:pt x="120437" y="277146"/>
                      </a:lnTo>
                      <a:lnTo>
                        <a:pt x="137853" y="295298"/>
                      </a:lnTo>
                      <a:lnTo>
                        <a:pt x="132410" y="317420"/>
                      </a:lnTo>
                      <a:lnTo>
                        <a:pt x="136028" y="327920"/>
                      </a:lnTo>
                      <a:lnTo>
                        <a:pt x="141118" y="326128"/>
                      </a:lnTo>
                      <a:lnTo>
                        <a:pt x="142911" y="314859"/>
                      </a:lnTo>
                      <a:lnTo>
                        <a:pt x="153092" y="309800"/>
                      </a:lnTo>
                      <a:lnTo>
                        <a:pt x="157445" y="300356"/>
                      </a:lnTo>
                      <a:lnTo>
                        <a:pt x="159238" y="278971"/>
                      </a:lnTo>
                      <a:lnTo>
                        <a:pt x="165417" y="293473"/>
                      </a:lnTo>
                      <a:lnTo>
                        <a:pt x="178126" y="296002"/>
                      </a:lnTo>
                      <a:lnTo>
                        <a:pt x="203866" y="319949"/>
                      </a:lnTo>
                      <a:lnTo>
                        <a:pt x="241963" y="319213"/>
                      </a:lnTo>
                      <a:lnTo>
                        <a:pt x="265909" y="303622"/>
                      </a:lnTo>
                      <a:lnTo>
                        <a:pt x="289119" y="307239"/>
                      </a:lnTo>
                      <a:lnTo>
                        <a:pt x="317420" y="287294"/>
                      </a:lnTo>
                      <a:lnTo>
                        <a:pt x="318508" y="260819"/>
                      </a:lnTo>
                      <a:lnTo>
                        <a:pt x="355517" y="191892"/>
                      </a:lnTo>
                      <a:lnTo>
                        <a:pt x="358750" y="183185"/>
                      </a:lnTo>
                      <a:lnTo>
                        <a:pt x="346809" y="150530"/>
                      </a:lnTo>
                      <a:lnTo>
                        <a:pt x="351867" y="120437"/>
                      </a:lnTo>
                      <a:lnTo>
                        <a:pt x="355517" y="103374"/>
                      </a:lnTo>
                      <a:lnTo>
                        <a:pt x="359838" y="93961"/>
                      </a:lnTo>
                      <a:lnTo>
                        <a:pt x="370019" y="84165"/>
                      </a:lnTo>
                      <a:lnTo>
                        <a:pt x="376166" y="54040"/>
                      </a:lnTo>
                      <a:lnTo>
                        <a:pt x="383081" y="47509"/>
                      </a:lnTo>
                      <a:lnTo>
                        <a:pt x="365665" y="48245"/>
                      </a:lnTo>
                      <a:lnTo>
                        <a:pt x="358046" y="43155"/>
                      </a:lnTo>
                      <a:lnTo>
                        <a:pt x="343543" y="42067"/>
                      </a:lnTo>
                      <a:lnTo>
                        <a:pt x="324303" y="46420"/>
                      </a:lnTo>
                      <a:lnTo>
                        <a:pt x="304710" y="38801"/>
                      </a:lnTo>
                      <a:lnTo>
                        <a:pt x="276410" y="35183"/>
                      </a:lnTo>
                      <a:lnTo>
                        <a:pt x="268438" y="37713"/>
                      </a:lnTo>
                      <a:lnTo>
                        <a:pt x="262644" y="48245"/>
                      </a:lnTo>
                      <a:lnTo>
                        <a:pt x="235784" y="22474"/>
                      </a:lnTo>
                      <a:lnTo>
                        <a:pt x="210045" y="25035"/>
                      </a:lnTo>
                      <a:lnTo>
                        <a:pt x="191156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6" name="Forma Livre: Forma 335">
                  <a:extLst>
                    <a:ext uri="{FF2B5EF4-FFF2-40B4-BE49-F238E27FC236}">
                      <a16:creationId xmlns:a16="http://schemas.microsoft.com/office/drawing/2014/main" id="{6F749442-9F8E-62D7-192F-ABFA6DDA0F73}"/>
                    </a:ext>
                  </a:extLst>
                </p:cNvPr>
                <p:cNvSpPr/>
                <p:nvPr/>
              </p:nvSpPr>
              <p:spPr>
                <a:xfrm>
                  <a:off x="3179075" y="2034051"/>
                  <a:ext cx="383080" cy="327920"/>
                </a:xfrm>
                <a:custGeom>
                  <a:avLst/>
                  <a:gdLst>
                    <a:gd name="csX0" fmla="*/ 191156 w 383080"/>
                    <a:gd name="csY0" fmla="*/ 2529 h 327920"/>
                    <a:gd name="csX1" fmla="*/ 178831 w 383080"/>
                    <a:gd name="csY1" fmla="*/ 0 h 327920"/>
                    <a:gd name="csX2" fmla="*/ 163592 w 383080"/>
                    <a:gd name="csY2" fmla="*/ 11973 h 327920"/>
                    <a:gd name="csX3" fmla="*/ 151619 w 383080"/>
                    <a:gd name="csY3" fmla="*/ 20681 h 327920"/>
                    <a:gd name="csX4" fmla="*/ 124791 w 383080"/>
                    <a:gd name="csY4" fmla="*/ 31918 h 327920"/>
                    <a:gd name="csX5" fmla="*/ 102285 w 383080"/>
                    <a:gd name="csY5" fmla="*/ 34447 h 327920"/>
                    <a:gd name="csX6" fmla="*/ 103374 w 383080"/>
                    <a:gd name="csY6" fmla="*/ 58394 h 327920"/>
                    <a:gd name="csX7" fmla="*/ 99020 w 383080"/>
                    <a:gd name="csY7" fmla="*/ 62748 h 327920"/>
                    <a:gd name="csX8" fmla="*/ 85958 w 383080"/>
                    <a:gd name="csY8" fmla="*/ 58394 h 327920"/>
                    <a:gd name="csX9" fmla="*/ 64572 w 383080"/>
                    <a:gd name="csY9" fmla="*/ 63836 h 327920"/>
                    <a:gd name="csX10" fmla="*/ 65309 w 383080"/>
                    <a:gd name="csY10" fmla="*/ 76546 h 327920"/>
                    <a:gd name="csX11" fmla="*/ 59482 w 383080"/>
                    <a:gd name="csY11" fmla="*/ 84165 h 327920"/>
                    <a:gd name="csX12" fmla="*/ 53335 w 383080"/>
                    <a:gd name="csY12" fmla="*/ 91048 h 327920"/>
                    <a:gd name="csX13" fmla="*/ 63836 w 383080"/>
                    <a:gd name="csY13" fmla="*/ 99756 h 327920"/>
                    <a:gd name="csX14" fmla="*/ 50070 w 383080"/>
                    <a:gd name="csY14" fmla="*/ 110993 h 327920"/>
                    <a:gd name="csX15" fmla="*/ 48982 w 383080"/>
                    <a:gd name="csY15" fmla="*/ 129145 h 327920"/>
                    <a:gd name="csX16" fmla="*/ 21385 w 383080"/>
                    <a:gd name="csY16" fmla="*/ 134939 h 327920"/>
                    <a:gd name="csX17" fmla="*/ 13766 w 383080"/>
                    <a:gd name="csY17" fmla="*/ 152355 h 327920"/>
                    <a:gd name="csX18" fmla="*/ 0 w 383080"/>
                    <a:gd name="csY18" fmla="*/ 159974 h 327920"/>
                    <a:gd name="csX19" fmla="*/ 3266 w 383080"/>
                    <a:gd name="csY19" fmla="*/ 176302 h 327920"/>
                    <a:gd name="csX20" fmla="*/ 18120 w 383080"/>
                    <a:gd name="csY20" fmla="*/ 186802 h 327920"/>
                    <a:gd name="csX21" fmla="*/ 30830 w 383080"/>
                    <a:gd name="csY21" fmla="*/ 190068 h 327920"/>
                    <a:gd name="csX22" fmla="*/ 41362 w 383080"/>
                    <a:gd name="csY22" fmla="*/ 214398 h 327920"/>
                    <a:gd name="csX23" fmla="*/ 44628 w 383080"/>
                    <a:gd name="csY23" fmla="*/ 240138 h 327920"/>
                    <a:gd name="csX24" fmla="*/ 64572 w 383080"/>
                    <a:gd name="csY24" fmla="*/ 265909 h 327920"/>
                    <a:gd name="csX25" fmla="*/ 65309 w 383080"/>
                    <a:gd name="csY25" fmla="*/ 285470 h 327920"/>
                    <a:gd name="csX26" fmla="*/ 74721 w 383080"/>
                    <a:gd name="csY26" fmla="*/ 276058 h 327920"/>
                    <a:gd name="csX27" fmla="*/ 80163 w 383080"/>
                    <a:gd name="csY27" fmla="*/ 275321 h 327920"/>
                    <a:gd name="csX28" fmla="*/ 87046 w 383080"/>
                    <a:gd name="csY28" fmla="*/ 277882 h 327920"/>
                    <a:gd name="csX29" fmla="*/ 92873 w 383080"/>
                    <a:gd name="csY29" fmla="*/ 287294 h 327920"/>
                    <a:gd name="csX30" fmla="*/ 109200 w 383080"/>
                    <a:gd name="csY30" fmla="*/ 272792 h 327920"/>
                    <a:gd name="csX31" fmla="*/ 120437 w 383080"/>
                    <a:gd name="csY31" fmla="*/ 277146 h 327920"/>
                    <a:gd name="csX32" fmla="*/ 137853 w 383080"/>
                    <a:gd name="csY32" fmla="*/ 295298 h 327920"/>
                    <a:gd name="csX33" fmla="*/ 132410 w 383080"/>
                    <a:gd name="csY33" fmla="*/ 317420 h 327920"/>
                    <a:gd name="csX34" fmla="*/ 136028 w 383080"/>
                    <a:gd name="csY34" fmla="*/ 327920 h 327920"/>
                    <a:gd name="csX35" fmla="*/ 141118 w 383080"/>
                    <a:gd name="csY35" fmla="*/ 326128 h 327920"/>
                    <a:gd name="csX36" fmla="*/ 142911 w 383080"/>
                    <a:gd name="csY36" fmla="*/ 314859 h 327920"/>
                    <a:gd name="csX37" fmla="*/ 153092 w 383080"/>
                    <a:gd name="csY37" fmla="*/ 309800 h 327920"/>
                    <a:gd name="csX38" fmla="*/ 157445 w 383080"/>
                    <a:gd name="csY38" fmla="*/ 300356 h 327920"/>
                    <a:gd name="csX39" fmla="*/ 159238 w 383080"/>
                    <a:gd name="csY39" fmla="*/ 278971 h 327920"/>
                    <a:gd name="csX40" fmla="*/ 165417 w 383080"/>
                    <a:gd name="csY40" fmla="*/ 293473 h 327920"/>
                    <a:gd name="csX41" fmla="*/ 178126 w 383080"/>
                    <a:gd name="csY41" fmla="*/ 296002 h 327920"/>
                    <a:gd name="csX42" fmla="*/ 203866 w 383080"/>
                    <a:gd name="csY42" fmla="*/ 319949 h 327920"/>
                    <a:gd name="csX43" fmla="*/ 241963 w 383080"/>
                    <a:gd name="csY43" fmla="*/ 319213 h 327920"/>
                    <a:gd name="csX44" fmla="*/ 265909 w 383080"/>
                    <a:gd name="csY44" fmla="*/ 303622 h 327920"/>
                    <a:gd name="csX45" fmla="*/ 289119 w 383080"/>
                    <a:gd name="csY45" fmla="*/ 307239 h 327920"/>
                    <a:gd name="csX46" fmla="*/ 317420 w 383080"/>
                    <a:gd name="csY46" fmla="*/ 287294 h 327920"/>
                    <a:gd name="csX47" fmla="*/ 318508 w 383080"/>
                    <a:gd name="csY47" fmla="*/ 260819 h 327920"/>
                    <a:gd name="csX48" fmla="*/ 355517 w 383080"/>
                    <a:gd name="csY48" fmla="*/ 191892 h 327920"/>
                    <a:gd name="csX49" fmla="*/ 358750 w 383080"/>
                    <a:gd name="csY49" fmla="*/ 183185 h 327920"/>
                    <a:gd name="csX50" fmla="*/ 346809 w 383080"/>
                    <a:gd name="csY50" fmla="*/ 150530 h 327920"/>
                    <a:gd name="csX51" fmla="*/ 351867 w 383080"/>
                    <a:gd name="csY51" fmla="*/ 120437 h 327920"/>
                    <a:gd name="csX52" fmla="*/ 355517 w 383080"/>
                    <a:gd name="csY52" fmla="*/ 103374 h 327920"/>
                    <a:gd name="csX53" fmla="*/ 359838 w 383080"/>
                    <a:gd name="csY53" fmla="*/ 93961 h 327920"/>
                    <a:gd name="csX54" fmla="*/ 370019 w 383080"/>
                    <a:gd name="csY54" fmla="*/ 84165 h 327920"/>
                    <a:gd name="csX55" fmla="*/ 376166 w 383080"/>
                    <a:gd name="csY55" fmla="*/ 54040 h 327920"/>
                    <a:gd name="csX56" fmla="*/ 383081 w 383080"/>
                    <a:gd name="csY56" fmla="*/ 47509 h 327920"/>
                    <a:gd name="csX57" fmla="*/ 365665 w 383080"/>
                    <a:gd name="csY57" fmla="*/ 48245 h 327920"/>
                    <a:gd name="csX58" fmla="*/ 358046 w 383080"/>
                    <a:gd name="csY58" fmla="*/ 43155 h 327920"/>
                    <a:gd name="csX59" fmla="*/ 343543 w 383080"/>
                    <a:gd name="csY59" fmla="*/ 42067 h 327920"/>
                    <a:gd name="csX60" fmla="*/ 324303 w 383080"/>
                    <a:gd name="csY60" fmla="*/ 46420 h 327920"/>
                    <a:gd name="csX61" fmla="*/ 304710 w 383080"/>
                    <a:gd name="csY61" fmla="*/ 38801 h 327920"/>
                    <a:gd name="csX62" fmla="*/ 276410 w 383080"/>
                    <a:gd name="csY62" fmla="*/ 35183 h 327920"/>
                    <a:gd name="csX63" fmla="*/ 268438 w 383080"/>
                    <a:gd name="csY63" fmla="*/ 37713 h 327920"/>
                    <a:gd name="csX64" fmla="*/ 262644 w 383080"/>
                    <a:gd name="csY64" fmla="*/ 48245 h 327920"/>
                    <a:gd name="csX65" fmla="*/ 235784 w 383080"/>
                    <a:gd name="csY65" fmla="*/ 22474 h 327920"/>
                    <a:gd name="csX66" fmla="*/ 210045 w 383080"/>
                    <a:gd name="csY66" fmla="*/ 25035 h 327920"/>
                    <a:gd name="csX67" fmla="*/ 191156 w 383080"/>
                    <a:gd name="csY67" fmla="*/ 2529 h 3279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383080" h="327920">
                      <a:moveTo>
                        <a:pt x="191156" y="2529"/>
                      </a:moveTo>
                      <a:lnTo>
                        <a:pt x="178831" y="0"/>
                      </a:lnTo>
                      <a:lnTo>
                        <a:pt x="163592" y="11973"/>
                      </a:lnTo>
                      <a:lnTo>
                        <a:pt x="151619" y="20681"/>
                      </a:lnTo>
                      <a:lnTo>
                        <a:pt x="124791" y="31918"/>
                      </a:lnTo>
                      <a:lnTo>
                        <a:pt x="102285" y="34447"/>
                      </a:lnTo>
                      <a:lnTo>
                        <a:pt x="103374" y="58394"/>
                      </a:lnTo>
                      <a:lnTo>
                        <a:pt x="99020" y="62748"/>
                      </a:lnTo>
                      <a:lnTo>
                        <a:pt x="85958" y="58394"/>
                      </a:lnTo>
                      <a:lnTo>
                        <a:pt x="64572" y="63836"/>
                      </a:lnTo>
                      <a:lnTo>
                        <a:pt x="65309" y="76546"/>
                      </a:lnTo>
                      <a:lnTo>
                        <a:pt x="59482" y="84165"/>
                      </a:lnTo>
                      <a:lnTo>
                        <a:pt x="53335" y="91048"/>
                      </a:lnTo>
                      <a:lnTo>
                        <a:pt x="63836" y="99756"/>
                      </a:lnTo>
                      <a:lnTo>
                        <a:pt x="50070" y="110993"/>
                      </a:lnTo>
                      <a:lnTo>
                        <a:pt x="48982" y="129145"/>
                      </a:lnTo>
                      <a:lnTo>
                        <a:pt x="21385" y="134939"/>
                      </a:lnTo>
                      <a:lnTo>
                        <a:pt x="13766" y="152355"/>
                      </a:lnTo>
                      <a:lnTo>
                        <a:pt x="0" y="159974"/>
                      </a:lnTo>
                      <a:lnTo>
                        <a:pt x="3266" y="176302"/>
                      </a:lnTo>
                      <a:lnTo>
                        <a:pt x="18120" y="186802"/>
                      </a:lnTo>
                      <a:lnTo>
                        <a:pt x="30830" y="190068"/>
                      </a:lnTo>
                      <a:lnTo>
                        <a:pt x="41362" y="214398"/>
                      </a:lnTo>
                      <a:lnTo>
                        <a:pt x="44628" y="240138"/>
                      </a:lnTo>
                      <a:lnTo>
                        <a:pt x="64572" y="265909"/>
                      </a:lnTo>
                      <a:lnTo>
                        <a:pt x="65309" y="285470"/>
                      </a:lnTo>
                      <a:lnTo>
                        <a:pt x="74721" y="276058"/>
                      </a:lnTo>
                      <a:lnTo>
                        <a:pt x="80163" y="275321"/>
                      </a:lnTo>
                      <a:lnTo>
                        <a:pt x="87046" y="277882"/>
                      </a:lnTo>
                      <a:lnTo>
                        <a:pt x="92873" y="287294"/>
                      </a:lnTo>
                      <a:lnTo>
                        <a:pt x="109200" y="272792"/>
                      </a:lnTo>
                      <a:lnTo>
                        <a:pt x="120437" y="277146"/>
                      </a:lnTo>
                      <a:lnTo>
                        <a:pt x="137853" y="295298"/>
                      </a:lnTo>
                      <a:lnTo>
                        <a:pt x="132410" y="317420"/>
                      </a:lnTo>
                      <a:lnTo>
                        <a:pt x="136028" y="327920"/>
                      </a:lnTo>
                      <a:lnTo>
                        <a:pt x="141118" y="326128"/>
                      </a:lnTo>
                      <a:lnTo>
                        <a:pt x="142911" y="314859"/>
                      </a:lnTo>
                      <a:lnTo>
                        <a:pt x="153092" y="309800"/>
                      </a:lnTo>
                      <a:lnTo>
                        <a:pt x="157445" y="300356"/>
                      </a:lnTo>
                      <a:lnTo>
                        <a:pt x="159238" y="278971"/>
                      </a:lnTo>
                      <a:lnTo>
                        <a:pt x="165417" y="293473"/>
                      </a:lnTo>
                      <a:lnTo>
                        <a:pt x="178126" y="296002"/>
                      </a:lnTo>
                      <a:lnTo>
                        <a:pt x="203866" y="319949"/>
                      </a:lnTo>
                      <a:lnTo>
                        <a:pt x="241963" y="319213"/>
                      </a:lnTo>
                      <a:lnTo>
                        <a:pt x="265909" y="303622"/>
                      </a:lnTo>
                      <a:lnTo>
                        <a:pt x="289119" y="307239"/>
                      </a:lnTo>
                      <a:lnTo>
                        <a:pt x="317420" y="287294"/>
                      </a:lnTo>
                      <a:lnTo>
                        <a:pt x="318508" y="260819"/>
                      </a:lnTo>
                      <a:lnTo>
                        <a:pt x="355517" y="191892"/>
                      </a:lnTo>
                      <a:lnTo>
                        <a:pt x="358750" y="183185"/>
                      </a:lnTo>
                      <a:lnTo>
                        <a:pt x="346809" y="150530"/>
                      </a:lnTo>
                      <a:lnTo>
                        <a:pt x="351867" y="120437"/>
                      </a:lnTo>
                      <a:lnTo>
                        <a:pt x="355517" y="103374"/>
                      </a:lnTo>
                      <a:lnTo>
                        <a:pt x="359838" y="93961"/>
                      </a:lnTo>
                      <a:lnTo>
                        <a:pt x="370019" y="84165"/>
                      </a:lnTo>
                      <a:lnTo>
                        <a:pt x="376166" y="54040"/>
                      </a:lnTo>
                      <a:lnTo>
                        <a:pt x="383081" y="47509"/>
                      </a:lnTo>
                      <a:lnTo>
                        <a:pt x="365665" y="48245"/>
                      </a:lnTo>
                      <a:lnTo>
                        <a:pt x="358046" y="43155"/>
                      </a:lnTo>
                      <a:lnTo>
                        <a:pt x="343543" y="42067"/>
                      </a:lnTo>
                      <a:lnTo>
                        <a:pt x="324303" y="46420"/>
                      </a:lnTo>
                      <a:lnTo>
                        <a:pt x="304710" y="38801"/>
                      </a:lnTo>
                      <a:lnTo>
                        <a:pt x="276410" y="35183"/>
                      </a:lnTo>
                      <a:lnTo>
                        <a:pt x="268438" y="37713"/>
                      </a:lnTo>
                      <a:lnTo>
                        <a:pt x="262644" y="48245"/>
                      </a:lnTo>
                      <a:lnTo>
                        <a:pt x="235784" y="22474"/>
                      </a:lnTo>
                      <a:lnTo>
                        <a:pt x="210045" y="25035"/>
                      </a:lnTo>
                      <a:lnTo>
                        <a:pt x="191156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7" name="Forma Livre: Forma 336">
                  <a:extLst>
                    <a:ext uri="{FF2B5EF4-FFF2-40B4-BE49-F238E27FC236}">
                      <a16:creationId xmlns:a16="http://schemas.microsoft.com/office/drawing/2014/main" id="{7312C089-AB5C-4E4A-8ED7-58108F43DA2D}"/>
                    </a:ext>
                  </a:extLst>
                </p:cNvPr>
                <p:cNvSpPr/>
                <p:nvPr/>
              </p:nvSpPr>
              <p:spPr>
                <a:xfrm>
                  <a:off x="3179075" y="2034051"/>
                  <a:ext cx="383080" cy="327920"/>
                </a:xfrm>
                <a:custGeom>
                  <a:avLst/>
                  <a:gdLst>
                    <a:gd name="csX0" fmla="*/ 191156 w 383080"/>
                    <a:gd name="csY0" fmla="*/ 2529 h 327920"/>
                    <a:gd name="csX1" fmla="*/ 178831 w 383080"/>
                    <a:gd name="csY1" fmla="*/ 0 h 327920"/>
                    <a:gd name="csX2" fmla="*/ 163592 w 383080"/>
                    <a:gd name="csY2" fmla="*/ 11973 h 327920"/>
                    <a:gd name="csX3" fmla="*/ 151619 w 383080"/>
                    <a:gd name="csY3" fmla="*/ 20681 h 327920"/>
                    <a:gd name="csX4" fmla="*/ 124791 w 383080"/>
                    <a:gd name="csY4" fmla="*/ 31918 h 327920"/>
                    <a:gd name="csX5" fmla="*/ 102285 w 383080"/>
                    <a:gd name="csY5" fmla="*/ 34447 h 327920"/>
                    <a:gd name="csX6" fmla="*/ 103374 w 383080"/>
                    <a:gd name="csY6" fmla="*/ 58394 h 327920"/>
                    <a:gd name="csX7" fmla="*/ 99020 w 383080"/>
                    <a:gd name="csY7" fmla="*/ 62748 h 327920"/>
                    <a:gd name="csX8" fmla="*/ 85958 w 383080"/>
                    <a:gd name="csY8" fmla="*/ 58394 h 327920"/>
                    <a:gd name="csX9" fmla="*/ 64572 w 383080"/>
                    <a:gd name="csY9" fmla="*/ 63836 h 327920"/>
                    <a:gd name="csX10" fmla="*/ 65309 w 383080"/>
                    <a:gd name="csY10" fmla="*/ 76546 h 327920"/>
                    <a:gd name="csX11" fmla="*/ 59482 w 383080"/>
                    <a:gd name="csY11" fmla="*/ 84165 h 327920"/>
                    <a:gd name="csX12" fmla="*/ 53335 w 383080"/>
                    <a:gd name="csY12" fmla="*/ 91048 h 327920"/>
                    <a:gd name="csX13" fmla="*/ 63836 w 383080"/>
                    <a:gd name="csY13" fmla="*/ 99756 h 327920"/>
                    <a:gd name="csX14" fmla="*/ 50070 w 383080"/>
                    <a:gd name="csY14" fmla="*/ 110993 h 327920"/>
                    <a:gd name="csX15" fmla="*/ 48982 w 383080"/>
                    <a:gd name="csY15" fmla="*/ 129145 h 327920"/>
                    <a:gd name="csX16" fmla="*/ 21385 w 383080"/>
                    <a:gd name="csY16" fmla="*/ 134939 h 327920"/>
                    <a:gd name="csX17" fmla="*/ 13766 w 383080"/>
                    <a:gd name="csY17" fmla="*/ 152355 h 327920"/>
                    <a:gd name="csX18" fmla="*/ 0 w 383080"/>
                    <a:gd name="csY18" fmla="*/ 159974 h 327920"/>
                    <a:gd name="csX19" fmla="*/ 3266 w 383080"/>
                    <a:gd name="csY19" fmla="*/ 176302 h 327920"/>
                    <a:gd name="csX20" fmla="*/ 18120 w 383080"/>
                    <a:gd name="csY20" fmla="*/ 186802 h 327920"/>
                    <a:gd name="csX21" fmla="*/ 30830 w 383080"/>
                    <a:gd name="csY21" fmla="*/ 190068 h 327920"/>
                    <a:gd name="csX22" fmla="*/ 41362 w 383080"/>
                    <a:gd name="csY22" fmla="*/ 214398 h 327920"/>
                    <a:gd name="csX23" fmla="*/ 44628 w 383080"/>
                    <a:gd name="csY23" fmla="*/ 240138 h 327920"/>
                    <a:gd name="csX24" fmla="*/ 64572 w 383080"/>
                    <a:gd name="csY24" fmla="*/ 265909 h 327920"/>
                    <a:gd name="csX25" fmla="*/ 65309 w 383080"/>
                    <a:gd name="csY25" fmla="*/ 285470 h 327920"/>
                    <a:gd name="csX26" fmla="*/ 74721 w 383080"/>
                    <a:gd name="csY26" fmla="*/ 276058 h 327920"/>
                    <a:gd name="csX27" fmla="*/ 80163 w 383080"/>
                    <a:gd name="csY27" fmla="*/ 275321 h 327920"/>
                    <a:gd name="csX28" fmla="*/ 87046 w 383080"/>
                    <a:gd name="csY28" fmla="*/ 277882 h 327920"/>
                    <a:gd name="csX29" fmla="*/ 92873 w 383080"/>
                    <a:gd name="csY29" fmla="*/ 287294 h 327920"/>
                    <a:gd name="csX30" fmla="*/ 109200 w 383080"/>
                    <a:gd name="csY30" fmla="*/ 272792 h 327920"/>
                    <a:gd name="csX31" fmla="*/ 120437 w 383080"/>
                    <a:gd name="csY31" fmla="*/ 277146 h 327920"/>
                    <a:gd name="csX32" fmla="*/ 137853 w 383080"/>
                    <a:gd name="csY32" fmla="*/ 295298 h 327920"/>
                    <a:gd name="csX33" fmla="*/ 132410 w 383080"/>
                    <a:gd name="csY33" fmla="*/ 317420 h 327920"/>
                    <a:gd name="csX34" fmla="*/ 136028 w 383080"/>
                    <a:gd name="csY34" fmla="*/ 327920 h 327920"/>
                    <a:gd name="csX35" fmla="*/ 141118 w 383080"/>
                    <a:gd name="csY35" fmla="*/ 326128 h 327920"/>
                    <a:gd name="csX36" fmla="*/ 142911 w 383080"/>
                    <a:gd name="csY36" fmla="*/ 314859 h 327920"/>
                    <a:gd name="csX37" fmla="*/ 153092 w 383080"/>
                    <a:gd name="csY37" fmla="*/ 309800 h 327920"/>
                    <a:gd name="csX38" fmla="*/ 157445 w 383080"/>
                    <a:gd name="csY38" fmla="*/ 300356 h 327920"/>
                    <a:gd name="csX39" fmla="*/ 159238 w 383080"/>
                    <a:gd name="csY39" fmla="*/ 278971 h 327920"/>
                    <a:gd name="csX40" fmla="*/ 165417 w 383080"/>
                    <a:gd name="csY40" fmla="*/ 293473 h 327920"/>
                    <a:gd name="csX41" fmla="*/ 178126 w 383080"/>
                    <a:gd name="csY41" fmla="*/ 296002 h 327920"/>
                    <a:gd name="csX42" fmla="*/ 203866 w 383080"/>
                    <a:gd name="csY42" fmla="*/ 319949 h 327920"/>
                    <a:gd name="csX43" fmla="*/ 241963 w 383080"/>
                    <a:gd name="csY43" fmla="*/ 319213 h 327920"/>
                    <a:gd name="csX44" fmla="*/ 265909 w 383080"/>
                    <a:gd name="csY44" fmla="*/ 303622 h 327920"/>
                    <a:gd name="csX45" fmla="*/ 289119 w 383080"/>
                    <a:gd name="csY45" fmla="*/ 307239 h 327920"/>
                    <a:gd name="csX46" fmla="*/ 317420 w 383080"/>
                    <a:gd name="csY46" fmla="*/ 287294 h 327920"/>
                    <a:gd name="csX47" fmla="*/ 318508 w 383080"/>
                    <a:gd name="csY47" fmla="*/ 260819 h 327920"/>
                    <a:gd name="csX48" fmla="*/ 355517 w 383080"/>
                    <a:gd name="csY48" fmla="*/ 191892 h 327920"/>
                    <a:gd name="csX49" fmla="*/ 358750 w 383080"/>
                    <a:gd name="csY49" fmla="*/ 183185 h 327920"/>
                    <a:gd name="csX50" fmla="*/ 346809 w 383080"/>
                    <a:gd name="csY50" fmla="*/ 150530 h 327920"/>
                    <a:gd name="csX51" fmla="*/ 351867 w 383080"/>
                    <a:gd name="csY51" fmla="*/ 120437 h 327920"/>
                    <a:gd name="csX52" fmla="*/ 355517 w 383080"/>
                    <a:gd name="csY52" fmla="*/ 103374 h 327920"/>
                    <a:gd name="csX53" fmla="*/ 359838 w 383080"/>
                    <a:gd name="csY53" fmla="*/ 93961 h 327920"/>
                    <a:gd name="csX54" fmla="*/ 370019 w 383080"/>
                    <a:gd name="csY54" fmla="*/ 84165 h 327920"/>
                    <a:gd name="csX55" fmla="*/ 376166 w 383080"/>
                    <a:gd name="csY55" fmla="*/ 54040 h 327920"/>
                    <a:gd name="csX56" fmla="*/ 383081 w 383080"/>
                    <a:gd name="csY56" fmla="*/ 47509 h 327920"/>
                    <a:gd name="csX57" fmla="*/ 365665 w 383080"/>
                    <a:gd name="csY57" fmla="*/ 48245 h 327920"/>
                    <a:gd name="csX58" fmla="*/ 358046 w 383080"/>
                    <a:gd name="csY58" fmla="*/ 43155 h 327920"/>
                    <a:gd name="csX59" fmla="*/ 343543 w 383080"/>
                    <a:gd name="csY59" fmla="*/ 42067 h 327920"/>
                    <a:gd name="csX60" fmla="*/ 324303 w 383080"/>
                    <a:gd name="csY60" fmla="*/ 46420 h 327920"/>
                    <a:gd name="csX61" fmla="*/ 304710 w 383080"/>
                    <a:gd name="csY61" fmla="*/ 38801 h 327920"/>
                    <a:gd name="csX62" fmla="*/ 276410 w 383080"/>
                    <a:gd name="csY62" fmla="*/ 35183 h 327920"/>
                    <a:gd name="csX63" fmla="*/ 268438 w 383080"/>
                    <a:gd name="csY63" fmla="*/ 37713 h 327920"/>
                    <a:gd name="csX64" fmla="*/ 262644 w 383080"/>
                    <a:gd name="csY64" fmla="*/ 48245 h 327920"/>
                    <a:gd name="csX65" fmla="*/ 235784 w 383080"/>
                    <a:gd name="csY65" fmla="*/ 22474 h 327920"/>
                    <a:gd name="csX66" fmla="*/ 210045 w 383080"/>
                    <a:gd name="csY66" fmla="*/ 25035 h 327920"/>
                    <a:gd name="csX67" fmla="*/ 191156 w 383080"/>
                    <a:gd name="csY67" fmla="*/ 2529 h 3279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383080" h="327920">
                      <a:moveTo>
                        <a:pt x="191156" y="2529"/>
                      </a:moveTo>
                      <a:lnTo>
                        <a:pt x="178831" y="0"/>
                      </a:lnTo>
                      <a:lnTo>
                        <a:pt x="163592" y="11973"/>
                      </a:lnTo>
                      <a:lnTo>
                        <a:pt x="151619" y="20681"/>
                      </a:lnTo>
                      <a:lnTo>
                        <a:pt x="124791" y="31918"/>
                      </a:lnTo>
                      <a:lnTo>
                        <a:pt x="102285" y="34447"/>
                      </a:lnTo>
                      <a:lnTo>
                        <a:pt x="103374" y="58394"/>
                      </a:lnTo>
                      <a:lnTo>
                        <a:pt x="99020" y="62748"/>
                      </a:lnTo>
                      <a:lnTo>
                        <a:pt x="85958" y="58394"/>
                      </a:lnTo>
                      <a:lnTo>
                        <a:pt x="64572" y="63836"/>
                      </a:lnTo>
                      <a:lnTo>
                        <a:pt x="65309" y="76546"/>
                      </a:lnTo>
                      <a:lnTo>
                        <a:pt x="59482" y="84165"/>
                      </a:lnTo>
                      <a:lnTo>
                        <a:pt x="53335" y="91048"/>
                      </a:lnTo>
                      <a:lnTo>
                        <a:pt x="63836" y="99756"/>
                      </a:lnTo>
                      <a:lnTo>
                        <a:pt x="50070" y="110993"/>
                      </a:lnTo>
                      <a:lnTo>
                        <a:pt x="48982" y="129145"/>
                      </a:lnTo>
                      <a:lnTo>
                        <a:pt x="21385" y="134939"/>
                      </a:lnTo>
                      <a:lnTo>
                        <a:pt x="13766" y="152355"/>
                      </a:lnTo>
                      <a:lnTo>
                        <a:pt x="0" y="159974"/>
                      </a:lnTo>
                      <a:lnTo>
                        <a:pt x="3266" y="176302"/>
                      </a:lnTo>
                      <a:lnTo>
                        <a:pt x="18120" y="186802"/>
                      </a:lnTo>
                      <a:lnTo>
                        <a:pt x="30830" y="190068"/>
                      </a:lnTo>
                      <a:lnTo>
                        <a:pt x="41362" y="214398"/>
                      </a:lnTo>
                      <a:lnTo>
                        <a:pt x="44628" y="240138"/>
                      </a:lnTo>
                      <a:lnTo>
                        <a:pt x="64572" y="265909"/>
                      </a:lnTo>
                      <a:lnTo>
                        <a:pt x="65309" y="285470"/>
                      </a:lnTo>
                      <a:lnTo>
                        <a:pt x="74721" y="276058"/>
                      </a:lnTo>
                      <a:lnTo>
                        <a:pt x="80163" y="275321"/>
                      </a:lnTo>
                      <a:lnTo>
                        <a:pt x="87046" y="277882"/>
                      </a:lnTo>
                      <a:lnTo>
                        <a:pt x="92873" y="287294"/>
                      </a:lnTo>
                      <a:lnTo>
                        <a:pt x="109200" y="272792"/>
                      </a:lnTo>
                      <a:lnTo>
                        <a:pt x="120437" y="277146"/>
                      </a:lnTo>
                      <a:lnTo>
                        <a:pt x="137853" y="295298"/>
                      </a:lnTo>
                      <a:lnTo>
                        <a:pt x="132410" y="317420"/>
                      </a:lnTo>
                      <a:lnTo>
                        <a:pt x="136028" y="327920"/>
                      </a:lnTo>
                      <a:lnTo>
                        <a:pt x="141118" y="326128"/>
                      </a:lnTo>
                      <a:lnTo>
                        <a:pt x="142911" y="314859"/>
                      </a:lnTo>
                      <a:lnTo>
                        <a:pt x="153092" y="309800"/>
                      </a:lnTo>
                      <a:lnTo>
                        <a:pt x="157445" y="300356"/>
                      </a:lnTo>
                      <a:lnTo>
                        <a:pt x="159238" y="278971"/>
                      </a:lnTo>
                      <a:lnTo>
                        <a:pt x="165417" y="293473"/>
                      </a:lnTo>
                      <a:lnTo>
                        <a:pt x="178126" y="296002"/>
                      </a:lnTo>
                      <a:lnTo>
                        <a:pt x="203866" y="319949"/>
                      </a:lnTo>
                      <a:lnTo>
                        <a:pt x="241963" y="319213"/>
                      </a:lnTo>
                      <a:lnTo>
                        <a:pt x="265909" y="303622"/>
                      </a:lnTo>
                      <a:lnTo>
                        <a:pt x="289119" y="307239"/>
                      </a:lnTo>
                      <a:lnTo>
                        <a:pt x="317420" y="287294"/>
                      </a:lnTo>
                      <a:lnTo>
                        <a:pt x="318508" y="260819"/>
                      </a:lnTo>
                      <a:lnTo>
                        <a:pt x="355517" y="191892"/>
                      </a:lnTo>
                      <a:lnTo>
                        <a:pt x="358750" y="183185"/>
                      </a:lnTo>
                      <a:lnTo>
                        <a:pt x="346809" y="150530"/>
                      </a:lnTo>
                      <a:lnTo>
                        <a:pt x="351867" y="120437"/>
                      </a:lnTo>
                      <a:lnTo>
                        <a:pt x="355517" y="103374"/>
                      </a:lnTo>
                      <a:lnTo>
                        <a:pt x="359838" y="93961"/>
                      </a:lnTo>
                      <a:lnTo>
                        <a:pt x="370019" y="84165"/>
                      </a:lnTo>
                      <a:lnTo>
                        <a:pt x="376166" y="54040"/>
                      </a:lnTo>
                      <a:lnTo>
                        <a:pt x="383081" y="47509"/>
                      </a:lnTo>
                      <a:lnTo>
                        <a:pt x="365665" y="48245"/>
                      </a:lnTo>
                      <a:lnTo>
                        <a:pt x="358046" y="43155"/>
                      </a:lnTo>
                      <a:lnTo>
                        <a:pt x="343543" y="42067"/>
                      </a:lnTo>
                      <a:lnTo>
                        <a:pt x="324303" y="46420"/>
                      </a:lnTo>
                      <a:lnTo>
                        <a:pt x="304710" y="38801"/>
                      </a:lnTo>
                      <a:lnTo>
                        <a:pt x="276410" y="35183"/>
                      </a:lnTo>
                      <a:lnTo>
                        <a:pt x="268438" y="37713"/>
                      </a:lnTo>
                      <a:lnTo>
                        <a:pt x="262644" y="48245"/>
                      </a:lnTo>
                      <a:lnTo>
                        <a:pt x="235784" y="22474"/>
                      </a:lnTo>
                      <a:lnTo>
                        <a:pt x="210045" y="25035"/>
                      </a:lnTo>
                      <a:lnTo>
                        <a:pt x="191156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8" name="Forma Livre: Forma 337">
                  <a:extLst>
                    <a:ext uri="{FF2B5EF4-FFF2-40B4-BE49-F238E27FC236}">
                      <a16:creationId xmlns:a16="http://schemas.microsoft.com/office/drawing/2014/main" id="{ACEED096-24B7-B208-93A7-46FDAF4DDCEC}"/>
                    </a:ext>
                  </a:extLst>
                </p:cNvPr>
                <p:cNvSpPr/>
                <p:nvPr/>
              </p:nvSpPr>
              <p:spPr>
                <a:xfrm>
                  <a:off x="3179075" y="2034051"/>
                  <a:ext cx="383080" cy="327920"/>
                </a:xfrm>
                <a:custGeom>
                  <a:avLst/>
                  <a:gdLst>
                    <a:gd name="csX0" fmla="*/ 191156 w 383080"/>
                    <a:gd name="csY0" fmla="*/ 2529 h 327920"/>
                    <a:gd name="csX1" fmla="*/ 178831 w 383080"/>
                    <a:gd name="csY1" fmla="*/ 0 h 327920"/>
                    <a:gd name="csX2" fmla="*/ 163592 w 383080"/>
                    <a:gd name="csY2" fmla="*/ 11973 h 327920"/>
                    <a:gd name="csX3" fmla="*/ 151619 w 383080"/>
                    <a:gd name="csY3" fmla="*/ 20681 h 327920"/>
                    <a:gd name="csX4" fmla="*/ 124791 w 383080"/>
                    <a:gd name="csY4" fmla="*/ 31918 h 327920"/>
                    <a:gd name="csX5" fmla="*/ 102285 w 383080"/>
                    <a:gd name="csY5" fmla="*/ 34447 h 327920"/>
                    <a:gd name="csX6" fmla="*/ 103374 w 383080"/>
                    <a:gd name="csY6" fmla="*/ 58394 h 327920"/>
                    <a:gd name="csX7" fmla="*/ 99020 w 383080"/>
                    <a:gd name="csY7" fmla="*/ 62748 h 327920"/>
                    <a:gd name="csX8" fmla="*/ 85958 w 383080"/>
                    <a:gd name="csY8" fmla="*/ 58394 h 327920"/>
                    <a:gd name="csX9" fmla="*/ 64572 w 383080"/>
                    <a:gd name="csY9" fmla="*/ 63836 h 327920"/>
                    <a:gd name="csX10" fmla="*/ 65309 w 383080"/>
                    <a:gd name="csY10" fmla="*/ 76546 h 327920"/>
                    <a:gd name="csX11" fmla="*/ 59482 w 383080"/>
                    <a:gd name="csY11" fmla="*/ 84165 h 327920"/>
                    <a:gd name="csX12" fmla="*/ 53335 w 383080"/>
                    <a:gd name="csY12" fmla="*/ 91048 h 327920"/>
                    <a:gd name="csX13" fmla="*/ 63836 w 383080"/>
                    <a:gd name="csY13" fmla="*/ 99756 h 327920"/>
                    <a:gd name="csX14" fmla="*/ 50070 w 383080"/>
                    <a:gd name="csY14" fmla="*/ 110993 h 327920"/>
                    <a:gd name="csX15" fmla="*/ 48982 w 383080"/>
                    <a:gd name="csY15" fmla="*/ 129145 h 327920"/>
                    <a:gd name="csX16" fmla="*/ 21385 w 383080"/>
                    <a:gd name="csY16" fmla="*/ 134939 h 327920"/>
                    <a:gd name="csX17" fmla="*/ 13766 w 383080"/>
                    <a:gd name="csY17" fmla="*/ 152355 h 327920"/>
                    <a:gd name="csX18" fmla="*/ 0 w 383080"/>
                    <a:gd name="csY18" fmla="*/ 159974 h 327920"/>
                    <a:gd name="csX19" fmla="*/ 3266 w 383080"/>
                    <a:gd name="csY19" fmla="*/ 176302 h 327920"/>
                    <a:gd name="csX20" fmla="*/ 18120 w 383080"/>
                    <a:gd name="csY20" fmla="*/ 186802 h 327920"/>
                    <a:gd name="csX21" fmla="*/ 30830 w 383080"/>
                    <a:gd name="csY21" fmla="*/ 190068 h 327920"/>
                    <a:gd name="csX22" fmla="*/ 41362 w 383080"/>
                    <a:gd name="csY22" fmla="*/ 214398 h 327920"/>
                    <a:gd name="csX23" fmla="*/ 44628 w 383080"/>
                    <a:gd name="csY23" fmla="*/ 240138 h 327920"/>
                    <a:gd name="csX24" fmla="*/ 64572 w 383080"/>
                    <a:gd name="csY24" fmla="*/ 265909 h 327920"/>
                    <a:gd name="csX25" fmla="*/ 65309 w 383080"/>
                    <a:gd name="csY25" fmla="*/ 285470 h 327920"/>
                    <a:gd name="csX26" fmla="*/ 74721 w 383080"/>
                    <a:gd name="csY26" fmla="*/ 276058 h 327920"/>
                    <a:gd name="csX27" fmla="*/ 80163 w 383080"/>
                    <a:gd name="csY27" fmla="*/ 275321 h 327920"/>
                    <a:gd name="csX28" fmla="*/ 87046 w 383080"/>
                    <a:gd name="csY28" fmla="*/ 277882 h 327920"/>
                    <a:gd name="csX29" fmla="*/ 92873 w 383080"/>
                    <a:gd name="csY29" fmla="*/ 287294 h 327920"/>
                    <a:gd name="csX30" fmla="*/ 109200 w 383080"/>
                    <a:gd name="csY30" fmla="*/ 272792 h 327920"/>
                    <a:gd name="csX31" fmla="*/ 120437 w 383080"/>
                    <a:gd name="csY31" fmla="*/ 277146 h 327920"/>
                    <a:gd name="csX32" fmla="*/ 137853 w 383080"/>
                    <a:gd name="csY32" fmla="*/ 295298 h 327920"/>
                    <a:gd name="csX33" fmla="*/ 132410 w 383080"/>
                    <a:gd name="csY33" fmla="*/ 317420 h 327920"/>
                    <a:gd name="csX34" fmla="*/ 136028 w 383080"/>
                    <a:gd name="csY34" fmla="*/ 327920 h 327920"/>
                    <a:gd name="csX35" fmla="*/ 141118 w 383080"/>
                    <a:gd name="csY35" fmla="*/ 326128 h 327920"/>
                    <a:gd name="csX36" fmla="*/ 142911 w 383080"/>
                    <a:gd name="csY36" fmla="*/ 314859 h 327920"/>
                    <a:gd name="csX37" fmla="*/ 153092 w 383080"/>
                    <a:gd name="csY37" fmla="*/ 309800 h 327920"/>
                    <a:gd name="csX38" fmla="*/ 157445 w 383080"/>
                    <a:gd name="csY38" fmla="*/ 300356 h 327920"/>
                    <a:gd name="csX39" fmla="*/ 159238 w 383080"/>
                    <a:gd name="csY39" fmla="*/ 278971 h 327920"/>
                    <a:gd name="csX40" fmla="*/ 165417 w 383080"/>
                    <a:gd name="csY40" fmla="*/ 293473 h 327920"/>
                    <a:gd name="csX41" fmla="*/ 178126 w 383080"/>
                    <a:gd name="csY41" fmla="*/ 296002 h 327920"/>
                    <a:gd name="csX42" fmla="*/ 203866 w 383080"/>
                    <a:gd name="csY42" fmla="*/ 319949 h 327920"/>
                    <a:gd name="csX43" fmla="*/ 241963 w 383080"/>
                    <a:gd name="csY43" fmla="*/ 319213 h 327920"/>
                    <a:gd name="csX44" fmla="*/ 265909 w 383080"/>
                    <a:gd name="csY44" fmla="*/ 303622 h 327920"/>
                    <a:gd name="csX45" fmla="*/ 289119 w 383080"/>
                    <a:gd name="csY45" fmla="*/ 307239 h 327920"/>
                    <a:gd name="csX46" fmla="*/ 317420 w 383080"/>
                    <a:gd name="csY46" fmla="*/ 287294 h 327920"/>
                    <a:gd name="csX47" fmla="*/ 318508 w 383080"/>
                    <a:gd name="csY47" fmla="*/ 260819 h 327920"/>
                    <a:gd name="csX48" fmla="*/ 355517 w 383080"/>
                    <a:gd name="csY48" fmla="*/ 191892 h 327920"/>
                    <a:gd name="csX49" fmla="*/ 358750 w 383080"/>
                    <a:gd name="csY49" fmla="*/ 183185 h 327920"/>
                    <a:gd name="csX50" fmla="*/ 346809 w 383080"/>
                    <a:gd name="csY50" fmla="*/ 150530 h 327920"/>
                    <a:gd name="csX51" fmla="*/ 351867 w 383080"/>
                    <a:gd name="csY51" fmla="*/ 120437 h 327920"/>
                    <a:gd name="csX52" fmla="*/ 355517 w 383080"/>
                    <a:gd name="csY52" fmla="*/ 103374 h 327920"/>
                    <a:gd name="csX53" fmla="*/ 359838 w 383080"/>
                    <a:gd name="csY53" fmla="*/ 93961 h 327920"/>
                    <a:gd name="csX54" fmla="*/ 370019 w 383080"/>
                    <a:gd name="csY54" fmla="*/ 84165 h 327920"/>
                    <a:gd name="csX55" fmla="*/ 376166 w 383080"/>
                    <a:gd name="csY55" fmla="*/ 54040 h 327920"/>
                    <a:gd name="csX56" fmla="*/ 383081 w 383080"/>
                    <a:gd name="csY56" fmla="*/ 47509 h 327920"/>
                    <a:gd name="csX57" fmla="*/ 365665 w 383080"/>
                    <a:gd name="csY57" fmla="*/ 48245 h 327920"/>
                    <a:gd name="csX58" fmla="*/ 358046 w 383080"/>
                    <a:gd name="csY58" fmla="*/ 43155 h 327920"/>
                    <a:gd name="csX59" fmla="*/ 343543 w 383080"/>
                    <a:gd name="csY59" fmla="*/ 42067 h 327920"/>
                    <a:gd name="csX60" fmla="*/ 324303 w 383080"/>
                    <a:gd name="csY60" fmla="*/ 46420 h 327920"/>
                    <a:gd name="csX61" fmla="*/ 304710 w 383080"/>
                    <a:gd name="csY61" fmla="*/ 38801 h 327920"/>
                    <a:gd name="csX62" fmla="*/ 276410 w 383080"/>
                    <a:gd name="csY62" fmla="*/ 35183 h 327920"/>
                    <a:gd name="csX63" fmla="*/ 268438 w 383080"/>
                    <a:gd name="csY63" fmla="*/ 37713 h 327920"/>
                    <a:gd name="csX64" fmla="*/ 262644 w 383080"/>
                    <a:gd name="csY64" fmla="*/ 48245 h 327920"/>
                    <a:gd name="csX65" fmla="*/ 235784 w 383080"/>
                    <a:gd name="csY65" fmla="*/ 22474 h 327920"/>
                    <a:gd name="csX66" fmla="*/ 210045 w 383080"/>
                    <a:gd name="csY66" fmla="*/ 25035 h 327920"/>
                    <a:gd name="csX67" fmla="*/ 191156 w 383080"/>
                    <a:gd name="csY67" fmla="*/ 2529 h 3279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383080" h="327920">
                      <a:moveTo>
                        <a:pt x="191156" y="2529"/>
                      </a:moveTo>
                      <a:lnTo>
                        <a:pt x="178831" y="0"/>
                      </a:lnTo>
                      <a:lnTo>
                        <a:pt x="163592" y="11973"/>
                      </a:lnTo>
                      <a:lnTo>
                        <a:pt x="151619" y="20681"/>
                      </a:lnTo>
                      <a:lnTo>
                        <a:pt x="124791" y="31918"/>
                      </a:lnTo>
                      <a:lnTo>
                        <a:pt x="102285" y="34447"/>
                      </a:lnTo>
                      <a:lnTo>
                        <a:pt x="103374" y="58394"/>
                      </a:lnTo>
                      <a:lnTo>
                        <a:pt x="99020" y="62748"/>
                      </a:lnTo>
                      <a:lnTo>
                        <a:pt x="85958" y="58394"/>
                      </a:lnTo>
                      <a:lnTo>
                        <a:pt x="64572" y="63836"/>
                      </a:lnTo>
                      <a:lnTo>
                        <a:pt x="65309" y="76546"/>
                      </a:lnTo>
                      <a:lnTo>
                        <a:pt x="59482" y="84165"/>
                      </a:lnTo>
                      <a:lnTo>
                        <a:pt x="53335" y="91048"/>
                      </a:lnTo>
                      <a:lnTo>
                        <a:pt x="63836" y="99756"/>
                      </a:lnTo>
                      <a:lnTo>
                        <a:pt x="50070" y="110993"/>
                      </a:lnTo>
                      <a:lnTo>
                        <a:pt x="48982" y="129145"/>
                      </a:lnTo>
                      <a:lnTo>
                        <a:pt x="21385" y="134939"/>
                      </a:lnTo>
                      <a:lnTo>
                        <a:pt x="13766" y="152355"/>
                      </a:lnTo>
                      <a:lnTo>
                        <a:pt x="0" y="159974"/>
                      </a:lnTo>
                      <a:lnTo>
                        <a:pt x="3266" y="176302"/>
                      </a:lnTo>
                      <a:lnTo>
                        <a:pt x="18120" y="186802"/>
                      </a:lnTo>
                      <a:lnTo>
                        <a:pt x="30830" y="190068"/>
                      </a:lnTo>
                      <a:lnTo>
                        <a:pt x="41362" y="214398"/>
                      </a:lnTo>
                      <a:lnTo>
                        <a:pt x="44628" y="240138"/>
                      </a:lnTo>
                      <a:lnTo>
                        <a:pt x="64572" y="265909"/>
                      </a:lnTo>
                      <a:lnTo>
                        <a:pt x="65309" y="285470"/>
                      </a:lnTo>
                      <a:lnTo>
                        <a:pt x="74721" y="276058"/>
                      </a:lnTo>
                      <a:lnTo>
                        <a:pt x="80163" y="275321"/>
                      </a:lnTo>
                      <a:lnTo>
                        <a:pt x="87046" y="277882"/>
                      </a:lnTo>
                      <a:lnTo>
                        <a:pt x="92873" y="287294"/>
                      </a:lnTo>
                      <a:lnTo>
                        <a:pt x="109200" y="272792"/>
                      </a:lnTo>
                      <a:lnTo>
                        <a:pt x="120437" y="277146"/>
                      </a:lnTo>
                      <a:lnTo>
                        <a:pt x="137853" y="295298"/>
                      </a:lnTo>
                      <a:lnTo>
                        <a:pt x="132410" y="317420"/>
                      </a:lnTo>
                      <a:lnTo>
                        <a:pt x="136028" y="327920"/>
                      </a:lnTo>
                      <a:lnTo>
                        <a:pt x="141118" y="326128"/>
                      </a:lnTo>
                      <a:lnTo>
                        <a:pt x="142911" y="314859"/>
                      </a:lnTo>
                      <a:lnTo>
                        <a:pt x="153092" y="309800"/>
                      </a:lnTo>
                      <a:lnTo>
                        <a:pt x="157445" y="300356"/>
                      </a:lnTo>
                      <a:lnTo>
                        <a:pt x="159238" y="278971"/>
                      </a:lnTo>
                      <a:lnTo>
                        <a:pt x="165417" y="293473"/>
                      </a:lnTo>
                      <a:lnTo>
                        <a:pt x="178126" y="296002"/>
                      </a:lnTo>
                      <a:lnTo>
                        <a:pt x="203866" y="319949"/>
                      </a:lnTo>
                      <a:lnTo>
                        <a:pt x="241963" y="319213"/>
                      </a:lnTo>
                      <a:lnTo>
                        <a:pt x="265909" y="303622"/>
                      </a:lnTo>
                      <a:lnTo>
                        <a:pt x="289119" y="307239"/>
                      </a:lnTo>
                      <a:lnTo>
                        <a:pt x="317420" y="287294"/>
                      </a:lnTo>
                      <a:lnTo>
                        <a:pt x="318508" y="260819"/>
                      </a:lnTo>
                      <a:lnTo>
                        <a:pt x="355517" y="191892"/>
                      </a:lnTo>
                      <a:lnTo>
                        <a:pt x="358750" y="183185"/>
                      </a:lnTo>
                      <a:lnTo>
                        <a:pt x="346809" y="150530"/>
                      </a:lnTo>
                      <a:lnTo>
                        <a:pt x="351867" y="120437"/>
                      </a:lnTo>
                      <a:lnTo>
                        <a:pt x="355517" y="103374"/>
                      </a:lnTo>
                      <a:lnTo>
                        <a:pt x="359838" y="93961"/>
                      </a:lnTo>
                      <a:lnTo>
                        <a:pt x="370019" y="84165"/>
                      </a:lnTo>
                      <a:lnTo>
                        <a:pt x="376166" y="54040"/>
                      </a:lnTo>
                      <a:lnTo>
                        <a:pt x="383081" y="47509"/>
                      </a:lnTo>
                      <a:lnTo>
                        <a:pt x="365665" y="48245"/>
                      </a:lnTo>
                      <a:lnTo>
                        <a:pt x="358046" y="43155"/>
                      </a:lnTo>
                      <a:lnTo>
                        <a:pt x="343543" y="42067"/>
                      </a:lnTo>
                      <a:lnTo>
                        <a:pt x="324303" y="46420"/>
                      </a:lnTo>
                      <a:lnTo>
                        <a:pt x="304710" y="38801"/>
                      </a:lnTo>
                      <a:lnTo>
                        <a:pt x="276410" y="35183"/>
                      </a:lnTo>
                      <a:lnTo>
                        <a:pt x="268438" y="37713"/>
                      </a:lnTo>
                      <a:lnTo>
                        <a:pt x="262644" y="48245"/>
                      </a:lnTo>
                      <a:lnTo>
                        <a:pt x="235784" y="22474"/>
                      </a:lnTo>
                      <a:lnTo>
                        <a:pt x="210045" y="25035"/>
                      </a:lnTo>
                      <a:lnTo>
                        <a:pt x="191156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9" name="Forma Livre: Forma 338">
                  <a:extLst>
                    <a:ext uri="{FF2B5EF4-FFF2-40B4-BE49-F238E27FC236}">
                      <a16:creationId xmlns:a16="http://schemas.microsoft.com/office/drawing/2014/main" id="{B7C69486-BE67-17F9-712C-19892947102E}"/>
                    </a:ext>
                  </a:extLst>
                </p:cNvPr>
                <p:cNvSpPr/>
                <p:nvPr/>
              </p:nvSpPr>
              <p:spPr>
                <a:xfrm>
                  <a:off x="1927548" y="5093542"/>
                  <a:ext cx="398671" cy="541230"/>
                </a:xfrm>
                <a:custGeom>
                  <a:avLst/>
                  <a:gdLst>
                    <a:gd name="csX0" fmla="*/ 352251 w 398671"/>
                    <a:gd name="csY0" fmla="*/ 22506 h 541230"/>
                    <a:gd name="csX1" fmla="*/ 341014 w 398671"/>
                    <a:gd name="csY1" fmla="*/ 9444 h 541230"/>
                    <a:gd name="csX2" fmla="*/ 346072 w 398671"/>
                    <a:gd name="csY2" fmla="*/ 2529 h 541230"/>
                    <a:gd name="csX3" fmla="*/ 339189 w 398671"/>
                    <a:gd name="csY3" fmla="*/ 0 h 541230"/>
                    <a:gd name="csX4" fmla="*/ 332306 w 398671"/>
                    <a:gd name="csY4" fmla="*/ 0 h 541230"/>
                    <a:gd name="csX5" fmla="*/ 304006 w 398671"/>
                    <a:gd name="csY5" fmla="*/ 7619 h 541230"/>
                    <a:gd name="csX6" fmla="*/ 304006 w 398671"/>
                    <a:gd name="csY6" fmla="*/ 25035 h 541230"/>
                    <a:gd name="csX7" fmla="*/ 297123 w 398671"/>
                    <a:gd name="csY7" fmla="*/ 32654 h 541230"/>
                    <a:gd name="csX8" fmla="*/ 277146 w 398671"/>
                    <a:gd name="csY8" fmla="*/ 29389 h 541230"/>
                    <a:gd name="csX9" fmla="*/ 281500 w 398671"/>
                    <a:gd name="csY9" fmla="*/ 37008 h 541230"/>
                    <a:gd name="csX10" fmla="*/ 272792 w 398671"/>
                    <a:gd name="csY10" fmla="*/ 47157 h 541230"/>
                    <a:gd name="csX11" fmla="*/ 258290 w 398671"/>
                    <a:gd name="csY11" fmla="*/ 42067 h 541230"/>
                    <a:gd name="csX12" fmla="*/ 255024 w 398671"/>
                    <a:gd name="csY12" fmla="*/ 45716 h 541230"/>
                    <a:gd name="csX13" fmla="*/ 250670 w 398671"/>
                    <a:gd name="csY13" fmla="*/ 54040 h 541230"/>
                    <a:gd name="csX14" fmla="*/ 242699 w 398671"/>
                    <a:gd name="csY14" fmla="*/ 53336 h 541230"/>
                    <a:gd name="csX15" fmla="*/ 239433 w 398671"/>
                    <a:gd name="csY15" fmla="*/ 63484 h 541230"/>
                    <a:gd name="csX16" fmla="*/ 229989 w 398671"/>
                    <a:gd name="csY16" fmla="*/ 67838 h 541230"/>
                    <a:gd name="csX17" fmla="*/ 213662 w 398671"/>
                    <a:gd name="csY17" fmla="*/ 88519 h 541230"/>
                    <a:gd name="csX18" fmla="*/ 207515 w 398671"/>
                    <a:gd name="csY18" fmla="*/ 102285 h 541230"/>
                    <a:gd name="csX19" fmla="*/ 219489 w 398671"/>
                    <a:gd name="csY19" fmla="*/ 110993 h 541230"/>
                    <a:gd name="csX20" fmla="*/ 218752 w 398671"/>
                    <a:gd name="csY20" fmla="*/ 115347 h 541230"/>
                    <a:gd name="csX21" fmla="*/ 214398 w 398671"/>
                    <a:gd name="csY21" fmla="*/ 129881 h 541230"/>
                    <a:gd name="csX22" fmla="*/ 202425 w 398671"/>
                    <a:gd name="csY22" fmla="*/ 142911 h 541230"/>
                    <a:gd name="csX23" fmla="*/ 195542 w 398671"/>
                    <a:gd name="csY23" fmla="*/ 144384 h 541230"/>
                    <a:gd name="csX24" fmla="*/ 171243 w 398671"/>
                    <a:gd name="csY24" fmla="*/ 170507 h 541230"/>
                    <a:gd name="csX25" fmla="*/ 173036 w 398671"/>
                    <a:gd name="csY25" fmla="*/ 175565 h 541230"/>
                    <a:gd name="csX26" fmla="*/ 186098 w 398671"/>
                    <a:gd name="csY26" fmla="*/ 180655 h 541230"/>
                    <a:gd name="csX27" fmla="*/ 181744 w 398671"/>
                    <a:gd name="csY27" fmla="*/ 193717 h 541230"/>
                    <a:gd name="csX28" fmla="*/ 186098 w 398671"/>
                    <a:gd name="csY28" fmla="*/ 195158 h 541230"/>
                    <a:gd name="csX29" fmla="*/ 189363 w 398671"/>
                    <a:gd name="csY29" fmla="*/ 201337 h 541230"/>
                    <a:gd name="csX30" fmla="*/ 178126 w 398671"/>
                    <a:gd name="csY30" fmla="*/ 216928 h 541230"/>
                    <a:gd name="csX31" fmla="*/ 182480 w 398671"/>
                    <a:gd name="csY31" fmla="*/ 249582 h 541230"/>
                    <a:gd name="csX32" fmla="*/ 177390 w 398671"/>
                    <a:gd name="csY32" fmla="*/ 256465 h 541230"/>
                    <a:gd name="csX33" fmla="*/ 174125 w 398671"/>
                    <a:gd name="csY33" fmla="*/ 276058 h 541230"/>
                    <a:gd name="csX34" fmla="*/ 166153 w 398671"/>
                    <a:gd name="csY34" fmla="*/ 285502 h 541230"/>
                    <a:gd name="csX35" fmla="*/ 135324 w 398671"/>
                    <a:gd name="csY35" fmla="*/ 309801 h 541230"/>
                    <a:gd name="csX36" fmla="*/ 109552 w 398671"/>
                    <a:gd name="csY36" fmla="*/ 319213 h 541230"/>
                    <a:gd name="csX37" fmla="*/ 93225 w 398671"/>
                    <a:gd name="csY37" fmla="*/ 319213 h 541230"/>
                    <a:gd name="csX38" fmla="*/ 86342 w 398671"/>
                    <a:gd name="csY38" fmla="*/ 308712 h 541230"/>
                    <a:gd name="csX39" fmla="*/ 65661 w 398671"/>
                    <a:gd name="csY39" fmla="*/ 313066 h 541230"/>
                    <a:gd name="csX40" fmla="*/ 56953 w 398671"/>
                    <a:gd name="csY40" fmla="*/ 310537 h 541230"/>
                    <a:gd name="csX41" fmla="*/ 54424 w 398671"/>
                    <a:gd name="csY41" fmla="*/ 302885 h 541230"/>
                    <a:gd name="csX42" fmla="*/ 36272 w 398671"/>
                    <a:gd name="csY42" fmla="*/ 305446 h 541230"/>
                    <a:gd name="csX43" fmla="*/ 43187 w 398671"/>
                    <a:gd name="csY43" fmla="*/ 327920 h 541230"/>
                    <a:gd name="csX44" fmla="*/ 26860 w 398671"/>
                    <a:gd name="csY44" fmla="*/ 348602 h 541230"/>
                    <a:gd name="csX45" fmla="*/ 27564 w 398671"/>
                    <a:gd name="csY45" fmla="*/ 353692 h 541230"/>
                    <a:gd name="csX46" fmla="*/ 37008 w 398671"/>
                    <a:gd name="csY46" fmla="*/ 356221 h 541230"/>
                    <a:gd name="csX47" fmla="*/ 35568 w 398671"/>
                    <a:gd name="csY47" fmla="*/ 370723 h 541230"/>
                    <a:gd name="csX48" fmla="*/ 41362 w 398671"/>
                    <a:gd name="csY48" fmla="*/ 391405 h 541230"/>
                    <a:gd name="csX49" fmla="*/ 36272 w 398671"/>
                    <a:gd name="csY49" fmla="*/ 398319 h 541230"/>
                    <a:gd name="csX50" fmla="*/ 11269 w 398671"/>
                    <a:gd name="csY50" fmla="*/ 404466 h 541230"/>
                    <a:gd name="csX51" fmla="*/ 3650 w 398671"/>
                    <a:gd name="csY51" fmla="*/ 416439 h 541230"/>
                    <a:gd name="csX52" fmla="*/ 1088 w 398671"/>
                    <a:gd name="csY52" fmla="*/ 432030 h 541230"/>
                    <a:gd name="csX53" fmla="*/ 4354 w 398671"/>
                    <a:gd name="csY53" fmla="*/ 439650 h 541230"/>
                    <a:gd name="csX54" fmla="*/ 0 w 398671"/>
                    <a:gd name="csY54" fmla="*/ 445828 h 541230"/>
                    <a:gd name="csX55" fmla="*/ 4354 w 398671"/>
                    <a:gd name="csY55" fmla="*/ 450919 h 541230"/>
                    <a:gd name="csX56" fmla="*/ 4354 w 398671"/>
                    <a:gd name="csY56" fmla="*/ 460331 h 541230"/>
                    <a:gd name="csX57" fmla="*/ 9444 w 398671"/>
                    <a:gd name="csY57" fmla="*/ 464684 h 541230"/>
                    <a:gd name="csX58" fmla="*/ 8708 w 398671"/>
                    <a:gd name="csY58" fmla="*/ 470479 h 541230"/>
                    <a:gd name="csX59" fmla="*/ 18152 w 398671"/>
                    <a:gd name="csY59" fmla="*/ 473040 h 541230"/>
                    <a:gd name="csX60" fmla="*/ 17416 w 398671"/>
                    <a:gd name="csY60" fmla="*/ 479923 h 541230"/>
                    <a:gd name="csX61" fmla="*/ 26860 w 398671"/>
                    <a:gd name="csY61" fmla="*/ 479187 h 541230"/>
                    <a:gd name="csX62" fmla="*/ 31918 w 398671"/>
                    <a:gd name="csY62" fmla="*/ 491160 h 541230"/>
                    <a:gd name="csX63" fmla="*/ 43891 w 398671"/>
                    <a:gd name="csY63" fmla="*/ 499164 h 541230"/>
                    <a:gd name="csX64" fmla="*/ 55160 w 398671"/>
                    <a:gd name="csY64" fmla="*/ 499164 h 541230"/>
                    <a:gd name="csX65" fmla="*/ 75105 w 398671"/>
                    <a:gd name="csY65" fmla="*/ 486102 h 541230"/>
                    <a:gd name="csX66" fmla="*/ 95786 w 398671"/>
                    <a:gd name="csY66" fmla="*/ 481748 h 541230"/>
                    <a:gd name="csX67" fmla="*/ 105198 w 398671"/>
                    <a:gd name="csY67" fmla="*/ 465421 h 541230"/>
                    <a:gd name="csX68" fmla="*/ 113906 w 398671"/>
                    <a:gd name="csY68" fmla="*/ 461067 h 541230"/>
                    <a:gd name="csX69" fmla="*/ 142207 w 398671"/>
                    <a:gd name="csY69" fmla="*/ 463596 h 541230"/>
                    <a:gd name="csX70" fmla="*/ 146561 w 398671"/>
                    <a:gd name="csY70" fmla="*/ 467950 h 541230"/>
                    <a:gd name="csX71" fmla="*/ 137116 w 398671"/>
                    <a:gd name="csY71" fmla="*/ 471568 h 541230"/>
                    <a:gd name="csX72" fmla="*/ 140382 w 398671"/>
                    <a:gd name="csY72" fmla="*/ 492985 h 541230"/>
                    <a:gd name="csX73" fmla="*/ 136060 w 398671"/>
                    <a:gd name="csY73" fmla="*/ 496251 h 541230"/>
                    <a:gd name="csX74" fmla="*/ 144736 w 398671"/>
                    <a:gd name="csY74" fmla="*/ 525639 h 541230"/>
                    <a:gd name="csX75" fmla="*/ 149826 w 398671"/>
                    <a:gd name="csY75" fmla="*/ 530730 h 541230"/>
                    <a:gd name="csX76" fmla="*/ 154916 w 398671"/>
                    <a:gd name="csY76" fmla="*/ 530730 h 541230"/>
                    <a:gd name="csX77" fmla="*/ 156005 w 398671"/>
                    <a:gd name="csY77" fmla="*/ 540142 h 541230"/>
                    <a:gd name="csX78" fmla="*/ 172332 w 398671"/>
                    <a:gd name="csY78" fmla="*/ 541230 h 541230"/>
                    <a:gd name="csX79" fmla="*/ 175597 w 398671"/>
                    <a:gd name="csY79" fmla="*/ 531786 h 541230"/>
                    <a:gd name="csX80" fmla="*/ 170507 w 398671"/>
                    <a:gd name="csY80" fmla="*/ 529993 h 541230"/>
                    <a:gd name="csX81" fmla="*/ 179215 w 398671"/>
                    <a:gd name="csY81" fmla="*/ 509312 h 541230"/>
                    <a:gd name="csX82" fmla="*/ 190452 w 398671"/>
                    <a:gd name="csY82" fmla="*/ 506047 h 541230"/>
                    <a:gd name="csX83" fmla="*/ 194806 w 398671"/>
                    <a:gd name="csY83" fmla="*/ 511137 h 541230"/>
                    <a:gd name="csX84" fmla="*/ 204954 w 398671"/>
                    <a:gd name="csY84" fmla="*/ 506047 h 541230"/>
                    <a:gd name="csX85" fmla="*/ 206779 w 398671"/>
                    <a:gd name="csY85" fmla="*/ 494810 h 541230"/>
                    <a:gd name="csX86" fmla="*/ 221281 w 398671"/>
                    <a:gd name="csY86" fmla="*/ 481748 h 541230"/>
                    <a:gd name="csX87" fmla="*/ 241258 w 398671"/>
                    <a:gd name="csY87" fmla="*/ 486806 h 541230"/>
                    <a:gd name="csX88" fmla="*/ 252111 w 398671"/>
                    <a:gd name="csY88" fmla="*/ 496251 h 541230"/>
                    <a:gd name="csX89" fmla="*/ 263380 w 398671"/>
                    <a:gd name="csY89" fmla="*/ 481012 h 541230"/>
                    <a:gd name="csX90" fmla="*/ 262644 w 398671"/>
                    <a:gd name="csY90" fmla="*/ 469775 h 541230"/>
                    <a:gd name="csX91" fmla="*/ 265909 w 398671"/>
                    <a:gd name="csY91" fmla="*/ 462892 h 541230"/>
                    <a:gd name="csX92" fmla="*/ 278235 w 398671"/>
                    <a:gd name="csY92" fmla="*/ 464684 h 541230"/>
                    <a:gd name="csX93" fmla="*/ 281500 w 398671"/>
                    <a:gd name="csY93" fmla="*/ 475921 h 541230"/>
                    <a:gd name="csX94" fmla="*/ 286590 w 398671"/>
                    <a:gd name="csY94" fmla="*/ 470479 h 541230"/>
                    <a:gd name="csX95" fmla="*/ 290944 w 398671"/>
                    <a:gd name="csY95" fmla="*/ 472304 h 541230"/>
                    <a:gd name="csX96" fmla="*/ 286590 w 398671"/>
                    <a:gd name="csY96" fmla="*/ 463596 h 541230"/>
                    <a:gd name="csX97" fmla="*/ 289119 w 398671"/>
                    <a:gd name="csY97" fmla="*/ 454184 h 541230"/>
                    <a:gd name="csX98" fmla="*/ 309800 w 398671"/>
                    <a:gd name="csY98" fmla="*/ 447269 h 541230"/>
                    <a:gd name="csX99" fmla="*/ 305831 w 398671"/>
                    <a:gd name="csY99" fmla="*/ 437857 h 541230"/>
                    <a:gd name="csX100" fmla="*/ 299652 w 398671"/>
                    <a:gd name="csY100" fmla="*/ 435296 h 541230"/>
                    <a:gd name="csX101" fmla="*/ 302181 w 398671"/>
                    <a:gd name="csY101" fmla="*/ 412085 h 541230"/>
                    <a:gd name="csX102" fmla="*/ 326480 w 398671"/>
                    <a:gd name="csY102" fmla="*/ 414647 h 541230"/>
                    <a:gd name="csX103" fmla="*/ 331570 w 398671"/>
                    <a:gd name="csY103" fmla="*/ 409556 h 541230"/>
                    <a:gd name="csX104" fmla="*/ 344280 w 398671"/>
                    <a:gd name="csY104" fmla="*/ 417176 h 541230"/>
                    <a:gd name="csX105" fmla="*/ 366753 w 398671"/>
                    <a:gd name="csY105" fmla="*/ 418264 h 541230"/>
                    <a:gd name="csX106" fmla="*/ 377990 w 398671"/>
                    <a:gd name="csY106" fmla="*/ 407732 h 541230"/>
                    <a:gd name="csX107" fmla="*/ 374373 w 398671"/>
                    <a:gd name="csY107" fmla="*/ 400112 h 541230"/>
                    <a:gd name="csX108" fmla="*/ 366753 w 398671"/>
                    <a:gd name="csY108" fmla="*/ 395758 h 541230"/>
                    <a:gd name="csX109" fmla="*/ 381256 w 398671"/>
                    <a:gd name="csY109" fmla="*/ 387050 h 541230"/>
                    <a:gd name="csX110" fmla="*/ 373637 w 398671"/>
                    <a:gd name="csY110" fmla="*/ 370723 h 541230"/>
                    <a:gd name="csX111" fmla="*/ 377990 w 398671"/>
                    <a:gd name="csY111" fmla="*/ 365665 h 541230"/>
                    <a:gd name="csX112" fmla="*/ 383081 w 398671"/>
                    <a:gd name="csY112" fmla="*/ 344247 h 541230"/>
                    <a:gd name="csX113" fmla="*/ 379815 w 398671"/>
                    <a:gd name="csY113" fmla="*/ 335540 h 541230"/>
                    <a:gd name="csX114" fmla="*/ 385610 w 398671"/>
                    <a:gd name="csY114" fmla="*/ 319949 h 541230"/>
                    <a:gd name="csX115" fmla="*/ 383817 w 398671"/>
                    <a:gd name="csY115" fmla="*/ 305446 h 541230"/>
                    <a:gd name="csX116" fmla="*/ 389964 w 398671"/>
                    <a:gd name="csY116" fmla="*/ 301092 h 541230"/>
                    <a:gd name="csX117" fmla="*/ 378727 w 398671"/>
                    <a:gd name="csY117" fmla="*/ 291648 h 541230"/>
                    <a:gd name="csX118" fmla="*/ 377990 w 398671"/>
                    <a:gd name="csY118" fmla="*/ 282236 h 541230"/>
                    <a:gd name="csX119" fmla="*/ 382344 w 398671"/>
                    <a:gd name="csY119" fmla="*/ 278587 h 541230"/>
                    <a:gd name="csX120" fmla="*/ 377990 w 398671"/>
                    <a:gd name="csY120" fmla="*/ 267702 h 541230"/>
                    <a:gd name="csX121" fmla="*/ 355517 w 398671"/>
                    <a:gd name="csY121" fmla="*/ 247053 h 541230"/>
                    <a:gd name="csX122" fmla="*/ 346072 w 398671"/>
                    <a:gd name="csY122" fmla="*/ 255377 h 541230"/>
                    <a:gd name="csX123" fmla="*/ 344280 w 398671"/>
                    <a:gd name="csY123" fmla="*/ 234695 h 541230"/>
                    <a:gd name="csX124" fmla="*/ 337365 w 398671"/>
                    <a:gd name="csY124" fmla="*/ 232166 h 541230"/>
                    <a:gd name="csX125" fmla="*/ 338453 w 398671"/>
                    <a:gd name="csY125" fmla="*/ 218368 h 541230"/>
                    <a:gd name="csX126" fmla="*/ 334099 w 398671"/>
                    <a:gd name="csY126" fmla="*/ 215839 h 541230"/>
                    <a:gd name="csX127" fmla="*/ 333011 w 398671"/>
                    <a:gd name="csY127" fmla="*/ 201337 h 541230"/>
                    <a:gd name="csX128" fmla="*/ 327952 w 398671"/>
                    <a:gd name="csY128" fmla="*/ 199512 h 541230"/>
                    <a:gd name="csX129" fmla="*/ 329041 w 398671"/>
                    <a:gd name="csY129" fmla="*/ 178126 h 541230"/>
                    <a:gd name="csX130" fmla="*/ 325391 w 398671"/>
                    <a:gd name="csY130" fmla="*/ 168682 h 541230"/>
                    <a:gd name="csX131" fmla="*/ 321037 w 398671"/>
                    <a:gd name="csY131" fmla="*/ 169419 h 541230"/>
                    <a:gd name="csX132" fmla="*/ 323599 w 398671"/>
                    <a:gd name="csY132" fmla="*/ 162504 h 541230"/>
                    <a:gd name="csX133" fmla="*/ 330482 w 398671"/>
                    <a:gd name="csY133" fmla="*/ 154884 h 541230"/>
                    <a:gd name="csX134" fmla="*/ 333011 w 398671"/>
                    <a:gd name="csY134" fmla="*/ 141118 h 541230"/>
                    <a:gd name="csX135" fmla="*/ 352251 w 398671"/>
                    <a:gd name="csY135" fmla="*/ 129881 h 541230"/>
                    <a:gd name="csX136" fmla="*/ 361663 w 398671"/>
                    <a:gd name="csY136" fmla="*/ 137501 h 541230"/>
                    <a:gd name="csX137" fmla="*/ 372932 w 398671"/>
                    <a:gd name="csY137" fmla="*/ 136028 h 541230"/>
                    <a:gd name="csX138" fmla="*/ 381256 w 398671"/>
                    <a:gd name="csY138" fmla="*/ 134939 h 541230"/>
                    <a:gd name="csX139" fmla="*/ 385610 w 398671"/>
                    <a:gd name="csY139" fmla="*/ 129145 h 541230"/>
                    <a:gd name="csX140" fmla="*/ 383081 w 398671"/>
                    <a:gd name="csY140" fmla="*/ 117908 h 541230"/>
                    <a:gd name="csX141" fmla="*/ 377990 w 398671"/>
                    <a:gd name="csY141" fmla="*/ 117172 h 541230"/>
                    <a:gd name="csX142" fmla="*/ 382344 w 398671"/>
                    <a:gd name="csY142" fmla="*/ 110993 h 541230"/>
                    <a:gd name="csX143" fmla="*/ 377990 w 398671"/>
                    <a:gd name="csY143" fmla="*/ 99020 h 541230"/>
                    <a:gd name="csX144" fmla="*/ 398672 w 398671"/>
                    <a:gd name="csY144" fmla="*/ 94666 h 541230"/>
                    <a:gd name="csX145" fmla="*/ 388171 w 398671"/>
                    <a:gd name="csY145" fmla="*/ 91048 h 541230"/>
                    <a:gd name="csX146" fmla="*/ 373637 w 398671"/>
                    <a:gd name="csY146" fmla="*/ 67838 h 541230"/>
                    <a:gd name="csX147" fmla="*/ 364929 w 398671"/>
                    <a:gd name="csY147" fmla="*/ 64573 h 541230"/>
                    <a:gd name="csX148" fmla="*/ 359134 w 398671"/>
                    <a:gd name="csY148" fmla="*/ 59482 h 541230"/>
                    <a:gd name="csX149" fmla="*/ 341718 w 398671"/>
                    <a:gd name="csY149" fmla="*/ 59482 h 541230"/>
                    <a:gd name="csX150" fmla="*/ 337365 w 398671"/>
                    <a:gd name="csY150" fmla="*/ 48982 h 541230"/>
                    <a:gd name="csX151" fmla="*/ 344280 w 398671"/>
                    <a:gd name="csY151" fmla="*/ 38801 h 541230"/>
                    <a:gd name="csX152" fmla="*/ 353692 w 398671"/>
                    <a:gd name="csY152" fmla="*/ 34447 h 541230"/>
                    <a:gd name="csX153" fmla="*/ 346809 w 398671"/>
                    <a:gd name="csY153" fmla="*/ 30125 h 541230"/>
                    <a:gd name="csX154" fmla="*/ 352251 w 398671"/>
                    <a:gd name="csY154" fmla="*/ 22506 h 5412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</a:cxnLst>
                  <a:rect l="l" t="t" r="r" b="b"/>
                  <a:pathLst>
                    <a:path w="398671" h="541230">
                      <a:moveTo>
                        <a:pt x="352251" y="22506"/>
                      </a:moveTo>
                      <a:lnTo>
                        <a:pt x="341014" y="9444"/>
                      </a:lnTo>
                      <a:lnTo>
                        <a:pt x="346072" y="2529"/>
                      </a:lnTo>
                      <a:lnTo>
                        <a:pt x="339189" y="0"/>
                      </a:lnTo>
                      <a:lnTo>
                        <a:pt x="332306" y="0"/>
                      </a:lnTo>
                      <a:lnTo>
                        <a:pt x="304006" y="7619"/>
                      </a:lnTo>
                      <a:lnTo>
                        <a:pt x="304006" y="25035"/>
                      </a:lnTo>
                      <a:lnTo>
                        <a:pt x="297123" y="32654"/>
                      </a:lnTo>
                      <a:lnTo>
                        <a:pt x="277146" y="29389"/>
                      </a:lnTo>
                      <a:lnTo>
                        <a:pt x="281500" y="37008"/>
                      </a:lnTo>
                      <a:lnTo>
                        <a:pt x="272792" y="47157"/>
                      </a:lnTo>
                      <a:lnTo>
                        <a:pt x="258290" y="42067"/>
                      </a:lnTo>
                      <a:lnTo>
                        <a:pt x="255024" y="45716"/>
                      </a:lnTo>
                      <a:lnTo>
                        <a:pt x="250670" y="54040"/>
                      </a:lnTo>
                      <a:lnTo>
                        <a:pt x="242699" y="53336"/>
                      </a:lnTo>
                      <a:lnTo>
                        <a:pt x="239433" y="63484"/>
                      </a:lnTo>
                      <a:lnTo>
                        <a:pt x="229989" y="67838"/>
                      </a:lnTo>
                      <a:lnTo>
                        <a:pt x="213662" y="88519"/>
                      </a:lnTo>
                      <a:lnTo>
                        <a:pt x="207515" y="102285"/>
                      </a:lnTo>
                      <a:lnTo>
                        <a:pt x="219489" y="110993"/>
                      </a:lnTo>
                      <a:lnTo>
                        <a:pt x="218752" y="115347"/>
                      </a:lnTo>
                      <a:lnTo>
                        <a:pt x="214398" y="129881"/>
                      </a:lnTo>
                      <a:lnTo>
                        <a:pt x="202425" y="142911"/>
                      </a:lnTo>
                      <a:lnTo>
                        <a:pt x="195542" y="144384"/>
                      </a:lnTo>
                      <a:lnTo>
                        <a:pt x="171243" y="170507"/>
                      </a:lnTo>
                      <a:lnTo>
                        <a:pt x="173036" y="175565"/>
                      </a:lnTo>
                      <a:lnTo>
                        <a:pt x="186098" y="180655"/>
                      </a:lnTo>
                      <a:lnTo>
                        <a:pt x="181744" y="193717"/>
                      </a:lnTo>
                      <a:lnTo>
                        <a:pt x="186098" y="195158"/>
                      </a:lnTo>
                      <a:lnTo>
                        <a:pt x="189363" y="201337"/>
                      </a:lnTo>
                      <a:lnTo>
                        <a:pt x="178126" y="216928"/>
                      </a:lnTo>
                      <a:lnTo>
                        <a:pt x="182480" y="249582"/>
                      </a:lnTo>
                      <a:lnTo>
                        <a:pt x="177390" y="256465"/>
                      </a:lnTo>
                      <a:lnTo>
                        <a:pt x="174125" y="276058"/>
                      </a:lnTo>
                      <a:lnTo>
                        <a:pt x="166153" y="285502"/>
                      </a:lnTo>
                      <a:lnTo>
                        <a:pt x="135324" y="309801"/>
                      </a:lnTo>
                      <a:lnTo>
                        <a:pt x="109552" y="319213"/>
                      </a:lnTo>
                      <a:lnTo>
                        <a:pt x="93225" y="319213"/>
                      </a:lnTo>
                      <a:lnTo>
                        <a:pt x="86342" y="308712"/>
                      </a:lnTo>
                      <a:lnTo>
                        <a:pt x="65661" y="313066"/>
                      </a:lnTo>
                      <a:lnTo>
                        <a:pt x="56953" y="310537"/>
                      </a:lnTo>
                      <a:lnTo>
                        <a:pt x="54424" y="302885"/>
                      </a:lnTo>
                      <a:lnTo>
                        <a:pt x="36272" y="305446"/>
                      </a:lnTo>
                      <a:lnTo>
                        <a:pt x="43187" y="327920"/>
                      </a:lnTo>
                      <a:lnTo>
                        <a:pt x="26860" y="348602"/>
                      </a:lnTo>
                      <a:lnTo>
                        <a:pt x="27564" y="353692"/>
                      </a:lnTo>
                      <a:lnTo>
                        <a:pt x="37008" y="356221"/>
                      </a:lnTo>
                      <a:lnTo>
                        <a:pt x="35568" y="370723"/>
                      </a:lnTo>
                      <a:lnTo>
                        <a:pt x="41362" y="391405"/>
                      </a:lnTo>
                      <a:lnTo>
                        <a:pt x="36272" y="398319"/>
                      </a:lnTo>
                      <a:lnTo>
                        <a:pt x="11269" y="404466"/>
                      </a:lnTo>
                      <a:lnTo>
                        <a:pt x="3650" y="416439"/>
                      </a:lnTo>
                      <a:lnTo>
                        <a:pt x="1088" y="432030"/>
                      </a:lnTo>
                      <a:lnTo>
                        <a:pt x="4354" y="439650"/>
                      </a:lnTo>
                      <a:lnTo>
                        <a:pt x="0" y="445828"/>
                      </a:lnTo>
                      <a:lnTo>
                        <a:pt x="4354" y="450919"/>
                      </a:lnTo>
                      <a:lnTo>
                        <a:pt x="4354" y="460331"/>
                      </a:lnTo>
                      <a:lnTo>
                        <a:pt x="9444" y="464684"/>
                      </a:lnTo>
                      <a:lnTo>
                        <a:pt x="8708" y="470479"/>
                      </a:lnTo>
                      <a:lnTo>
                        <a:pt x="18152" y="473040"/>
                      </a:lnTo>
                      <a:lnTo>
                        <a:pt x="17416" y="479923"/>
                      </a:lnTo>
                      <a:lnTo>
                        <a:pt x="26860" y="479187"/>
                      </a:lnTo>
                      <a:lnTo>
                        <a:pt x="31918" y="491160"/>
                      </a:lnTo>
                      <a:lnTo>
                        <a:pt x="43891" y="499164"/>
                      </a:lnTo>
                      <a:lnTo>
                        <a:pt x="55160" y="499164"/>
                      </a:lnTo>
                      <a:lnTo>
                        <a:pt x="75105" y="486102"/>
                      </a:lnTo>
                      <a:lnTo>
                        <a:pt x="95786" y="481748"/>
                      </a:lnTo>
                      <a:lnTo>
                        <a:pt x="105198" y="465421"/>
                      </a:lnTo>
                      <a:lnTo>
                        <a:pt x="113906" y="461067"/>
                      </a:lnTo>
                      <a:lnTo>
                        <a:pt x="142207" y="463596"/>
                      </a:lnTo>
                      <a:lnTo>
                        <a:pt x="146561" y="467950"/>
                      </a:lnTo>
                      <a:lnTo>
                        <a:pt x="137116" y="471568"/>
                      </a:lnTo>
                      <a:lnTo>
                        <a:pt x="140382" y="492985"/>
                      </a:lnTo>
                      <a:lnTo>
                        <a:pt x="136060" y="496251"/>
                      </a:lnTo>
                      <a:lnTo>
                        <a:pt x="144736" y="525639"/>
                      </a:lnTo>
                      <a:lnTo>
                        <a:pt x="149826" y="530730"/>
                      </a:lnTo>
                      <a:lnTo>
                        <a:pt x="154916" y="530730"/>
                      </a:lnTo>
                      <a:lnTo>
                        <a:pt x="156005" y="540142"/>
                      </a:lnTo>
                      <a:lnTo>
                        <a:pt x="172332" y="541230"/>
                      </a:lnTo>
                      <a:lnTo>
                        <a:pt x="175597" y="531786"/>
                      </a:lnTo>
                      <a:lnTo>
                        <a:pt x="170507" y="529993"/>
                      </a:lnTo>
                      <a:lnTo>
                        <a:pt x="179215" y="509312"/>
                      </a:lnTo>
                      <a:lnTo>
                        <a:pt x="190452" y="506047"/>
                      </a:lnTo>
                      <a:lnTo>
                        <a:pt x="194806" y="511137"/>
                      </a:lnTo>
                      <a:lnTo>
                        <a:pt x="204954" y="506047"/>
                      </a:lnTo>
                      <a:lnTo>
                        <a:pt x="206779" y="494810"/>
                      </a:lnTo>
                      <a:lnTo>
                        <a:pt x="221281" y="481748"/>
                      </a:lnTo>
                      <a:lnTo>
                        <a:pt x="241258" y="486806"/>
                      </a:lnTo>
                      <a:lnTo>
                        <a:pt x="252111" y="496251"/>
                      </a:lnTo>
                      <a:lnTo>
                        <a:pt x="263380" y="481012"/>
                      </a:lnTo>
                      <a:lnTo>
                        <a:pt x="262644" y="469775"/>
                      </a:lnTo>
                      <a:lnTo>
                        <a:pt x="265909" y="462892"/>
                      </a:lnTo>
                      <a:lnTo>
                        <a:pt x="278235" y="464684"/>
                      </a:lnTo>
                      <a:lnTo>
                        <a:pt x="281500" y="475921"/>
                      </a:lnTo>
                      <a:lnTo>
                        <a:pt x="286590" y="470479"/>
                      </a:lnTo>
                      <a:lnTo>
                        <a:pt x="290944" y="472304"/>
                      </a:lnTo>
                      <a:lnTo>
                        <a:pt x="286590" y="463596"/>
                      </a:lnTo>
                      <a:lnTo>
                        <a:pt x="289119" y="454184"/>
                      </a:lnTo>
                      <a:lnTo>
                        <a:pt x="309800" y="447269"/>
                      </a:lnTo>
                      <a:lnTo>
                        <a:pt x="305831" y="437857"/>
                      </a:lnTo>
                      <a:lnTo>
                        <a:pt x="299652" y="435296"/>
                      </a:lnTo>
                      <a:lnTo>
                        <a:pt x="302181" y="412085"/>
                      </a:lnTo>
                      <a:lnTo>
                        <a:pt x="326480" y="414647"/>
                      </a:lnTo>
                      <a:lnTo>
                        <a:pt x="331570" y="409556"/>
                      </a:lnTo>
                      <a:lnTo>
                        <a:pt x="344280" y="417176"/>
                      </a:lnTo>
                      <a:lnTo>
                        <a:pt x="366753" y="418264"/>
                      </a:lnTo>
                      <a:lnTo>
                        <a:pt x="377990" y="407732"/>
                      </a:lnTo>
                      <a:lnTo>
                        <a:pt x="374373" y="400112"/>
                      </a:lnTo>
                      <a:lnTo>
                        <a:pt x="366753" y="395758"/>
                      </a:lnTo>
                      <a:lnTo>
                        <a:pt x="381256" y="387050"/>
                      </a:lnTo>
                      <a:lnTo>
                        <a:pt x="373637" y="370723"/>
                      </a:lnTo>
                      <a:lnTo>
                        <a:pt x="377990" y="365665"/>
                      </a:lnTo>
                      <a:lnTo>
                        <a:pt x="383081" y="344247"/>
                      </a:lnTo>
                      <a:lnTo>
                        <a:pt x="379815" y="335540"/>
                      </a:lnTo>
                      <a:lnTo>
                        <a:pt x="385610" y="319949"/>
                      </a:lnTo>
                      <a:lnTo>
                        <a:pt x="383817" y="305446"/>
                      </a:lnTo>
                      <a:lnTo>
                        <a:pt x="389964" y="301092"/>
                      </a:lnTo>
                      <a:lnTo>
                        <a:pt x="378727" y="291648"/>
                      </a:lnTo>
                      <a:lnTo>
                        <a:pt x="377990" y="282236"/>
                      </a:lnTo>
                      <a:lnTo>
                        <a:pt x="382344" y="278587"/>
                      </a:lnTo>
                      <a:lnTo>
                        <a:pt x="377990" y="267702"/>
                      </a:lnTo>
                      <a:lnTo>
                        <a:pt x="355517" y="247053"/>
                      </a:lnTo>
                      <a:lnTo>
                        <a:pt x="346072" y="255377"/>
                      </a:lnTo>
                      <a:lnTo>
                        <a:pt x="344280" y="234695"/>
                      </a:lnTo>
                      <a:lnTo>
                        <a:pt x="337365" y="232166"/>
                      </a:lnTo>
                      <a:lnTo>
                        <a:pt x="338453" y="218368"/>
                      </a:lnTo>
                      <a:lnTo>
                        <a:pt x="334099" y="215839"/>
                      </a:lnTo>
                      <a:lnTo>
                        <a:pt x="333011" y="201337"/>
                      </a:lnTo>
                      <a:lnTo>
                        <a:pt x="327952" y="199512"/>
                      </a:lnTo>
                      <a:lnTo>
                        <a:pt x="329041" y="178126"/>
                      </a:lnTo>
                      <a:lnTo>
                        <a:pt x="325391" y="168682"/>
                      </a:lnTo>
                      <a:lnTo>
                        <a:pt x="321037" y="169419"/>
                      </a:lnTo>
                      <a:lnTo>
                        <a:pt x="323599" y="162504"/>
                      </a:lnTo>
                      <a:lnTo>
                        <a:pt x="330482" y="154884"/>
                      </a:lnTo>
                      <a:lnTo>
                        <a:pt x="333011" y="141118"/>
                      </a:lnTo>
                      <a:lnTo>
                        <a:pt x="352251" y="129881"/>
                      </a:lnTo>
                      <a:lnTo>
                        <a:pt x="361663" y="137501"/>
                      </a:lnTo>
                      <a:lnTo>
                        <a:pt x="372932" y="136028"/>
                      </a:lnTo>
                      <a:lnTo>
                        <a:pt x="381256" y="134939"/>
                      </a:lnTo>
                      <a:lnTo>
                        <a:pt x="385610" y="129145"/>
                      </a:lnTo>
                      <a:lnTo>
                        <a:pt x="383081" y="117908"/>
                      </a:lnTo>
                      <a:lnTo>
                        <a:pt x="377990" y="117172"/>
                      </a:lnTo>
                      <a:lnTo>
                        <a:pt x="382344" y="110993"/>
                      </a:lnTo>
                      <a:lnTo>
                        <a:pt x="377990" y="99020"/>
                      </a:lnTo>
                      <a:lnTo>
                        <a:pt x="398672" y="94666"/>
                      </a:lnTo>
                      <a:lnTo>
                        <a:pt x="388171" y="91048"/>
                      </a:lnTo>
                      <a:lnTo>
                        <a:pt x="373637" y="67838"/>
                      </a:lnTo>
                      <a:lnTo>
                        <a:pt x="364929" y="64573"/>
                      </a:lnTo>
                      <a:lnTo>
                        <a:pt x="359134" y="59482"/>
                      </a:lnTo>
                      <a:lnTo>
                        <a:pt x="341718" y="59482"/>
                      </a:lnTo>
                      <a:lnTo>
                        <a:pt x="337365" y="48982"/>
                      </a:lnTo>
                      <a:lnTo>
                        <a:pt x="344280" y="38801"/>
                      </a:lnTo>
                      <a:lnTo>
                        <a:pt x="353692" y="34447"/>
                      </a:lnTo>
                      <a:lnTo>
                        <a:pt x="346809" y="30125"/>
                      </a:lnTo>
                      <a:lnTo>
                        <a:pt x="352251" y="2250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0" name="Forma Livre: Forma 339">
                  <a:extLst>
                    <a:ext uri="{FF2B5EF4-FFF2-40B4-BE49-F238E27FC236}">
                      <a16:creationId xmlns:a16="http://schemas.microsoft.com/office/drawing/2014/main" id="{94C76683-2A6D-6E7A-8584-0F1F569FAD72}"/>
                    </a:ext>
                  </a:extLst>
                </p:cNvPr>
                <p:cNvSpPr/>
                <p:nvPr/>
              </p:nvSpPr>
              <p:spPr>
                <a:xfrm>
                  <a:off x="1927548" y="5093542"/>
                  <a:ext cx="398671" cy="541230"/>
                </a:xfrm>
                <a:custGeom>
                  <a:avLst/>
                  <a:gdLst>
                    <a:gd name="csX0" fmla="*/ 352251 w 398671"/>
                    <a:gd name="csY0" fmla="*/ 22506 h 541230"/>
                    <a:gd name="csX1" fmla="*/ 341014 w 398671"/>
                    <a:gd name="csY1" fmla="*/ 9444 h 541230"/>
                    <a:gd name="csX2" fmla="*/ 346072 w 398671"/>
                    <a:gd name="csY2" fmla="*/ 2529 h 541230"/>
                    <a:gd name="csX3" fmla="*/ 339189 w 398671"/>
                    <a:gd name="csY3" fmla="*/ 0 h 541230"/>
                    <a:gd name="csX4" fmla="*/ 332306 w 398671"/>
                    <a:gd name="csY4" fmla="*/ 0 h 541230"/>
                    <a:gd name="csX5" fmla="*/ 304006 w 398671"/>
                    <a:gd name="csY5" fmla="*/ 7619 h 541230"/>
                    <a:gd name="csX6" fmla="*/ 304006 w 398671"/>
                    <a:gd name="csY6" fmla="*/ 25035 h 541230"/>
                    <a:gd name="csX7" fmla="*/ 297123 w 398671"/>
                    <a:gd name="csY7" fmla="*/ 32654 h 541230"/>
                    <a:gd name="csX8" fmla="*/ 277146 w 398671"/>
                    <a:gd name="csY8" fmla="*/ 29389 h 541230"/>
                    <a:gd name="csX9" fmla="*/ 281500 w 398671"/>
                    <a:gd name="csY9" fmla="*/ 37008 h 541230"/>
                    <a:gd name="csX10" fmla="*/ 272792 w 398671"/>
                    <a:gd name="csY10" fmla="*/ 47157 h 541230"/>
                    <a:gd name="csX11" fmla="*/ 258290 w 398671"/>
                    <a:gd name="csY11" fmla="*/ 42067 h 541230"/>
                    <a:gd name="csX12" fmla="*/ 255024 w 398671"/>
                    <a:gd name="csY12" fmla="*/ 45716 h 541230"/>
                    <a:gd name="csX13" fmla="*/ 250670 w 398671"/>
                    <a:gd name="csY13" fmla="*/ 54040 h 541230"/>
                    <a:gd name="csX14" fmla="*/ 242699 w 398671"/>
                    <a:gd name="csY14" fmla="*/ 53336 h 541230"/>
                    <a:gd name="csX15" fmla="*/ 239433 w 398671"/>
                    <a:gd name="csY15" fmla="*/ 63484 h 541230"/>
                    <a:gd name="csX16" fmla="*/ 229989 w 398671"/>
                    <a:gd name="csY16" fmla="*/ 67838 h 541230"/>
                    <a:gd name="csX17" fmla="*/ 213662 w 398671"/>
                    <a:gd name="csY17" fmla="*/ 88519 h 541230"/>
                    <a:gd name="csX18" fmla="*/ 207515 w 398671"/>
                    <a:gd name="csY18" fmla="*/ 102285 h 541230"/>
                    <a:gd name="csX19" fmla="*/ 219489 w 398671"/>
                    <a:gd name="csY19" fmla="*/ 110993 h 541230"/>
                    <a:gd name="csX20" fmla="*/ 218752 w 398671"/>
                    <a:gd name="csY20" fmla="*/ 115347 h 541230"/>
                    <a:gd name="csX21" fmla="*/ 214398 w 398671"/>
                    <a:gd name="csY21" fmla="*/ 129881 h 541230"/>
                    <a:gd name="csX22" fmla="*/ 202425 w 398671"/>
                    <a:gd name="csY22" fmla="*/ 142911 h 541230"/>
                    <a:gd name="csX23" fmla="*/ 195542 w 398671"/>
                    <a:gd name="csY23" fmla="*/ 144384 h 541230"/>
                    <a:gd name="csX24" fmla="*/ 171243 w 398671"/>
                    <a:gd name="csY24" fmla="*/ 170507 h 541230"/>
                    <a:gd name="csX25" fmla="*/ 173036 w 398671"/>
                    <a:gd name="csY25" fmla="*/ 175565 h 541230"/>
                    <a:gd name="csX26" fmla="*/ 186098 w 398671"/>
                    <a:gd name="csY26" fmla="*/ 180655 h 541230"/>
                    <a:gd name="csX27" fmla="*/ 181744 w 398671"/>
                    <a:gd name="csY27" fmla="*/ 193717 h 541230"/>
                    <a:gd name="csX28" fmla="*/ 186098 w 398671"/>
                    <a:gd name="csY28" fmla="*/ 195158 h 541230"/>
                    <a:gd name="csX29" fmla="*/ 189363 w 398671"/>
                    <a:gd name="csY29" fmla="*/ 201337 h 541230"/>
                    <a:gd name="csX30" fmla="*/ 178126 w 398671"/>
                    <a:gd name="csY30" fmla="*/ 216928 h 541230"/>
                    <a:gd name="csX31" fmla="*/ 182480 w 398671"/>
                    <a:gd name="csY31" fmla="*/ 249582 h 541230"/>
                    <a:gd name="csX32" fmla="*/ 177390 w 398671"/>
                    <a:gd name="csY32" fmla="*/ 256465 h 541230"/>
                    <a:gd name="csX33" fmla="*/ 174125 w 398671"/>
                    <a:gd name="csY33" fmla="*/ 276058 h 541230"/>
                    <a:gd name="csX34" fmla="*/ 166153 w 398671"/>
                    <a:gd name="csY34" fmla="*/ 285502 h 541230"/>
                    <a:gd name="csX35" fmla="*/ 135324 w 398671"/>
                    <a:gd name="csY35" fmla="*/ 309801 h 541230"/>
                    <a:gd name="csX36" fmla="*/ 109552 w 398671"/>
                    <a:gd name="csY36" fmla="*/ 319213 h 541230"/>
                    <a:gd name="csX37" fmla="*/ 93225 w 398671"/>
                    <a:gd name="csY37" fmla="*/ 319213 h 541230"/>
                    <a:gd name="csX38" fmla="*/ 86342 w 398671"/>
                    <a:gd name="csY38" fmla="*/ 308712 h 541230"/>
                    <a:gd name="csX39" fmla="*/ 65661 w 398671"/>
                    <a:gd name="csY39" fmla="*/ 313066 h 541230"/>
                    <a:gd name="csX40" fmla="*/ 56953 w 398671"/>
                    <a:gd name="csY40" fmla="*/ 310537 h 541230"/>
                    <a:gd name="csX41" fmla="*/ 54424 w 398671"/>
                    <a:gd name="csY41" fmla="*/ 302885 h 541230"/>
                    <a:gd name="csX42" fmla="*/ 36272 w 398671"/>
                    <a:gd name="csY42" fmla="*/ 305446 h 541230"/>
                    <a:gd name="csX43" fmla="*/ 43187 w 398671"/>
                    <a:gd name="csY43" fmla="*/ 327920 h 541230"/>
                    <a:gd name="csX44" fmla="*/ 26860 w 398671"/>
                    <a:gd name="csY44" fmla="*/ 348602 h 541230"/>
                    <a:gd name="csX45" fmla="*/ 27564 w 398671"/>
                    <a:gd name="csY45" fmla="*/ 353692 h 541230"/>
                    <a:gd name="csX46" fmla="*/ 37008 w 398671"/>
                    <a:gd name="csY46" fmla="*/ 356221 h 541230"/>
                    <a:gd name="csX47" fmla="*/ 35568 w 398671"/>
                    <a:gd name="csY47" fmla="*/ 370723 h 541230"/>
                    <a:gd name="csX48" fmla="*/ 41362 w 398671"/>
                    <a:gd name="csY48" fmla="*/ 391405 h 541230"/>
                    <a:gd name="csX49" fmla="*/ 36272 w 398671"/>
                    <a:gd name="csY49" fmla="*/ 398319 h 541230"/>
                    <a:gd name="csX50" fmla="*/ 11269 w 398671"/>
                    <a:gd name="csY50" fmla="*/ 404466 h 541230"/>
                    <a:gd name="csX51" fmla="*/ 3650 w 398671"/>
                    <a:gd name="csY51" fmla="*/ 416439 h 541230"/>
                    <a:gd name="csX52" fmla="*/ 1088 w 398671"/>
                    <a:gd name="csY52" fmla="*/ 432030 h 541230"/>
                    <a:gd name="csX53" fmla="*/ 4354 w 398671"/>
                    <a:gd name="csY53" fmla="*/ 439650 h 541230"/>
                    <a:gd name="csX54" fmla="*/ 0 w 398671"/>
                    <a:gd name="csY54" fmla="*/ 445828 h 541230"/>
                    <a:gd name="csX55" fmla="*/ 4354 w 398671"/>
                    <a:gd name="csY55" fmla="*/ 450919 h 541230"/>
                    <a:gd name="csX56" fmla="*/ 4354 w 398671"/>
                    <a:gd name="csY56" fmla="*/ 460331 h 541230"/>
                    <a:gd name="csX57" fmla="*/ 9444 w 398671"/>
                    <a:gd name="csY57" fmla="*/ 464684 h 541230"/>
                    <a:gd name="csX58" fmla="*/ 8708 w 398671"/>
                    <a:gd name="csY58" fmla="*/ 470479 h 541230"/>
                    <a:gd name="csX59" fmla="*/ 18152 w 398671"/>
                    <a:gd name="csY59" fmla="*/ 473040 h 541230"/>
                    <a:gd name="csX60" fmla="*/ 17416 w 398671"/>
                    <a:gd name="csY60" fmla="*/ 479923 h 541230"/>
                    <a:gd name="csX61" fmla="*/ 26860 w 398671"/>
                    <a:gd name="csY61" fmla="*/ 479187 h 541230"/>
                    <a:gd name="csX62" fmla="*/ 31918 w 398671"/>
                    <a:gd name="csY62" fmla="*/ 491160 h 541230"/>
                    <a:gd name="csX63" fmla="*/ 43891 w 398671"/>
                    <a:gd name="csY63" fmla="*/ 499164 h 541230"/>
                    <a:gd name="csX64" fmla="*/ 55160 w 398671"/>
                    <a:gd name="csY64" fmla="*/ 499164 h 541230"/>
                    <a:gd name="csX65" fmla="*/ 75105 w 398671"/>
                    <a:gd name="csY65" fmla="*/ 486102 h 541230"/>
                    <a:gd name="csX66" fmla="*/ 95786 w 398671"/>
                    <a:gd name="csY66" fmla="*/ 481748 h 541230"/>
                    <a:gd name="csX67" fmla="*/ 105198 w 398671"/>
                    <a:gd name="csY67" fmla="*/ 465421 h 541230"/>
                    <a:gd name="csX68" fmla="*/ 113906 w 398671"/>
                    <a:gd name="csY68" fmla="*/ 461067 h 541230"/>
                    <a:gd name="csX69" fmla="*/ 142207 w 398671"/>
                    <a:gd name="csY69" fmla="*/ 463596 h 541230"/>
                    <a:gd name="csX70" fmla="*/ 146561 w 398671"/>
                    <a:gd name="csY70" fmla="*/ 467950 h 541230"/>
                    <a:gd name="csX71" fmla="*/ 137116 w 398671"/>
                    <a:gd name="csY71" fmla="*/ 471568 h 541230"/>
                    <a:gd name="csX72" fmla="*/ 140382 w 398671"/>
                    <a:gd name="csY72" fmla="*/ 492985 h 541230"/>
                    <a:gd name="csX73" fmla="*/ 136060 w 398671"/>
                    <a:gd name="csY73" fmla="*/ 496251 h 541230"/>
                    <a:gd name="csX74" fmla="*/ 144736 w 398671"/>
                    <a:gd name="csY74" fmla="*/ 525639 h 541230"/>
                    <a:gd name="csX75" fmla="*/ 149826 w 398671"/>
                    <a:gd name="csY75" fmla="*/ 530730 h 541230"/>
                    <a:gd name="csX76" fmla="*/ 154916 w 398671"/>
                    <a:gd name="csY76" fmla="*/ 530730 h 541230"/>
                    <a:gd name="csX77" fmla="*/ 156005 w 398671"/>
                    <a:gd name="csY77" fmla="*/ 540142 h 541230"/>
                    <a:gd name="csX78" fmla="*/ 172332 w 398671"/>
                    <a:gd name="csY78" fmla="*/ 541230 h 541230"/>
                    <a:gd name="csX79" fmla="*/ 175597 w 398671"/>
                    <a:gd name="csY79" fmla="*/ 531786 h 541230"/>
                    <a:gd name="csX80" fmla="*/ 170507 w 398671"/>
                    <a:gd name="csY80" fmla="*/ 529993 h 541230"/>
                    <a:gd name="csX81" fmla="*/ 179215 w 398671"/>
                    <a:gd name="csY81" fmla="*/ 509312 h 541230"/>
                    <a:gd name="csX82" fmla="*/ 190452 w 398671"/>
                    <a:gd name="csY82" fmla="*/ 506047 h 541230"/>
                    <a:gd name="csX83" fmla="*/ 194806 w 398671"/>
                    <a:gd name="csY83" fmla="*/ 511137 h 541230"/>
                    <a:gd name="csX84" fmla="*/ 204954 w 398671"/>
                    <a:gd name="csY84" fmla="*/ 506047 h 541230"/>
                    <a:gd name="csX85" fmla="*/ 206779 w 398671"/>
                    <a:gd name="csY85" fmla="*/ 494810 h 541230"/>
                    <a:gd name="csX86" fmla="*/ 221281 w 398671"/>
                    <a:gd name="csY86" fmla="*/ 481748 h 541230"/>
                    <a:gd name="csX87" fmla="*/ 241258 w 398671"/>
                    <a:gd name="csY87" fmla="*/ 486806 h 541230"/>
                    <a:gd name="csX88" fmla="*/ 252111 w 398671"/>
                    <a:gd name="csY88" fmla="*/ 496251 h 541230"/>
                    <a:gd name="csX89" fmla="*/ 263380 w 398671"/>
                    <a:gd name="csY89" fmla="*/ 481012 h 541230"/>
                    <a:gd name="csX90" fmla="*/ 262644 w 398671"/>
                    <a:gd name="csY90" fmla="*/ 469775 h 541230"/>
                    <a:gd name="csX91" fmla="*/ 265909 w 398671"/>
                    <a:gd name="csY91" fmla="*/ 462892 h 541230"/>
                    <a:gd name="csX92" fmla="*/ 278235 w 398671"/>
                    <a:gd name="csY92" fmla="*/ 464684 h 541230"/>
                    <a:gd name="csX93" fmla="*/ 281500 w 398671"/>
                    <a:gd name="csY93" fmla="*/ 475921 h 541230"/>
                    <a:gd name="csX94" fmla="*/ 286590 w 398671"/>
                    <a:gd name="csY94" fmla="*/ 470479 h 541230"/>
                    <a:gd name="csX95" fmla="*/ 290944 w 398671"/>
                    <a:gd name="csY95" fmla="*/ 472304 h 541230"/>
                    <a:gd name="csX96" fmla="*/ 286590 w 398671"/>
                    <a:gd name="csY96" fmla="*/ 463596 h 541230"/>
                    <a:gd name="csX97" fmla="*/ 289119 w 398671"/>
                    <a:gd name="csY97" fmla="*/ 454184 h 541230"/>
                    <a:gd name="csX98" fmla="*/ 309800 w 398671"/>
                    <a:gd name="csY98" fmla="*/ 447269 h 541230"/>
                    <a:gd name="csX99" fmla="*/ 305831 w 398671"/>
                    <a:gd name="csY99" fmla="*/ 437857 h 541230"/>
                    <a:gd name="csX100" fmla="*/ 299652 w 398671"/>
                    <a:gd name="csY100" fmla="*/ 435296 h 541230"/>
                    <a:gd name="csX101" fmla="*/ 302181 w 398671"/>
                    <a:gd name="csY101" fmla="*/ 412085 h 541230"/>
                    <a:gd name="csX102" fmla="*/ 326480 w 398671"/>
                    <a:gd name="csY102" fmla="*/ 414647 h 541230"/>
                    <a:gd name="csX103" fmla="*/ 331570 w 398671"/>
                    <a:gd name="csY103" fmla="*/ 409556 h 541230"/>
                    <a:gd name="csX104" fmla="*/ 344280 w 398671"/>
                    <a:gd name="csY104" fmla="*/ 417176 h 541230"/>
                    <a:gd name="csX105" fmla="*/ 366753 w 398671"/>
                    <a:gd name="csY105" fmla="*/ 418264 h 541230"/>
                    <a:gd name="csX106" fmla="*/ 377990 w 398671"/>
                    <a:gd name="csY106" fmla="*/ 407732 h 541230"/>
                    <a:gd name="csX107" fmla="*/ 374373 w 398671"/>
                    <a:gd name="csY107" fmla="*/ 400112 h 541230"/>
                    <a:gd name="csX108" fmla="*/ 366753 w 398671"/>
                    <a:gd name="csY108" fmla="*/ 395758 h 541230"/>
                    <a:gd name="csX109" fmla="*/ 381256 w 398671"/>
                    <a:gd name="csY109" fmla="*/ 387050 h 541230"/>
                    <a:gd name="csX110" fmla="*/ 373637 w 398671"/>
                    <a:gd name="csY110" fmla="*/ 370723 h 541230"/>
                    <a:gd name="csX111" fmla="*/ 377990 w 398671"/>
                    <a:gd name="csY111" fmla="*/ 365665 h 541230"/>
                    <a:gd name="csX112" fmla="*/ 383081 w 398671"/>
                    <a:gd name="csY112" fmla="*/ 344247 h 541230"/>
                    <a:gd name="csX113" fmla="*/ 379815 w 398671"/>
                    <a:gd name="csY113" fmla="*/ 335540 h 541230"/>
                    <a:gd name="csX114" fmla="*/ 385610 w 398671"/>
                    <a:gd name="csY114" fmla="*/ 319949 h 541230"/>
                    <a:gd name="csX115" fmla="*/ 383817 w 398671"/>
                    <a:gd name="csY115" fmla="*/ 305446 h 541230"/>
                    <a:gd name="csX116" fmla="*/ 389964 w 398671"/>
                    <a:gd name="csY116" fmla="*/ 301092 h 541230"/>
                    <a:gd name="csX117" fmla="*/ 378727 w 398671"/>
                    <a:gd name="csY117" fmla="*/ 291648 h 541230"/>
                    <a:gd name="csX118" fmla="*/ 377990 w 398671"/>
                    <a:gd name="csY118" fmla="*/ 282236 h 541230"/>
                    <a:gd name="csX119" fmla="*/ 382344 w 398671"/>
                    <a:gd name="csY119" fmla="*/ 278587 h 541230"/>
                    <a:gd name="csX120" fmla="*/ 377990 w 398671"/>
                    <a:gd name="csY120" fmla="*/ 267702 h 541230"/>
                    <a:gd name="csX121" fmla="*/ 355517 w 398671"/>
                    <a:gd name="csY121" fmla="*/ 247053 h 541230"/>
                    <a:gd name="csX122" fmla="*/ 346072 w 398671"/>
                    <a:gd name="csY122" fmla="*/ 255377 h 541230"/>
                    <a:gd name="csX123" fmla="*/ 344280 w 398671"/>
                    <a:gd name="csY123" fmla="*/ 234695 h 541230"/>
                    <a:gd name="csX124" fmla="*/ 337365 w 398671"/>
                    <a:gd name="csY124" fmla="*/ 232166 h 541230"/>
                    <a:gd name="csX125" fmla="*/ 338453 w 398671"/>
                    <a:gd name="csY125" fmla="*/ 218368 h 541230"/>
                    <a:gd name="csX126" fmla="*/ 334099 w 398671"/>
                    <a:gd name="csY126" fmla="*/ 215839 h 541230"/>
                    <a:gd name="csX127" fmla="*/ 333011 w 398671"/>
                    <a:gd name="csY127" fmla="*/ 201337 h 541230"/>
                    <a:gd name="csX128" fmla="*/ 327952 w 398671"/>
                    <a:gd name="csY128" fmla="*/ 199512 h 541230"/>
                    <a:gd name="csX129" fmla="*/ 329041 w 398671"/>
                    <a:gd name="csY129" fmla="*/ 178126 h 541230"/>
                    <a:gd name="csX130" fmla="*/ 325391 w 398671"/>
                    <a:gd name="csY130" fmla="*/ 168682 h 541230"/>
                    <a:gd name="csX131" fmla="*/ 321037 w 398671"/>
                    <a:gd name="csY131" fmla="*/ 169419 h 541230"/>
                    <a:gd name="csX132" fmla="*/ 323599 w 398671"/>
                    <a:gd name="csY132" fmla="*/ 162504 h 541230"/>
                    <a:gd name="csX133" fmla="*/ 330482 w 398671"/>
                    <a:gd name="csY133" fmla="*/ 154884 h 541230"/>
                    <a:gd name="csX134" fmla="*/ 333011 w 398671"/>
                    <a:gd name="csY134" fmla="*/ 141118 h 541230"/>
                    <a:gd name="csX135" fmla="*/ 352251 w 398671"/>
                    <a:gd name="csY135" fmla="*/ 129881 h 541230"/>
                    <a:gd name="csX136" fmla="*/ 361663 w 398671"/>
                    <a:gd name="csY136" fmla="*/ 137501 h 541230"/>
                    <a:gd name="csX137" fmla="*/ 372932 w 398671"/>
                    <a:gd name="csY137" fmla="*/ 136028 h 541230"/>
                    <a:gd name="csX138" fmla="*/ 381256 w 398671"/>
                    <a:gd name="csY138" fmla="*/ 134939 h 541230"/>
                    <a:gd name="csX139" fmla="*/ 385610 w 398671"/>
                    <a:gd name="csY139" fmla="*/ 129145 h 541230"/>
                    <a:gd name="csX140" fmla="*/ 383081 w 398671"/>
                    <a:gd name="csY140" fmla="*/ 117908 h 541230"/>
                    <a:gd name="csX141" fmla="*/ 377990 w 398671"/>
                    <a:gd name="csY141" fmla="*/ 117172 h 541230"/>
                    <a:gd name="csX142" fmla="*/ 382344 w 398671"/>
                    <a:gd name="csY142" fmla="*/ 110993 h 541230"/>
                    <a:gd name="csX143" fmla="*/ 377990 w 398671"/>
                    <a:gd name="csY143" fmla="*/ 99020 h 541230"/>
                    <a:gd name="csX144" fmla="*/ 398672 w 398671"/>
                    <a:gd name="csY144" fmla="*/ 94666 h 541230"/>
                    <a:gd name="csX145" fmla="*/ 388171 w 398671"/>
                    <a:gd name="csY145" fmla="*/ 91048 h 541230"/>
                    <a:gd name="csX146" fmla="*/ 373637 w 398671"/>
                    <a:gd name="csY146" fmla="*/ 67838 h 541230"/>
                    <a:gd name="csX147" fmla="*/ 364929 w 398671"/>
                    <a:gd name="csY147" fmla="*/ 64573 h 541230"/>
                    <a:gd name="csX148" fmla="*/ 359134 w 398671"/>
                    <a:gd name="csY148" fmla="*/ 59482 h 541230"/>
                    <a:gd name="csX149" fmla="*/ 341718 w 398671"/>
                    <a:gd name="csY149" fmla="*/ 59482 h 541230"/>
                    <a:gd name="csX150" fmla="*/ 337365 w 398671"/>
                    <a:gd name="csY150" fmla="*/ 48982 h 541230"/>
                    <a:gd name="csX151" fmla="*/ 344280 w 398671"/>
                    <a:gd name="csY151" fmla="*/ 38801 h 541230"/>
                    <a:gd name="csX152" fmla="*/ 353692 w 398671"/>
                    <a:gd name="csY152" fmla="*/ 34447 h 541230"/>
                    <a:gd name="csX153" fmla="*/ 346809 w 398671"/>
                    <a:gd name="csY153" fmla="*/ 30125 h 541230"/>
                    <a:gd name="csX154" fmla="*/ 352251 w 398671"/>
                    <a:gd name="csY154" fmla="*/ 22506 h 5412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</a:cxnLst>
                  <a:rect l="l" t="t" r="r" b="b"/>
                  <a:pathLst>
                    <a:path w="398671" h="541230">
                      <a:moveTo>
                        <a:pt x="352251" y="22506"/>
                      </a:moveTo>
                      <a:lnTo>
                        <a:pt x="341014" y="9444"/>
                      </a:lnTo>
                      <a:lnTo>
                        <a:pt x="346072" y="2529"/>
                      </a:lnTo>
                      <a:lnTo>
                        <a:pt x="339189" y="0"/>
                      </a:lnTo>
                      <a:lnTo>
                        <a:pt x="332306" y="0"/>
                      </a:lnTo>
                      <a:lnTo>
                        <a:pt x="304006" y="7619"/>
                      </a:lnTo>
                      <a:lnTo>
                        <a:pt x="304006" y="25035"/>
                      </a:lnTo>
                      <a:lnTo>
                        <a:pt x="297123" y="32654"/>
                      </a:lnTo>
                      <a:lnTo>
                        <a:pt x="277146" y="29389"/>
                      </a:lnTo>
                      <a:lnTo>
                        <a:pt x="281500" y="37008"/>
                      </a:lnTo>
                      <a:lnTo>
                        <a:pt x="272792" y="47157"/>
                      </a:lnTo>
                      <a:lnTo>
                        <a:pt x="258290" y="42067"/>
                      </a:lnTo>
                      <a:lnTo>
                        <a:pt x="255024" y="45716"/>
                      </a:lnTo>
                      <a:lnTo>
                        <a:pt x="250670" y="54040"/>
                      </a:lnTo>
                      <a:lnTo>
                        <a:pt x="242699" y="53336"/>
                      </a:lnTo>
                      <a:lnTo>
                        <a:pt x="239433" y="63484"/>
                      </a:lnTo>
                      <a:lnTo>
                        <a:pt x="229989" y="67838"/>
                      </a:lnTo>
                      <a:lnTo>
                        <a:pt x="213662" y="88519"/>
                      </a:lnTo>
                      <a:lnTo>
                        <a:pt x="207515" y="102285"/>
                      </a:lnTo>
                      <a:lnTo>
                        <a:pt x="219489" y="110993"/>
                      </a:lnTo>
                      <a:lnTo>
                        <a:pt x="218752" y="115347"/>
                      </a:lnTo>
                      <a:lnTo>
                        <a:pt x="214398" y="129881"/>
                      </a:lnTo>
                      <a:lnTo>
                        <a:pt x="202425" y="142911"/>
                      </a:lnTo>
                      <a:lnTo>
                        <a:pt x="195542" y="144384"/>
                      </a:lnTo>
                      <a:lnTo>
                        <a:pt x="171243" y="170507"/>
                      </a:lnTo>
                      <a:lnTo>
                        <a:pt x="173036" y="175565"/>
                      </a:lnTo>
                      <a:lnTo>
                        <a:pt x="186098" y="180655"/>
                      </a:lnTo>
                      <a:lnTo>
                        <a:pt x="181744" y="193717"/>
                      </a:lnTo>
                      <a:lnTo>
                        <a:pt x="186098" y="195158"/>
                      </a:lnTo>
                      <a:lnTo>
                        <a:pt x="189363" y="201337"/>
                      </a:lnTo>
                      <a:lnTo>
                        <a:pt x="178126" y="216928"/>
                      </a:lnTo>
                      <a:lnTo>
                        <a:pt x="182480" y="249582"/>
                      </a:lnTo>
                      <a:lnTo>
                        <a:pt x="177390" y="256465"/>
                      </a:lnTo>
                      <a:lnTo>
                        <a:pt x="174125" y="276058"/>
                      </a:lnTo>
                      <a:lnTo>
                        <a:pt x="166153" y="285502"/>
                      </a:lnTo>
                      <a:lnTo>
                        <a:pt x="135324" y="309801"/>
                      </a:lnTo>
                      <a:lnTo>
                        <a:pt x="109552" y="319213"/>
                      </a:lnTo>
                      <a:lnTo>
                        <a:pt x="93225" y="319213"/>
                      </a:lnTo>
                      <a:lnTo>
                        <a:pt x="86342" y="308712"/>
                      </a:lnTo>
                      <a:lnTo>
                        <a:pt x="65661" y="313066"/>
                      </a:lnTo>
                      <a:lnTo>
                        <a:pt x="56953" y="310537"/>
                      </a:lnTo>
                      <a:lnTo>
                        <a:pt x="54424" y="302885"/>
                      </a:lnTo>
                      <a:lnTo>
                        <a:pt x="36272" y="305446"/>
                      </a:lnTo>
                      <a:lnTo>
                        <a:pt x="43187" y="327920"/>
                      </a:lnTo>
                      <a:lnTo>
                        <a:pt x="26860" y="348602"/>
                      </a:lnTo>
                      <a:lnTo>
                        <a:pt x="27564" y="353692"/>
                      </a:lnTo>
                      <a:lnTo>
                        <a:pt x="37008" y="356221"/>
                      </a:lnTo>
                      <a:lnTo>
                        <a:pt x="35568" y="370723"/>
                      </a:lnTo>
                      <a:lnTo>
                        <a:pt x="41362" y="391405"/>
                      </a:lnTo>
                      <a:lnTo>
                        <a:pt x="36272" y="398319"/>
                      </a:lnTo>
                      <a:lnTo>
                        <a:pt x="11269" y="404466"/>
                      </a:lnTo>
                      <a:lnTo>
                        <a:pt x="3650" y="416439"/>
                      </a:lnTo>
                      <a:lnTo>
                        <a:pt x="1088" y="432030"/>
                      </a:lnTo>
                      <a:lnTo>
                        <a:pt x="4354" y="439650"/>
                      </a:lnTo>
                      <a:lnTo>
                        <a:pt x="0" y="445828"/>
                      </a:lnTo>
                      <a:lnTo>
                        <a:pt x="4354" y="450919"/>
                      </a:lnTo>
                      <a:lnTo>
                        <a:pt x="4354" y="460331"/>
                      </a:lnTo>
                      <a:lnTo>
                        <a:pt x="9444" y="464684"/>
                      </a:lnTo>
                      <a:lnTo>
                        <a:pt x="8708" y="470479"/>
                      </a:lnTo>
                      <a:lnTo>
                        <a:pt x="18152" y="473040"/>
                      </a:lnTo>
                      <a:lnTo>
                        <a:pt x="17416" y="479923"/>
                      </a:lnTo>
                      <a:lnTo>
                        <a:pt x="26860" y="479187"/>
                      </a:lnTo>
                      <a:lnTo>
                        <a:pt x="31918" y="491160"/>
                      </a:lnTo>
                      <a:lnTo>
                        <a:pt x="43891" y="499164"/>
                      </a:lnTo>
                      <a:lnTo>
                        <a:pt x="55160" y="499164"/>
                      </a:lnTo>
                      <a:lnTo>
                        <a:pt x="75105" y="486102"/>
                      </a:lnTo>
                      <a:lnTo>
                        <a:pt x="95786" y="481748"/>
                      </a:lnTo>
                      <a:lnTo>
                        <a:pt x="105198" y="465421"/>
                      </a:lnTo>
                      <a:lnTo>
                        <a:pt x="113906" y="461067"/>
                      </a:lnTo>
                      <a:lnTo>
                        <a:pt x="142207" y="463596"/>
                      </a:lnTo>
                      <a:lnTo>
                        <a:pt x="146561" y="467950"/>
                      </a:lnTo>
                      <a:lnTo>
                        <a:pt x="137116" y="471568"/>
                      </a:lnTo>
                      <a:lnTo>
                        <a:pt x="140382" y="492985"/>
                      </a:lnTo>
                      <a:lnTo>
                        <a:pt x="136060" y="496251"/>
                      </a:lnTo>
                      <a:lnTo>
                        <a:pt x="144736" y="525639"/>
                      </a:lnTo>
                      <a:lnTo>
                        <a:pt x="149826" y="530730"/>
                      </a:lnTo>
                      <a:lnTo>
                        <a:pt x="154916" y="530730"/>
                      </a:lnTo>
                      <a:lnTo>
                        <a:pt x="156005" y="540142"/>
                      </a:lnTo>
                      <a:lnTo>
                        <a:pt x="172332" y="541230"/>
                      </a:lnTo>
                      <a:lnTo>
                        <a:pt x="175597" y="531786"/>
                      </a:lnTo>
                      <a:lnTo>
                        <a:pt x="170507" y="529993"/>
                      </a:lnTo>
                      <a:lnTo>
                        <a:pt x="179215" y="509312"/>
                      </a:lnTo>
                      <a:lnTo>
                        <a:pt x="190452" y="506047"/>
                      </a:lnTo>
                      <a:lnTo>
                        <a:pt x="194806" y="511137"/>
                      </a:lnTo>
                      <a:lnTo>
                        <a:pt x="204954" y="506047"/>
                      </a:lnTo>
                      <a:lnTo>
                        <a:pt x="206779" y="494810"/>
                      </a:lnTo>
                      <a:lnTo>
                        <a:pt x="221281" y="481748"/>
                      </a:lnTo>
                      <a:lnTo>
                        <a:pt x="241258" y="486806"/>
                      </a:lnTo>
                      <a:lnTo>
                        <a:pt x="252111" y="496251"/>
                      </a:lnTo>
                      <a:lnTo>
                        <a:pt x="263380" y="481012"/>
                      </a:lnTo>
                      <a:lnTo>
                        <a:pt x="262644" y="469775"/>
                      </a:lnTo>
                      <a:lnTo>
                        <a:pt x="265909" y="462892"/>
                      </a:lnTo>
                      <a:lnTo>
                        <a:pt x="278235" y="464684"/>
                      </a:lnTo>
                      <a:lnTo>
                        <a:pt x="281500" y="475921"/>
                      </a:lnTo>
                      <a:lnTo>
                        <a:pt x="286590" y="470479"/>
                      </a:lnTo>
                      <a:lnTo>
                        <a:pt x="290944" y="472304"/>
                      </a:lnTo>
                      <a:lnTo>
                        <a:pt x="286590" y="463596"/>
                      </a:lnTo>
                      <a:lnTo>
                        <a:pt x="289119" y="454184"/>
                      </a:lnTo>
                      <a:lnTo>
                        <a:pt x="309800" y="447269"/>
                      </a:lnTo>
                      <a:lnTo>
                        <a:pt x="305831" y="437857"/>
                      </a:lnTo>
                      <a:lnTo>
                        <a:pt x="299652" y="435296"/>
                      </a:lnTo>
                      <a:lnTo>
                        <a:pt x="302181" y="412085"/>
                      </a:lnTo>
                      <a:lnTo>
                        <a:pt x="326480" y="414647"/>
                      </a:lnTo>
                      <a:lnTo>
                        <a:pt x="331570" y="409556"/>
                      </a:lnTo>
                      <a:lnTo>
                        <a:pt x="344280" y="417176"/>
                      </a:lnTo>
                      <a:lnTo>
                        <a:pt x="366753" y="418264"/>
                      </a:lnTo>
                      <a:lnTo>
                        <a:pt x="377990" y="407732"/>
                      </a:lnTo>
                      <a:lnTo>
                        <a:pt x="374373" y="400112"/>
                      </a:lnTo>
                      <a:lnTo>
                        <a:pt x="366753" y="395758"/>
                      </a:lnTo>
                      <a:lnTo>
                        <a:pt x="381256" y="387050"/>
                      </a:lnTo>
                      <a:lnTo>
                        <a:pt x="373637" y="370723"/>
                      </a:lnTo>
                      <a:lnTo>
                        <a:pt x="377990" y="365665"/>
                      </a:lnTo>
                      <a:lnTo>
                        <a:pt x="383081" y="344247"/>
                      </a:lnTo>
                      <a:lnTo>
                        <a:pt x="379815" y="335540"/>
                      </a:lnTo>
                      <a:lnTo>
                        <a:pt x="385610" y="319949"/>
                      </a:lnTo>
                      <a:lnTo>
                        <a:pt x="383817" y="305446"/>
                      </a:lnTo>
                      <a:lnTo>
                        <a:pt x="389964" y="301092"/>
                      </a:lnTo>
                      <a:lnTo>
                        <a:pt x="378727" y="291648"/>
                      </a:lnTo>
                      <a:lnTo>
                        <a:pt x="377990" y="282236"/>
                      </a:lnTo>
                      <a:lnTo>
                        <a:pt x="382344" y="278587"/>
                      </a:lnTo>
                      <a:lnTo>
                        <a:pt x="377990" y="267702"/>
                      </a:lnTo>
                      <a:lnTo>
                        <a:pt x="355517" y="247053"/>
                      </a:lnTo>
                      <a:lnTo>
                        <a:pt x="346072" y="255377"/>
                      </a:lnTo>
                      <a:lnTo>
                        <a:pt x="344280" y="234695"/>
                      </a:lnTo>
                      <a:lnTo>
                        <a:pt x="337365" y="232166"/>
                      </a:lnTo>
                      <a:lnTo>
                        <a:pt x="338453" y="218368"/>
                      </a:lnTo>
                      <a:lnTo>
                        <a:pt x="334099" y="215839"/>
                      </a:lnTo>
                      <a:lnTo>
                        <a:pt x="333011" y="201337"/>
                      </a:lnTo>
                      <a:lnTo>
                        <a:pt x="327952" y="199512"/>
                      </a:lnTo>
                      <a:lnTo>
                        <a:pt x="329041" y="178126"/>
                      </a:lnTo>
                      <a:lnTo>
                        <a:pt x="325391" y="168682"/>
                      </a:lnTo>
                      <a:lnTo>
                        <a:pt x="321037" y="169419"/>
                      </a:lnTo>
                      <a:lnTo>
                        <a:pt x="323599" y="162504"/>
                      </a:lnTo>
                      <a:lnTo>
                        <a:pt x="330482" y="154884"/>
                      </a:lnTo>
                      <a:lnTo>
                        <a:pt x="333011" y="141118"/>
                      </a:lnTo>
                      <a:lnTo>
                        <a:pt x="352251" y="129881"/>
                      </a:lnTo>
                      <a:lnTo>
                        <a:pt x="361663" y="137501"/>
                      </a:lnTo>
                      <a:lnTo>
                        <a:pt x="372932" y="136028"/>
                      </a:lnTo>
                      <a:lnTo>
                        <a:pt x="381256" y="134939"/>
                      </a:lnTo>
                      <a:lnTo>
                        <a:pt x="385610" y="129145"/>
                      </a:lnTo>
                      <a:lnTo>
                        <a:pt x="383081" y="117908"/>
                      </a:lnTo>
                      <a:lnTo>
                        <a:pt x="377990" y="117172"/>
                      </a:lnTo>
                      <a:lnTo>
                        <a:pt x="382344" y="110993"/>
                      </a:lnTo>
                      <a:lnTo>
                        <a:pt x="377990" y="99020"/>
                      </a:lnTo>
                      <a:lnTo>
                        <a:pt x="398672" y="94666"/>
                      </a:lnTo>
                      <a:lnTo>
                        <a:pt x="388171" y="91048"/>
                      </a:lnTo>
                      <a:lnTo>
                        <a:pt x="373637" y="67838"/>
                      </a:lnTo>
                      <a:lnTo>
                        <a:pt x="364929" y="64573"/>
                      </a:lnTo>
                      <a:lnTo>
                        <a:pt x="359134" y="59482"/>
                      </a:lnTo>
                      <a:lnTo>
                        <a:pt x="341718" y="59482"/>
                      </a:lnTo>
                      <a:lnTo>
                        <a:pt x="337365" y="48982"/>
                      </a:lnTo>
                      <a:lnTo>
                        <a:pt x="344280" y="38801"/>
                      </a:lnTo>
                      <a:lnTo>
                        <a:pt x="353692" y="34447"/>
                      </a:lnTo>
                      <a:lnTo>
                        <a:pt x="346809" y="30125"/>
                      </a:lnTo>
                      <a:lnTo>
                        <a:pt x="352251" y="2250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1" name="Forma Livre: Forma 340">
                  <a:extLst>
                    <a:ext uri="{FF2B5EF4-FFF2-40B4-BE49-F238E27FC236}">
                      <a16:creationId xmlns:a16="http://schemas.microsoft.com/office/drawing/2014/main" id="{D0BEF46F-577B-E9F1-ED3F-C9F984B537AB}"/>
                    </a:ext>
                  </a:extLst>
                </p:cNvPr>
                <p:cNvSpPr/>
                <p:nvPr/>
              </p:nvSpPr>
              <p:spPr>
                <a:xfrm>
                  <a:off x="1927548" y="5093542"/>
                  <a:ext cx="398671" cy="541230"/>
                </a:xfrm>
                <a:custGeom>
                  <a:avLst/>
                  <a:gdLst>
                    <a:gd name="csX0" fmla="*/ 352251 w 398671"/>
                    <a:gd name="csY0" fmla="*/ 22506 h 541230"/>
                    <a:gd name="csX1" fmla="*/ 341014 w 398671"/>
                    <a:gd name="csY1" fmla="*/ 9444 h 541230"/>
                    <a:gd name="csX2" fmla="*/ 346072 w 398671"/>
                    <a:gd name="csY2" fmla="*/ 2529 h 541230"/>
                    <a:gd name="csX3" fmla="*/ 339189 w 398671"/>
                    <a:gd name="csY3" fmla="*/ 0 h 541230"/>
                    <a:gd name="csX4" fmla="*/ 332306 w 398671"/>
                    <a:gd name="csY4" fmla="*/ 0 h 541230"/>
                    <a:gd name="csX5" fmla="*/ 304006 w 398671"/>
                    <a:gd name="csY5" fmla="*/ 7619 h 541230"/>
                    <a:gd name="csX6" fmla="*/ 304006 w 398671"/>
                    <a:gd name="csY6" fmla="*/ 25035 h 541230"/>
                    <a:gd name="csX7" fmla="*/ 297123 w 398671"/>
                    <a:gd name="csY7" fmla="*/ 32654 h 541230"/>
                    <a:gd name="csX8" fmla="*/ 277146 w 398671"/>
                    <a:gd name="csY8" fmla="*/ 29389 h 541230"/>
                    <a:gd name="csX9" fmla="*/ 281500 w 398671"/>
                    <a:gd name="csY9" fmla="*/ 37008 h 541230"/>
                    <a:gd name="csX10" fmla="*/ 272792 w 398671"/>
                    <a:gd name="csY10" fmla="*/ 47157 h 541230"/>
                    <a:gd name="csX11" fmla="*/ 258290 w 398671"/>
                    <a:gd name="csY11" fmla="*/ 42067 h 541230"/>
                    <a:gd name="csX12" fmla="*/ 255024 w 398671"/>
                    <a:gd name="csY12" fmla="*/ 45716 h 541230"/>
                    <a:gd name="csX13" fmla="*/ 250670 w 398671"/>
                    <a:gd name="csY13" fmla="*/ 54040 h 541230"/>
                    <a:gd name="csX14" fmla="*/ 242699 w 398671"/>
                    <a:gd name="csY14" fmla="*/ 53336 h 541230"/>
                    <a:gd name="csX15" fmla="*/ 239433 w 398671"/>
                    <a:gd name="csY15" fmla="*/ 63484 h 541230"/>
                    <a:gd name="csX16" fmla="*/ 229989 w 398671"/>
                    <a:gd name="csY16" fmla="*/ 67838 h 541230"/>
                    <a:gd name="csX17" fmla="*/ 213662 w 398671"/>
                    <a:gd name="csY17" fmla="*/ 88519 h 541230"/>
                    <a:gd name="csX18" fmla="*/ 207515 w 398671"/>
                    <a:gd name="csY18" fmla="*/ 102285 h 541230"/>
                    <a:gd name="csX19" fmla="*/ 219489 w 398671"/>
                    <a:gd name="csY19" fmla="*/ 110993 h 541230"/>
                    <a:gd name="csX20" fmla="*/ 218752 w 398671"/>
                    <a:gd name="csY20" fmla="*/ 115347 h 541230"/>
                    <a:gd name="csX21" fmla="*/ 214398 w 398671"/>
                    <a:gd name="csY21" fmla="*/ 129881 h 541230"/>
                    <a:gd name="csX22" fmla="*/ 202425 w 398671"/>
                    <a:gd name="csY22" fmla="*/ 142911 h 541230"/>
                    <a:gd name="csX23" fmla="*/ 195542 w 398671"/>
                    <a:gd name="csY23" fmla="*/ 144384 h 541230"/>
                    <a:gd name="csX24" fmla="*/ 171243 w 398671"/>
                    <a:gd name="csY24" fmla="*/ 170507 h 541230"/>
                    <a:gd name="csX25" fmla="*/ 173036 w 398671"/>
                    <a:gd name="csY25" fmla="*/ 175565 h 541230"/>
                    <a:gd name="csX26" fmla="*/ 186098 w 398671"/>
                    <a:gd name="csY26" fmla="*/ 180655 h 541230"/>
                    <a:gd name="csX27" fmla="*/ 181744 w 398671"/>
                    <a:gd name="csY27" fmla="*/ 193717 h 541230"/>
                    <a:gd name="csX28" fmla="*/ 186098 w 398671"/>
                    <a:gd name="csY28" fmla="*/ 195158 h 541230"/>
                    <a:gd name="csX29" fmla="*/ 189363 w 398671"/>
                    <a:gd name="csY29" fmla="*/ 201337 h 541230"/>
                    <a:gd name="csX30" fmla="*/ 178126 w 398671"/>
                    <a:gd name="csY30" fmla="*/ 216928 h 541230"/>
                    <a:gd name="csX31" fmla="*/ 182480 w 398671"/>
                    <a:gd name="csY31" fmla="*/ 249582 h 541230"/>
                    <a:gd name="csX32" fmla="*/ 177390 w 398671"/>
                    <a:gd name="csY32" fmla="*/ 256465 h 541230"/>
                    <a:gd name="csX33" fmla="*/ 174125 w 398671"/>
                    <a:gd name="csY33" fmla="*/ 276058 h 541230"/>
                    <a:gd name="csX34" fmla="*/ 166153 w 398671"/>
                    <a:gd name="csY34" fmla="*/ 285502 h 541230"/>
                    <a:gd name="csX35" fmla="*/ 135324 w 398671"/>
                    <a:gd name="csY35" fmla="*/ 309801 h 541230"/>
                    <a:gd name="csX36" fmla="*/ 109552 w 398671"/>
                    <a:gd name="csY36" fmla="*/ 319213 h 541230"/>
                    <a:gd name="csX37" fmla="*/ 93225 w 398671"/>
                    <a:gd name="csY37" fmla="*/ 319213 h 541230"/>
                    <a:gd name="csX38" fmla="*/ 86342 w 398671"/>
                    <a:gd name="csY38" fmla="*/ 308712 h 541230"/>
                    <a:gd name="csX39" fmla="*/ 65661 w 398671"/>
                    <a:gd name="csY39" fmla="*/ 313066 h 541230"/>
                    <a:gd name="csX40" fmla="*/ 56953 w 398671"/>
                    <a:gd name="csY40" fmla="*/ 310537 h 541230"/>
                    <a:gd name="csX41" fmla="*/ 54424 w 398671"/>
                    <a:gd name="csY41" fmla="*/ 302885 h 541230"/>
                    <a:gd name="csX42" fmla="*/ 36272 w 398671"/>
                    <a:gd name="csY42" fmla="*/ 305446 h 541230"/>
                    <a:gd name="csX43" fmla="*/ 43187 w 398671"/>
                    <a:gd name="csY43" fmla="*/ 327920 h 541230"/>
                    <a:gd name="csX44" fmla="*/ 26860 w 398671"/>
                    <a:gd name="csY44" fmla="*/ 348602 h 541230"/>
                    <a:gd name="csX45" fmla="*/ 27564 w 398671"/>
                    <a:gd name="csY45" fmla="*/ 353692 h 541230"/>
                    <a:gd name="csX46" fmla="*/ 37008 w 398671"/>
                    <a:gd name="csY46" fmla="*/ 356221 h 541230"/>
                    <a:gd name="csX47" fmla="*/ 35568 w 398671"/>
                    <a:gd name="csY47" fmla="*/ 370723 h 541230"/>
                    <a:gd name="csX48" fmla="*/ 41362 w 398671"/>
                    <a:gd name="csY48" fmla="*/ 391405 h 541230"/>
                    <a:gd name="csX49" fmla="*/ 36272 w 398671"/>
                    <a:gd name="csY49" fmla="*/ 398319 h 541230"/>
                    <a:gd name="csX50" fmla="*/ 11269 w 398671"/>
                    <a:gd name="csY50" fmla="*/ 404466 h 541230"/>
                    <a:gd name="csX51" fmla="*/ 3650 w 398671"/>
                    <a:gd name="csY51" fmla="*/ 416439 h 541230"/>
                    <a:gd name="csX52" fmla="*/ 1088 w 398671"/>
                    <a:gd name="csY52" fmla="*/ 432030 h 541230"/>
                    <a:gd name="csX53" fmla="*/ 4354 w 398671"/>
                    <a:gd name="csY53" fmla="*/ 439650 h 541230"/>
                    <a:gd name="csX54" fmla="*/ 0 w 398671"/>
                    <a:gd name="csY54" fmla="*/ 445828 h 541230"/>
                    <a:gd name="csX55" fmla="*/ 4354 w 398671"/>
                    <a:gd name="csY55" fmla="*/ 450919 h 541230"/>
                    <a:gd name="csX56" fmla="*/ 4354 w 398671"/>
                    <a:gd name="csY56" fmla="*/ 460331 h 541230"/>
                    <a:gd name="csX57" fmla="*/ 9444 w 398671"/>
                    <a:gd name="csY57" fmla="*/ 464684 h 541230"/>
                    <a:gd name="csX58" fmla="*/ 8708 w 398671"/>
                    <a:gd name="csY58" fmla="*/ 470479 h 541230"/>
                    <a:gd name="csX59" fmla="*/ 18152 w 398671"/>
                    <a:gd name="csY59" fmla="*/ 473040 h 541230"/>
                    <a:gd name="csX60" fmla="*/ 17416 w 398671"/>
                    <a:gd name="csY60" fmla="*/ 479923 h 541230"/>
                    <a:gd name="csX61" fmla="*/ 26860 w 398671"/>
                    <a:gd name="csY61" fmla="*/ 479187 h 541230"/>
                    <a:gd name="csX62" fmla="*/ 31918 w 398671"/>
                    <a:gd name="csY62" fmla="*/ 491160 h 541230"/>
                    <a:gd name="csX63" fmla="*/ 43891 w 398671"/>
                    <a:gd name="csY63" fmla="*/ 499164 h 541230"/>
                    <a:gd name="csX64" fmla="*/ 55160 w 398671"/>
                    <a:gd name="csY64" fmla="*/ 499164 h 541230"/>
                    <a:gd name="csX65" fmla="*/ 75105 w 398671"/>
                    <a:gd name="csY65" fmla="*/ 486102 h 541230"/>
                    <a:gd name="csX66" fmla="*/ 95786 w 398671"/>
                    <a:gd name="csY66" fmla="*/ 481748 h 541230"/>
                    <a:gd name="csX67" fmla="*/ 105198 w 398671"/>
                    <a:gd name="csY67" fmla="*/ 465421 h 541230"/>
                    <a:gd name="csX68" fmla="*/ 113906 w 398671"/>
                    <a:gd name="csY68" fmla="*/ 461067 h 541230"/>
                    <a:gd name="csX69" fmla="*/ 142207 w 398671"/>
                    <a:gd name="csY69" fmla="*/ 463596 h 541230"/>
                    <a:gd name="csX70" fmla="*/ 146561 w 398671"/>
                    <a:gd name="csY70" fmla="*/ 467950 h 541230"/>
                    <a:gd name="csX71" fmla="*/ 137116 w 398671"/>
                    <a:gd name="csY71" fmla="*/ 471568 h 541230"/>
                    <a:gd name="csX72" fmla="*/ 140382 w 398671"/>
                    <a:gd name="csY72" fmla="*/ 492985 h 541230"/>
                    <a:gd name="csX73" fmla="*/ 136060 w 398671"/>
                    <a:gd name="csY73" fmla="*/ 496251 h 541230"/>
                    <a:gd name="csX74" fmla="*/ 144736 w 398671"/>
                    <a:gd name="csY74" fmla="*/ 525639 h 541230"/>
                    <a:gd name="csX75" fmla="*/ 149826 w 398671"/>
                    <a:gd name="csY75" fmla="*/ 530730 h 541230"/>
                    <a:gd name="csX76" fmla="*/ 154916 w 398671"/>
                    <a:gd name="csY76" fmla="*/ 530730 h 541230"/>
                    <a:gd name="csX77" fmla="*/ 156005 w 398671"/>
                    <a:gd name="csY77" fmla="*/ 540142 h 541230"/>
                    <a:gd name="csX78" fmla="*/ 172332 w 398671"/>
                    <a:gd name="csY78" fmla="*/ 541230 h 541230"/>
                    <a:gd name="csX79" fmla="*/ 175597 w 398671"/>
                    <a:gd name="csY79" fmla="*/ 531786 h 541230"/>
                    <a:gd name="csX80" fmla="*/ 170507 w 398671"/>
                    <a:gd name="csY80" fmla="*/ 529993 h 541230"/>
                    <a:gd name="csX81" fmla="*/ 179215 w 398671"/>
                    <a:gd name="csY81" fmla="*/ 509312 h 541230"/>
                    <a:gd name="csX82" fmla="*/ 190452 w 398671"/>
                    <a:gd name="csY82" fmla="*/ 506047 h 541230"/>
                    <a:gd name="csX83" fmla="*/ 194806 w 398671"/>
                    <a:gd name="csY83" fmla="*/ 511137 h 541230"/>
                    <a:gd name="csX84" fmla="*/ 204954 w 398671"/>
                    <a:gd name="csY84" fmla="*/ 506047 h 541230"/>
                    <a:gd name="csX85" fmla="*/ 206779 w 398671"/>
                    <a:gd name="csY85" fmla="*/ 494810 h 541230"/>
                    <a:gd name="csX86" fmla="*/ 221281 w 398671"/>
                    <a:gd name="csY86" fmla="*/ 481748 h 541230"/>
                    <a:gd name="csX87" fmla="*/ 241258 w 398671"/>
                    <a:gd name="csY87" fmla="*/ 486806 h 541230"/>
                    <a:gd name="csX88" fmla="*/ 252111 w 398671"/>
                    <a:gd name="csY88" fmla="*/ 496251 h 541230"/>
                    <a:gd name="csX89" fmla="*/ 263380 w 398671"/>
                    <a:gd name="csY89" fmla="*/ 481012 h 541230"/>
                    <a:gd name="csX90" fmla="*/ 262644 w 398671"/>
                    <a:gd name="csY90" fmla="*/ 469775 h 541230"/>
                    <a:gd name="csX91" fmla="*/ 265909 w 398671"/>
                    <a:gd name="csY91" fmla="*/ 462892 h 541230"/>
                    <a:gd name="csX92" fmla="*/ 278235 w 398671"/>
                    <a:gd name="csY92" fmla="*/ 464684 h 541230"/>
                    <a:gd name="csX93" fmla="*/ 281500 w 398671"/>
                    <a:gd name="csY93" fmla="*/ 475921 h 541230"/>
                    <a:gd name="csX94" fmla="*/ 286590 w 398671"/>
                    <a:gd name="csY94" fmla="*/ 470479 h 541230"/>
                    <a:gd name="csX95" fmla="*/ 290944 w 398671"/>
                    <a:gd name="csY95" fmla="*/ 472304 h 541230"/>
                    <a:gd name="csX96" fmla="*/ 286590 w 398671"/>
                    <a:gd name="csY96" fmla="*/ 463596 h 541230"/>
                    <a:gd name="csX97" fmla="*/ 289119 w 398671"/>
                    <a:gd name="csY97" fmla="*/ 454184 h 541230"/>
                    <a:gd name="csX98" fmla="*/ 309800 w 398671"/>
                    <a:gd name="csY98" fmla="*/ 447269 h 541230"/>
                    <a:gd name="csX99" fmla="*/ 305831 w 398671"/>
                    <a:gd name="csY99" fmla="*/ 437857 h 541230"/>
                    <a:gd name="csX100" fmla="*/ 299652 w 398671"/>
                    <a:gd name="csY100" fmla="*/ 435296 h 541230"/>
                    <a:gd name="csX101" fmla="*/ 302181 w 398671"/>
                    <a:gd name="csY101" fmla="*/ 412085 h 541230"/>
                    <a:gd name="csX102" fmla="*/ 326480 w 398671"/>
                    <a:gd name="csY102" fmla="*/ 414647 h 541230"/>
                    <a:gd name="csX103" fmla="*/ 331570 w 398671"/>
                    <a:gd name="csY103" fmla="*/ 409556 h 541230"/>
                    <a:gd name="csX104" fmla="*/ 344280 w 398671"/>
                    <a:gd name="csY104" fmla="*/ 417176 h 541230"/>
                    <a:gd name="csX105" fmla="*/ 366753 w 398671"/>
                    <a:gd name="csY105" fmla="*/ 418264 h 541230"/>
                    <a:gd name="csX106" fmla="*/ 377990 w 398671"/>
                    <a:gd name="csY106" fmla="*/ 407732 h 541230"/>
                    <a:gd name="csX107" fmla="*/ 374373 w 398671"/>
                    <a:gd name="csY107" fmla="*/ 400112 h 541230"/>
                    <a:gd name="csX108" fmla="*/ 366753 w 398671"/>
                    <a:gd name="csY108" fmla="*/ 395758 h 541230"/>
                    <a:gd name="csX109" fmla="*/ 381256 w 398671"/>
                    <a:gd name="csY109" fmla="*/ 387050 h 541230"/>
                    <a:gd name="csX110" fmla="*/ 373637 w 398671"/>
                    <a:gd name="csY110" fmla="*/ 370723 h 541230"/>
                    <a:gd name="csX111" fmla="*/ 377990 w 398671"/>
                    <a:gd name="csY111" fmla="*/ 365665 h 541230"/>
                    <a:gd name="csX112" fmla="*/ 383081 w 398671"/>
                    <a:gd name="csY112" fmla="*/ 344247 h 541230"/>
                    <a:gd name="csX113" fmla="*/ 379815 w 398671"/>
                    <a:gd name="csY113" fmla="*/ 335540 h 541230"/>
                    <a:gd name="csX114" fmla="*/ 385610 w 398671"/>
                    <a:gd name="csY114" fmla="*/ 319949 h 541230"/>
                    <a:gd name="csX115" fmla="*/ 383817 w 398671"/>
                    <a:gd name="csY115" fmla="*/ 305446 h 541230"/>
                    <a:gd name="csX116" fmla="*/ 389964 w 398671"/>
                    <a:gd name="csY116" fmla="*/ 301092 h 541230"/>
                    <a:gd name="csX117" fmla="*/ 378727 w 398671"/>
                    <a:gd name="csY117" fmla="*/ 291648 h 541230"/>
                    <a:gd name="csX118" fmla="*/ 377990 w 398671"/>
                    <a:gd name="csY118" fmla="*/ 282236 h 541230"/>
                    <a:gd name="csX119" fmla="*/ 382344 w 398671"/>
                    <a:gd name="csY119" fmla="*/ 278587 h 541230"/>
                    <a:gd name="csX120" fmla="*/ 377990 w 398671"/>
                    <a:gd name="csY120" fmla="*/ 267702 h 541230"/>
                    <a:gd name="csX121" fmla="*/ 355517 w 398671"/>
                    <a:gd name="csY121" fmla="*/ 247053 h 541230"/>
                    <a:gd name="csX122" fmla="*/ 346072 w 398671"/>
                    <a:gd name="csY122" fmla="*/ 255377 h 541230"/>
                    <a:gd name="csX123" fmla="*/ 344280 w 398671"/>
                    <a:gd name="csY123" fmla="*/ 234695 h 541230"/>
                    <a:gd name="csX124" fmla="*/ 337365 w 398671"/>
                    <a:gd name="csY124" fmla="*/ 232166 h 541230"/>
                    <a:gd name="csX125" fmla="*/ 338453 w 398671"/>
                    <a:gd name="csY125" fmla="*/ 218368 h 541230"/>
                    <a:gd name="csX126" fmla="*/ 334099 w 398671"/>
                    <a:gd name="csY126" fmla="*/ 215839 h 541230"/>
                    <a:gd name="csX127" fmla="*/ 333011 w 398671"/>
                    <a:gd name="csY127" fmla="*/ 201337 h 541230"/>
                    <a:gd name="csX128" fmla="*/ 327952 w 398671"/>
                    <a:gd name="csY128" fmla="*/ 199512 h 541230"/>
                    <a:gd name="csX129" fmla="*/ 329041 w 398671"/>
                    <a:gd name="csY129" fmla="*/ 178126 h 541230"/>
                    <a:gd name="csX130" fmla="*/ 325391 w 398671"/>
                    <a:gd name="csY130" fmla="*/ 168682 h 541230"/>
                    <a:gd name="csX131" fmla="*/ 321037 w 398671"/>
                    <a:gd name="csY131" fmla="*/ 169419 h 541230"/>
                    <a:gd name="csX132" fmla="*/ 323599 w 398671"/>
                    <a:gd name="csY132" fmla="*/ 162504 h 541230"/>
                    <a:gd name="csX133" fmla="*/ 330482 w 398671"/>
                    <a:gd name="csY133" fmla="*/ 154884 h 541230"/>
                    <a:gd name="csX134" fmla="*/ 333011 w 398671"/>
                    <a:gd name="csY134" fmla="*/ 141118 h 541230"/>
                    <a:gd name="csX135" fmla="*/ 352251 w 398671"/>
                    <a:gd name="csY135" fmla="*/ 129881 h 541230"/>
                    <a:gd name="csX136" fmla="*/ 361663 w 398671"/>
                    <a:gd name="csY136" fmla="*/ 137501 h 541230"/>
                    <a:gd name="csX137" fmla="*/ 372932 w 398671"/>
                    <a:gd name="csY137" fmla="*/ 136028 h 541230"/>
                    <a:gd name="csX138" fmla="*/ 381256 w 398671"/>
                    <a:gd name="csY138" fmla="*/ 134939 h 541230"/>
                    <a:gd name="csX139" fmla="*/ 385610 w 398671"/>
                    <a:gd name="csY139" fmla="*/ 129145 h 541230"/>
                    <a:gd name="csX140" fmla="*/ 383081 w 398671"/>
                    <a:gd name="csY140" fmla="*/ 117908 h 541230"/>
                    <a:gd name="csX141" fmla="*/ 377990 w 398671"/>
                    <a:gd name="csY141" fmla="*/ 117172 h 541230"/>
                    <a:gd name="csX142" fmla="*/ 382344 w 398671"/>
                    <a:gd name="csY142" fmla="*/ 110993 h 541230"/>
                    <a:gd name="csX143" fmla="*/ 377990 w 398671"/>
                    <a:gd name="csY143" fmla="*/ 99020 h 541230"/>
                    <a:gd name="csX144" fmla="*/ 398672 w 398671"/>
                    <a:gd name="csY144" fmla="*/ 94666 h 541230"/>
                    <a:gd name="csX145" fmla="*/ 388171 w 398671"/>
                    <a:gd name="csY145" fmla="*/ 91048 h 541230"/>
                    <a:gd name="csX146" fmla="*/ 373637 w 398671"/>
                    <a:gd name="csY146" fmla="*/ 67838 h 541230"/>
                    <a:gd name="csX147" fmla="*/ 364929 w 398671"/>
                    <a:gd name="csY147" fmla="*/ 64573 h 541230"/>
                    <a:gd name="csX148" fmla="*/ 359134 w 398671"/>
                    <a:gd name="csY148" fmla="*/ 59482 h 541230"/>
                    <a:gd name="csX149" fmla="*/ 341718 w 398671"/>
                    <a:gd name="csY149" fmla="*/ 59482 h 541230"/>
                    <a:gd name="csX150" fmla="*/ 337365 w 398671"/>
                    <a:gd name="csY150" fmla="*/ 48982 h 541230"/>
                    <a:gd name="csX151" fmla="*/ 344280 w 398671"/>
                    <a:gd name="csY151" fmla="*/ 38801 h 541230"/>
                    <a:gd name="csX152" fmla="*/ 353692 w 398671"/>
                    <a:gd name="csY152" fmla="*/ 34447 h 541230"/>
                    <a:gd name="csX153" fmla="*/ 346809 w 398671"/>
                    <a:gd name="csY153" fmla="*/ 30125 h 541230"/>
                    <a:gd name="csX154" fmla="*/ 352251 w 398671"/>
                    <a:gd name="csY154" fmla="*/ 22506 h 5412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</a:cxnLst>
                  <a:rect l="l" t="t" r="r" b="b"/>
                  <a:pathLst>
                    <a:path w="398671" h="541230">
                      <a:moveTo>
                        <a:pt x="352251" y="22506"/>
                      </a:moveTo>
                      <a:lnTo>
                        <a:pt x="341014" y="9444"/>
                      </a:lnTo>
                      <a:lnTo>
                        <a:pt x="346072" y="2529"/>
                      </a:lnTo>
                      <a:lnTo>
                        <a:pt x="339189" y="0"/>
                      </a:lnTo>
                      <a:lnTo>
                        <a:pt x="332306" y="0"/>
                      </a:lnTo>
                      <a:lnTo>
                        <a:pt x="304006" y="7619"/>
                      </a:lnTo>
                      <a:lnTo>
                        <a:pt x="304006" y="25035"/>
                      </a:lnTo>
                      <a:lnTo>
                        <a:pt x="297123" y="32654"/>
                      </a:lnTo>
                      <a:lnTo>
                        <a:pt x="277146" y="29389"/>
                      </a:lnTo>
                      <a:lnTo>
                        <a:pt x="281500" y="37008"/>
                      </a:lnTo>
                      <a:lnTo>
                        <a:pt x="272792" y="47157"/>
                      </a:lnTo>
                      <a:lnTo>
                        <a:pt x="258290" y="42067"/>
                      </a:lnTo>
                      <a:lnTo>
                        <a:pt x="255024" y="45716"/>
                      </a:lnTo>
                      <a:lnTo>
                        <a:pt x="250670" y="54040"/>
                      </a:lnTo>
                      <a:lnTo>
                        <a:pt x="242699" y="53336"/>
                      </a:lnTo>
                      <a:lnTo>
                        <a:pt x="239433" y="63484"/>
                      </a:lnTo>
                      <a:lnTo>
                        <a:pt x="229989" y="67838"/>
                      </a:lnTo>
                      <a:lnTo>
                        <a:pt x="213662" y="88519"/>
                      </a:lnTo>
                      <a:lnTo>
                        <a:pt x="207515" y="102285"/>
                      </a:lnTo>
                      <a:lnTo>
                        <a:pt x="219489" y="110993"/>
                      </a:lnTo>
                      <a:lnTo>
                        <a:pt x="218752" y="115347"/>
                      </a:lnTo>
                      <a:lnTo>
                        <a:pt x="214398" y="129881"/>
                      </a:lnTo>
                      <a:lnTo>
                        <a:pt x="202425" y="142911"/>
                      </a:lnTo>
                      <a:lnTo>
                        <a:pt x="195542" y="144384"/>
                      </a:lnTo>
                      <a:lnTo>
                        <a:pt x="171243" y="170507"/>
                      </a:lnTo>
                      <a:lnTo>
                        <a:pt x="173036" y="175565"/>
                      </a:lnTo>
                      <a:lnTo>
                        <a:pt x="186098" y="180655"/>
                      </a:lnTo>
                      <a:lnTo>
                        <a:pt x="181744" y="193717"/>
                      </a:lnTo>
                      <a:lnTo>
                        <a:pt x="186098" y="195158"/>
                      </a:lnTo>
                      <a:lnTo>
                        <a:pt x="189363" y="201337"/>
                      </a:lnTo>
                      <a:lnTo>
                        <a:pt x="178126" y="216928"/>
                      </a:lnTo>
                      <a:lnTo>
                        <a:pt x="182480" y="249582"/>
                      </a:lnTo>
                      <a:lnTo>
                        <a:pt x="177390" y="256465"/>
                      </a:lnTo>
                      <a:lnTo>
                        <a:pt x="174125" y="276058"/>
                      </a:lnTo>
                      <a:lnTo>
                        <a:pt x="166153" y="285502"/>
                      </a:lnTo>
                      <a:lnTo>
                        <a:pt x="135324" y="309801"/>
                      </a:lnTo>
                      <a:lnTo>
                        <a:pt x="109552" y="319213"/>
                      </a:lnTo>
                      <a:lnTo>
                        <a:pt x="93225" y="319213"/>
                      </a:lnTo>
                      <a:lnTo>
                        <a:pt x="86342" y="308712"/>
                      </a:lnTo>
                      <a:lnTo>
                        <a:pt x="65661" y="313066"/>
                      </a:lnTo>
                      <a:lnTo>
                        <a:pt x="56953" y="310537"/>
                      </a:lnTo>
                      <a:lnTo>
                        <a:pt x="54424" y="302885"/>
                      </a:lnTo>
                      <a:lnTo>
                        <a:pt x="36272" y="305446"/>
                      </a:lnTo>
                      <a:lnTo>
                        <a:pt x="43187" y="327920"/>
                      </a:lnTo>
                      <a:lnTo>
                        <a:pt x="26860" y="348602"/>
                      </a:lnTo>
                      <a:lnTo>
                        <a:pt x="27564" y="353692"/>
                      </a:lnTo>
                      <a:lnTo>
                        <a:pt x="37008" y="356221"/>
                      </a:lnTo>
                      <a:lnTo>
                        <a:pt x="35568" y="370723"/>
                      </a:lnTo>
                      <a:lnTo>
                        <a:pt x="41362" y="391405"/>
                      </a:lnTo>
                      <a:lnTo>
                        <a:pt x="36272" y="398319"/>
                      </a:lnTo>
                      <a:lnTo>
                        <a:pt x="11269" y="404466"/>
                      </a:lnTo>
                      <a:lnTo>
                        <a:pt x="3650" y="416439"/>
                      </a:lnTo>
                      <a:lnTo>
                        <a:pt x="1088" y="432030"/>
                      </a:lnTo>
                      <a:lnTo>
                        <a:pt x="4354" y="439650"/>
                      </a:lnTo>
                      <a:lnTo>
                        <a:pt x="0" y="445828"/>
                      </a:lnTo>
                      <a:lnTo>
                        <a:pt x="4354" y="450919"/>
                      </a:lnTo>
                      <a:lnTo>
                        <a:pt x="4354" y="460331"/>
                      </a:lnTo>
                      <a:lnTo>
                        <a:pt x="9444" y="464684"/>
                      </a:lnTo>
                      <a:lnTo>
                        <a:pt x="8708" y="470479"/>
                      </a:lnTo>
                      <a:lnTo>
                        <a:pt x="18152" y="473040"/>
                      </a:lnTo>
                      <a:lnTo>
                        <a:pt x="17416" y="479923"/>
                      </a:lnTo>
                      <a:lnTo>
                        <a:pt x="26860" y="479187"/>
                      </a:lnTo>
                      <a:lnTo>
                        <a:pt x="31918" y="491160"/>
                      </a:lnTo>
                      <a:lnTo>
                        <a:pt x="43891" y="499164"/>
                      </a:lnTo>
                      <a:lnTo>
                        <a:pt x="55160" y="499164"/>
                      </a:lnTo>
                      <a:lnTo>
                        <a:pt x="75105" y="486102"/>
                      </a:lnTo>
                      <a:lnTo>
                        <a:pt x="95786" y="481748"/>
                      </a:lnTo>
                      <a:lnTo>
                        <a:pt x="105198" y="465421"/>
                      </a:lnTo>
                      <a:lnTo>
                        <a:pt x="113906" y="461067"/>
                      </a:lnTo>
                      <a:lnTo>
                        <a:pt x="142207" y="463596"/>
                      </a:lnTo>
                      <a:lnTo>
                        <a:pt x="146561" y="467950"/>
                      </a:lnTo>
                      <a:lnTo>
                        <a:pt x="137116" y="471568"/>
                      </a:lnTo>
                      <a:lnTo>
                        <a:pt x="140382" y="492985"/>
                      </a:lnTo>
                      <a:lnTo>
                        <a:pt x="136060" y="496251"/>
                      </a:lnTo>
                      <a:lnTo>
                        <a:pt x="144736" y="525639"/>
                      </a:lnTo>
                      <a:lnTo>
                        <a:pt x="149826" y="530730"/>
                      </a:lnTo>
                      <a:lnTo>
                        <a:pt x="154916" y="530730"/>
                      </a:lnTo>
                      <a:lnTo>
                        <a:pt x="156005" y="540142"/>
                      </a:lnTo>
                      <a:lnTo>
                        <a:pt x="172332" y="541230"/>
                      </a:lnTo>
                      <a:lnTo>
                        <a:pt x="175597" y="531786"/>
                      </a:lnTo>
                      <a:lnTo>
                        <a:pt x="170507" y="529993"/>
                      </a:lnTo>
                      <a:lnTo>
                        <a:pt x="179215" y="509312"/>
                      </a:lnTo>
                      <a:lnTo>
                        <a:pt x="190452" y="506047"/>
                      </a:lnTo>
                      <a:lnTo>
                        <a:pt x="194806" y="511137"/>
                      </a:lnTo>
                      <a:lnTo>
                        <a:pt x="204954" y="506047"/>
                      </a:lnTo>
                      <a:lnTo>
                        <a:pt x="206779" y="494810"/>
                      </a:lnTo>
                      <a:lnTo>
                        <a:pt x="221281" y="481748"/>
                      </a:lnTo>
                      <a:lnTo>
                        <a:pt x="241258" y="486806"/>
                      </a:lnTo>
                      <a:lnTo>
                        <a:pt x="252111" y="496251"/>
                      </a:lnTo>
                      <a:lnTo>
                        <a:pt x="263380" y="481012"/>
                      </a:lnTo>
                      <a:lnTo>
                        <a:pt x="262644" y="469775"/>
                      </a:lnTo>
                      <a:lnTo>
                        <a:pt x="265909" y="462892"/>
                      </a:lnTo>
                      <a:lnTo>
                        <a:pt x="278235" y="464684"/>
                      </a:lnTo>
                      <a:lnTo>
                        <a:pt x="281500" y="475921"/>
                      </a:lnTo>
                      <a:lnTo>
                        <a:pt x="286590" y="470479"/>
                      </a:lnTo>
                      <a:lnTo>
                        <a:pt x="290944" y="472304"/>
                      </a:lnTo>
                      <a:lnTo>
                        <a:pt x="286590" y="463596"/>
                      </a:lnTo>
                      <a:lnTo>
                        <a:pt x="289119" y="454184"/>
                      </a:lnTo>
                      <a:lnTo>
                        <a:pt x="309800" y="447269"/>
                      </a:lnTo>
                      <a:lnTo>
                        <a:pt x="305831" y="437857"/>
                      </a:lnTo>
                      <a:lnTo>
                        <a:pt x="299652" y="435296"/>
                      </a:lnTo>
                      <a:lnTo>
                        <a:pt x="302181" y="412085"/>
                      </a:lnTo>
                      <a:lnTo>
                        <a:pt x="326480" y="414647"/>
                      </a:lnTo>
                      <a:lnTo>
                        <a:pt x="331570" y="409556"/>
                      </a:lnTo>
                      <a:lnTo>
                        <a:pt x="344280" y="417176"/>
                      </a:lnTo>
                      <a:lnTo>
                        <a:pt x="366753" y="418264"/>
                      </a:lnTo>
                      <a:lnTo>
                        <a:pt x="377990" y="407732"/>
                      </a:lnTo>
                      <a:lnTo>
                        <a:pt x="374373" y="400112"/>
                      </a:lnTo>
                      <a:lnTo>
                        <a:pt x="366753" y="395758"/>
                      </a:lnTo>
                      <a:lnTo>
                        <a:pt x="381256" y="387050"/>
                      </a:lnTo>
                      <a:lnTo>
                        <a:pt x="373637" y="370723"/>
                      </a:lnTo>
                      <a:lnTo>
                        <a:pt x="377990" y="365665"/>
                      </a:lnTo>
                      <a:lnTo>
                        <a:pt x="383081" y="344247"/>
                      </a:lnTo>
                      <a:lnTo>
                        <a:pt x="379815" y="335540"/>
                      </a:lnTo>
                      <a:lnTo>
                        <a:pt x="385610" y="319949"/>
                      </a:lnTo>
                      <a:lnTo>
                        <a:pt x="383817" y="305446"/>
                      </a:lnTo>
                      <a:lnTo>
                        <a:pt x="389964" y="301092"/>
                      </a:lnTo>
                      <a:lnTo>
                        <a:pt x="378727" y="291648"/>
                      </a:lnTo>
                      <a:lnTo>
                        <a:pt x="377990" y="282236"/>
                      </a:lnTo>
                      <a:lnTo>
                        <a:pt x="382344" y="278587"/>
                      </a:lnTo>
                      <a:lnTo>
                        <a:pt x="377990" y="267702"/>
                      </a:lnTo>
                      <a:lnTo>
                        <a:pt x="355517" y="247053"/>
                      </a:lnTo>
                      <a:lnTo>
                        <a:pt x="346072" y="255377"/>
                      </a:lnTo>
                      <a:lnTo>
                        <a:pt x="344280" y="234695"/>
                      </a:lnTo>
                      <a:lnTo>
                        <a:pt x="337365" y="232166"/>
                      </a:lnTo>
                      <a:lnTo>
                        <a:pt x="338453" y="218368"/>
                      </a:lnTo>
                      <a:lnTo>
                        <a:pt x="334099" y="215839"/>
                      </a:lnTo>
                      <a:lnTo>
                        <a:pt x="333011" y="201337"/>
                      </a:lnTo>
                      <a:lnTo>
                        <a:pt x="327952" y="199512"/>
                      </a:lnTo>
                      <a:lnTo>
                        <a:pt x="329041" y="178126"/>
                      </a:lnTo>
                      <a:lnTo>
                        <a:pt x="325391" y="168682"/>
                      </a:lnTo>
                      <a:lnTo>
                        <a:pt x="321037" y="169419"/>
                      </a:lnTo>
                      <a:lnTo>
                        <a:pt x="323599" y="162504"/>
                      </a:lnTo>
                      <a:lnTo>
                        <a:pt x="330482" y="154884"/>
                      </a:lnTo>
                      <a:lnTo>
                        <a:pt x="333011" y="141118"/>
                      </a:lnTo>
                      <a:lnTo>
                        <a:pt x="352251" y="129881"/>
                      </a:lnTo>
                      <a:lnTo>
                        <a:pt x="361663" y="137501"/>
                      </a:lnTo>
                      <a:lnTo>
                        <a:pt x="372932" y="136028"/>
                      </a:lnTo>
                      <a:lnTo>
                        <a:pt x="381256" y="134939"/>
                      </a:lnTo>
                      <a:lnTo>
                        <a:pt x="385610" y="129145"/>
                      </a:lnTo>
                      <a:lnTo>
                        <a:pt x="383081" y="117908"/>
                      </a:lnTo>
                      <a:lnTo>
                        <a:pt x="377990" y="117172"/>
                      </a:lnTo>
                      <a:lnTo>
                        <a:pt x="382344" y="110993"/>
                      </a:lnTo>
                      <a:lnTo>
                        <a:pt x="377990" y="99020"/>
                      </a:lnTo>
                      <a:lnTo>
                        <a:pt x="398672" y="94666"/>
                      </a:lnTo>
                      <a:lnTo>
                        <a:pt x="388171" y="91048"/>
                      </a:lnTo>
                      <a:lnTo>
                        <a:pt x="373637" y="67838"/>
                      </a:lnTo>
                      <a:lnTo>
                        <a:pt x="364929" y="64573"/>
                      </a:lnTo>
                      <a:lnTo>
                        <a:pt x="359134" y="59482"/>
                      </a:lnTo>
                      <a:lnTo>
                        <a:pt x="341718" y="59482"/>
                      </a:lnTo>
                      <a:lnTo>
                        <a:pt x="337365" y="48982"/>
                      </a:lnTo>
                      <a:lnTo>
                        <a:pt x="344280" y="38801"/>
                      </a:lnTo>
                      <a:lnTo>
                        <a:pt x="353692" y="34447"/>
                      </a:lnTo>
                      <a:lnTo>
                        <a:pt x="346809" y="30125"/>
                      </a:lnTo>
                      <a:lnTo>
                        <a:pt x="352251" y="22506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2" name="Forma Livre: Forma 341">
                  <a:extLst>
                    <a:ext uri="{FF2B5EF4-FFF2-40B4-BE49-F238E27FC236}">
                      <a16:creationId xmlns:a16="http://schemas.microsoft.com/office/drawing/2014/main" id="{AE6D35F6-CAF6-0E3A-D6AE-94000D2EF210}"/>
                    </a:ext>
                  </a:extLst>
                </p:cNvPr>
                <p:cNvSpPr/>
                <p:nvPr/>
              </p:nvSpPr>
              <p:spPr>
                <a:xfrm>
                  <a:off x="1927548" y="5093542"/>
                  <a:ext cx="398671" cy="541230"/>
                </a:xfrm>
                <a:custGeom>
                  <a:avLst/>
                  <a:gdLst>
                    <a:gd name="csX0" fmla="*/ 352251 w 398671"/>
                    <a:gd name="csY0" fmla="*/ 22506 h 541230"/>
                    <a:gd name="csX1" fmla="*/ 341014 w 398671"/>
                    <a:gd name="csY1" fmla="*/ 9444 h 541230"/>
                    <a:gd name="csX2" fmla="*/ 346072 w 398671"/>
                    <a:gd name="csY2" fmla="*/ 2529 h 541230"/>
                    <a:gd name="csX3" fmla="*/ 339189 w 398671"/>
                    <a:gd name="csY3" fmla="*/ 0 h 541230"/>
                    <a:gd name="csX4" fmla="*/ 332306 w 398671"/>
                    <a:gd name="csY4" fmla="*/ 0 h 541230"/>
                    <a:gd name="csX5" fmla="*/ 304006 w 398671"/>
                    <a:gd name="csY5" fmla="*/ 7619 h 541230"/>
                    <a:gd name="csX6" fmla="*/ 304006 w 398671"/>
                    <a:gd name="csY6" fmla="*/ 25035 h 541230"/>
                    <a:gd name="csX7" fmla="*/ 297123 w 398671"/>
                    <a:gd name="csY7" fmla="*/ 32654 h 541230"/>
                    <a:gd name="csX8" fmla="*/ 277146 w 398671"/>
                    <a:gd name="csY8" fmla="*/ 29389 h 541230"/>
                    <a:gd name="csX9" fmla="*/ 281500 w 398671"/>
                    <a:gd name="csY9" fmla="*/ 37008 h 541230"/>
                    <a:gd name="csX10" fmla="*/ 272792 w 398671"/>
                    <a:gd name="csY10" fmla="*/ 47157 h 541230"/>
                    <a:gd name="csX11" fmla="*/ 258290 w 398671"/>
                    <a:gd name="csY11" fmla="*/ 42067 h 541230"/>
                    <a:gd name="csX12" fmla="*/ 255024 w 398671"/>
                    <a:gd name="csY12" fmla="*/ 45716 h 541230"/>
                    <a:gd name="csX13" fmla="*/ 250670 w 398671"/>
                    <a:gd name="csY13" fmla="*/ 54040 h 541230"/>
                    <a:gd name="csX14" fmla="*/ 242699 w 398671"/>
                    <a:gd name="csY14" fmla="*/ 53336 h 541230"/>
                    <a:gd name="csX15" fmla="*/ 239433 w 398671"/>
                    <a:gd name="csY15" fmla="*/ 63484 h 541230"/>
                    <a:gd name="csX16" fmla="*/ 229989 w 398671"/>
                    <a:gd name="csY16" fmla="*/ 67838 h 541230"/>
                    <a:gd name="csX17" fmla="*/ 213662 w 398671"/>
                    <a:gd name="csY17" fmla="*/ 88519 h 541230"/>
                    <a:gd name="csX18" fmla="*/ 207515 w 398671"/>
                    <a:gd name="csY18" fmla="*/ 102285 h 541230"/>
                    <a:gd name="csX19" fmla="*/ 219489 w 398671"/>
                    <a:gd name="csY19" fmla="*/ 110993 h 541230"/>
                    <a:gd name="csX20" fmla="*/ 218752 w 398671"/>
                    <a:gd name="csY20" fmla="*/ 115347 h 541230"/>
                    <a:gd name="csX21" fmla="*/ 214398 w 398671"/>
                    <a:gd name="csY21" fmla="*/ 129881 h 541230"/>
                    <a:gd name="csX22" fmla="*/ 202425 w 398671"/>
                    <a:gd name="csY22" fmla="*/ 142911 h 541230"/>
                    <a:gd name="csX23" fmla="*/ 195542 w 398671"/>
                    <a:gd name="csY23" fmla="*/ 144384 h 541230"/>
                    <a:gd name="csX24" fmla="*/ 171243 w 398671"/>
                    <a:gd name="csY24" fmla="*/ 170507 h 541230"/>
                    <a:gd name="csX25" fmla="*/ 173036 w 398671"/>
                    <a:gd name="csY25" fmla="*/ 175565 h 541230"/>
                    <a:gd name="csX26" fmla="*/ 186098 w 398671"/>
                    <a:gd name="csY26" fmla="*/ 180655 h 541230"/>
                    <a:gd name="csX27" fmla="*/ 181744 w 398671"/>
                    <a:gd name="csY27" fmla="*/ 193717 h 541230"/>
                    <a:gd name="csX28" fmla="*/ 186098 w 398671"/>
                    <a:gd name="csY28" fmla="*/ 195158 h 541230"/>
                    <a:gd name="csX29" fmla="*/ 189363 w 398671"/>
                    <a:gd name="csY29" fmla="*/ 201337 h 541230"/>
                    <a:gd name="csX30" fmla="*/ 178126 w 398671"/>
                    <a:gd name="csY30" fmla="*/ 216928 h 541230"/>
                    <a:gd name="csX31" fmla="*/ 182480 w 398671"/>
                    <a:gd name="csY31" fmla="*/ 249582 h 541230"/>
                    <a:gd name="csX32" fmla="*/ 177390 w 398671"/>
                    <a:gd name="csY32" fmla="*/ 256465 h 541230"/>
                    <a:gd name="csX33" fmla="*/ 174125 w 398671"/>
                    <a:gd name="csY33" fmla="*/ 276058 h 541230"/>
                    <a:gd name="csX34" fmla="*/ 166153 w 398671"/>
                    <a:gd name="csY34" fmla="*/ 285502 h 541230"/>
                    <a:gd name="csX35" fmla="*/ 135324 w 398671"/>
                    <a:gd name="csY35" fmla="*/ 309801 h 541230"/>
                    <a:gd name="csX36" fmla="*/ 109552 w 398671"/>
                    <a:gd name="csY36" fmla="*/ 319213 h 541230"/>
                    <a:gd name="csX37" fmla="*/ 93225 w 398671"/>
                    <a:gd name="csY37" fmla="*/ 319213 h 541230"/>
                    <a:gd name="csX38" fmla="*/ 86342 w 398671"/>
                    <a:gd name="csY38" fmla="*/ 308712 h 541230"/>
                    <a:gd name="csX39" fmla="*/ 65661 w 398671"/>
                    <a:gd name="csY39" fmla="*/ 313066 h 541230"/>
                    <a:gd name="csX40" fmla="*/ 56953 w 398671"/>
                    <a:gd name="csY40" fmla="*/ 310537 h 541230"/>
                    <a:gd name="csX41" fmla="*/ 54424 w 398671"/>
                    <a:gd name="csY41" fmla="*/ 302885 h 541230"/>
                    <a:gd name="csX42" fmla="*/ 36272 w 398671"/>
                    <a:gd name="csY42" fmla="*/ 305446 h 541230"/>
                    <a:gd name="csX43" fmla="*/ 43187 w 398671"/>
                    <a:gd name="csY43" fmla="*/ 327920 h 541230"/>
                    <a:gd name="csX44" fmla="*/ 26860 w 398671"/>
                    <a:gd name="csY44" fmla="*/ 348602 h 541230"/>
                    <a:gd name="csX45" fmla="*/ 27564 w 398671"/>
                    <a:gd name="csY45" fmla="*/ 353692 h 541230"/>
                    <a:gd name="csX46" fmla="*/ 37008 w 398671"/>
                    <a:gd name="csY46" fmla="*/ 356221 h 541230"/>
                    <a:gd name="csX47" fmla="*/ 35568 w 398671"/>
                    <a:gd name="csY47" fmla="*/ 370723 h 541230"/>
                    <a:gd name="csX48" fmla="*/ 41362 w 398671"/>
                    <a:gd name="csY48" fmla="*/ 391405 h 541230"/>
                    <a:gd name="csX49" fmla="*/ 36272 w 398671"/>
                    <a:gd name="csY49" fmla="*/ 398319 h 541230"/>
                    <a:gd name="csX50" fmla="*/ 11269 w 398671"/>
                    <a:gd name="csY50" fmla="*/ 404466 h 541230"/>
                    <a:gd name="csX51" fmla="*/ 3650 w 398671"/>
                    <a:gd name="csY51" fmla="*/ 416439 h 541230"/>
                    <a:gd name="csX52" fmla="*/ 1088 w 398671"/>
                    <a:gd name="csY52" fmla="*/ 432030 h 541230"/>
                    <a:gd name="csX53" fmla="*/ 4354 w 398671"/>
                    <a:gd name="csY53" fmla="*/ 439650 h 541230"/>
                    <a:gd name="csX54" fmla="*/ 0 w 398671"/>
                    <a:gd name="csY54" fmla="*/ 445828 h 541230"/>
                    <a:gd name="csX55" fmla="*/ 4354 w 398671"/>
                    <a:gd name="csY55" fmla="*/ 450919 h 541230"/>
                    <a:gd name="csX56" fmla="*/ 4354 w 398671"/>
                    <a:gd name="csY56" fmla="*/ 460331 h 541230"/>
                    <a:gd name="csX57" fmla="*/ 9444 w 398671"/>
                    <a:gd name="csY57" fmla="*/ 464684 h 541230"/>
                    <a:gd name="csX58" fmla="*/ 8708 w 398671"/>
                    <a:gd name="csY58" fmla="*/ 470479 h 541230"/>
                    <a:gd name="csX59" fmla="*/ 18152 w 398671"/>
                    <a:gd name="csY59" fmla="*/ 473040 h 541230"/>
                    <a:gd name="csX60" fmla="*/ 17416 w 398671"/>
                    <a:gd name="csY60" fmla="*/ 479923 h 541230"/>
                    <a:gd name="csX61" fmla="*/ 26860 w 398671"/>
                    <a:gd name="csY61" fmla="*/ 479187 h 541230"/>
                    <a:gd name="csX62" fmla="*/ 31918 w 398671"/>
                    <a:gd name="csY62" fmla="*/ 491160 h 541230"/>
                    <a:gd name="csX63" fmla="*/ 43891 w 398671"/>
                    <a:gd name="csY63" fmla="*/ 499164 h 541230"/>
                    <a:gd name="csX64" fmla="*/ 55160 w 398671"/>
                    <a:gd name="csY64" fmla="*/ 499164 h 541230"/>
                    <a:gd name="csX65" fmla="*/ 75105 w 398671"/>
                    <a:gd name="csY65" fmla="*/ 486102 h 541230"/>
                    <a:gd name="csX66" fmla="*/ 95786 w 398671"/>
                    <a:gd name="csY66" fmla="*/ 481748 h 541230"/>
                    <a:gd name="csX67" fmla="*/ 105198 w 398671"/>
                    <a:gd name="csY67" fmla="*/ 465421 h 541230"/>
                    <a:gd name="csX68" fmla="*/ 113906 w 398671"/>
                    <a:gd name="csY68" fmla="*/ 461067 h 541230"/>
                    <a:gd name="csX69" fmla="*/ 142207 w 398671"/>
                    <a:gd name="csY69" fmla="*/ 463596 h 541230"/>
                    <a:gd name="csX70" fmla="*/ 146561 w 398671"/>
                    <a:gd name="csY70" fmla="*/ 467950 h 541230"/>
                    <a:gd name="csX71" fmla="*/ 137116 w 398671"/>
                    <a:gd name="csY71" fmla="*/ 471568 h 541230"/>
                    <a:gd name="csX72" fmla="*/ 140382 w 398671"/>
                    <a:gd name="csY72" fmla="*/ 492985 h 541230"/>
                    <a:gd name="csX73" fmla="*/ 136060 w 398671"/>
                    <a:gd name="csY73" fmla="*/ 496251 h 541230"/>
                    <a:gd name="csX74" fmla="*/ 144736 w 398671"/>
                    <a:gd name="csY74" fmla="*/ 525639 h 541230"/>
                    <a:gd name="csX75" fmla="*/ 149826 w 398671"/>
                    <a:gd name="csY75" fmla="*/ 530730 h 541230"/>
                    <a:gd name="csX76" fmla="*/ 154916 w 398671"/>
                    <a:gd name="csY76" fmla="*/ 530730 h 541230"/>
                    <a:gd name="csX77" fmla="*/ 156005 w 398671"/>
                    <a:gd name="csY77" fmla="*/ 540142 h 541230"/>
                    <a:gd name="csX78" fmla="*/ 172332 w 398671"/>
                    <a:gd name="csY78" fmla="*/ 541230 h 541230"/>
                    <a:gd name="csX79" fmla="*/ 175597 w 398671"/>
                    <a:gd name="csY79" fmla="*/ 531786 h 541230"/>
                    <a:gd name="csX80" fmla="*/ 170507 w 398671"/>
                    <a:gd name="csY80" fmla="*/ 529993 h 541230"/>
                    <a:gd name="csX81" fmla="*/ 179215 w 398671"/>
                    <a:gd name="csY81" fmla="*/ 509312 h 541230"/>
                    <a:gd name="csX82" fmla="*/ 190452 w 398671"/>
                    <a:gd name="csY82" fmla="*/ 506047 h 541230"/>
                    <a:gd name="csX83" fmla="*/ 194806 w 398671"/>
                    <a:gd name="csY83" fmla="*/ 511137 h 541230"/>
                    <a:gd name="csX84" fmla="*/ 204954 w 398671"/>
                    <a:gd name="csY84" fmla="*/ 506047 h 541230"/>
                    <a:gd name="csX85" fmla="*/ 206779 w 398671"/>
                    <a:gd name="csY85" fmla="*/ 494810 h 541230"/>
                    <a:gd name="csX86" fmla="*/ 221281 w 398671"/>
                    <a:gd name="csY86" fmla="*/ 481748 h 541230"/>
                    <a:gd name="csX87" fmla="*/ 241258 w 398671"/>
                    <a:gd name="csY87" fmla="*/ 486806 h 541230"/>
                    <a:gd name="csX88" fmla="*/ 252111 w 398671"/>
                    <a:gd name="csY88" fmla="*/ 496251 h 541230"/>
                    <a:gd name="csX89" fmla="*/ 263380 w 398671"/>
                    <a:gd name="csY89" fmla="*/ 481012 h 541230"/>
                    <a:gd name="csX90" fmla="*/ 262644 w 398671"/>
                    <a:gd name="csY90" fmla="*/ 469775 h 541230"/>
                    <a:gd name="csX91" fmla="*/ 265909 w 398671"/>
                    <a:gd name="csY91" fmla="*/ 462892 h 541230"/>
                    <a:gd name="csX92" fmla="*/ 278235 w 398671"/>
                    <a:gd name="csY92" fmla="*/ 464684 h 541230"/>
                    <a:gd name="csX93" fmla="*/ 281500 w 398671"/>
                    <a:gd name="csY93" fmla="*/ 475921 h 541230"/>
                    <a:gd name="csX94" fmla="*/ 286590 w 398671"/>
                    <a:gd name="csY94" fmla="*/ 470479 h 541230"/>
                    <a:gd name="csX95" fmla="*/ 290944 w 398671"/>
                    <a:gd name="csY95" fmla="*/ 472304 h 541230"/>
                    <a:gd name="csX96" fmla="*/ 286590 w 398671"/>
                    <a:gd name="csY96" fmla="*/ 463596 h 541230"/>
                    <a:gd name="csX97" fmla="*/ 289119 w 398671"/>
                    <a:gd name="csY97" fmla="*/ 454184 h 541230"/>
                    <a:gd name="csX98" fmla="*/ 309800 w 398671"/>
                    <a:gd name="csY98" fmla="*/ 447269 h 541230"/>
                    <a:gd name="csX99" fmla="*/ 305831 w 398671"/>
                    <a:gd name="csY99" fmla="*/ 437857 h 541230"/>
                    <a:gd name="csX100" fmla="*/ 299652 w 398671"/>
                    <a:gd name="csY100" fmla="*/ 435296 h 541230"/>
                    <a:gd name="csX101" fmla="*/ 302181 w 398671"/>
                    <a:gd name="csY101" fmla="*/ 412085 h 541230"/>
                    <a:gd name="csX102" fmla="*/ 326480 w 398671"/>
                    <a:gd name="csY102" fmla="*/ 414647 h 541230"/>
                    <a:gd name="csX103" fmla="*/ 331570 w 398671"/>
                    <a:gd name="csY103" fmla="*/ 409556 h 541230"/>
                    <a:gd name="csX104" fmla="*/ 344280 w 398671"/>
                    <a:gd name="csY104" fmla="*/ 417176 h 541230"/>
                    <a:gd name="csX105" fmla="*/ 366753 w 398671"/>
                    <a:gd name="csY105" fmla="*/ 418264 h 541230"/>
                    <a:gd name="csX106" fmla="*/ 377990 w 398671"/>
                    <a:gd name="csY106" fmla="*/ 407732 h 541230"/>
                    <a:gd name="csX107" fmla="*/ 374373 w 398671"/>
                    <a:gd name="csY107" fmla="*/ 400112 h 541230"/>
                    <a:gd name="csX108" fmla="*/ 366753 w 398671"/>
                    <a:gd name="csY108" fmla="*/ 395758 h 541230"/>
                    <a:gd name="csX109" fmla="*/ 381256 w 398671"/>
                    <a:gd name="csY109" fmla="*/ 387050 h 541230"/>
                    <a:gd name="csX110" fmla="*/ 373637 w 398671"/>
                    <a:gd name="csY110" fmla="*/ 370723 h 541230"/>
                    <a:gd name="csX111" fmla="*/ 377990 w 398671"/>
                    <a:gd name="csY111" fmla="*/ 365665 h 541230"/>
                    <a:gd name="csX112" fmla="*/ 383081 w 398671"/>
                    <a:gd name="csY112" fmla="*/ 344247 h 541230"/>
                    <a:gd name="csX113" fmla="*/ 379815 w 398671"/>
                    <a:gd name="csY113" fmla="*/ 335540 h 541230"/>
                    <a:gd name="csX114" fmla="*/ 385610 w 398671"/>
                    <a:gd name="csY114" fmla="*/ 319949 h 541230"/>
                    <a:gd name="csX115" fmla="*/ 383817 w 398671"/>
                    <a:gd name="csY115" fmla="*/ 305446 h 541230"/>
                    <a:gd name="csX116" fmla="*/ 389964 w 398671"/>
                    <a:gd name="csY116" fmla="*/ 301092 h 541230"/>
                    <a:gd name="csX117" fmla="*/ 378727 w 398671"/>
                    <a:gd name="csY117" fmla="*/ 291648 h 541230"/>
                    <a:gd name="csX118" fmla="*/ 377990 w 398671"/>
                    <a:gd name="csY118" fmla="*/ 282236 h 541230"/>
                    <a:gd name="csX119" fmla="*/ 382344 w 398671"/>
                    <a:gd name="csY119" fmla="*/ 278587 h 541230"/>
                    <a:gd name="csX120" fmla="*/ 377990 w 398671"/>
                    <a:gd name="csY120" fmla="*/ 267702 h 541230"/>
                    <a:gd name="csX121" fmla="*/ 355517 w 398671"/>
                    <a:gd name="csY121" fmla="*/ 247053 h 541230"/>
                    <a:gd name="csX122" fmla="*/ 346072 w 398671"/>
                    <a:gd name="csY122" fmla="*/ 255377 h 541230"/>
                    <a:gd name="csX123" fmla="*/ 344280 w 398671"/>
                    <a:gd name="csY123" fmla="*/ 234695 h 541230"/>
                    <a:gd name="csX124" fmla="*/ 337365 w 398671"/>
                    <a:gd name="csY124" fmla="*/ 232166 h 541230"/>
                    <a:gd name="csX125" fmla="*/ 338453 w 398671"/>
                    <a:gd name="csY125" fmla="*/ 218368 h 541230"/>
                    <a:gd name="csX126" fmla="*/ 334099 w 398671"/>
                    <a:gd name="csY126" fmla="*/ 215839 h 541230"/>
                    <a:gd name="csX127" fmla="*/ 333011 w 398671"/>
                    <a:gd name="csY127" fmla="*/ 201337 h 541230"/>
                    <a:gd name="csX128" fmla="*/ 327952 w 398671"/>
                    <a:gd name="csY128" fmla="*/ 199512 h 541230"/>
                    <a:gd name="csX129" fmla="*/ 329041 w 398671"/>
                    <a:gd name="csY129" fmla="*/ 178126 h 541230"/>
                    <a:gd name="csX130" fmla="*/ 325391 w 398671"/>
                    <a:gd name="csY130" fmla="*/ 168682 h 541230"/>
                    <a:gd name="csX131" fmla="*/ 321037 w 398671"/>
                    <a:gd name="csY131" fmla="*/ 169419 h 541230"/>
                    <a:gd name="csX132" fmla="*/ 323599 w 398671"/>
                    <a:gd name="csY132" fmla="*/ 162504 h 541230"/>
                    <a:gd name="csX133" fmla="*/ 330482 w 398671"/>
                    <a:gd name="csY133" fmla="*/ 154884 h 541230"/>
                    <a:gd name="csX134" fmla="*/ 333011 w 398671"/>
                    <a:gd name="csY134" fmla="*/ 141118 h 541230"/>
                    <a:gd name="csX135" fmla="*/ 352251 w 398671"/>
                    <a:gd name="csY135" fmla="*/ 129881 h 541230"/>
                    <a:gd name="csX136" fmla="*/ 361663 w 398671"/>
                    <a:gd name="csY136" fmla="*/ 137501 h 541230"/>
                    <a:gd name="csX137" fmla="*/ 372932 w 398671"/>
                    <a:gd name="csY137" fmla="*/ 136028 h 541230"/>
                    <a:gd name="csX138" fmla="*/ 381256 w 398671"/>
                    <a:gd name="csY138" fmla="*/ 134939 h 541230"/>
                    <a:gd name="csX139" fmla="*/ 385610 w 398671"/>
                    <a:gd name="csY139" fmla="*/ 129145 h 541230"/>
                    <a:gd name="csX140" fmla="*/ 383081 w 398671"/>
                    <a:gd name="csY140" fmla="*/ 117908 h 541230"/>
                    <a:gd name="csX141" fmla="*/ 377990 w 398671"/>
                    <a:gd name="csY141" fmla="*/ 117172 h 541230"/>
                    <a:gd name="csX142" fmla="*/ 382344 w 398671"/>
                    <a:gd name="csY142" fmla="*/ 110993 h 541230"/>
                    <a:gd name="csX143" fmla="*/ 377990 w 398671"/>
                    <a:gd name="csY143" fmla="*/ 99020 h 541230"/>
                    <a:gd name="csX144" fmla="*/ 398672 w 398671"/>
                    <a:gd name="csY144" fmla="*/ 94666 h 541230"/>
                    <a:gd name="csX145" fmla="*/ 388171 w 398671"/>
                    <a:gd name="csY145" fmla="*/ 91048 h 541230"/>
                    <a:gd name="csX146" fmla="*/ 373637 w 398671"/>
                    <a:gd name="csY146" fmla="*/ 67838 h 541230"/>
                    <a:gd name="csX147" fmla="*/ 364929 w 398671"/>
                    <a:gd name="csY147" fmla="*/ 64573 h 541230"/>
                    <a:gd name="csX148" fmla="*/ 359134 w 398671"/>
                    <a:gd name="csY148" fmla="*/ 59482 h 541230"/>
                    <a:gd name="csX149" fmla="*/ 341718 w 398671"/>
                    <a:gd name="csY149" fmla="*/ 59482 h 541230"/>
                    <a:gd name="csX150" fmla="*/ 337365 w 398671"/>
                    <a:gd name="csY150" fmla="*/ 48982 h 541230"/>
                    <a:gd name="csX151" fmla="*/ 344280 w 398671"/>
                    <a:gd name="csY151" fmla="*/ 38801 h 541230"/>
                    <a:gd name="csX152" fmla="*/ 353692 w 398671"/>
                    <a:gd name="csY152" fmla="*/ 34447 h 541230"/>
                    <a:gd name="csX153" fmla="*/ 346809 w 398671"/>
                    <a:gd name="csY153" fmla="*/ 30125 h 541230"/>
                    <a:gd name="csX154" fmla="*/ 352251 w 398671"/>
                    <a:gd name="csY154" fmla="*/ 22506 h 5412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</a:cxnLst>
                  <a:rect l="l" t="t" r="r" b="b"/>
                  <a:pathLst>
                    <a:path w="398671" h="541230">
                      <a:moveTo>
                        <a:pt x="352251" y="22506"/>
                      </a:moveTo>
                      <a:lnTo>
                        <a:pt x="341014" y="9444"/>
                      </a:lnTo>
                      <a:lnTo>
                        <a:pt x="346072" y="2529"/>
                      </a:lnTo>
                      <a:lnTo>
                        <a:pt x="339189" y="0"/>
                      </a:lnTo>
                      <a:lnTo>
                        <a:pt x="332306" y="0"/>
                      </a:lnTo>
                      <a:lnTo>
                        <a:pt x="304006" y="7619"/>
                      </a:lnTo>
                      <a:lnTo>
                        <a:pt x="304006" y="25035"/>
                      </a:lnTo>
                      <a:lnTo>
                        <a:pt x="297123" y="32654"/>
                      </a:lnTo>
                      <a:lnTo>
                        <a:pt x="277146" y="29389"/>
                      </a:lnTo>
                      <a:lnTo>
                        <a:pt x="281500" y="37008"/>
                      </a:lnTo>
                      <a:lnTo>
                        <a:pt x="272792" y="47157"/>
                      </a:lnTo>
                      <a:lnTo>
                        <a:pt x="258290" y="42067"/>
                      </a:lnTo>
                      <a:lnTo>
                        <a:pt x="255024" y="45716"/>
                      </a:lnTo>
                      <a:lnTo>
                        <a:pt x="250670" y="54040"/>
                      </a:lnTo>
                      <a:lnTo>
                        <a:pt x="242699" y="53336"/>
                      </a:lnTo>
                      <a:lnTo>
                        <a:pt x="239433" y="63484"/>
                      </a:lnTo>
                      <a:lnTo>
                        <a:pt x="229989" y="67838"/>
                      </a:lnTo>
                      <a:lnTo>
                        <a:pt x="213662" y="88519"/>
                      </a:lnTo>
                      <a:lnTo>
                        <a:pt x="207515" y="102285"/>
                      </a:lnTo>
                      <a:lnTo>
                        <a:pt x="219489" y="110993"/>
                      </a:lnTo>
                      <a:lnTo>
                        <a:pt x="218752" y="115347"/>
                      </a:lnTo>
                      <a:lnTo>
                        <a:pt x="214398" y="129881"/>
                      </a:lnTo>
                      <a:lnTo>
                        <a:pt x="202425" y="142911"/>
                      </a:lnTo>
                      <a:lnTo>
                        <a:pt x="195542" y="144384"/>
                      </a:lnTo>
                      <a:lnTo>
                        <a:pt x="171243" y="170507"/>
                      </a:lnTo>
                      <a:lnTo>
                        <a:pt x="173036" y="175565"/>
                      </a:lnTo>
                      <a:lnTo>
                        <a:pt x="186098" y="180655"/>
                      </a:lnTo>
                      <a:lnTo>
                        <a:pt x="181744" y="193717"/>
                      </a:lnTo>
                      <a:lnTo>
                        <a:pt x="186098" y="195158"/>
                      </a:lnTo>
                      <a:lnTo>
                        <a:pt x="189363" y="201337"/>
                      </a:lnTo>
                      <a:lnTo>
                        <a:pt x="178126" y="216928"/>
                      </a:lnTo>
                      <a:lnTo>
                        <a:pt x="182480" y="249582"/>
                      </a:lnTo>
                      <a:lnTo>
                        <a:pt x="177390" y="256465"/>
                      </a:lnTo>
                      <a:lnTo>
                        <a:pt x="174125" y="276058"/>
                      </a:lnTo>
                      <a:lnTo>
                        <a:pt x="166153" y="285502"/>
                      </a:lnTo>
                      <a:lnTo>
                        <a:pt x="135324" y="309801"/>
                      </a:lnTo>
                      <a:lnTo>
                        <a:pt x="109552" y="319213"/>
                      </a:lnTo>
                      <a:lnTo>
                        <a:pt x="93225" y="319213"/>
                      </a:lnTo>
                      <a:lnTo>
                        <a:pt x="86342" y="308712"/>
                      </a:lnTo>
                      <a:lnTo>
                        <a:pt x="65661" y="313066"/>
                      </a:lnTo>
                      <a:lnTo>
                        <a:pt x="56953" y="310537"/>
                      </a:lnTo>
                      <a:lnTo>
                        <a:pt x="54424" y="302885"/>
                      </a:lnTo>
                      <a:lnTo>
                        <a:pt x="36272" y="305446"/>
                      </a:lnTo>
                      <a:lnTo>
                        <a:pt x="43187" y="327920"/>
                      </a:lnTo>
                      <a:lnTo>
                        <a:pt x="26860" y="348602"/>
                      </a:lnTo>
                      <a:lnTo>
                        <a:pt x="27564" y="353692"/>
                      </a:lnTo>
                      <a:lnTo>
                        <a:pt x="37008" y="356221"/>
                      </a:lnTo>
                      <a:lnTo>
                        <a:pt x="35568" y="370723"/>
                      </a:lnTo>
                      <a:lnTo>
                        <a:pt x="41362" y="391405"/>
                      </a:lnTo>
                      <a:lnTo>
                        <a:pt x="36272" y="398319"/>
                      </a:lnTo>
                      <a:lnTo>
                        <a:pt x="11269" y="404466"/>
                      </a:lnTo>
                      <a:lnTo>
                        <a:pt x="3650" y="416439"/>
                      </a:lnTo>
                      <a:lnTo>
                        <a:pt x="1088" y="432030"/>
                      </a:lnTo>
                      <a:lnTo>
                        <a:pt x="4354" y="439650"/>
                      </a:lnTo>
                      <a:lnTo>
                        <a:pt x="0" y="445828"/>
                      </a:lnTo>
                      <a:lnTo>
                        <a:pt x="4354" y="450919"/>
                      </a:lnTo>
                      <a:lnTo>
                        <a:pt x="4354" y="460331"/>
                      </a:lnTo>
                      <a:lnTo>
                        <a:pt x="9444" y="464684"/>
                      </a:lnTo>
                      <a:lnTo>
                        <a:pt x="8708" y="470479"/>
                      </a:lnTo>
                      <a:lnTo>
                        <a:pt x="18152" y="473040"/>
                      </a:lnTo>
                      <a:lnTo>
                        <a:pt x="17416" y="479923"/>
                      </a:lnTo>
                      <a:lnTo>
                        <a:pt x="26860" y="479187"/>
                      </a:lnTo>
                      <a:lnTo>
                        <a:pt x="31918" y="491160"/>
                      </a:lnTo>
                      <a:lnTo>
                        <a:pt x="43891" y="499164"/>
                      </a:lnTo>
                      <a:lnTo>
                        <a:pt x="55160" y="499164"/>
                      </a:lnTo>
                      <a:lnTo>
                        <a:pt x="75105" y="486102"/>
                      </a:lnTo>
                      <a:lnTo>
                        <a:pt x="95786" y="481748"/>
                      </a:lnTo>
                      <a:lnTo>
                        <a:pt x="105198" y="465421"/>
                      </a:lnTo>
                      <a:lnTo>
                        <a:pt x="113906" y="461067"/>
                      </a:lnTo>
                      <a:lnTo>
                        <a:pt x="142207" y="463596"/>
                      </a:lnTo>
                      <a:lnTo>
                        <a:pt x="146561" y="467950"/>
                      </a:lnTo>
                      <a:lnTo>
                        <a:pt x="137116" y="471568"/>
                      </a:lnTo>
                      <a:lnTo>
                        <a:pt x="140382" y="492985"/>
                      </a:lnTo>
                      <a:lnTo>
                        <a:pt x="136060" y="496251"/>
                      </a:lnTo>
                      <a:lnTo>
                        <a:pt x="144736" y="525639"/>
                      </a:lnTo>
                      <a:lnTo>
                        <a:pt x="149826" y="530730"/>
                      </a:lnTo>
                      <a:lnTo>
                        <a:pt x="154916" y="530730"/>
                      </a:lnTo>
                      <a:lnTo>
                        <a:pt x="156005" y="540142"/>
                      </a:lnTo>
                      <a:lnTo>
                        <a:pt x="172332" y="541230"/>
                      </a:lnTo>
                      <a:lnTo>
                        <a:pt x="175597" y="531786"/>
                      </a:lnTo>
                      <a:lnTo>
                        <a:pt x="170507" y="529993"/>
                      </a:lnTo>
                      <a:lnTo>
                        <a:pt x="179215" y="509312"/>
                      </a:lnTo>
                      <a:lnTo>
                        <a:pt x="190452" y="506047"/>
                      </a:lnTo>
                      <a:lnTo>
                        <a:pt x="194806" y="511137"/>
                      </a:lnTo>
                      <a:lnTo>
                        <a:pt x="204954" y="506047"/>
                      </a:lnTo>
                      <a:lnTo>
                        <a:pt x="206779" y="494810"/>
                      </a:lnTo>
                      <a:lnTo>
                        <a:pt x="221281" y="481748"/>
                      </a:lnTo>
                      <a:lnTo>
                        <a:pt x="241258" y="486806"/>
                      </a:lnTo>
                      <a:lnTo>
                        <a:pt x="252111" y="496251"/>
                      </a:lnTo>
                      <a:lnTo>
                        <a:pt x="263380" y="481012"/>
                      </a:lnTo>
                      <a:lnTo>
                        <a:pt x="262644" y="469775"/>
                      </a:lnTo>
                      <a:lnTo>
                        <a:pt x="265909" y="462892"/>
                      </a:lnTo>
                      <a:lnTo>
                        <a:pt x="278235" y="464684"/>
                      </a:lnTo>
                      <a:lnTo>
                        <a:pt x="281500" y="475921"/>
                      </a:lnTo>
                      <a:lnTo>
                        <a:pt x="286590" y="470479"/>
                      </a:lnTo>
                      <a:lnTo>
                        <a:pt x="290944" y="472304"/>
                      </a:lnTo>
                      <a:lnTo>
                        <a:pt x="286590" y="463596"/>
                      </a:lnTo>
                      <a:lnTo>
                        <a:pt x="289119" y="454184"/>
                      </a:lnTo>
                      <a:lnTo>
                        <a:pt x="309800" y="447269"/>
                      </a:lnTo>
                      <a:lnTo>
                        <a:pt x="305831" y="437857"/>
                      </a:lnTo>
                      <a:lnTo>
                        <a:pt x="299652" y="435296"/>
                      </a:lnTo>
                      <a:lnTo>
                        <a:pt x="302181" y="412085"/>
                      </a:lnTo>
                      <a:lnTo>
                        <a:pt x="326480" y="414647"/>
                      </a:lnTo>
                      <a:lnTo>
                        <a:pt x="331570" y="409556"/>
                      </a:lnTo>
                      <a:lnTo>
                        <a:pt x="344280" y="417176"/>
                      </a:lnTo>
                      <a:lnTo>
                        <a:pt x="366753" y="418264"/>
                      </a:lnTo>
                      <a:lnTo>
                        <a:pt x="377990" y="407732"/>
                      </a:lnTo>
                      <a:lnTo>
                        <a:pt x="374373" y="400112"/>
                      </a:lnTo>
                      <a:lnTo>
                        <a:pt x="366753" y="395758"/>
                      </a:lnTo>
                      <a:lnTo>
                        <a:pt x="381256" y="387050"/>
                      </a:lnTo>
                      <a:lnTo>
                        <a:pt x="373637" y="370723"/>
                      </a:lnTo>
                      <a:lnTo>
                        <a:pt x="377990" y="365665"/>
                      </a:lnTo>
                      <a:lnTo>
                        <a:pt x="383081" y="344247"/>
                      </a:lnTo>
                      <a:lnTo>
                        <a:pt x="379815" y="335540"/>
                      </a:lnTo>
                      <a:lnTo>
                        <a:pt x="385610" y="319949"/>
                      </a:lnTo>
                      <a:lnTo>
                        <a:pt x="383817" y="305446"/>
                      </a:lnTo>
                      <a:lnTo>
                        <a:pt x="389964" y="301092"/>
                      </a:lnTo>
                      <a:lnTo>
                        <a:pt x="378727" y="291648"/>
                      </a:lnTo>
                      <a:lnTo>
                        <a:pt x="377990" y="282236"/>
                      </a:lnTo>
                      <a:lnTo>
                        <a:pt x="382344" y="278587"/>
                      </a:lnTo>
                      <a:lnTo>
                        <a:pt x="377990" y="267702"/>
                      </a:lnTo>
                      <a:lnTo>
                        <a:pt x="355517" y="247053"/>
                      </a:lnTo>
                      <a:lnTo>
                        <a:pt x="346072" y="255377"/>
                      </a:lnTo>
                      <a:lnTo>
                        <a:pt x="344280" y="234695"/>
                      </a:lnTo>
                      <a:lnTo>
                        <a:pt x="337365" y="232166"/>
                      </a:lnTo>
                      <a:lnTo>
                        <a:pt x="338453" y="218368"/>
                      </a:lnTo>
                      <a:lnTo>
                        <a:pt x="334099" y="215839"/>
                      </a:lnTo>
                      <a:lnTo>
                        <a:pt x="333011" y="201337"/>
                      </a:lnTo>
                      <a:lnTo>
                        <a:pt x="327952" y="199512"/>
                      </a:lnTo>
                      <a:lnTo>
                        <a:pt x="329041" y="178126"/>
                      </a:lnTo>
                      <a:lnTo>
                        <a:pt x="325391" y="168682"/>
                      </a:lnTo>
                      <a:lnTo>
                        <a:pt x="321037" y="169419"/>
                      </a:lnTo>
                      <a:lnTo>
                        <a:pt x="323599" y="162504"/>
                      </a:lnTo>
                      <a:lnTo>
                        <a:pt x="330482" y="154884"/>
                      </a:lnTo>
                      <a:lnTo>
                        <a:pt x="333011" y="141118"/>
                      </a:lnTo>
                      <a:lnTo>
                        <a:pt x="352251" y="129881"/>
                      </a:lnTo>
                      <a:lnTo>
                        <a:pt x="361663" y="137501"/>
                      </a:lnTo>
                      <a:lnTo>
                        <a:pt x="372932" y="136028"/>
                      </a:lnTo>
                      <a:lnTo>
                        <a:pt x="381256" y="134939"/>
                      </a:lnTo>
                      <a:lnTo>
                        <a:pt x="385610" y="129145"/>
                      </a:lnTo>
                      <a:lnTo>
                        <a:pt x="383081" y="117908"/>
                      </a:lnTo>
                      <a:lnTo>
                        <a:pt x="377990" y="117172"/>
                      </a:lnTo>
                      <a:lnTo>
                        <a:pt x="382344" y="110993"/>
                      </a:lnTo>
                      <a:lnTo>
                        <a:pt x="377990" y="99020"/>
                      </a:lnTo>
                      <a:lnTo>
                        <a:pt x="398672" y="94666"/>
                      </a:lnTo>
                      <a:lnTo>
                        <a:pt x="388171" y="91048"/>
                      </a:lnTo>
                      <a:lnTo>
                        <a:pt x="373637" y="67838"/>
                      </a:lnTo>
                      <a:lnTo>
                        <a:pt x="364929" y="64573"/>
                      </a:lnTo>
                      <a:lnTo>
                        <a:pt x="359134" y="59482"/>
                      </a:lnTo>
                      <a:lnTo>
                        <a:pt x="341718" y="59482"/>
                      </a:lnTo>
                      <a:lnTo>
                        <a:pt x="337365" y="48982"/>
                      </a:lnTo>
                      <a:lnTo>
                        <a:pt x="344280" y="38801"/>
                      </a:lnTo>
                      <a:lnTo>
                        <a:pt x="353692" y="34447"/>
                      </a:lnTo>
                      <a:lnTo>
                        <a:pt x="346809" y="30125"/>
                      </a:lnTo>
                      <a:lnTo>
                        <a:pt x="352251" y="2250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3" name="Forma Livre: Forma 342">
                  <a:extLst>
                    <a:ext uri="{FF2B5EF4-FFF2-40B4-BE49-F238E27FC236}">
                      <a16:creationId xmlns:a16="http://schemas.microsoft.com/office/drawing/2014/main" id="{EED90CA3-B71B-CAE6-0648-14E1C1D4D2FA}"/>
                    </a:ext>
                  </a:extLst>
                </p:cNvPr>
                <p:cNvSpPr/>
                <p:nvPr/>
              </p:nvSpPr>
              <p:spPr>
                <a:xfrm>
                  <a:off x="3026720" y="2653620"/>
                  <a:ext cx="653311" cy="789723"/>
                </a:xfrm>
                <a:custGeom>
                  <a:avLst/>
                  <a:gdLst>
                    <a:gd name="csX0" fmla="*/ 272792 w 653311"/>
                    <a:gd name="csY0" fmla="*/ 736 h 789723"/>
                    <a:gd name="csX1" fmla="*/ 260082 w 653311"/>
                    <a:gd name="csY1" fmla="*/ 14534 h 789723"/>
                    <a:gd name="csX2" fmla="*/ 257201 w 653311"/>
                    <a:gd name="csY2" fmla="*/ 11269 h 789723"/>
                    <a:gd name="csX3" fmla="*/ 224547 w 653311"/>
                    <a:gd name="csY3" fmla="*/ 76546 h 789723"/>
                    <a:gd name="csX4" fmla="*/ 237609 w 653311"/>
                    <a:gd name="csY4" fmla="*/ 86726 h 789723"/>
                    <a:gd name="csX5" fmla="*/ 242667 w 653311"/>
                    <a:gd name="csY5" fmla="*/ 100492 h 789723"/>
                    <a:gd name="csX6" fmla="*/ 260819 w 653311"/>
                    <a:gd name="csY6" fmla="*/ 107375 h 789723"/>
                    <a:gd name="csX7" fmla="*/ 270967 w 653311"/>
                    <a:gd name="csY7" fmla="*/ 101581 h 789723"/>
                    <a:gd name="csX8" fmla="*/ 291648 w 653311"/>
                    <a:gd name="csY8" fmla="*/ 122998 h 789723"/>
                    <a:gd name="csX9" fmla="*/ 302885 w 653311"/>
                    <a:gd name="csY9" fmla="*/ 128056 h 789723"/>
                    <a:gd name="csX10" fmla="*/ 309064 w 653311"/>
                    <a:gd name="csY10" fmla="*/ 126264 h 789723"/>
                    <a:gd name="csX11" fmla="*/ 309800 w 653311"/>
                    <a:gd name="csY11" fmla="*/ 133147 h 789723"/>
                    <a:gd name="csX12" fmla="*/ 336628 w 653311"/>
                    <a:gd name="csY12" fmla="*/ 151299 h 789723"/>
                    <a:gd name="csX13" fmla="*/ 336628 w 653311"/>
                    <a:gd name="csY13" fmla="*/ 160711 h 789723"/>
                    <a:gd name="csX14" fmla="*/ 346777 w 653311"/>
                    <a:gd name="csY14" fmla="*/ 160711 h 789723"/>
                    <a:gd name="csX15" fmla="*/ 346072 w 653311"/>
                    <a:gd name="csY15" fmla="*/ 167626 h 789723"/>
                    <a:gd name="csX16" fmla="*/ 337365 w 653311"/>
                    <a:gd name="csY16" fmla="*/ 169419 h 789723"/>
                    <a:gd name="csX17" fmla="*/ 328657 w 653311"/>
                    <a:gd name="csY17" fmla="*/ 167626 h 789723"/>
                    <a:gd name="csX18" fmla="*/ 321037 w 653311"/>
                    <a:gd name="csY18" fmla="*/ 174509 h 789723"/>
                    <a:gd name="csX19" fmla="*/ 300356 w 653311"/>
                    <a:gd name="csY19" fmla="*/ 178126 h 789723"/>
                    <a:gd name="csX20" fmla="*/ 280412 w 653311"/>
                    <a:gd name="csY20" fmla="*/ 203898 h 789723"/>
                    <a:gd name="csX21" fmla="*/ 281500 w 653311"/>
                    <a:gd name="csY21" fmla="*/ 217664 h 789723"/>
                    <a:gd name="csX22" fmla="*/ 284765 w 653311"/>
                    <a:gd name="csY22" fmla="*/ 228933 h 789723"/>
                    <a:gd name="csX23" fmla="*/ 278939 w 653311"/>
                    <a:gd name="csY23" fmla="*/ 254672 h 789723"/>
                    <a:gd name="csX24" fmla="*/ 282204 w 653311"/>
                    <a:gd name="csY24" fmla="*/ 273528 h 789723"/>
                    <a:gd name="csX25" fmla="*/ 293473 w 653311"/>
                    <a:gd name="csY25" fmla="*/ 281148 h 789723"/>
                    <a:gd name="csX26" fmla="*/ 300356 w 653311"/>
                    <a:gd name="csY26" fmla="*/ 296739 h 789723"/>
                    <a:gd name="csX27" fmla="*/ 319213 w 653311"/>
                    <a:gd name="csY27" fmla="*/ 305446 h 789723"/>
                    <a:gd name="csX28" fmla="*/ 317772 w 653311"/>
                    <a:gd name="csY28" fmla="*/ 319245 h 789723"/>
                    <a:gd name="csX29" fmla="*/ 323567 w 653311"/>
                    <a:gd name="csY29" fmla="*/ 331954 h 789723"/>
                    <a:gd name="csX30" fmla="*/ 342423 w 653311"/>
                    <a:gd name="csY30" fmla="*/ 350810 h 789723"/>
                    <a:gd name="csX31" fmla="*/ 366753 w 653311"/>
                    <a:gd name="csY31" fmla="*/ 347545 h 789723"/>
                    <a:gd name="csX32" fmla="*/ 377990 w 653311"/>
                    <a:gd name="csY32" fmla="*/ 364576 h 789723"/>
                    <a:gd name="csX33" fmla="*/ 371812 w 653311"/>
                    <a:gd name="csY33" fmla="*/ 387082 h 789723"/>
                    <a:gd name="csX34" fmla="*/ 389964 w 653311"/>
                    <a:gd name="csY34" fmla="*/ 396495 h 789723"/>
                    <a:gd name="csX35" fmla="*/ 371812 w 653311"/>
                    <a:gd name="csY35" fmla="*/ 400144 h 789723"/>
                    <a:gd name="csX36" fmla="*/ 361663 w 653311"/>
                    <a:gd name="csY36" fmla="*/ 407763 h 789723"/>
                    <a:gd name="csX37" fmla="*/ 351131 w 653311"/>
                    <a:gd name="csY37" fmla="*/ 404114 h 789723"/>
                    <a:gd name="csX38" fmla="*/ 342423 w 653311"/>
                    <a:gd name="csY38" fmla="*/ 405939 h 789723"/>
                    <a:gd name="csX39" fmla="*/ 310889 w 653311"/>
                    <a:gd name="csY39" fmla="*/ 434239 h 789723"/>
                    <a:gd name="csX40" fmla="*/ 273881 w 653311"/>
                    <a:gd name="csY40" fmla="*/ 453448 h 789723"/>
                    <a:gd name="csX41" fmla="*/ 241963 w 653311"/>
                    <a:gd name="csY41" fmla="*/ 478130 h 789723"/>
                    <a:gd name="csX42" fmla="*/ 220193 w 653311"/>
                    <a:gd name="csY42" fmla="*/ 479219 h 789723"/>
                    <a:gd name="csX43" fmla="*/ 205691 w 653311"/>
                    <a:gd name="csY43" fmla="*/ 486102 h 789723"/>
                    <a:gd name="csX44" fmla="*/ 199512 w 653311"/>
                    <a:gd name="csY44" fmla="*/ 487927 h 789723"/>
                    <a:gd name="csX45" fmla="*/ 198776 w 653311"/>
                    <a:gd name="csY45" fmla="*/ 484309 h 789723"/>
                    <a:gd name="csX46" fmla="*/ 179919 w 653311"/>
                    <a:gd name="csY46" fmla="*/ 485013 h 789723"/>
                    <a:gd name="csX47" fmla="*/ 165417 w 653311"/>
                    <a:gd name="csY47" fmla="*/ 461067 h 789723"/>
                    <a:gd name="csX48" fmla="*/ 142911 w 653311"/>
                    <a:gd name="csY48" fmla="*/ 454920 h 789723"/>
                    <a:gd name="csX49" fmla="*/ 132410 w 653311"/>
                    <a:gd name="csY49" fmla="*/ 461067 h 789723"/>
                    <a:gd name="csX50" fmla="*/ 127320 w 653311"/>
                    <a:gd name="csY50" fmla="*/ 456713 h 789723"/>
                    <a:gd name="csX51" fmla="*/ 106639 w 653311"/>
                    <a:gd name="csY51" fmla="*/ 460363 h 789723"/>
                    <a:gd name="csX52" fmla="*/ 101581 w 653311"/>
                    <a:gd name="csY52" fmla="*/ 446565 h 789723"/>
                    <a:gd name="csX53" fmla="*/ 119701 w 653311"/>
                    <a:gd name="csY53" fmla="*/ 445476 h 789723"/>
                    <a:gd name="csX54" fmla="*/ 124791 w 653311"/>
                    <a:gd name="csY54" fmla="*/ 440418 h 789723"/>
                    <a:gd name="csX55" fmla="*/ 122966 w 653311"/>
                    <a:gd name="csY55" fmla="*/ 435328 h 789723"/>
                    <a:gd name="csX56" fmla="*/ 92137 w 653311"/>
                    <a:gd name="csY56" fmla="*/ 437857 h 789723"/>
                    <a:gd name="csX57" fmla="*/ 88519 w 653311"/>
                    <a:gd name="csY57" fmla="*/ 446565 h 789723"/>
                    <a:gd name="csX58" fmla="*/ 93961 w 653311"/>
                    <a:gd name="csY58" fmla="*/ 456713 h 789723"/>
                    <a:gd name="csX59" fmla="*/ 75809 w 653311"/>
                    <a:gd name="csY59" fmla="*/ 456009 h 789723"/>
                    <a:gd name="csX60" fmla="*/ 70719 w 653311"/>
                    <a:gd name="csY60" fmla="*/ 459274 h 789723"/>
                    <a:gd name="csX61" fmla="*/ 91400 w 653311"/>
                    <a:gd name="csY61" fmla="*/ 472336 h 789723"/>
                    <a:gd name="csX62" fmla="*/ 76546 w 653311"/>
                    <a:gd name="csY62" fmla="*/ 483573 h 789723"/>
                    <a:gd name="csX63" fmla="*/ 82692 w 653311"/>
                    <a:gd name="csY63" fmla="*/ 499900 h 789723"/>
                    <a:gd name="csX64" fmla="*/ 77634 w 653311"/>
                    <a:gd name="csY64" fmla="*/ 505695 h 789723"/>
                    <a:gd name="csX65" fmla="*/ 75809 w 653311"/>
                    <a:gd name="csY65" fmla="*/ 527464 h 789723"/>
                    <a:gd name="csX66" fmla="*/ 58394 w 653311"/>
                    <a:gd name="csY66" fmla="*/ 547057 h 789723"/>
                    <a:gd name="csX67" fmla="*/ 50070 w 653311"/>
                    <a:gd name="csY67" fmla="*/ 542703 h 789723"/>
                    <a:gd name="csX68" fmla="*/ 37008 w 653311"/>
                    <a:gd name="csY68" fmla="*/ 546320 h 789723"/>
                    <a:gd name="csX69" fmla="*/ 30093 w 653311"/>
                    <a:gd name="csY69" fmla="*/ 552147 h 789723"/>
                    <a:gd name="csX70" fmla="*/ 23947 w 653311"/>
                    <a:gd name="csY70" fmla="*/ 575357 h 789723"/>
                    <a:gd name="csX71" fmla="*/ 6147 w 653311"/>
                    <a:gd name="csY71" fmla="*/ 578239 h 789723"/>
                    <a:gd name="csX72" fmla="*/ 2529 w 653311"/>
                    <a:gd name="csY72" fmla="*/ 587683 h 789723"/>
                    <a:gd name="csX73" fmla="*/ 13766 w 653311"/>
                    <a:gd name="csY73" fmla="*/ 609804 h 789723"/>
                    <a:gd name="csX74" fmla="*/ 9412 w 653311"/>
                    <a:gd name="csY74" fmla="*/ 613454 h 789723"/>
                    <a:gd name="csX75" fmla="*/ 1793 w 653311"/>
                    <a:gd name="csY75" fmla="*/ 608364 h 789723"/>
                    <a:gd name="csX76" fmla="*/ 0 w 653311"/>
                    <a:gd name="csY76" fmla="*/ 624691 h 789723"/>
                    <a:gd name="csX77" fmla="*/ 5058 w 653311"/>
                    <a:gd name="csY77" fmla="*/ 627956 h 789723"/>
                    <a:gd name="csX78" fmla="*/ 11237 w 653311"/>
                    <a:gd name="csY78" fmla="*/ 631574 h 789723"/>
                    <a:gd name="csX79" fmla="*/ 25739 w 653311"/>
                    <a:gd name="csY79" fmla="*/ 627956 h 789723"/>
                    <a:gd name="csX80" fmla="*/ 18120 w 653311"/>
                    <a:gd name="csY80" fmla="*/ 651167 h 789723"/>
                    <a:gd name="csX81" fmla="*/ 30830 w 653311"/>
                    <a:gd name="csY81" fmla="*/ 642459 h 789723"/>
                    <a:gd name="csX82" fmla="*/ 36272 w 653311"/>
                    <a:gd name="csY82" fmla="*/ 645372 h 789723"/>
                    <a:gd name="csX83" fmla="*/ 42067 w 653311"/>
                    <a:gd name="csY83" fmla="*/ 641723 h 789723"/>
                    <a:gd name="csX84" fmla="*/ 50774 w 653311"/>
                    <a:gd name="csY84" fmla="*/ 658050 h 789723"/>
                    <a:gd name="csX85" fmla="*/ 58394 w 653311"/>
                    <a:gd name="csY85" fmla="*/ 657345 h 789723"/>
                    <a:gd name="csX86" fmla="*/ 63836 w 653311"/>
                    <a:gd name="csY86" fmla="*/ 664228 h 789723"/>
                    <a:gd name="csX87" fmla="*/ 77634 w 653311"/>
                    <a:gd name="csY87" fmla="*/ 660611 h 789723"/>
                    <a:gd name="csX88" fmla="*/ 85254 w 653311"/>
                    <a:gd name="csY88" fmla="*/ 676906 h 789723"/>
                    <a:gd name="csX89" fmla="*/ 82692 w 653311"/>
                    <a:gd name="csY89" fmla="*/ 683085 h 789723"/>
                    <a:gd name="csX90" fmla="*/ 71455 w 653311"/>
                    <a:gd name="csY90" fmla="*/ 685614 h 789723"/>
                    <a:gd name="csX91" fmla="*/ 67102 w 653311"/>
                    <a:gd name="csY91" fmla="*/ 691793 h 789723"/>
                    <a:gd name="csX92" fmla="*/ 52599 w 653311"/>
                    <a:gd name="csY92" fmla="*/ 689968 h 789723"/>
                    <a:gd name="csX93" fmla="*/ 50070 w 653311"/>
                    <a:gd name="csY93" fmla="*/ 713914 h 789723"/>
                    <a:gd name="csX94" fmla="*/ 50070 w 653311"/>
                    <a:gd name="csY94" fmla="*/ 726976 h 789723"/>
                    <a:gd name="csX95" fmla="*/ 51511 w 653311"/>
                    <a:gd name="csY95" fmla="*/ 735684 h 789723"/>
                    <a:gd name="csX96" fmla="*/ 45716 w 653311"/>
                    <a:gd name="csY96" fmla="*/ 743303 h 789723"/>
                    <a:gd name="csX97" fmla="*/ 50070 w 653311"/>
                    <a:gd name="csY97" fmla="*/ 750923 h 789723"/>
                    <a:gd name="csX98" fmla="*/ 46420 w 653311"/>
                    <a:gd name="csY98" fmla="*/ 756013 h 789723"/>
                    <a:gd name="csX99" fmla="*/ 48245 w 653311"/>
                    <a:gd name="csY99" fmla="*/ 763984 h 789723"/>
                    <a:gd name="csX100" fmla="*/ 55865 w 653311"/>
                    <a:gd name="csY100" fmla="*/ 767250 h 789723"/>
                    <a:gd name="csX101" fmla="*/ 75809 w 653311"/>
                    <a:gd name="csY101" fmla="*/ 762896 h 789723"/>
                    <a:gd name="csX102" fmla="*/ 87046 w 653311"/>
                    <a:gd name="csY102" fmla="*/ 771604 h 789723"/>
                    <a:gd name="csX103" fmla="*/ 99020 w 653311"/>
                    <a:gd name="csY103" fmla="*/ 772692 h 789723"/>
                    <a:gd name="csX104" fmla="*/ 103374 w 653311"/>
                    <a:gd name="csY104" fmla="*/ 757806 h 789723"/>
                    <a:gd name="csX105" fmla="*/ 131674 w 653311"/>
                    <a:gd name="csY105" fmla="*/ 762896 h 789723"/>
                    <a:gd name="csX106" fmla="*/ 137853 w 653311"/>
                    <a:gd name="csY106" fmla="*/ 767250 h 789723"/>
                    <a:gd name="csX107" fmla="*/ 136028 w 653311"/>
                    <a:gd name="csY107" fmla="*/ 776694 h 789723"/>
                    <a:gd name="csX108" fmla="*/ 143647 w 653311"/>
                    <a:gd name="csY108" fmla="*/ 781016 h 789723"/>
                    <a:gd name="csX109" fmla="*/ 159238 w 653311"/>
                    <a:gd name="csY109" fmla="*/ 779575 h 789723"/>
                    <a:gd name="csX110" fmla="*/ 167946 w 653311"/>
                    <a:gd name="csY110" fmla="*/ 769779 h 789723"/>
                    <a:gd name="csX111" fmla="*/ 175565 w 653311"/>
                    <a:gd name="csY111" fmla="*/ 775221 h 789723"/>
                    <a:gd name="csX112" fmla="*/ 191893 w 653311"/>
                    <a:gd name="csY112" fmla="*/ 764721 h 789723"/>
                    <a:gd name="csX113" fmla="*/ 191893 w 653311"/>
                    <a:gd name="csY113" fmla="*/ 779575 h 789723"/>
                    <a:gd name="csX114" fmla="*/ 215103 w 653311"/>
                    <a:gd name="csY114" fmla="*/ 789724 h 789723"/>
                    <a:gd name="csX115" fmla="*/ 228901 w 653311"/>
                    <a:gd name="csY115" fmla="*/ 778487 h 789723"/>
                    <a:gd name="csX116" fmla="*/ 235784 w 653311"/>
                    <a:gd name="csY116" fmla="*/ 766513 h 789723"/>
                    <a:gd name="csX117" fmla="*/ 240138 w 653311"/>
                    <a:gd name="csY117" fmla="*/ 766513 h 789723"/>
                    <a:gd name="csX118" fmla="*/ 245228 w 653311"/>
                    <a:gd name="csY118" fmla="*/ 753452 h 789723"/>
                    <a:gd name="csX119" fmla="*/ 261555 w 653311"/>
                    <a:gd name="csY119" fmla="*/ 721918 h 789723"/>
                    <a:gd name="csX120" fmla="*/ 277850 w 653311"/>
                    <a:gd name="csY120" fmla="*/ 701237 h 789723"/>
                    <a:gd name="csX121" fmla="*/ 290208 w 653311"/>
                    <a:gd name="csY121" fmla="*/ 701237 h 789723"/>
                    <a:gd name="csX122" fmla="*/ 320301 w 653311"/>
                    <a:gd name="csY122" fmla="*/ 679467 h 789723"/>
                    <a:gd name="csX123" fmla="*/ 332274 w 653311"/>
                    <a:gd name="csY123" fmla="*/ 677994 h 789723"/>
                    <a:gd name="csX124" fmla="*/ 340982 w 653311"/>
                    <a:gd name="csY124" fmla="*/ 682348 h 789723"/>
                    <a:gd name="csX125" fmla="*/ 346072 w 653311"/>
                    <a:gd name="csY125" fmla="*/ 685614 h 789723"/>
                    <a:gd name="csX126" fmla="*/ 351131 w 653311"/>
                    <a:gd name="csY126" fmla="*/ 677994 h 789723"/>
                    <a:gd name="csX127" fmla="*/ 361663 w 653311"/>
                    <a:gd name="csY127" fmla="*/ 673641 h 789723"/>
                    <a:gd name="csX128" fmla="*/ 364929 w 653311"/>
                    <a:gd name="csY128" fmla="*/ 665669 h 789723"/>
                    <a:gd name="csX129" fmla="*/ 384874 w 653311"/>
                    <a:gd name="csY129" fmla="*/ 659874 h 789723"/>
                    <a:gd name="csX130" fmla="*/ 393229 w 653311"/>
                    <a:gd name="csY130" fmla="*/ 657345 h 789723"/>
                    <a:gd name="csX131" fmla="*/ 422618 w 653311"/>
                    <a:gd name="csY131" fmla="*/ 658050 h 789723"/>
                    <a:gd name="csX132" fmla="*/ 445828 w 653311"/>
                    <a:gd name="csY132" fmla="*/ 654784 h 789723"/>
                    <a:gd name="csX133" fmla="*/ 470863 w 653311"/>
                    <a:gd name="csY133" fmla="*/ 657345 h 789723"/>
                    <a:gd name="csX134" fmla="*/ 498427 w 653311"/>
                    <a:gd name="csY134" fmla="*/ 652255 h 789723"/>
                    <a:gd name="csX135" fmla="*/ 494074 w 653311"/>
                    <a:gd name="csY135" fmla="*/ 628661 h 789723"/>
                    <a:gd name="csX136" fmla="*/ 496603 w 653311"/>
                    <a:gd name="csY136" fmla="*/ 619249 h 789723"/>
                    <a:gd name="csX137" fmla="*/ 509664 w 653311"/>
                    <a:gd name="csY137" fmla="*/ 609100 h 789723"/>
                    <a:gd name="csX138" fmla="*/ 509664 w 653311"/>
                    <a:gd name="csY138" fmla="*/ 560855 h 789723"/>
                    <a:gd name="csX139" fmla="*/ 560439 w 653311"/>
                    <a:gd name="csY139" fmla="*/ 518020 h 789723"/>
                    <a:gd name="csX140" fmla="*/ 563704 w 653311"/>
                    <a:gd name="csY140" fmla="*/ 515139 h 789723"/>
                    <a:gd name="csX141" fmla="*/ 574237 w 653311"/>
                    <a:gd name="csY141" fmla="*/ 495546 h 789723"/>
                    <a:gd name="csX142" fmla="*/ 586210 w 653311"/>
                    <a:gd name="csY142" fmla="*/ 489367 h 789723"/>
                    <a:gd name="csX143" fmla="*/ 584385 w 653311"/>
                    <a:gd name="csY143" fmla="*/ 486838 h 789723"/>
                    <a:gd name="csX144" fmla="*/ 653312 w 653311"/>
                    <a:gd name="csY144" fmla="*/ 289119 h 789723"/>
                    <a:gd name="csX145" fmla="*/ 644604 w 653311"/>
                    <a:gd name="csY145" fmla="*/ 284765 h 789723"/>
                    <a:gd name="csX146" fmla="*/ 634455 w 653311"/>
                    <a:gd name="csY146" fmla="*/ 286590 h 789723"/>
                    <a:gd name="csX147" fmla="*/ 630838 w 653311"/>
                    <a:gd name="csY147" fmla="*/ 283677 h 789723"/>
                    <a:gd name="csX148" fmla="*/ 623218 w 653311"/>
                    <a:gd name="csY148" fmla="*/ 289119 h 789723"/>
                    <a:gd name="csX149" fmla="*/ 611245 w 653311"/>
                    <a:gd name="csY149" fmla="*/ 286590 h 789723"/>
                    <a:gd name="csX150" fmla="*/ 591300 w 653311"/>
                    <a:gd name="csY150" fmla="*/ 294209 h 789723"/>
                    <a:gd name="csX151" fmla="*/ 581856 w 653311"/>
                    <a:gd name="csY151" fmla="*/ 279707 h 789723"/>
                    <a:gd name="csX152" fmla="*/ 589476 w 653311"/>
                    <a:gd name="csY152" fmla="*/ 266645 h 789723"/>
                    <a:gd name="csX153" fmla="*/ 585122 w 653311"/>
                    <a:gd name="csY153" fmla="*/ 265909 h 789723"/>
                    <a:gd name="csX154" fmla="*/ 580031 w 653311"/>
                    <a:gd name="csY154" fmla="*/ 262291 h 789723"/>
                    <a:gd name="csX155" fmla="*/ 568794 w 653311"/>
                    <a:gd name="csY155" fmla="*/ 251055 h 789723"/>
                    <a:gd name="csX156" fmla="*/ 563000 w 653311"/>
                    <a:gd name="csY156" fmla="*/ 252847 h 789723"/>
                    <a:gd name="csX157" fmla="*/ 556117 w 653311"/>
                    <a:gd name="csY157" fmla="*/ 247789 h 789723"/>
                    <a:gd name="csX158" fmla="*/ 539790 w 653311"/>
                    <a:gd name="csY158" fmla="*/ 255408 h 789723"/>
                    <a:gd name="csX159" fmla="*/ 539790 w 653311"/>
                    <a:gd name="csY159" fmla="*/ 246701 h 789723"/>
                    <a:gd name="csX160" fmla="*/ 521638 w 653311"/>
                    <a:gd name="csY160" fmla="*/ 238345 h 789723"/>
                    <a:gd name="csX161" fmla="*/ 512194 w 653311"/>
                    <a:gd name="csY161" fmla="*/ 245964 h 789723"/>
                    <a:gd name="csX162" fmla="*/ 472656 w 653311"/>
                    <a:gd name="csY162" fmla="*/ 241610 h 789723"/>
                    <a:gd name="csX163" fmla="*/ 464685 w 653311"/>
                    <a:gd name="csY163" fmla="*/ 220225 h 789723"/>
                    <a:gd name="csX164" fmla="*/ 479571 w 653311"/>
                    <a:gd name="csY164" fmla="*/ 208252 h 789723"/>
                    <a:gd name="csX165" fmla="*/ 463948 w 653311"/>
                    <a:gd name="csY165" fmla="*/ 192629 h 789723"/>
                    <a:gd name="csX166" fmla="*/ 455977 w 653311"/>
                    <a:gd name="csY166" fmla="*/ 185746 h 789723"/>
                    <a:gd name="csX167" fmla="*/ 445828 w 653311"/>
                    <a:gd name="csY167" fmla="*/ 189363 h 789723"/>
                    <a:gd name="csX168" fmla="*/ 433855 w 653311"/>
                    <a:gd name="csY168" fmla="*/ 179567 h 789723"/>
                    <a:gd name="csX169" fmla="*/ 433855 w 653311"/>
                    <a:gd name="csY169" fmla="*/ 172684 h 789723"/>
                    <a:gd name="csX170" fmla="*/ 424411 w 653311"/>
                    <a:gd name="csY170" fmla="*/ 167626 h 789723"/>
                    <a:gd name="csX171" fmla="*/ 429501 w 653311"/>
                    <a:gd name="csY171" fmla="*/ 154916 h 789723"/>
                    <a:gd name="csX172" fmla="*/ 428765 w 653311"/>
                    <a:gd name="csY172" fmla="*/ 142591 h 789723"/>
                    <a:gd name="csX173" fmla="*/ 418968 w 653311"/>
                    <a:gd name="csY173" fmla="*/ 134971 h 789723"/>
                    <a:gd name="csX174" fmla="*/ 422618 w 653311"/>
                    <a:gd name="csY174" fmla="*/ 128793 h 789723"/>
                    <a:gd name="csX175" fmla="*/ 432767 w 653311"/>
                    <a:gd name="csY175" fmla="*/ 126264 h 789723"/>
                    <a:gd name="csX176" fmla="*/ 412086 w 653311"/>
                    <a:gd name="csY176" fmla="*/ 100492 h 789723"/>
                    <a:gd name="csX177" fmla="*/ 435680 w 653311"/>
                    <a:gd name="csY177" fmla="*/ 80900 h 789723"/>
                    <a:gd name="csX178" fmla="*/ 432030 w 653311"/>
                    <a:gd name="csY178" fmla="*/ 72928 h 789723"/>
                    <a:gd name="csX179" fmla="*/ 406995 w 653311"/>
                    <a:gd name="csY179" fmla="*/ 68574 h 789723"/>
                    <a:gd name="csX180" fmla="*/ 388139 w 653311"/>
                    <a:gd name="csY180" fmla="*/ 72192 h 789723"/>
                    <a:gd name="csX181" fmla="*/ 379431 w 653311"/>
                    <a:gd name="csY181" fmla="*/ 68574 h 789723"/>
                    <a:gd name="csX182" fmla="*/ 372548 w 653311"/>
                    <a:gd name="csY182" fmla="*/ 45364 h 789723"/>
                    <a:gd name="csX183" fmla="*/ 354780 w 653311"/>
                    <a:gd name="csY183" fmla="*/ 41362 h 789723"/>
                    <a:gd name="csX184" fmla="*/ 330481 w 653311"/>
                    <a:gd name="csY184" fmla="*/ 7619 h 789723"/>
                    <a:gd name="csX185" fmla="*/ 315947 w 653311"/>
                    <a:gd name="csY185" fmla="*/ 11973 h 789723"/>
                    <a:gd name="csX186" fmla="*/ 312330 w 653311"/>
                    <a:gd name="csY186" fmla="*/ 5827 h 789723"/>
                    <a:gd name="csX187" fmla="*/ 316683 w 653311"/>
                    <a:gd name="csY187" fmla="*/ 736 h 789723"/>
                    <a:gd name="csX188" fmla="*/ 303974 w 653311"/>
                    <a:gd name="csY188" fmla="*/ 0 h 789723"/>
                    <a:gd name="csX189" fmla="*/ 302181 w 653311"/>
                    <a:gd name="csY189" fmla="*/ 5090 h 789723"/>
                    <a:gd name="csX190" fmla="*/ 295266 w 653311"/>
                    <a:gd name="csY190" fmla="*/ 736 h 789723"/>
                    <a:gd name="csX191" fmla="*/ 285854 w 653311"/>
                    <a:gd name="csY191" fmla="*/ 5827 h 789723"/>
                    <a:gd name="csX192" fmla="*/ 272792 w 653311"/>
                    <a:gd name="csY192" fmla="*/ 736 h 78972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  <a:cxn ang="0">
                      <a:pos x="csX167" y="csY167"/>
                    </a:cxn>
                    <a:cxn ang="0">
                      <a:pos x="csX168" y="csY168"/>
                    </a:cxn>
                    <a:cxn ang="0">
                      <a:pos x="csX169" y="csY169"/>
                    </a:cxn>
                    <a:cxn ang="0">
                      <a:pos x="csX170" y="csY170"/>
                    </a:cxn>
                    <a:cxn ang="0">
                      <a:pos x="csX171" y="csY171"/>
                    </a:cxn>
                    <a:cxn ang="0">
                      <a:pos x="csX172" y="csY172"/>
                    </a:cxn>
                    <a:cxn ang="0">
                      <a:pos x="csX173" y="csY173"/>
                    </a:cxn>
                    <a:cxn ang="0">
                      <a:pos x="csX174" y="csY174"/>
                    </a:cxn>
                    <a:cxn ang="0">
                      <a:pos x="csX175" y="csY175"/>
                    </a:cxn>
                    <a:cxn ang="0">
                      <a:pos x="csX176" y="csY176"/>
                    </a:cxn>
                    <a:cxn ang="0">
                      <a:pos x="csX177" y="csY177"/>
                    </a:cxn>
                    <a:cxn ang="0">
                      <a:pos x="csX178" y="csY178"/>
                    </a:cxn>
                    <a:cxn ang="0">
                      <a:pos x="csX179" y="csY179"/>
                    </a:cxn>
                    <a:cxn ang="0">
                      <a:pos x="csX180" y="csY180"/>
                    </a:cxn>
                    <a:cxn ang="0">
                      <a:pos x="csX181" y="csY181"/>
                    </a:cxn>
                    <a:cxn ang="0">
                      <a:pos x="csX182" y="csY182"/>
                    </a:cxn>
                    <a:cxn ang="0">
                      <a:pos x="csX183" y="csY183"/>
                    </a:cxn>
                    <a:cxn ang="0">
                      <a:pos x="csX184" y="csY184"/>
                    </a:cxn>
                    <a:cxn ang="0">
                      <a:pos x="csX185" y="csY185"/>
                    </a:cxn>
                    <a:cxn ang="0">
                      <a:pos x="csX186" y="csY186"/>
                    </a:cxn>
                    <a:cxn ang="0">
                      <a:pos x="csX187" y="csY187"/>
                    </a:cxn>
                    <a:cxn ang="0">
                      <a:pos x="csX188" y="csY188"/>
                    </a:cxn>
                    <a:cxn ang="0">
                      <a:pos x="csX189" y="csY189"/>
                    </a:cxn>
                    <a:cxn ang="0">
                      <a:pos x="csX190" y="csY190"/>
                    </a:cxn>
                    <a:cxn ang="0">
                      <a:pos x="csX191" y="csY191"/>
                    </a:cxn>
                    <a:cxn ang="0">
                      <a:pos x="csX192" y="csY192"/>
                    </a:cxn>
                  </a:cxnLst>
                  <a:rect l="l" t="t" r="r" b="b"/>
                  <a:pathLst>
                    <a:path w="653311" h="789723">
                      <a:moveTo>
                        <a:pt x="272792" y="736"/>
                      </a:moveTo>
                      <a:lnTo>
                        <a:pt x="260082" y="14534"/>
                      </a:lnTo>
                      <a:lnTo>
                        <a:pt x="257201" y="11269"/>
                      </a:lnTo>
                      <a:lnTo>
                        <a:pt x="224547" y="76546"/>
                      </a:lnTo>
                      <a:lnTo>
                        <a:pt x="237609" y="86726"/>
                      </a:lnTo>
                      <a:lnTo>
                        <a:pt x="242667" y="100492"/>
                      </a:lnTo>
                      <a:lnTo>
                        <a:pt x="260819" y="107375"/>
                      </a:lnTo>
                      <a:lnTo>
                        <a:pt x="270967" y="101581"/>
                      </a:lnTo>
                      <a:lnTo>
                        <a:pt x="291648" y="122998"/>
                      </a:lnTo>
                      <a:lnTo>
                        <a:pt x="302885" y="128056"/>
                      </a:lnTo>
                      <a:lnTo>
                        <a:pt x="309064" y="126264"/>
                      </a:lnTo>
                      <a:lnTo>
                        <a:pt x="309800" y="133147"/>
                      </a:lnTo>
                      <a:lnTo>
                        <a:pt x="336628" y="151299"/>
                      </a:lnTo>
                      <a:lnTo>
                        <a:pt x="336628" y="160711"/>
                      </a:lnTo>
                      <a:lnTo>
                        <a:pt x="346777" y="160711"/>
                      </a:lnTo>
                      <a:lnTo>
                        <a:pt x="346072" y="167626"/>
                      </a:lnTo>
                      <a:lnTo>
                        <a:pt x="337365" y="169419"/>
                      </a:lnTo>
                      <a:lnTo>
                        <a:pt x="328657" y="167626"/>
                      </a:lnTo>
                      <a:lnTo>
                        <a:pt x="321037" y="174509"/>
                      </a:lnTo>
                      <a:lnTo>
                        <a:pt x="300356" y="178126"/>
                      </a:lnTo>
                      <a:lnTo>
                        <a:pt x="280412" y="203898"/>
                      </a:lnTo>
                      <a:lnTo>
                        <a:pt x="281500" y="217664"/>
                      </a:lnTo>
                      <a:lnTo>
                        <a:pt x="284765" y="228933"/>
                      </a:lnTo>
                      <a:lnTo>
                        <a:pt x="278939" y="254672"/>
                      </a:lnTo>
                      <a:lnTo>
                        <a:pt x="282204" y="273528"/>
                      </a:lnTo>
                      <a:lnTo>
                        <a:pt x="293473" y="281148"/>
                      </a:lnTo>
                      <a:lnTo>
                        <a:pt x="300356" y="296739"/>
                      </a:lnTo>
                      <a:lnTo>
                        <a:pt x="319213" y="305446"/>
                      </a:lnTo>
                      <a:lnTo>
                        <a:pt x="317772" y="319245"/>
                      </a:lnTo>
                      <a:lnTo>
                        <a:pt x="323567" y="331954"/>
                      </a:lnTo>
                      <a:lnTo>
                        <a:pt x="342423" y="350810"/>
                      </a:lnTo>
                      <a:lnTo>
                        <a:pt x="366753" y="347545"/>
                      </a:lnTo>
                      <a:lnTo>
                        <a:pt x="377990" y="364576"/>
                      </a:lnTo>
                      <a:lnTo>
                        <a:pt x="371812" y="387082"/>
                      </a:lnTo>
                      <a:lnTo>
                        <a:pt x="389964" y="396495"/>
                      </a:lnTo>
                      <a:lnTo>
                        <a:pt x="371812" y="400144"/>
                      </a:lnTo>
                      <a:lnTo>
                        <a:pt x="361663" y="407763"/>
                      </a:lnTo>
                      <a:lnTo>
                        <a:pt x="351131" y="404114"/>
                      </a:lnTo>
                      <a:lnTo>
                        <a:pt x="342423" y="405939"/>
                      </a:lnTo>
                      <a:lnTo>
                        <a:pt x="310889" y="434239"/>
                      </a:lnTo>
                      <a:lnTo>
                        <a:pt x="273881" y="453448"/>
                      </a:lnTo>
                      <a:lnTo>
                        <a:pt x="241963" y="478130"/>
                      </a:lnTo>
                      <a:lnTo>
                        <a:pt x="220193" y="479219"/>
                      </a:lnTo>
                      <a:lnTo>
                        <a:pt x="205691" y="486102"/>
                      </a:lnTo>
                      <a:lnTo>
                        <a:pt x="199512" y="487927"/>
                      </a:lnTo>
                      <a:lnTo>
                        <a:pt x="198776" y="484309"/>
                      </a:lnTo>
                      <a:lnTo>
                        <a:pt x="179919" y="485013"/>
                      </a:lnTo>
                      <a:lnTo>
                        <a:pt x="165417" y="461067"/>
                      </a:lnTo>
                      <a:lnTo>
                        <a:pt x="142911" y="454920"/>
                      </a:lnTo>
                      <a:lnTo>
                        <a:pt x="132410" y="461067"/>
                      </a:lnTo>
                      <a:lnTo>
                        <a:pt x="127320" y="456713"/>
                      </a:lnTo>
                      <a:lnTo>
                        <a:pt x="106639" y="460363"/>
                      </a:lnTo>
                      <a:lnTo>
                        <a:pt x="101581" y="446565"/>
                      </a:lnTo>
                      <a:lnTo>
                        <a:pt x="119701" y="445476"/>
                      </a:lnTo>
                      <a:lnTo>
                        <a:pt x="124791" y="440418"/>
                      </a:lnTo>
                      <a:lnTo>
                        <a:pt x="122966" y="435328"/>
                      </a:lnTo>
                      <a:lnTo>
                        <a:pt x="92137" y="437857"/>
                      </a:lnTo>
                      <a:lnTo>
                        <a:pt x="88519" y="446565"/>
                      </a:lnTo>
                      <a:lnTo>
                        <a:pt x="93961" y="456713"/>
                      </a:lnTo>
                      <a:lnTo>
                        <a:pt x="75809" y="456009"/>
                      </a:lnTo>
                      <a:lnTo>
                        <a:pt x="70719" y="459274"/>
                      </a:lnTo>
                      <a:lnTo>
                        <a:pt x="91400" y="472336"/>
                      </a:lnTo>
                      <a:lnTo>
                        <a:pt x="76546" y="483573"/>
                      </a:lnTo>
                      <a:lnTo>
                        <a:pt x="82692" y="499900"/>
                      </a:lnTo>
                      <a:lnTo>
                        <a:pt x="77634" y="505695"/>
                      </a:lnTo>
                      <a:lnTo>
                        <a:pt x="75809" y="527464"/>
                      </a:lnTo>
                      <a:lnTo>
                        <a:pt x="58394" y="547057"/>
                      </a:lnTo>
                      <a:lnTo>
                        <a:pt x="50070" y="542703"/>
                      </a:lnTo>
                      <a:lnTo>
                        <a:pt x="37008" y="546320"/>
                      </a:lnTo>
                      <a:lnTo>
                        <a:pt x="30093" y="552147"/>
                      </a:lnTo>
                      <a:lnTo>
                        <a:pt x="23947" y="575357"/>
                      </a:lnTo>
                      <a:lnTo>
                        <a:pt x="6147" y="578239"/>
                      </a:lnTo>
                      <a:lnTo>
                        <a:pt x="2529" y="587683"/>
                      </a:lnTo>
                      <a:lnTo>
                        <a:pt x="13766" y="609804"/>
                      </a:lnTo>
                      <a:lnTo>
                        <a:pt x="9412" y="613454"/>
                      </a:lnTo>
                      <a:lnTo>
                        <a:pt x="1793" y="608364"/>
                      </a:lnTo>
                      <a:lnTo>
                        <a:pt x="0" y="624691"/>
                      </a:lnTo>
                      <a:lnTo>
                        <a:pt x="5058" y="627956"/>
                      </a:lnTo>
                      <a:lnTo>
                        <a:pt x="11237" y="631574"/>
                      </a:lnTo>
                      <a:lnTo>
                        <a:pt x="25739" y="627956"/>
                      </a:lnTo>
                      <a:lnTo>
                        <a:pt x="18120" y="651167"/>
                      </a:lnTo>
                      <a:lnTo>
                        <a:pt x="30830" y="642459"/>
                      </a:lnTo>
                      <a:lnTo>
                        <a:pt x="36272" y="645372"/>
                      </a:lnTo>
                      <a:lnTo>
                        <a:pt x="42067" y="641723"/>
                      </a:lnTo>
                      <a:lnTo>
                        <a:pt x="50774" y="658050"/>
                      </a:lnTo>
                      <a:lnTo>
                        <a:pt x="58394" y="657345"/>
                      </a:lnTo>
                      <a:lnTo>
                        <a:pt x="63836" y="664228"/>
                      </a:lnTo>
                      <a:lnTo>
                        <a:pt x="77634" y="660611"/>
                      </a:lnTo>
                      <a:lnTo>
                        <a:pt x="85254" y="676906"/>
                      </a:lnTo>
                      <a:lnTo>
                        <a:pt x="82692" y="683085"/>
                      </a:lnTo>
                      <a:lnTo>
                        <a:pt x="71455" y="685614"/>
                      </a:lnTo>
                      <a:lnTo>
                        <a:pt x="67102" y="691793"/>
                      </a:lnTo>
                      <a:lnTo>
                        <a:pt x="52599" y="689968"/>
                      </a:lnTo>
                      <a:lnTo>
                        <a:pt x="50070" y="713914"/>
                      </a:lnTo>
                      <a:lnTo>
                        <a:pt x="50070" y="726976"/>
                      </a:lnTo>
                      <a:lnTo>
                        <a:pt x="51511" y="735684"/>
                      </a:lnTo>
                      <a:lnTo>
                        <a:pt x="45716" y="743303"/>
                      </a:lnTo>
                      <a:lnTo>
                        <a:pt x="50070" y="750923"/>
                      </a:lnTo>
                      <a:lnTo>
                        <a:pt x="46420" y="756013"/>
                      </a:lnTo>
                      <a:lnTo>
                        <a:pt x="48245" y="763984"/>
                      </a:lnTo>
                      <a:lnTo>
                        <a:pt x="55865" y="767250"/>
                      </a:lnTo>
                      <a:lnTo>
                        <a:pt x="75809" y="762896"/>
                      </a:lnTo>
                      <a:lnTo>
                        <a:pt x="87046" y="771604"/>
                      </a:lnTo>
                      <a:lnTo>
                        <a:pt x="99020" y="772692"/>
                      </a:lnTo>
                      <a:lnTo>
                        <a:pt x="103374" y="757806"/>
                      </a:lnTo>
                      <a:lnTo>
                        <a:pt x="131674" y="762896"/>
                      </a:lnTo>
                      <a:lnTo>
                        <a:pt x="137853" y="767250"/>
                      </a:lnTo>
                      <a:lnTo>
                        <a:pt x="136028" y="776694"/>
                      </a:lnTo>
                      <a:lnTo>
                        <a:pt x="143647" y="781016"/>
                      </a:lnTo>
                      <a:lnTo>
                        <a:pt x="159238" y="779575"/>
                      </a:lnTo>
                      <a:lnTo>
                        <a:pt x="167946" y="769779"/>
                      </a:lnTo>
                      <a:lnTo>
                        <a:pt x="175565" y="775221"/>
                      </a:lnTo>
                      <a:lnTo>
                        <a:pt x="191893" y="764721"/>
                      </a:lnTo>
                      <a:lnTo>
                        <a:pt x="191893" y="779575"/>
                      </a:lnTo>
                      <a:lnTo>
                        <a:pt x="215103" y="789724"/>
                      </a:lnTo>
                      <a:lnTo>
                        <a:pt x="228901" y="778487"/>
                      </a:lnTo>
                      <a:lnTo>
                        <a:pt x="235784" y="766513"/>
                      </a:lnTo>
                      <a:lnTo>
                        <a:pt x="240138" y="766513"/>
                      </a:lnTo>
                      <a:lnTo>
                        <a:pt x="245228" y="753452"/>
                      </a:lnTo>
                      <a:lnTo>
                        <a:pt x="261555" y="721918"/>
                      </a:lnTo>
                      <a:lnTo>
                        <a:pt x="277850" y="701237"/>
                      </a:lnTo>
                      <a:lnTo>
                        <a:pt x="290208" y="701237"/>
                      </a:lnTo>
                      <a:lnTo>
                        <a:pt x="320301" y="679467"/>
                      </a:lnTo>
                      <a:lnTo>
                        <a:pt x="332274" y="677994"/>
                      </a:lnTo>
                      <a:lnTo>
                        <a:pt x="340982" y="682348"/>
                      </a:lnTo>
                      <a:lnTo>
                        <a:pt x="346072" y="685614"/>
                      </a:lnTo>
                      <a:lnTo>
                        <a:pt x="351131" y="677994"/>
                      </a:lnTo>
                      <a:lnTo>
                        <a:pt x="361663" y="673641"/>
                      </a:lnTo>
                      <a:lnTo>
                        <a:pt x="364929" y="665669"/>
                      </a:lnTo>
                      <a:lnTo>
                        <a:pt x="384874" y="659874"/>
                      </a:lnTo>
                      <a:lnTo>
                        <a:pt x="393229" y="657345"/>
                      </a:lnTo>
                      <a:lnTo>
                        <a:pt x="422618" y="658050"/>
                      </a:lnTo>
                      <a:lnTo>
                        <a:pt x="445828" y="654784"/>
                      </a:lnTo>
                      <a:lnTo>
                        <a:pt x="470863" y="657345"/>
                      </a:lnTo>
                      <a:lnTo>
                        <a:pt x="498427" y="652255"/>
                      </a:lnTo>
                      <a:lnTo>
                        <a:pt x="494074" y="628661"/>
                      </a:lnTo>
                      <a:lnTo>
                        <a:pt x="496603" y="619249"/>
                      </a:lnTo>
                      <a:lnTo>
                        <a:pt x="509664" y="609100"/>
                      </a:lnTo>
                      <a:lnTo>
                        <a:pt x="509664" y="560855"/>
                      </a:lnTo>
                      <a:lnTo>
                        <a:pt x="560439" y="518020"/>
                      </a:lnTo>
                      <a:lnTo>
                        <a:pt x="563704" y="515139"/>
                      </a:lnTo>
                      <a:lnTo>
                        <a:pt x="574237" y="495546"/>
                      </a:lnTo>
                      <a:lnTo>
                        <a:pt x="586210" y="489367"/>
                      </a:lnTo>
                      <a:lnTo>
                        <a:pt x="584385" y="486838"/>
                      </a:lnTo>
                      <a:lnTo>
                        <a:pt x="653312" y="289119"/>
                      </a:lnTo>
                      <a:lnTo>
                        <a:pt x="644604" y="284765"/>
                      </a:lnTo>
                      <a:lnTo>
                        <a:pt x="634455" y="286590"/>
                      </a:lnTo>
                      <a:lnTo>
                        <a:pt x="630838" y="283677"/>
                      </a:lnTo>
                      <a:lnTo>
                        <a:pt x="623218" y="289119"/>
                      </a:lnTo>
                      <a:lnTo>
                        <a:pt x="611245" y="286590"/>
                      </a:lnTo>
                      <a:lnTo>
                        <a:pt x="591300" y="294209"/>
                      </a:lnTo>
                      <a:lnTo>
                        <a:pt x="581856" y="279707"/>
                      </a:lnTo>
                      <a:lnTo>
                        <a:pt x="589476" y="266645"/>
                      </a:lnTo>
                      <a:lnTo>
                        <a:pt x="585122" y="265909"/>
                      </a:lnTo>
                      <a:lnTo>
                        <a:pt x="580031" y="262291"/>
                      </a:lnTo>
                      <a:lnTo>
                        <a:pt x="568794" y="251055"/>
                      </a:lnTo>
                      <a:lnTo>
                        <a:pt x="563000" y="252847"/>
                      </a:lnTo>
                      <a:lnTo>
                        <a:pt x="556117" y="247789"/>
                      </a:lnTo>
                      <a:lnTo>
                        <a:pt x="539790" y="255408"/>
                      </a:lnTo>
                      <a:lnTo>
                        <a:pt x="539790" y="246701"/>
                      </a:lnTo>
                      <a:lnTo>
                        <a:pt x="521638" y="238345"/>
                      </a:lnTo>
                      <a:lnTo>
                        <a:pt x="512194" y="245964"/>
                      </a:lnTo>
                      <a:lnTo>
                        <a:pt x="472656" y="241610"/>
                      </a:lnTo>
                      <a:lnTo>
                        <a:pt x="464685" y="220225"/>
                      </a:lnTo>
                      <a:lnTo>
                        <a:pt x="479571" y="208252"/>
                      </a:lnTo>
                      <a:lnTo>
                        <a:pt x="463948" y="192629"/>
                      </a:lnTo>
                      <a:lnTo>
                        <a:pt x="455977" y="185746"/>
                      </a:lnTo>
                      <a:lnTo>
                        <a:pt x="445828" y="189363"/>
                      </a:lnTo>
                      <a:lnTo>
                        <a:pt x="433855" y="179567"/>
                      </a:lnTo>
                      <a:lnTo>
                        <a:pt x="433855" y="172684"/>
                      </a:lnTo>
                      <a:lnTo>
                        <a:pt x="424411" y="167626"/>
                      </a:lnTo>
                      <a:lnTo>
                        <a:pt x="429501" y="154916"/>
                      </a:lnTo>
                      <a:lnTo>
                        <a:pt x="428765" y="142591"/>
                      </a:lnTo>
                      <a:lnTo>
                        <a:pt x="418968" y="134971"/>
                      </a:lnTo>
                      <a:lnTo>
                        <a:pt x="422618" y="128793"/>
                      </a:lnTo>
                      <a:lnTo>
                        <a:pt x="432767" y="126264"/>
                      </a:lnTo>
                      <a:lnTo>
                        <a:pt x="412086" y="100492"/>
                      </a:lnTo>
                      <a:lnTo>
                        <a:pt x="435680" y="80900"/>
                      </a:lnTo>
                      <a:lnTo>
                        <a:pt x="432030" y="72928"/>
                      </a:lnTo>
                      <a:lnTo>
                        <a:pt x="406995" y="68574"/>
                      </a:lnTo>
                      <a:lnTo>
                        <a:pt x="388139" y="72192"/>
                      </a:lnTo>
                      <a:lnTo>
                        <a:pt x="379431" y="68574"/>
                      </a:lnTo>
                      <a:lnTo>
                        <a:pt x="372548" y="45364"/>
                      </a:lnTo>
                      <a:lnTo>
                        <a:pt x="354780" y="41362"/>
                      </a:lnTo>
                      <a:lnTo>
                        <a:pt x="330481" y="7619"/>
                      </a:lnTo>
                      <a:lnTo>
                        <a:pt x="315947" y="11973"/>
                      </a:lnTo>
                      <a:lnTo>
                        <a:pt x="312330" y="5827"/>
                      </a:lnTo>
                      <a:lnTo>
                        <a:pt x="316683" y="736"/>
                      </a:lnTo>
                      <a:lnTo>
                        <a:pt x="303974" y="0"/>
                      </a:lnTo>
                      <a:lnTo>
                        <a:pt x="302181" y="5090"/>
                      </a:lnTo>
                      <a:lnTo>
                        <a:pt x="295266" y="736"/>
                      </a:lnTo>
                      <a:lnTo>
                        <a:pt x="285854" y="5827"/>
                      </a:lnTo>
                      <a:lnTo>
                        <a:pt x="272792" y="736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87D49A4C-7D49-127E-4C03-E70123EC38E5}"/>
                    </a:ext>
                  </a:extLst>
                </p:cNvPr>
                <p:cNvSpPr/>
                <p:nvPr/>
              </p:nvSpPr>
              <p:spPr>
                <a:xfrm>
                  <a:off x="2777138" y="3423399"/>
                  <a:ext cx="409556" cy="554291"/>
                </a:xfrm>
                <a:custGeom>
                  <a:avLst/>
                  <a:gdLst>
                    <a:gd name="csX0" fmla="*/ 97931 w 409556"/>
                    <a:gd name="csY0" fmla="*/ 0 h 554291"/>
                    <a:gd name="csX1" fmla="*/ 80163 w 409556"/>
                    <a:gd name="csY1" fmla="*/ 0 h 554291"/>
                    <a:gd name="csX2" fmla="*/ 48982 w 409556"/>
                    <a:gd name="csY2" fmla="*/ 6915 h 554291"/>
                    <a:gd name="csX3" fmla="*/ 23210 w 409556"/>
                    <a:gd name="csY3" fmla="*/ 6179 h 554291"/>
                    <a:gd name="csX4" fmla="*/ 19945 w 409556"/>
                    <a:gd name="csY4" fmla="*/ 9796 h 554291"/>
                    <a:gd name="csX5" fmla="*/ 26828 w 409556"/>
                    <a:gd name="csY5" fmla="*/ 26860 h 554291"/>
                    <a:gd name="csX6" fmla="*/ 18856 w 409556"/>
                    <a:gd name="csY6" fmla="*/ 68222 h 554291"/>
                    <a:gd name="csX7" fmla="*/ 17063 w 409556"/>
                    <a:gd name="csY7" fmla="*/ 87783 h 554291"/>
                    <a:gd name="csX8" fmla="*/ 33743 w 409556"/>
                    <a:gd name="csY8" fmla="*/ 78370 h 554291"/>
                    <a:gd name="csX9" fmla="*/ 48245 w 409556"/>
                    <a:gd name="csY9" fmla="*/ 77634 h 554291"/>
                    <a:gd name="csX10" fmla="*/ 62043 w 409556"/>
                    <a:gd name="csY10" fmla="*/ 93961 h 554291"/>
                    <a:gd name="csX11" fmla="*/ 75809 w 409556"/>
                    <a:gd name="csY11" fmla="*/ 88871 h 554291"/>
                    <a:gd name="csX12" fmla="*/ 84517 w 409556"/>
                    <a:gd name="csY12" fmla="*/ 90344 h 554291"/>
                    <a:gd name="csX13" fmla="*/ 92137 w 409556"/>
                    <a:gd name="csY13" fmla="*/ 86342 h 554291"/>
                    <a:gd name="csX14" fmla="*/ 85958 w 409556"/>
                    <a:gd name="csY14" fmla="*/ 147297 h 554291"/>
                    <a:gd name="csX15" fmla="*/ 81604 w 409556"/>
                    <a:gd name="csY15" fmla="*/ 150562 h 554291"/>
                    <a:gd name="csX16" fmla="*/ 77634 w 409556"/>
                    <a:gd name="csY16" fmla="*/ 154916 h 554291"/>
                    <a:gd name="csX17" fmla="*/ 71455 w 409556"/>
                    <a:gd name="csY17" fmla="*/ 164328 h 554291"/>
                    <a:gd name="csX18" fmla="*/ 58394 w 409556"/>
                    <a:gd name="csY18" fmla="*/ 167242 h 554291"/>
                    <a:gd name="csX19" fmla="*/ 21417 w 409556"/>
                    <a:gd name="csY19" fmla="*/ 185009 h 554291"/>
                    <a:gd name="csX20" fmla="*/ 23947 w 409556"/>
                    <a:gd name="csY20" fmla="*/ 197335 h 554291"/>
                    <a:gd name="csX21" fmla="*/ 34447 w 409556"/>
                    <a:gd name="csY21" fmla="*/ 196246 h 554291"/>
                    <a:gd name="csX22" fmla="*/ 35183 w 409556"/>
                    <a:gd name="csY22" fmla="*/ 202425 h 554291"/>
                    <a:gd name="csX23" fmla="*/ 16327 w 409556"/>
                    <a:gd name="csY23" fmla="*/ 216223 h 554291"/>
                    <a:gd name="csX24" fmla="*/ 6179 w 409556"/>
                    <a:gd name="csY24" fmla="*/ 213662 h 554291"/>
                    <a:gd name="csX25" fmla="*/ 0 w 409556"/>
                    <a:gd name="csY25" fmla="*/ 227460 h 554291"/>
                    <a:gd name="csX26" fmla="*/ 2529 w 409556"/>
                    <a:gd name="csY26" fmla="*/ 241226 h 554291"/>
                    <a:gd name="csX27" fmla="*/ 11973 w 409556"/>
                    <a:gd name="csY27" fmla="*/ 251407 h 554291"/>
                    <a:gd name="csX28" fmla="*/ 4354 w 409556"/>
                    <a:gd name="csY28" fmla="*/ 271351 h 554291"/>
                    <a:gd name="csX29" fmla="*/ 8708 w 409556"/>
                    <a:gd name="csY29" fmla="*/ 273881 h 554291"/>
                    <a:gd name="csX30" fmla="*/ 22506 w 409556"/>
                    <a:gd name="csY30" fmla="*/ 267734 h 554291"/>
                    <a:gd name="csX31" fmla="*/ 27564 w 409556"/>
                    <a:gd name="csY31" fmla="*/ 271351 h 554291"/>
                    <a:gd name="csX32" fmla="*/ 21417 w 409556"/>
                    <a:gd name="csY32" fmla="*/ 283325 h 554291"/>
                    <a:gd name="csX33" fmla="*/ 29389 w 409556"/>
                    <a:gd name="csY33" fmla="*/ 290944 h 554291"/>
                    <a:gd name="csX34" fmla="*/ 31918 w 409556"/>
                    <a:gd name="csY34" fmla="*/ 302917 h 554291"/>
                    <a:gd name="csX35" fmla="*/ 31918 w 409556"/>
                    <a:gd name="csY35" fmla="*/ 319245 h 554291"/>
                    <a:gd name="csX36" fmla="*/ 35183 w 409556"/>
                    <a:gd name="csY36" fmla="*/ 323598 h 554291"/>
                    <a:gd name="csX37" fmla="*/ 41362 w 409556"/>
                    <a:gd name="csY37" fmla="*/ 319245 h 554291"/>
                    <a:gd name="csX38" fmla="*/ 43155 w 409556"/>
                    <a:gd name="csY38" fmla="*/ 327216 h 554291"/>
                    <a:gd name="csX39" fmla="*/ 50774 w 409556"/>
                    <a:gd name="csY39" fmla="*/ 330482 h 554291"/>
                    <a:gd name="csX40" fmla="*/ 47509 w 409556"/>
                    <a:gd name="csY40" fmla="*/ 342455 h 554291"/>
                    <a:gd name="csX41" fmla="*/ 55865 w 409556"/>
                    <a:gd name="csY41" fmla="*/ 351162 h 554291"/>
                    <a:gd name="csX42" fmla="*/ 50070 w 409556"/>
                    <a:gd name="csY42" fmla="*/ 357341 h 554291"/>
                    <a:gd name="csX43" fmla="*/ 44628 w 409556"/>
                    <a:gd name="csY43" fmla="*/ 375461 h 554291"/>
                    <a:gd name="csX44" fmla="*/ 39537 w 409556"/>
                    <a:gd name="csY44" fmla="*/ 375461 h 554291"/>
                    <a:gd name="csX45" fmla="*/ 73280 w 409556"/>
                    <a:gd name="csY45" fmla="*/ 393229 h 554291"/>
                    <a:gd name="csX46" fmla="*/ 117172 w 409556"/>
                    <a:gd name="csY46" fmla="*/ 389964 h 554291"/>
                    <a:gd name="csX47" fmla="*/ 118612 w 409556"/>
                    <a:gd name="csY47" fmla="*/ 397583 h 554291"/>
                    <a:gd name="csX48" fmla="*/ 110993 w 409556"/>
                    <a:gd name="csY48" fmla="*/ 402673 h 554291"/>
                    <a:gd name="csX49" fmla="*/ 100844 w 409556"/>
                    <a:gd name="csY49" fmla="*/ 400144 h 554291"/>
                    <a:gd name="csX50" fmla="*/ 97931 w 409556"/>
                    <a:gd name="csY50" fmla="*/ 413174 h 554291"/>
                    <a:gd name="csX51" fmla="*/ 122966 w 409556"/>
                    <a:gd name="csY51" fmla="*/ 426972 h 554291"/>
                    <a:gd name="csX52" fmla="*/ 136028 w 409556"/>
                    <a:gd name="csY52" fmla="*/ 443299 h 554291"/>
                    <a:gd name="csX53" fmla="*/ 141822 w 409556"/>
                    <a:gd name="csY53" fmla="*/ 458890 h 554291"/>
                    <a:gd name="csX54" fmla="*/ 130970 w 409556"/>
                    <a:gd name="csY54" fmla="*/ 469775 h 554291"/>
                    <a:gd name="csX55" fmla="*/ 136028 w 409556"/>
                    <a:gd name="csY55" fmla="*/ 486102 h 554291"/>
                    <a:gd name="csX56" fmla="*/ 122262 w 409556"/>
                    <a:gd name="csY56" fmla="*/ 492985 h 554291"/>
                    <a:gd name="csX57" fmla="*/ 110289 w 409556"/>
                    <a:gd name="csY57" fmla="*/ 517284 h 554291"/>
                    <a:gd name="csX58" fmla="*/ 109200 w 409556"/>
                    <a:gd name="csY58" fmla="*/ 520549 h 554291"/>
                    <a:gd name="csX59" fmla="*/ 117172 w 409556"/>
                    <a:gd name="csY59" fmla="*/ 524199 h 554291"/>
                    <a:gd name="csX60" fmla="*/ 133499 w 409556"/>
                    <a:gd name="csY60" fmla="*/ 519108 h 554291"/>
                    <a:gd name="csX61" fmla="*/ 141822 w 409556"/>
                    <a:gd name="csY61" fmla="*/ 507871 h 554291"/>
                    <a:gd name="csX62" fmla="*/ 151619 w 409556"/>
                    <a:gd name="csY62" fmla="*/ 523110 h 554291"/>
                    <a:gd name="csX63" fmla="*/ 179183 w 409556"/>
                    <a:gd name="csY63" fmla="*/ 528553 h 554291"/>
                    <a:gd name="csX64" fmla="*/ 183185 w 409556"/>
                    <a:gd name="csY64" fmla="*/ 550674 h 554291"/>
                    <a:gd name="csX65" fmla="*/ 192629 w 409556"/>
                    <a:gd name="csY65" fmla="*/ 554292 h 554291"/>
                    <a:gd name="csX66" fmla="*/ 200600 w 409556"/>
                    <a:gd name="csY66" fmla="*/ 523110 h 554291"/>
                    <a:gd name="csX67" fmla="*/ 196246 w 409556"/>
                    <a:gd name="csY67" fmla="*/ 512225 h 554291"/>
                    <a:gd name="csX68" fmla="*/ 204954 w 409556"/>
                    <a:gd name="csY68" fmla="*/ 499900 h 554291"/>
                    <a:gd name="csX69" fmla="*/ 207483 w 409556"/>
                    <a:gd name="csY69" fmla="*/ 482100 h 554291"/>
                    <a:gd name="csX70" fmla="*/ 228164 w 409556"/>
                    <a:gd name="csY70" fmla="*/ 478483 h 554291"/>
                    <a:gd name="csX71" fmla="*/ 244492 w 409556"/>
                    <a:gd name="csY71" fmla="*/ 469038 h 554291"/>
                    <a:gd name="csX72" fmla="*/ 247757 w 409556"/>
                    <a:gd name="csY72" fmla="*/ 470863 h 554291"/>
                    <a:gd name="csX73" fmla="*/ 280411 w 409556"/>
                    <a:gd name="csY73" fmla="*/ 474129 h 554291"/>
                    <a:gd name="csX74" fmla="*/ 313418 w 409556"/>
                    <a:gd name="csY74" fmla="*/ 462155 h 554291"/>
                    <a:gd name="csX75" fmla="*/ 305447 w 409556"/>
                    <a:gd name="csY75" fmla="*/ 431326 h 554291"/>
                    <a:gd name="csX76" fmla="*/ 322862 w 409556"/>
                    <a:gd name="csY76" fmla="*/ 423354 h 554291"/>
                    <a:gd name="csX77" fmla="*/ 325391 w 409556"/>
                    <a:gd name="csY77" fmla="*/ 432062 h 554291"/>
                    <a:gd name="csX78" fmla="*/ 339189 w 409556"/>
                    <a:gd name="csY78" fmla="*/ 432767 h 554291"/>
                    <a:gd name="csX79" fmla="*/ 344984 w 409556"/>
                    <a:gd name="csY79" fmla="*/ 420793 h 554291"/>
                    <a:gd name="csX80" fmla="*/ 358046 w 409556"/>
                    <a:gd name="csY80" fmla="*/ 420089 h 554291"/>
                    <a:gd name="csX81" fmla="*/ 352955 w 409556"/>
                    <a:gd name="csY81" fmla="*/ 406291 h 554291"/>
                    <a:gd name="csX82" fmla="*/ 346809 w 409556"/>
                    <a:gd name="csY82" fmla="*/ 403762 h 554291"/>
                    <a:gd name="csX83" fmla="*/ 349338 w 409556"/>
                    <a:gd name="csY83" fmla="*/ 399408 h 554291"/>
                    <a:gd name="csX84" fmla="*/ 369283 w 409556"/>
                    <a:gd name="csY84" fmla="*/ 393229 h 554291"/>
                    <a:gd name="csX85" fmla="*/ 373637 w 409556"/>
                    <a:gd name="csY85" fmla="*/ 398671 h 554291"/>
                    <a:gd name="csX86" fmla="*/ 385610 w 409556"/>
                    <a:gd name="csY86" fmla="*/ 398671 h 554291"/>
                    <a:gd name="csX87" fmla="*/ 389964 w 409556"/>
                    <a:gd name="csY87" fmla="*/ 384905 h 554291"/>
                    <a:gd name="csX88" fmla="*/ 398319 w 409556"/>
                    <a:gd name="csY88" fmla="*/ 385610 h 554291"/>
                    <a:gd name="csX89" fmla="*/ 405202 w 409556"/>
                    <a:gd name="csY89" fmla="*/ 349338 h 554291"/>
                    <a:gd name="csX90" fmla="*/ 390700 w 409556"/>
                    <a:gd name="csY90" fmla="*/ 347897 h 554291"/>
                    <a:gd name="csX91" fmla="*/ 409556 w 409556"/>
                    <a:gd name="csY91" fmla="*/ 319245 h 554291"/>
                    <a:gd name="csX92" fmla="*/ 406291 w 409556"/>
                    <a:gd name="csY92" fmla="*/ 310889 h 554291"/>
                    <a:gd name="csX93" fmla="*/ 409556 w 409556"/>
                    <a:gd name="csY93" fmla="*/ 304006 h 554291"/>
                    <a:gd name="csX94" fmla="*/ 395758 w 409556"/>
                    <a:gd name="csY94" fmla="*/ 301445 h 554291"/>
                    <a:gd name="csX95" fmla="*/ 395054 w 409556"/>
                    <a:gd name="csY95" fmla="*/ 287679 h 554291"/>
                    <a:gd name="csX96" fmla="*/ 386346 w 409556"/>
                    <a:gd name="csY96" fmla="*/ 291680 h 554291"/>
                    <a:gd name="csX97" fmla="*/ 379431 w 409556"/>
                    <a:gd name="csY97" fmla="*/ 289119 h 554291"/>
                    <a:gd name="csX98" fmla="*/ 378727 w 409556"/>
                    <a:gd name="csY98" fmla="*/ 272088 h 554291"/>
                    <a:gd name="csX99" fmla="*/ 371107 w 409556"/>
                    <a:gd name="csY99" fmla="*/ 272088 h 554291"/>
                    <a:gd name="csX100" fmla="*/ 366753 w 409556"/>
                    <a:gd name="csY100" fmla="*/ 280796 h 554291"/>
                    <a:gd name="csX101" fmla="*/ 364929 w 409556"/>
                    <a:gd name="csY101" fmla="*/ 278234 h 554291"/>
                    <a:gd name="csX102" fmla="*/ 363104 w 409556"/>
                    <a:gd name="csY102" fmla="*/ 264468 h 554291"/>
                    <a:gd name="csX103" fmla="*/ 351163 w 409556"/>
                    <a:gd name="csY103" fmla="*/ 261555 h 554291"/>
                    <a:gd name="csX104" fmla="*/ 365665 w 409556"/>
                    <a:gd name="csY104" fmla="*/ 249582 h 554291"/>
                    <a:gd name="csX105" fmla="*/ 371812 w 409556"/>
                    <a:gd name="csY105" fmla="*/ 225635 h 554291"/>
                    <a:gd name="csX106" fmla="*/ 339189 w 409556"/>
                    <a:gd name="csY106" fmla="*/ 224547 h 554291"/>
                    <a:gd name="csX107" fmla="*/ 327920 w 409556"/>
                    <a:gd name="csY107" fmla="*/ 209308 h 554291"/>
                    <a:gd name="csX108" fmla="*/ 331186 w 409556"/>
                    <a:gd name="csY108" fmla="*/ 186834 h 554291"/>
                    <a:gd name="csX109" fmla="*/ 340982 w 409556"/>
                    <a:gd name="csY109" fmla="*/ 177390 h 554291"/>
                    <a:gd name="csX110" fmla="*/ 349338 w 409556"/>
                    <a:gd name="csY110" fmla="*/ 185009 h 554291"/>
                    <a:gd name="csX111" fmla="*/ 349338 w 409556"/>
                    <a:gd name="csY111" fmla="*/ 169771 h 554291"/>
                    <a:gd name="csX112" fmla="*/ 349338 w 409556"/>
                    <a:gd name="csY112" fmla="*/ 166153 h 554291"/>
                    <a:gd name="csX113" fmla="*/ 339189 w 409556"/>
                    <a:gd name="csY113" fmla="*/ 156709 h 554291"/>
                    <a:gd name="csX114" fmla="*/ 326128 w 409556"/>
                    <a:gd name="csY114" fmla="*/ 156005 h 554291"/>
                    <a:gd name="csX115" fmla="*/ 317420 w 409556"/>
                    <a:gd name="csY115" fmla="*/ 148001 h 554291"/>
                    <a:gd name="csX116" fmla="*/ 313418 w 409556"/>
                    <a:gd name="csY116" fmla="*/ 133499 h 554291"/>
                    <a:gd name="csX117" fmla="*/ 313418 w 409556"/>
                    <a:gd name="csY117" fmla="*/ 132762 h 554291"/>
                    <a:gd name="csX118" fmla="*/ 305447 w 409556"/>
                    <a:gd name="csY118" fmla="*/ 122262 h 554291"/>
                    <a:gd name="csX119" fmla="*/ 296002 w 409556"/>
                    <a:gd name="csY119" fmla="*/ 120437 h 554291"/>
                    <a:gd name="csX120" fmla="*/ 297827 w 409556"/>
                    <a:gd name="csY120" fmla="*/ 112113 h 554291"/>
                    <a:gd name="csX121" fmla="*/ 283325 w 409556"/>
                    <a:gd name="csY121" fmla="*/ 96490 h 554291"/>
                    <a:gd name="csX122" fmla="*/ 276410 w 409556"/>
                    <a:gd name="csY122" fmla="*/ 80163 h 554291"/>
                    <a:gd name="csX123" fmla="*/ 269527 w 409556"/>
                    <a:gd name="csY123" fmla="*/ 75105 h 554291"/>
                    <a:gd name="csX124" fmla="*/ 257201 w 409556"/>
                    <a:gd name="csY124" fmla="*/ 74017 h 554291"/>
                    <a:gd name="csX125" fmla="*/ 240138 w 409556"/>
                    <a:gd name="csY125" fmla="*/ 93961 h 554291"/>
                    <a:gd name="csX126" fmla="*/ 239433 w 409556"/>
                    <a:gd name="csY126" fmla="*/ 108464 h 554291"/>
                    <a:gd name="csX127" fmla="*/ 232518 w 409556"/>
                    <a:gd name="csY127" fmla="*/ 115379 h 554291"/>
                    <a:gd name="csX128" fmla="*/ 224547 w 409556"/>
                    <a:gd name="csY128" fmla="*/ 114642 h 554291"/>
                    <a:gd name="csX129" fmla="*/ 196983 w 409556"/>
                    <a:gd name="csY129" fmla="*/ 103405 h 554291"/>
                    <a:gd name="csX130" fmla="*/ 183185 w 409556"/>
                    <a:gd name="csY130" fmla="*/ 103405 h 554291"/>
                    <a:gd name="csX131" fmla="*/ 172300 w 409556"/>
                    <a:gd name="csY131" fmla="*/ 112818 h 554291"/>
                    <a:gd name="csX132" fmla="*/ 149826 w 409556"/>
                    <a:gd name="csY132" fmla="*/ 110288 h 554291"/>
                    <a:gd name="csX133" fmla="*/ 141118 w 409556"/>
                    <a:gd name="csY133" fmla="*/ 105198 h 554291"/>
                    <a:gd name="csX134" fmla="*/ 142911 w 409556"/>
                    <a:gd name="csY134" fmla="*/ 28653 h 554291"/>
                    <a:gd name="csX135" fmla="*/ 142911 w 409556"/>
                    <a:gd name="csY135" fmla="*/ 27564 h 554291"/>
                    <a:gd name="csX136" fmla="*/ 142911 w 409556"/>
                    <a:gd name="csY136" fmla="*/ 1088 h 554291"/>
                    <a:gd name="csX137" fmla="*/ 97931 w 409556"/>
                    <a:gd name="csY137" fmla="*/ 0 h 5542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</a:cxnLst>
                  <a:rect l="l" t="t" r="r" b="b"/>
                  <a:pathLst>
                    <a:path w="409556" h="554291">
                      <a:moveTo>
                        <a:pt x="97931" y="0"/>
                      </a:moveTo>
                      <a:lnTo>
                        <a:pt x="80163" y="0"/>
                      </a:lnTo>
                      <a:lnTo>
                        <a:pt x="48982" y="6915"/>
                      </a:lnTo>
                      <a:lnTo>
                        <a:pt x="23210" y="6179"/>
                      </a:lnTo>
                      <a:lnTo>
                        <a:pt x="19945" y="9796"/>
                      </a:lnTo>
                      <a:lnTo>
                        <a:pt x="26828" y="26860"/>
                      </a:lnTo>
                      <a:lnTo>
                        <a:pt x="18856" y="68222"/>
                      </a:lnTo>
                      <a:lnTo>
                        <a:pt x="17063" y="87783"/>
                      </a:lnTo>
                      <a:lnTo>
                        <a:pt x="33743" y="78370"/>
                      </a:lnTo>
                      <a:lnTo>
                        <a:pt x="48245" y="77634"/>
                      </a:lnTo>
                      <a:lnTo>
                        <a:pt x="62043" y="93961"/>
                      </a:lnTo>
                      <a:lnTo>
                        <a:pt x="75809" y="88871"/>
                      </a:lnTo>
                      <a:lnTo>
                        <a:pt x="84517" y="90344"/>
                      </a:lnTo>
                      <a:lnTo>
                        <a:pt x="92137" y="86342"/>
                      </a:lnTo>
                      <a:lnTo>
                        <a:pt x="85958" y="147297"/>
                      </a:lnTo>
                      <a:lnTo>
                        <a:pt x="81604" y="150562"/>
                      </a:lnTo>
                      <a:lnTo>
                        <a:pt x="77634" y="154916"/>
                      </a:lnTo>
                      <a:lnTo>
                        <a:pt x="71455" y="164328"/>
                      </a:lnTo>
                      <a:lnTo>
                        <a:pt x="58394" y="167242"/>
                      </a:lnTo>
                      <a:lnTo>
                        <a:pt x="21417" y="185009"/>
                      </a:lnTo>
                      <a:lnTo>
                        <a:pt x="23947" y="197335"/>
                      </a:lnTo>
                      <a:lnTo>
                        <a:pt x="34447" y="196246"/>
                      </a:lnTo>
                      <a:lnTo>
                        <a:pt x="35183" y="202425"/>
                      </a:lnTo>
                      <a:lnTo>
                        <a:pt x="16327" y="216223"/>
                      </a:lnTo>
                      <a:lnTo>
                        <a:pt x="6179" y="213662"/>
                      </a:lnTo>
                      <a:lnTo>
                        <a:pt x="0" y="227460"/>
                      </a:lnTo>
                      <a:lnTo>
                        <a:pt x="2529" y="241226"/>
                      </a:lnTo>
                      <a:lnTo>
                        <a:pt x="11973" y="251407"/>
                      </a:lnTo>
                      <a:lnTo>
                        <a:pt x="4354" y="271351"/>
                      </a:lnTo>
                      <a:lnTo>
                        <a:pt x="8708" y="273881"/>
                      </a:lnTo>
                      <a:lnTo>
                        <a:pt x="22506" y="267734"/>
                      </a:lnTo>
                      <a:lnTo>
                        <a:pt x="27564" y="271351"/>
                      </a:lnTo>
                      <a:lnTo>
                        <a:pt x="21417" y="283325"/>
                      </a:lnTo>
                      <a:lnTo>
                        <a:pt x="29389" y="290944"/>
                      </a:lnTo>
                      <a:lnTo>
                        <a:pt x="31918" y="302917"/>
                      </a:lnTo>
                      <a:lnTo>
                        <a:pt x="31918" y="319245"/>
                      </a:lnTo>
                      <a:lnTo>
                        <a:pt x="35183" y="323598"/>
                      </a:lnTo>
                      <a:lnTo>
                        <a:pt x="41362" y="319245"/>
                      </a:lnTo>
                      <a:lnTo>
                        <a:pt x="43155" y="327216"/>
                      </a:lnTo>
                      <a:lnTo>
                        <a:pt x="50774" y="330482"/>
                      </a:lnTo>
                      <a:lnTo>
                        <a:pt x="47509" y="342455"/>
                      </a:lnTo>
                      <a:lnTo>
                        <a:pt x="55865" y="351162"/>
                      </a:lnTo>
                      <a:lnTo>
                        <a:pt x="50070" y="357341"/>
                      </a:lnTo>
                      <a:lnTo>
                        <a:pt x="44628" y="375461"/>
                      </a:lnTo>
                      <a:lnTo>
                        <a:pt x="39537" y="375461"/>
                      </a:lnTo>
                      <a:lnTo>
                        <a:pt x="73280" y="393229"/>
                      </a:lnTo>
                      <a:lnTo>
                        <a:pt x="117172" y="389964"/>
                      </a:lnTo>
                      <a:lnTo>
                        <a:pt x="118612" y="397583"/>
                      </a:lnTo>
                      <a:lnTo>
                        <a:pt x="110993" y="402673"/>
                      </a:lnTo>
                      <a:lnTo>
                        <a:pt x="100844" y="400144"/>
                      </a:lnTo>
                      <a:lnTo>
                        <a:pt x="97931" y="413174"/>
                      </a:lnTo>
                      <a:lnTo>
                        <a:pt x="122966" y="426972"/>
                      </a:lnTo>
                      <a:lnTo>
                        <a:pt x="136028" y="443299"/>
                      </a:lnTo>
                      <a:lnTo>
                        <a:pt x="141822" y="458890"/>
                      </a:lnTo>
                      <a:lnTo>
                        <a:pt x="130970" y="469775"/>
                      </a:lnTo>
                      <a:lnTo>
                        <a:pt x="136028" y="486102"/>
                      </a:lnTo>
                      <a:lnTo>
                        <a:pt x="122262" y="492985"/>
                      </a:lnTo>
                      <a:lnTo>
                        <a:pt x="110289" y="517284"/>
                      </a:lnTo>
                      <a:lnTo>
                        <a:pt x="109200" y="520549"/>
                      </a:lnTo>
                      <a:lnTo>
                        <a:pt x="117172" y="524199"/>
                      </a:lnTo>
                      <a:lnTo>
                        <a:pt x="133499" y="519108"/>
                      </a:lnTo>
                      <a:lnTo>
                        <a:pt x="141822" y="507871"/>
                      </a:lnTo>
                      <a:lnTo>
                        <a:pt x="151619" y="523110"/>
                      </a:lnTo>
                      <a:lnTo>
                        <a:pt x="179183" y="528553"/>
                      </a:lnTo>
                      <a:lnTo>
                        <a:pt x="183185" y="550674"/>
                      </a:lnTo>
                      <a:lnTo>
                        <a:pt x="192629" y="554292"/>
                      </a:lnTo>
                      <a:lnTo>
                        <a:pt x="200600" y="523110"/>
                      </a:lnTo>
                      <a:lnTo>
                        <a:pt x="196246" y="512225"/>
                      </a:lnTo>
                      <a:lnTo>
                        <a:pt x="204954" y="499900"/>
                      </a:lnTo>
                      <a:lnTo>
                        <a:pt x="207483" y="482100"/>
                      </a:lnTo>
                      <a:lnTo>
                        <a:pt x="228164" y="478483"/>
                      </a:lnTo>
                      <a:lnTo>
                        <a:pt x="244492" y="469038"/>
                      </a:lnTo>
                      <a:lnTo>
                        <a:pt x="247757" y="470863"/>
                      </a:lnTo>
                      <a:lnTo>
                        <a:pt x="280411" y="474129"/>
                      </a:lnTo>
                      <a:lnTo>
                        <a:pt x="313418" y="462155"/>
                      </a:lnTo>
                      <a:lnTo>
                        <a:pt x="305447" y="431326"/>
                      </a:lnTo>
                      <a:lnTo>
                        <a:pt x="322862" y="423354"/>
                      </a:lnTo>
                      <a:lnTo>
                        <a:pt x="325391" y="432062"/>
                      </a:lnTo>
                      <a:lnTo>
                        <a:pt x="339189" y="432767"/>
                      </a:lnTo>
                      <a:lnTo>
                        <a:pt x="344984" y="420793"/>
                      </a:lnTo>
                      <a:lnTo>
                        <a:pt x="358046" y="420089"/>
                      </a:lnTo>
                      <a:lnTo>
                        <a:pt x="352955" y="406291"/>
                      </a:lnTo>
                      <a:lnTo>
                        <a:pt x="346809" y="403762"/>
                      </a:lnTo>
                      <a:lnTo>
                        <a:pt x="349338" y="399408"/>
                      </a:lnTo>
                      <a:lnTo>
                        <a:pt x="369283" y="393229"/>
                      </a:lnTo>
                      <a:lnTo>
                        <a:pt x="373637" y="398671"/>
                      </a:lnTo>
                      <a:lnTo>
                        <a:pt x="385610" y="398671"/>
                      </a:lnTo>
                      <a:lnTo>
                        <a:pt x="389964" y="384905"/>
                      </a:lnTo>
                      <a:lnTo>
                        <a:pt x="398319" y="385610"/>
                      </a:lnTo>
                      <a:lnTo>
                        <a:pt x="405202" y="349338"/>
                      </a:lnTo>
                      <a:lnTo>
                        <a:pt x="390700" y="347897"/>
                      </a:lnTo>
                      <a:lnTo>
                        <a:pt x="409556" y="319245"/>
                      </a:lnTo>
                      <a:lnTo>
                        <a:pt x="406291" y="310889"/>
                      </a:lnTo>
                      <a:lnTo>
                        <a:pt x="409556" y="304006"/>
                      </a:lnTo>
                      <a:lnTo>
                        <a:pt x="395758" y="301445"/>
                      </a:lnTo>
                      <a:lnTo>
                        <a:pt x="395054" y="287679"/>
                      </a:lnTo>
                      <a:lnTo>
                        <a:pt x="386346" y="291680"/>
                      </a:lnTo>
                      <a:lnTo>
                        <a:pt x="379431" y="289119"/>
                      </a:lnTo>
                      <a:lnTo>
                        <a:pt x="378727" y="272088"/>
                      </a:lnTo>
                      <a:lnTo>
                        <a:pt x="371107" y="272088"/>
                      </a:lnTo>
                      <a:lnTo>
                        <a:pt x="366753" y="280796"/>
                      </a:lnTo>
                      <a:lnTo>
                        <a:pt x="364929" y="278234"/>
                      </a:lnTo>
                      <a:lnTo>
                        <a:pt x="363104" y="264468"/>
                      </a:lnTo>
                      <a:lnTo>
                        <a:pt x="351163" y="261555"/>
                      </a:lnTo>
                      <a:lnTo>
                        <a:pt x="365665" y="249582"/>
                      </a:lnTo>
                      <a:lnTo>
                        <a:pt x="371812" y="225635"/>
                      </a:lnTo>
                      <a:lnTo>
                        <a:pt x="339189" y="224547"/>
                      </a:lnTo>
                      <a:lnTo>
                        <a:pt x="327920" y="209308"/>
                      </a:lnTo>
                      <a:lnTo>
                        <a:pt x="331186" y="186834"/>
                      </a:lnTo>
                      <a:lnTo>
                        <a:pt x="340982" y="177390"/>
                      </a:lnTo>
                      <a:lnTo>
                        <a:pt x="349338" y="185009"/>
                      </a:lnTo>
                      <a:lnTo>
                        <a:pt x="349338" y="169771"/>
                      </a:lnTo>
                      <a:lnTo>
                        <a:pt x="349338" y="166153"/>
                      </a:lnTo>
                      <a:lnTo>
                        <a:pt x="339189" y="156709"/>
                      </a:lnTo>
                      <a:lnTo>
                        <a:pt x="326128" y="156005"/>
                      </a:lnTo>
                      <a:lnTo>
                        <a:pt x="317420" y="148001"/>
                      </a:lnTo>
                      <a:lnTo>
                        <a:pt x="313418" y="133499"/>
                      </a:lnTo>
                      <a:lnTo>
                        <a:pt x="313418" y="132762"/>
                      </a:lnTo>
                      <a:lnTo>
                        <a:pt x="305447" y="122262"/>
                      </a:lnTo>
                      <a:lnTo>
                        <a:pt x="296002" y="120437"/>
                      </a:lnTo>
                      <a:lnTo>
                        <a:pt x="297827" y="112113"/>
                      </a:lnTo>
                      <a:lnTo>
                        <a:pt x="283325" y="96490"/>
                      </a:lnTo>
                      <a:lnTo>
                        <a:pt x="276410" y="80163"/>
                      </a:lnTo>
                      <a:lnTo>
                        <a:pt x="269527" y="75105"/>
                      </a:lnTo>
                      <a:lnTo>
                        <a:pt x="257201" y="74017"/>
                      </a:lnTo>
                      <a:lnTo>
                        <a:pt x="240138" y="93961"/>
                      </a:lnTo>
                      <a:lnTo>
                        <a:pt x="239433" y="108464"/>
                      </a:lnTo>
                      <a:lnTo>
                        <a:pt x="232518" y="115379"/>
                      </a:lnTo>
                      <a:lnTo>
                        <a:pt x="224547" y="114642"/>
                      </a:lnTo>
                      <a:lnTo>
                        <a:pt x="196983" y="103405"/>
                      </a:lnTo>
                      <a:lnTo>
                        <a:pt x="183185" y="103405"/>
                      </a:lnTo>
                      <a:lnTo>
                        <a:pt x="172300" y="112818"/>
                      </a:lnTo>
                      <a:lnTo>
                        <a:pt x="149826" y="110288"/>
                      </a:lnTo>
                      <a:lnTo>
                        <a:pt x="141118" y="105198"/>
                      </a:lnTo>
                      <a:lnTo>
                        <a:pt x="142911" y="28653"/>
                      </a:lnTo>
                      <a:lnTo>
                        <a:pt x="142911" y="27564"/>
                      </a:lnTo>
                      <a:lnTo>
                        <a:pt x="142911" y="1088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B75729E5-AA7F-A423-6E3B-826DBF3BB501}"/>
                    </a:ext>
                  </a:extLst>
                </p:cNvPr>
                <p:cNvSpPr/>
                <p:nvPr/>
              </p:nvSpPr>
              <p:spPr>
                <a:xfrm>
                  <a:off x="2777138" y="3423399"/>
                  <a:ext cx="409556" cy="554291"/>
                </a:xfrm>
                <a:custGeom>
                  <a:avLst/>
                  <a:gdLst>
                    <a:gd name="csX0" fmla="*/ 97931 w 409556"/>
                    <a:gd name="csY0" fmla="*/ 0 h 554291"/>
                    <a:gd name="csX1" fmla="*/ 80163 w 409556"/>
                    <a:gd name="csY1" fmla="*/ 0 h 554291"/>
                    <a:gd name="csX2" fmla="*/ 48982 w 409556"/>
                    <a:gd name="csY2" fmla="*/ 6915 h 554291"/>
                    <a:gd name="csX3" fmla="*/ 23210 w 409556"/>
                    <a:gd name="csY3" fmla="*/ 6179 h 554291"/>
                    <a:gd name="csX4" fmla="*/ 19945 w 409556"/>
                    <a:gd name="csY4" fmla="*/ 9796 h 554291"/>
                    <a:gd name="csX5" fmla="*/ 26828 w 409556"/>
                    <a:gd name="csY5" fmla="*/ 26860 h 554291"/>
                    <a:gd name="csX6" fmla="*/ 18856 w 409556"/>
                    <a:gd name="csY6" fmla="*/ 68222 h 554291"/>
                    <a:gd name="csX7" fmla="*/ 17063 w 409556"/>
                    <a:gd name="csY7" fmla="*/ 87783 h 554291"/>
                    <a:gd name="csX8" fmla="*/ 33743 w 409556"/>
                    <a:gd name="csY8" fmla="*/ 78370 h 554291"/>
                    <a:gd name="csX9" fmla="*/ 48245 w 409556"/>
                    <a:gd name="csY9" fmla="*/ 77634 h 554291"/>
                    <a:gd name="csX10" fmla="*/ 62043 w 409556"/>
                    <a:gd name="csY10" fmla="*/ 93961 h 554291"/>
                    <a:gd name="csX11" fmla="*/ 75809 w 409556"/>
                    <a:gd name="csY11" fmla="*/ 88871 h 554291"/>
                    <a:gd name="csX12" fmla="*/ 84517 w 409556"/>
                    <a:gd name="csY12" fmla="*/ 90344 h 554291"/>
                    <a:gd name="csX13" fmla="*/ 92137 w 409556"/>
                    <a:gd name="csY13" fmla="*/ 86342 h 554291"/>
                    <a:gd name="csX14" fmla="*/ 85958 w 409556"/>
                    <a:gd name="csY14" fmla="*/ 147297 h 554291"/>
                    <a:gd name="csX15" fmla="*/ 81604 w 409556"/>
                    <a:gd name="csY15" fmla="*/ 150562 h 554291"/>
                    <a:gd name="csX16" fmla="*/ 77634 w 409556"/>
                    <a:gd name="csY16" fmla="*/ 154916 h 554291"/>
                    <a:gd name="csX17" fmla="*/ 71455 w 409556"/>
                    <a:gd name="csY17" fmla="*/ 164328 h 554291"/>
                    <a:gd name="csX18" fmla="*/ 58394 w 409556"/>
                    <a:gd name="csY18" fmla="*/ 167242 h 554291"/>
                    <a:gd name="csX19" fmla="*/ 21417 w 409556"/>
                    <a:gd name="csY19" fmla="*/ 185009 h 554291"/>
                    <a:gd name="csX20" fmla="*/ 23947 w 409556"/>
                    <a:gd name="csY20" fmla="*/ 197335 h 554291"/>
                    <a:gd name="csX21" fmla="*/ 34447 w 409556"/>
                    <a:gd name="csY21" fmla="*/ 196246 h 554291"/>
                    <a:gd name="csX22" fmla="*/ 35183 w 409556"/>
                    <a:gd name="csY22" fmla="*/ 202425 h 554291"/>
                    <a:gd name="csX23" fmla="*/ 16327 w 409556"/>
                    <a:gd name="csY23" fmla="*/ 216223 h 554291"/>
                    <a:gd name="csX24" fmla="*/ 6179 w 409556"/>
                    <a:gd name="csY24" fmla="*/ 213662 h 554291"/>
                    <a:gd name="csX25" fmla="*/ 0 w 409556"/>
                    <a:gd name="csY25" fmla="*/ 227460 h 554291"/>
                    <a:gd name="csX26" fmla="*/ 2529 w 409556"/>
                    <a:gd name="csY26" fmla="*/ 241226 h 554291"/>
                    <a:gd name="csX27" fmla="*/ 11973 w 409556"/>
                    <a:gd name="csY27" fmla="*/ 251407 h 554291"/>
                    <a:gd name="csX28" fmla="*/ 4354 w 409556"/>
                    <a:gd name="csY28" fmla="*/ 271351 h 554291"/>
                    <a:gd name="csX29" fmla="*/ 8708 w 409556"/>
                    <a:gd name="csY29" fmla="*/ 273881 h 554291"/>
                    <a:gd name="csX30" fmla="*/ 22506 w 409556"/>
                    <a:gd name="csY30" fmla="*/ 267734 h 554291"/>
                    <a:gd name="csX31" fmla="*/ 27564 w 409556"/>
                    <a:gd name="csY31" fmla="*/ 271351 h 554291"/>
                    <a:gd name="csX32" fmla="*/ 21417 w 409556"/>
                    <a:gd name="csY32" fmla="*/ 283325 h 554291"/>
                    <a:gd name="csX33" fmla="*/ 29389 w 409556"/>
                    <a:gd name="csY33" fmla="*/ 290944 h 554291"/>
                    <a:gd name="csX34" fmla="*/ 31918 w 409556"/>
                    <a:gd name="csY34" fmla="*/ 302917 h 554291"/>
                    <a:gd name="csX35" fmla="*/ 31918 w 409556"/>
                    <a:gd name="csY35" fmla="*/ 319245 h 554291"/>
                    <a:gd name="csX36" fmla="*/ 35183 w 409556"/>
                    <a:gd name="csY36" fmla="*/ 323598 h 554291"/>
                    <a:gd name="csX37" fmla="*/ 41362 w 409556"/>
                    <a:gd name="csY37" fmla="*/ 319245 h 554291"/>
                    <a:gd name="csX38" fmla="*/ 43155 w 409556"/>
                    <a:gd name="csY38" fmla="*/ 327216 h 554291"/>
                    <a:gd name="csX39" fmla="*/ 50774 w 409556"/>
                    <a:gd name="csY39" fmla="*/ 330482 h 554291"/>
                    <a:gd name="csX40" fmla="*/ 47509 w 409556"/>
                    <a:gd name="csY40" fmla="*/ 342455 h 554291"/>
                    <a:gd name="csX41" fmla="*/ 55865 w 409556"/>
                    <a:gd name="csY41" fmla="*/ 351162 h 554291"/>
                    <a:gd name="csX42" fmla="*/ 50070 w 409556"/>
                    <a:gd name="csY42" fmla="*/ 357341 h 554291"/>
                    <a:gd name="csX43" fmla="*/ 44628 w 409556"/>
                    <a:gd name="csY43" fmla="*/ 375461 h 554291"/>
                    <a:gd name="csX44" fmla="*/ 39537 w 409556"/>
                    <a:gd name="csY44" fmla="*/ 375461 h 554291"/>
                    <a:gd name="csX45" fmla="*/ 73280 w 409556"/>
                    <a:gd name="csY45" fmla="*/ 393229 h 554291"/>
                    <a:gd name="csX46" fmla="*/ 117172 w 409556"/>
                    <a:gd name="csY46" fmla="*/ 389964 h 554291"/>
                    <a:gd name="csX47" fmla="*/ 118612 w 409556"/>
                    <a:gd name="csY47" fmla="*/ 397583 h 554291"/>
                    <a:gd name="csX48" fmla="*/ 110993 w 409556"/>
                    <a:gd name="csY48" fmla="*/ 402673 h 554291"/>
                    <a:gd name="csX49" fmla="*/ 100844 w 409556"/>
                    <a:gd name="csY49" fmla="*/ 400144 h 554291"/>
                    <a:gd name="csX50" fmla="*/ 97931 w 409556"/>
                    <a:gd name="csY50" fmla="*/ 413174 h 554291"/>
                    <a:gd name="csX51" fmla="*/ 122966 w 409556"/>
                    <a:gd name="csY51" fmla="*/ 426972 h 554291"/>
                    <a:gd name="csX52" fmla="*/ 136028 w 409556"/>
                    <a:gd name="csY52" fmla="*/ 443299 h 554291"/>
                    <a:gd name="csX53" fmla="*/ 141822 w 409556"/>
                    <a:gd name="csY53" fmla="*/ 458890 h 554291"/>
                    <a:gd name="csX54" fmla="*/ 130970 w 409556"/>
                    <a:gd name="csY54" fmla="*/ 469775 h 554291"/>
                    <a:gd name="csX55" fmla="*/ 136028 w 409556"/>
                    <a:gd name="csY55" fmla="*/ 486102 h 554291"/>
                    <a:gd name="csX56" fmla="*/ 122262 w 409556"/>
                    <a:gd name="csY56" fmla="*/ 492985 h 554291"/>
                    <a:gd name="csX57" fmla="*/ 110289 w 409556"/>
                    <a:gd name="csY57" fmla="*/ 517284 h 554291"/>
                    <a:gd name="csX58" fmla="*/ 109200 w 409556"/>
                    <a:gd name="csY58" fmla="*/ 520549 h 554291"/>
                    <a:gd name="csX59" fmla="*/ 117172 w 409556"/>
                    <a:gd name="csY59" fmla="*/ 524199 h 554291"/>
                    <a:gd name="csX60" fmla="*/ 133499 w 409556"/>
                    <a:gd name="csY60" fmla="*/ 519108 h 554291"/>
                    <a:gd name="csX61" fmla="*/ 141822 w 409556"/>
                    <a:gd name="csY61" fmla="*/ 507871 h 554291"/>
                    <a:gd name="csX62" fmla="*/ 151619 w 409556"/>
                    <a:gd name="csY62" fmla="*/ 523110 h 554291"/>
                    <a:gd name="csX63" fmla="*/ 179183 w 409556"/>
                    <a:gd name="csY63" fmla="*/ 528553 h 554291"/>
                    <a:gd name="csX64" fmla="*/ 183185 w 409556"/>
                    <a:gd name="csY64" fmla="*/ 550674 h 554291"/>
                    <a:gd name="csX65" fmla="*/ 192629 w 409556"/>
                    <a:gd name="csY65" fmla="*/ 554292 h 554291"/>
                    <a:gd name="csX66" fmla="*/ 200600 w 409556"/>
                    <a:gd name="csY66" fmla="*/ 523110 h 554291"/>
                    <a:gd name="csX67" fmla="*/ 196246 w 409556"/>
                    <a:gd name="csY67" fmla="*/ 512225 h 554291"/>
                    <a:gd name="csX68" fmla="*/ 204954 w 409556"/>
                    <a:gd name="csY68" fmla="*/ 499900 h 554291"/>
                    <a:gd name="csX69" fmla="*/ 207483 w 409556"/>
                    <a:gd name="csY69" fmla="*/ 482100 h 554291"/>
                    <a:gd name="csX70" fmla="*/ 228164 w 409556"/>
                    <a:gd name="csY70" fmla="*/ 478483 h 554291"/>
                    <a:gd name="csX71" fmla="*/ 244492 w 409556"/>
                    <a:gd name="csY71" fmla="*/ 469038 h 554291"/>
                    <a:gd name="csX72" fmla="*/ 247757 w 409556"/>
                    <a:gd name="csY72" fmla="*/ 470863 h 554291"/>
                    <a:gd name="csX73" fmla="*/ 280411 w 409556"/>
                    <a:gd name="csY73" fmla="*/ 474129 h 554291"/>
                    <a:gd name="csX74" fmla="*/ 313418 w 409556"/>
                    <a:gd name="csY74" fmla="*/ 462155 h 554291"/>
                    <a:gd name="csX75" fmla="*/ 305447 w 409556"/>
                    <a:gd name="csY75" fmla="*/ 431326 h 554291"/>
                    <a:gd name="csX76" fmla="*/ 322862 w 409556"/>
                    <a:gd name="csY76" fmla="*/ 423354 h 554291"/>
                    <a:gd name="csX77" fmla="*/ 325391 w 409556"/>
                    <a:gd name="csY77" fmla="*/ 432062 h 554291"/>
                    <a:gd name="csX78" fmla="*/ 339189 w 409556"/>
                    <a:gd name="csY78" fmla="*/ 432767 h 554291"/>
                    <a:gd name="csX79" fmla="*/ 344984 w 409556"/>
                    <a:gd name="csY79" fmla="*/ 420793 h 554291"/>
                    <a:gd name="csX80" fmla="*/ 358046 w 409556"/>
                    <a:gd name="csY80" fmla="*/ 420089 h 554291"/>
                    <a:gd name="csX81" fmla="*/ 352955 w 409556"/>
                    <a:gd name="csY81" fmla="*/ 406291 h 554291"/>
                    <a:gd name="csX82" fmla="*/ 346809 w 409556"/>
                    <a:gd name="csY82" fmla="*/ 403762 h 554291"/>
                    <a:gd name="csX83" fmla="*/ 349338 w 409556"/>
                    <a:gd name="csY83" fmla="*/ 399408 h 554291"/>
                    <a:gd name="csX84" fmla="*/ 369283 w 409556"/>
                    <a:gd name="csY84" fmla="*/ 393229 h 554291"/>
                    <a:gd name="csX85" fmla="*/ 373637 w 409556"/>
                    <a:gd name="csY85" fmla="*/ 398671 h 554291"/>
                    <a:gd name="csX86" fmla="*/ 385610 w 409556"/>
                    <a:gd name="csY86" fmla="*/ 398671 h 554291"/>
                    <a:gd name="csX87" fmla="*/ 389964 w 409556"/>
                    <a:gd name="csY87" fmla="*/ 384905 h 554291"/>
                    <a:gd name="csX88" fmla="*/ 398319 w 409556"/>
                    <a:gd name="csY88" fmla="*/ 385610 h 554291"/>
                    <a:gd name="csX89" fmla="*/ 405202 w 409556"/>
                    <a:gd name="csY89" fmla="*/ 349338 h 554291"/>
                    <a:gd name="csX90" fmla="*/ 390700 w 409556"/>
                    <a:gd name="csY90" fmla="*/ 347897 h 554291"/>
                    <a:gd name="csX91" fmla="*/ 409556 w 409556"/>
                    <a:gd name="csY91" fmla="*/ 319245 h 554291"/>
                    <a:gd name="csX92" fmla="*/ 406291 w 409556"/>
                    <a:gd name="csY92" fmla="*/ 310889 h 554291"/>
                    <a:gd name="csX93" fmla="*/ 409556 w 409556"/>
                    <a:gd name="csY93" fmla="*/ 304006 h 554291"/>
                    <a:gd name="csX94" fmla="*/ 395758 w 409556"/>
                    <a:gd name="csY94" fmla="*/ 301445 h 554291"/>
                    <a:gd name="csX95" fmla="*/ 395054 w 409556"/>
                    <a:gd name="csY95" fmla="*/ 287679 h 554291"/>
                    <a:gd name="csX96" fmla="*/ 386346 w 409556"/>
                    <a:gd name="csY96" fmla="*/ 291680 h 554291"/>
                    <a:gd name="csX97" fmla="*/ 379431 w 409556"/>
                    <a:gd name="csY97" fmla="*/ 289119 h 554291"/>
                    <a:gd name="csX98" fmla="*/ 378727 w 409556"/>
                    <a:gd name="csY98" fmla="*/ 272088 h 554291"/>
                    <a:gd name="csX99" fmla="*/ 371107 w 409556"/>
                    <a:gd name="csY99" fmla="*/ 272088 h 554291"/>
                    <a:gd name="csX100" fmla="*/ 366753 w 409556"/>
                    <a:gd name="csY100" fmla="*/ 280796 h 554291"/>
                    <a:gd name="csX101" fmla="*/ 364929 w 409556"/>
                    <a:gd name="csY101" fmla="*/ 278234 h 554291"/>
                    <a:gd name="csX102" fmla="*/ 363104 w 409556"/>
                    <a:gd name="csY102" fmla="*/ 264468 h 554291"/>
                    <a:gd name="csX103" fmla="*/ 351163 w 409556"/>
                    <a:gd name="csY103" fmla="*/ 261555 h 554291"/>
                    <a:gd name="csX104" fmla="*/ 365665 w 409556"/>
                    <a:gd name="csY104" fmla="*/ 249582 h 554291"/>
                    <a:gd name="csX105" fmla="*/ 371812 w 409556"/>
                    <a:gd name="csY105" fmla="*/ 225635 h 554291"/>
                    <a:gd name="csX106" fmla="*/ 339189 w 409556"/>
                    <a:gd name="csY106" fmla="*/ 224547 h 554291"/>
                    <a:gd name="csX107" fmla="*/ 327920 w 409556"/>
                    <a:gd name="csY107" fmla="*/ 209308 h 554291"/>
                    <a:gd name="csX108" fmla="*/ 331186 w 409556"/>
                    <a:gd name="csY108" fmla="*/ 186834 h 554291"/>
                    <a:gd name="csX109" fmla="*/ 340982 w 409556"/>
                    <a:gd name="csY109" fmla="*/ 177390 h 554291"/>
                    <a:gd name="csX110" fmla="*/ 349338 w 409556"/>
                    <a:gd name="csY110" fmla="*/ 185009 h 554291"/>
                    <a:gd name="csX111" fmla="*/ 349338 w 409556"/>
                    <a:gd name="csY111" fmla="*/ 169771 h 554291"/>
                    <a:gd name="csX112" fmla="*/ 349338 w 409556"/>
                    <a:gd name="csY112" fmla="*/ 166153 h 554291"/>
                    <a:gd name="csX113" fmla="*/ 339189 w 409556"/>
                    <a:gd name="csY113" fmla="*/ 156709 h 554291"/>
                    <a:gd name="csX114" fmla="*/ 326128 w 409556"/>
                    <a:gd name="csY114" fmla="*/ 156005 h 554291"/>
                    <a:gd name="csX115" fmla="*/ 317420 w 409556"/>
                    <a:gd name="csY115" fmla="*/ 148001 h 554291"/>
                    <a:gd name="csX116" fmla="*/ 313418 w 409556"/>
                    <a:gd name="csY116" fmla="*/ 133499 h 554291"/>
                    <a:gd name="csX117" fmla="*/ 313418 w 409556"/>
                    <a:gd name="csY117" fmla="*/ 132762 h 554291"/>
                    <a:gd name="csX118" fmla="*/ 305447 w 409556"/>
                    <a:gd name="csY118" fmla="*/ 122262 h 554291"/>
                    <a:gd name="csX119" fmla="*/ 296002 w 409556"/>
                    <a:gd name="csY119" fmla="*/ 120437 h 554291"/>
                    <a:gd name="csX120" fmla="*/ 297827 w 409556"/>
                    <a:gd name="csY120" fmla="*/ 112113 h 554291"/>
                    <a:gd name="csX121" fmla="*/ 283325 w 409556"/>
                    <a:gd name="csY121" fmla="*/ 96490 h 554291"/>
                    <a:gd name="csX122" fmla="*/ 276410 w 409556"/>
                    <a:gd name="csY122" fmla="*/ 80163 h 554291"/>
                    <a:gd name="csX123" fmla="*/ 269527 w 409556"/>
                    <a:gd name="csY123" fmla="*/ 75105 h 554291"/>
                    <a:gd name="csX124" fmla="*/ 257201 w 409556"/>
                    <a:gd name="csY124" fmla="*/ 74017 h 554291"/>
                    <a:gd name="csX125" fmla="*/ 240138 w 409556"/>
                    <a:gd name="csY125" fmla="*/ 93961 h 554291"/>
                    <a:gd name="csX126" fmla="*/ 239433 w 409556"/>
                    <a:gd name="csY126" fmla="*/ 108464 h 554291"/>
                    <a:gd name="csX127" fmla="*/ 232518 w 409556"/>
                    <a:gd name="csY127" fmla="*/ 115379 h 554291"/>
                    <a:gd name="csX128" fmla="*/ 224547 w 409556"/>
                    <a:gd name="csY128" fmla="*/ 114642 h 554291"/>
                    <a:gd name="csX129" fmla="*/ 196983 w 409556"/>
                    <a:gd name="csY129" fmla="*/ 103405 h 554291"/>
                    <a:gd name="csX130" fmla="*/ 183185 w 409556"/>
                    <a:gd name="csY130" fmla="*/ 103405 h 554291"/>
                    <a:gd name="csX131" fmla="*/ 172300 w 409556"/>
                    <a:gd name="csY131" fmla="*/ 112818 h 554291"/>
                    <a:gd name="csX132" fmla="*/ 149826 w 409556"/>
                    <a:gd name="csY132" fmla="*/ 110288 h 554291"/>
                    <a:gd name="csX133" fmla="*/ 141118 w 409556"/>
                    <a:gd name="csY133" fmla="*/ 105198 h 554291"/>
                    <a:gd name="csX134" fmla="*/ 142911 w 409556"/>
                    <a:gd name="csY134" fmla="*/ 28653 h 554291"/>
                    <a:gd name="csX135" fmla="*/ 142911 w 409556"/>
                    <a:gd name="csY135" fmla="*/ 27564 h 554291"/>
                    <a:gd name="csX136" fmla="*/ 142911 w 409556"/>
                    <a:gd name="csY136" fmla="*/ 1088 h 554291"/>
                    <a:gd name="csX137" fmla="*/ 97931 w 409556"/>
                    <a:gd name="csY137" fmla="*/ 0 h 5542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</a:cxnLst>
                  <a:rect l="l" t="t" r="r" b="b"/>
                  <a:pathLst>
                    <a:path w="409556" h="554291">
                      <a:moveTo>
                        <a:pt x="97931" y="0"/>
                      </a:moveTo>
                      <a:lnTo>
                        <a:pt x="80163" y="0"/>
                      </a:lnTo>
                      <a:lnTo>
                        <a:pt x="48982" y="6915"/>
                      </a:lnTo>
                      <a:lnTo>
                        <a:pt x="23210" y="6179"/>
                      </a:lnTo>
                      <a:lnTo>
                        <a:pt x="19945" y="9796"/>
                      </a:lnTo>
                      <a:lnTo>
                        <a:pt x="26828" y="26860"/>
                      </a:lnTo>
                      <a:lnTo>
                        <a:pt x="18856" y="68222"/>
                      </a:lnTo>
                      <a:lnTo>
                        <a:pt x="17063" y="87783"/>
                      </a:lnTo>
                      <a:lnTo>
                        <a:pt x="33743" y="78370"/>
                      </a:lnTo>
                      <a:lnTo>
                        <a:pt x="48245" y="77634"/>
                      </a:lnTo>
                      <a:lnTo>
                        <a:pt x="62043" y="93961"/>
                      </a:lnTo>
                      <a:lnTo>
                        <a:pt x="75809" y="88871"/>
                      </a:lnTo>
                      <a:lnTo>
                        <a:pt x="84517" y="90344"/>
                      </a:lnTo>
                      <a:lnTo>
                        <a:pt x="92137" y="86342"/>
                      </a:lnTo>
                      <a:lnTo>
                        <a:pt x="85958" y="147297"/>
                      </a:lnTo>
                      <a:lnTo>
                        <a:pt x="81604" y="150562"/>
                      </a:lnTo>
                      <a:lnTo>
                        <a:pt x="77634" y="154916"/>
                      </a:lnTo>
                      <a:lnTo>
                        <a:pt x="71455" y="164328"/>
                      </a:lnTo>
                      <a:lnTo>
                        <a:pt x="58394" y="167242"/>
                      </a:lnTo>
                      <a:lnTo>
                        <a:pt x="21417" y="185009"/>
                      </a:lnTo>
                      <a:lnTo>
                        <a:pt x="23947" y="197335"/>
                      </a:lnTo>
                      <a:lnTo>
                        <a:pt x="34447" y="196246"/>
                      </a:lnTo>
                      <a:lnTo>
                        <a:pt x="35183" y="202425"/>
                      </a:lnTo>
                      <a:lnTo>
                        <a:pt x="16327" y="216223"/>
                      </a:lnTo>
                      <a:lnTo>
                        <a:pt x="6179" y="213662"/>
                      </a:lnTo>
                      <a:lnTo>
                        <a:pt x="0" y="227460"/>
                      </a:lnTo>
                      <a:lnTo>
                        <a:pt x="2529" y="241226"/>
                      </a:lnTo>
                      <a:lnTo>
                        <a:pt x="11973" y="251407"/>
                      </a:lnTo>
                      <a:lnTo>
                        <a:pt x="4354" y="271351"/>
                      </a:lnTo>
                      <a:lnTo>
                        <a:pt x="8708" y="273881"/>
                      </a:lnTo>
                      <a:lnTo>
                        <a:pt x="22506" y="267734"/>
                      </a:lnTo>
                      <a:lnTo>
                        <a:pt x="27564" y="271351"/>
                      </a:lnTo>
                      <a:lnTo>
                        <a:pt x="21417" y="283325"/>
                      </a:lnTo>
                      <a:lnTo>
                        <a:pt x="29389" y="290944"/>
                      </a:lnTo>
                      <a:lnTo>
                        <a:pt x="31918" y="302917"/>
                      </a:lnTo>
                      <a:lnTo>
                        <a:pt x="31918" y="319245"/>
                      </a:lnTo>
                      <a:lnTo>
                        <a:pt x="35183" y="323598"/>
                      </a:lnTo>
                      <a:lnTo>
                        <a:pt x="41362" y="319245"/>
                      </a:lnTo>
                      <a:lnTo>
                        <a:pt x="43155" y="327216"/>
                      </a:lnTo>
                      <a:lnTo>
                        <a:pt x="50774" y="330482"/>
                      </a:lnTo>
                      <a:lnTo>
                        <a:pt x="47509" y="342455"/>
                      </a:lnTo>
                      <a:lnTo>
                        <a:pt x="55865" y="351162"/>
                      </a:lnTo>
                      <a:lnTo>
                        <a:pt x="50070" y="357341"/>
                      </a:lnTo>
                      <a:lnTo>
                        <a:pt x="44628" y="375461"/>
                      </a:lnTo>
                      <a:lnTo>
                        <a:pt x="39537" y="375461"/>
                      </a:lnTo>
                      <a:lnTo>
                        <a:pt x="73280" y="393229"/>
                      </a:lnTo>
                      <a:lnTo>
                        <a:pt x="117172" y="389964"/>
                      </a:lnTo>
                      <a:lnTo>
                        <a:pt x="118612" y="397583"/>
                      </a:lnTo>
                      <a:lnTo>
                        <a:pt x="110993" y="402673"/>
                      </a:lnTo>
                      <a:lnTo>
                        <a:pt x="100844" y="400144"/>
                      </a:lnTo>
                      <a:lnTo>
                        <a:pt x="97931" y="413174"/>
                      </a:lnTo>
                      <a:lnTo>
                        <a:pt x="122966" y="426972"/>
                      </a:lnTo>
                      <a:lnTo>
                        <a:pt x="136028" y="443299"/>
                      </a:lnTo>
                      <a:lnTo>
                        <a:pt x="141822" y="458890"/>
                      </a:lnTo>
                      <a:lnTo>
                        <a:pt x="130970" y="469775"/>
                      </a:lnTo>
                      <a:lnTo>
                        <a:pt x="136028" y="486102"/>
                      </a:lnTo>
                      <a:lnTo>
                        <a:pt x="122262" y="492985"/>
                      </a:lnTo>
                      <a:lnTo>
                        <a:pt x="110289" y="517284"/>
                      </a:lnTo>
                      <a:lnTo>
                        <a:pt x="109200" y="520549"/>
                      </a:lnTo>
                      <a:lnTo>
                        <a:pt x="117172" y="524199"/>
                      </a:lnTo>
                      <a:lnTo>
                        <a:pt x="133499" y="519108"/>
                      </a:lnTo>
                      <a:lnTo>
                        <a:pt x="141822" y="507871"/>
                      </a:lnTo>
                      <a:lnTo>
                        <a:pt x="151619" y="523110"/>
                      </a:lnTo>
                      <a:lnTo>
                        <a:pt x="179183" y="528553"/>
                      </a:lnTo>
                      <a:lnTo>
                        <a:pt x="183185" y="550674"/>
                      </a:lnTo>
                      <a:lnTo>
                        <a:pt x="192629" y="554292"/>
                      </a:lnTo>
                      <a:lnTo>
                        <a:pt x="200600" y="523110"/>
                      </a:lnTo>
                      <a:lnTo>
                        <a:pt x="196246" y="512225"/>
                      </a:lnTo>
                      <a:lnTo>
                        <a:pt x="204954" y="499900"/>
                      </a:lnTo>
                      <a:lnTo>
                        <a:pt x="207483" y="482100"/>
                      </a:lnTo>
                      <a:lnTo>
                        <a:pt x="228164" y="478483"/>
                      </a:lnTo>
                      <a:lnTo>
                        <a:pt x="244492" y="469038"/>
                      </a:lnTo>
                      <a:lnTo>
                        <a:pt x="247757" y="470863"/>
                      </a:lnTo>
                      <a:lnTo>
                        <a:pt x="280411" y="474129"/>
                      </a:lnTo>
                      <a:lnTo>
                        <a:pt x="313418" y="462155"/>
                      </a:lnTo>
                      <a:lnTo>
                        <a:pt x="305447" y="431326"/>
                      </a:lnTo>
                      <a:lnTo>
                        <a:pt x="322862" y="423354"/>
                      </a:lnTo>
                      <a:lnTo>
                        <a:pt x="325391" y="432062"/>
                      </a:lnTo>
                      <a:lnTo>
                        <a:pt x="339189" y="432767"/>
                      </a:lnTo>
                      <a:lnTo>
                        <a:pt x="344984" y="420793"/>
                      </a:lnTo>
                      <a:lnTo>
                        <a:pt x="358046" y="420089"/>
                      </a:lnTo>
                      <a:lnTo>
                        <a:pt x="352955" y="406291"/>
                      </a:lnTo>
                      <a:lnTo>
                        <a:pt x="346809" y="403762"/>
                      </a:lnTo>
                      <a:lnTo>
                        <a:pt x="349338" y="399408"/>
                      </a:lnTo>
                      <a:lnTo>
                        <a:pt x="369283" y="393229"/>
                      </a:lnTo>
                      <a:lnTo>
                        <a:pt x="373637" y="398671"/>
                      </a:lnTo>
                      <a:lnTo>
                        <a:pt x="385610" y="398671"/>
                      </a:lnTo>
                      <a:lnTo>
                        <a:pt x="389964" y="384905"/>
                      </a:lnTo>
                      <a:lnTo>
                        <a:pt x="398319" y="385610"/>
                      </a:lnTo>
                      <a:lnTo>
                        <a:pt x="405202" y="349338"/>
                      </a:lnTo>
                      <a:lnTo>
                        <a:pt x="390700" y="347897"/>
                      </a:lnTo>
                      <a:lnTo>
                        <a:pt x="409556" y="319245"/>
                      </a:lnTo>
                      <a:lnTo>
                        <a:pt x="406291" y="310889"/>
                      </a:lnTo>
                      <a:lnTo>
                        <a:pt x="409556" y="304006"/>
                      </a:lnTo>
                      <a:lnTo>
                        <a:pt x="395758" y="301445"/>
                      </a:lnTo>
                      <a:lnTo>
                        <a:pt x="395054" y="287679"/>
                      </a:lnTo>
                      <a:lnTo>
                        <a:pt x="386346" y="291680"/>
                      </a:lnTo>
                      <a:lnTo>
                        <a:pt x="379431" y="289119"/>
                      </a:lnTo>
                      <a:lnTo>
                        <a:pt x="378727" y="272088"/>
                      </a:lnTo>
                      <a:lnTo>
                        <a:pt x="371107" y="272088"/>
                      </a:lnTo>
                      <a:lnTo>
                        <a:pt x="366753" y="280796"/>
                      </a:lnTo>
                      <a:lnTo>
                        <a:pt x="364929" y="278234"/>
                      </a:lnTo>
                      <a:lnTo>
                        <a:pt x="363104" y="264468"/>
                      </a:lnTo>
                      <a:lnTo>
                        <a:pt x="351163" y="261555"/>
                      </a:lnTo>
                      <a:lnTo>
                        <a:pt x="365665" y="249582"/>
                      </a:lnTo>
                      <a:lnTo>
                        <a:pt x="371812" y="225635"/>
                      </a:lnTo>
                      <a:lnTo>
                        <a:pt x="339189" y="224547"/>
                      </a:lnTo>
                      <a:lnTo>
                        <a:pt x="327920" y="209308"/>
                      </a:lnTo>
                      <a:lnTo>
                        <a:pt x="331186" y="186834"/>
                      </a:lnTo>
                      <a:lnTo>
                        <a:pt x="340982" y="177390"/>
                      </a:lnTo>
                      <a:lnTo>
                        <a:pt x="349338" y="185009"/>
                      </a:lnTo>
                      <a:lnTo>
                        <a:pt x="349338" y="169771"/>
                      </a:lnTo>
                      <a:lnTo>
                        <a:pt x="349338" y="166153"/>
                      </a:lnTo>
                      <a:lnTo>
                        <a:pt x="339189" y="156709"/>
                      </a:lnTo>
                      <a:lnTo>
                        <a:pt x="326128" y="156005"/>
                      </a:lnTo>
                      <a:lnTo>
                        <a:pt x="317420" y="148001"/>
                      </a:lnTo>
                      <a:lnTo>
                        <a:pt x="313418" y="133499"/>
                      </a:lnTo>
                      <a:lnTo>
                        <a:pt x="313418" y="132762"/>
                      </a:lnTo>
                      <a:lnTo>
                        <a:pt x="305447" y="122262"/>
                      </a:lnTo>
                      <a:lnTo>
                        <a:pt x="296002" y="120437"/>
                      </a:lnTo>
                      <a:lnTo>
                        <a:pt x="297827" y="112113"/>
                      </a:lnTo>
                      <a:lnTo>
                        <a:pt x="283325" y="96490"/>
                      </a:lnTo>
                      <a:lnTo>
                        <a:pt x="276410" y="80163"/>
                      </a:lnTo>
                      <a:lnTo>
                        <a:pt x="269527" y="75105"/>
                      </a:lnTo>
                      <a:lnTo>
                        <a:pt x="257201" y="74017"/>
                      </a:lnTo>
                      <a:lnTo>
                        <a:pt x="240138" y="93961"/>
                      </a:lnTo>
                      <a:lnTo>
                        <a:pt x="239433" y="108464"/>
                      </a:lnTo>
                      <a:lnTo>
                        <a:pt x="232518" y="115379"/>
                      </a:lnTo>
                      <a:lnTo>
                        <a:pt x="224547" y="114642"/>
                      </a:lnTo>
                      <a:lnTo>
                        <a:pt x="196983" y="103405"/>
                      </a:lnTo>
                      <a:lnTo>
                        <a:pt x="183185" y="103405"/>
                      </a:lnTo>
                      <a:lnTo>
                        <a:pt x="172300" y="112818"/>
                      </a:lnTo>
                      <a:lnTo>
                        <a:pt x="149826" y="110288"/>
                      </a:lnTo>
                      <a:lnTo>
                        <a:pt x="141118" y="105198"/>
                      </a:lnTo>
                      <a:lnTo>
                        <a:pt x="142911" y="28653"/>
                      </a:lnTo>
                      <a:lnTo>
                        <a:pt x="142911" y="27564"/>
                      </a:lnTo>
                      <a:lnTo>
                        <a:pt x="142911" y="1088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8A565583-797D-5CFF-D9DF-3B5BA66E379A}"/>
                    </a:ext>
                  </a:extLst>
                </p:cNvPr>
                <p:cNvSpPr/>
                <p:nvPr/>
              </p:nvSpPr>
              <p:spPr>
                <a:xfrm>
                  <a:off x="2777138" y="3423399"/>
                  <a:ext cx="409556" cy="554291"/>
                </a:xfrm>
                <a:custGeom>
                  <a:avLst/>
                  <a:gdLst>
                    <a:gd name="csX0" fmla="*/ 97931 w 409556"/>
                    <a:gd name="csY0" fmla="*/ 0 h 554291"/>
                    <a:gd name="csX1" fmla="*/ 80163 w 409556"/>
                    <a:gd name="csY1" fmla="*/ 0 h 554291"/>
                    <a:gd name="csX2" fmla="*/ 48982 w 409556"/>
                    <a:gd name="csY2" fmla="*/ 6915 h 554291"/>
                    <a:gd name="csX3" fmla="*/ 23210 w 409556"/>
                    <a:gd name="csY3" fmla="*/ 6179 h 554291"/>
                    <a:gd name="csX4" fmla="*/ 19945 w 409556"/>
                    <a:gd name="csY4" fmla="*/ 9796 h 554291"/>
                    <a:gd name="csX5" fmla="*/ 26828 w 409556"/>
                    <a:gd name="csY5" fmla="*/ 26860 h 554291"/>
                    <a:gd name="csX6" fmla="*/ 18856 w 409556"/>
                    <a:gd name="csY6" fmla="*/ 68222 h 554291"/>
                    <a:gd name="csX7" fmla="*/ 17063 w 409556"/>
                    <a:gd name="csY7" fmla="*/ 87783 h 554291"/>
                    <a:gd name="csX8" fmla="*/ 33743 w 409556"/>
                    <a:gd name="csY8" fmla="*/ 78370 h 554291"/>
                    <a:gd name="csX9" fmla="*/ 48245 w 409556"/>
                    <a:gd name="csY9" fmla="*/ 77634 h 554291"/>
                    <a:gd name="csX10" fmla="*/ 62043 w 409556"/>
                    <a:gd name="csY10" fmla="*/ 93961 h 554291"/>
                    <a:gd name="csX11" fmla="*/ 75809 w 409556"/>
                    <a:gd name="csY11" fmla="*/ 88871 h 554291"/>
                    <a:gd name="csX12" fmla="*/ 84517 w 409556"/>
                    <a:gd name="csY12" fmla="*/ 90344 h 554291"/>
                    <a:gd name="csX13" fmla="*/ 92137 w 409556"/>
                    <a:gd name="csY13" fmla="*/ 86342 h 554291"/>
                    <a:gd name="csX14" fmla="*/ 85958 w 409556"/>
                    <a:gd name="csY14" fmla="*/ 147297 h 554291"/>
                    <a:gd name="csX15" fmla="*/ 81604 w 409556"/>
                    <a:gd name="csY15" fmla="*/ 150562 h 554291"/>
                    <a:gd name="csX16" fmla="*/ 77634 w 409556"/>
                    <a:gd name="csY16" fmla="*/ 154916 h 554291"/>
                    <a:gd name="csX17" fmla="*/ 71455 w 409556"/>
                    <a:gd name="csY17" fmla="*/ 164328 h 554291"/>
                    <a:gd name="csX18" fmla="*/ 58394 w 409556"/>
                    <a:gd name="csY18" fmla="*/ 167242 h 554291"/>
                    <a:gd name="csX19" fmla="*/ 21417 w 409556"/>
                    <a:gd name="csY19" fmla="*/ 185009 h 554291"/>
                    <a:gd name="csX20" fmla="*/ 23947 w 409556"/>
                    <a:gd name="csY20" fmla="*/ 197335 h 554291"/>
                    <a:gd name="csX21" fmla="*/ 34447 w 409556"/>
                    <a:gd name="csY21" fmla="*/ 196246 h 554291"/>
                    <a:gd name="csX22" fmla="*/ 35183 w 409556"/>
                    <a:gd name="csY22" fmla="*/ 202425 h 554291"/>
                    <a:gd name="csX23" fmla="*/ 16327 w 409556"/>
                    <a:gd name="csY23" fmla="*/ 216223 h 554291"/>
                    <a:gd name="csX24" fmla="*/ 6179 w 409556"/>
                    <a:gd name="csY24" fmla="*/ 213662 h 554291"/>
                    <a:gd name="csX25" fmla="*/ 0 w 409556"/>
                    <a:gd name="csY25" fmla="*/ 227460 h 554291"/>
                    <a:gd name="csX26" fmla="*/ 2529 w 409556"/>
                    <a:gd name="csY26" fmla="*/ 241226 h 554291"/>
                    <a:gd name="csX27" fmla="*/ 11973 w 409556"/>
                    <a:gd name="csY27" fmla="*/ 251407 h 554291"/>
                    <a:gd name="csX28" fmla="*/ 4354 w 409556"/>
                    <a:gd name="csY28" fmla="*/ 271351 h 554291"/>
                    <a:gd name="csX29" fmla="*/ 8708 w 409556"/>
                    <a:gd name="csY29" fmla="*/ 273881 h 554291"/>
                    <a:gd name="csX30" fmla="*/ 22506 w 409556"/>
                    <a:gd name="csY30" fmla="*/ 267734 h 554291"/>
                    <a:gd name="csX31" fmla="*/ 27564 w 409556"/>
                    <a:gd name="csY31" fmla="*/ 271351 h 554291"/>
                    <a:gd name="csX32" fmla="*/ 21417 w 409556"/>
                    <a:gd name="csY32" fmla="*/ 283325 h 554291"/>
                    <a:gd name="csX33" fmla="*/ 29389 w 409556"/>
                    <a:gd name="csY33" fmla="*/ 290944 h 554291"/>
                    <a:gd name="csX34" fmla="*/ 31918 w 409556"/>
                    <a:gd name="csY34" fmla="*/ 302917 h 554291"/>
                    <a:gd name="csX35" fmla="*/ 31918 w 409556"/>
                    <a:gd name="csY35" fmla="*/ 319245 h 554291"/>
                    <a:gd name="csX36" fmla="*/ 35183 w 409556"/>
                    <a:gd name="csY36" fmla="*/ 323598 h 554291"/>
                    <a:gd name="csX37" fmla="*/ 41362 w 409556"/>
                    <a:gd name="csY37" fmla="*/ 319245 h 554291"/>
                    <a:gd name="csX38" fmla="*/ 43155 w 409556"/>
                    <a:gd name="csY38" fmla="*/ 327216 h 554291"/>
                    <a:gd name="csX39" fmla="*/ 50774 w 409556"/>
                    <a:gd name="csY39" fmla="*/ 330482 h 554291"/>
                    <a:gd name="csX40" fmla="*/ 47509 w 409556"/>
                    <a:gd name="csY40" fmla="*/ 342455 h 554291"/>
                    <a:gd name="csX41" fmla="*/ 55865 w 409556"/>
                    <a:gd name="csY41" fmla="*/ 351162 h 554291"/>
                    <a:gd name="csX42" fmla="*/ 50070 w 409556"/>
                    <a:gd name="csY42" fmla="*/ 357341 h 554291"/>
                    <a:gd name="csX43" fmla="*/ 44628 w 409556"/>
                    <a:gd name="csY43" fmla="*/ 375461 h 554291"/>
                    <a:gd name="csX44" fmla="*/ 39537 w 409556"/>
                    <a:gd name="csY44" fmla="*/ 375461 h 554291"/>
                    <a:gd name="csX45" fmla="*/ 73280 w 409556"/>
                    <a:gd name="csY45" fmla="*/ 393229 h 554291"/>
                    <a:gd name="csX46" fmla="*/ 117172 w 409556"/>
                    <a:gd name="csY46" fmla="*/ 389964 h 554291"/>
                    <a:gd name="csX47" fmla="*/ 118612 w 409556"/>
                    <a:gd name="csY47" fmla="*/ 397583 h 554291"/>
                    <a:gd name="csX48" fmla="*/ 110993 w 409556"/>
                    <a:gd name="csY48" fmla="*/ 402673 h 554291"/>
                    <a:gd name="csX49" fmla="*/ 100844 w 409556"/>
                    <a:gd name="csY49" fmla="*/ 400144 h 554291"/>
                    <a:gd name="csX50" fmla="*/ 97931 w 409556"/>
                    <a:gd name="csY50" fmla="*/ 413174 h 554291"/>
                    <a:gd name="csX51" fmla="*/ 122966 w 409556"/>
                    <a:gd name="csY51" fmla="*/ 426972 h 554291"/>
                    <a:gd name="csX52" fmla="*/ 136028 w 409556"/>
                    <a:gd name="csY52" fmla="*/ 443299 h 554291"/>
                    <a:gd name="csX53" fmla="*/ 141822 w 409556"/>
                    <a:gd name="csY53" fmla="*/ 458890 h 554291"/>
                    <a:gd name="csX54" fmla="*/ 130970 w 409556"/>
                    <a:gd name="csY54" fmla="*/ 469775 h 554291"/>
                    <a:gd name="csX55" fmla="*/ 136028 w 409556"/>
                    <a:gd name="csY55" fmla="*/ 486102 h 554291"/>
                    <a:gd name="csX56" fmla="*/ 122262 w 409556"/>
                    <a:gd name="csY56" fmla="*/ 492985 h 554291"/>
                    <a:gd name="csX57" fmla="*/ 110289 w 409556"/>
                    <a:gd name="csY57" fmla="*/ 517284 h 554291"/>
                    <a:gd name="csX58" fmla="*/ 109200 w 409556"/>
                    <a:gd name="csY58" fmla="*/ 520549 h 554291"/>
                    <a:gd name="csX59" fmla="*/ 117172 w 409556"/>
                    <a:gd name="csY59" fmla="*/ 524199 h 554291"/>
                    <a:gd name="csX60" fmla="*/ 133499 w 409556"/>
                    <a:gd name="csY60" fmla="*/ 519108 h 554291"/>
                    <a:gd name="csX61" fmla="*/ 141822 w 409556"/>
                    <a:gd name="csY61" fmla="*/ 507871 h 554291"/>
                    <a:gd name="csX62" fmla="*/ 151619 w 409556"/>
                    <a:gd name="csY62" fmla="*/ 523110 h 554291"/>
                    <a:gd name="csX63" fmla="*/ 179183 w 409556"/>
                    <a:gd name="csY63" fmla="*/ 528553 h 554291"/>
                    <a:gd name="csX64" fmla="*/ 183185 w 409556"/>
                    <a:gd name="csY64" fmla="*/ 550674 h 554291"/>
                    <a:gd name="csX65" fmla="*/ 192629 w 409556"/>
                    <a:gd name="csY65" fmla="*/ 554292 h 554291"/>
                    <a:gd name="csX66" fmla="*/ 200600 w 409556"/>
                    <a:gd name="csY66" fmla="*/ 523110 h 554291"/>
                    <a:gd name="csX67" fmla="*/ 196246 w 409556"/>
                    <a:gd name="csY67" fmla="*/ 512225 h 554291"/>
                    <a:gd name="csX68" fmla="*/ 204954 w 409556"/>
                    <a:gd name="csY68" fmla="*/ 499900 h 554291"/>
                    <a:gd name="csX69" fmla="*/ 207483 w 409556"/>
                    <a:gd name="csY69" fmla="*/ 482100 h 554291"/>
                    <a:gd name="csX70" fmla="*/ 228164 w 409556"/>
                    <a:gd name="csY70" fmla="*/ 478483 h 554291"/>
                    <a:gd name="csX71" fmla="*/ 244492 w 409556"/>
                    <a:gd name="csY71" fmla="*/ 469038 h 554291"/>
                    <a:gd name="csX72" fmla="*/ 247757 w 409556"/>
                    <a:gd name="csY72" fmla="*/ 470863 h 554291"/>
                    <a:gd name="csX73" fmla="*/ 280411 w 409556"/>
                    <a:gd name="csY73" fmla="*/ 474129 h 554291"/>
                    <a:gd name="csX74" fmla="*/ 313418 w 409556"/>
                    <a:gd name="csY74" fmla="*/ 462155 h 554291"/>
                    <a:gd name="csX75" fmla="*/ 305447 w 409556"/>
                    <a:gd name="csY75" fmla="*/ 431326 h 554291"/>
                    <a:gd name="csX76" fmla="*/ 322862 w 409556"/>
                    <a:gd name="csY76" fmla="*/ 423354 h 554291"/>
                    <a:gd name="csX77" fmla="*/ 325391 w 409556"/>
                    <a:gd name="csY77" fmla="*/ 432062 h 554291"/>
                    <a:gd name="csX78" fmla="*/ 339189 w 409556"/>
                    <a:gd name="csY78" fmla="*/ 432767 h 554291"/>
                    <a:gd name="csX79" fmla="*/ 344984 w 409556"/>
                    <a:gd name="csY79" fmla="*/ 420793 h 554291"/>
                    <a:gd name="csX80" fmla="*/ 358046 w 409556"/>
                    <a:gd name="csY80" fmla="*/ 420089 h 554291"/>
                    <a:gd name="csX81" fmla="*/ 352955 w 409556"/>
                    <a:gd name="csY81" fmla="*/ 406291 h 554291"/>
                    <a:gd name="csX82" fmla="*/ 346809 w 409556"/>
                    <a:gd name="csY82" fmla="*/ 403762 h 554291"/>
                    <a:gd name="csX83" fmla="*/ 349338 w 409556"/>
                    <a:gd name="csY83" fmla="*/ 399408 h 554291"/>
                    <a:gd name="csX84" fmla="*/ 369283 w 409556"/>
                    <a:gd name="csY84" fmla="*/ 393229 h 554291"/>
                    <a:gd name="csX85" fmla="*/ 373637 w 409556"/>
                    <a:gd name="csY85" fmla="*/ 398671 h 554291"/>
                    <a:gd name="csX86" fmla="*/ 385610 w 409556"/>
                    <a:gd name="csY86" fmla="*/ 398671 h 554291"/>
                    <a:gd name="csX87" fmla="*/ 389964 w 409556"/>
                    <a:gd name="csY87" fmla="*/ 384905 h 554291"/>
                    <a:gd name="csX88" fmla="*/ 398319 w 409556"/>
                    <a:gd name="csY88" fmla="*/ 385610 h 554291"/>
                    <a:gd name="csX89" fmla="*/ 405202 w 409556"/>
                    <a:gd name="csY89" fmla="*/ 349338 h 554291"/>
                    <a:gd name="csX90" fmla="*/ 390700 w 409556"/>
                    <a:gd name="csY90" fmla="*/ 347897 h 554291"/>
                    <a:gd name="csX91" fmla="*/ 409556 w 409556"/>
                    <a:gd name="csY91" fmla="*/ 319245 h 554291"/>
                    <a:gd name="csX92" fmla="*/ 406291 w 409556"/>
                    <a:gd name="csY92" fmla="*/ 310889 h 554291"/>
                    <a:gd name="csX93" fmla="*/ 409556 w 409556"/>
                    <a:gd name="csY93" fmla="*/ 304006 h 554291"/>
                    <a:gd name="csX94" fmla="*/ 395758 w 409556"/>
                    <a:gd name="csY94" fmla="*/ 301445 h 554291"/>
                    <a:gd name="csX95" fmla="*/ 395054 w 409556"/>
                    <a:gd name="csY95" fmla="*/ 287679 h 554291"/>
                    <a:gd name="csX96" fmla="*/ 386346 w 409556"/>
                    <a:gd name="csY96" fmla="*/ 291680 h 554291"/>
                    <a:gd name="csX97" fmla="*/ 379431 w 409556"/>
                    <a:gd name="csY97" fmla="*/ 289119 h 554291"/>
                    <a:gd name="csX98" fmla="*/ 378727 w 409556"/>
                    <a:gd name="csY98" fmla="*/ 272088 h 554291"/>
                    <a:gd name="csX99" fmla="*/ 371107 w 409556"/>
                    <a:gd name="csY99" fmla="*/ 272088 h 554291"/>
                    <a:gd name="csX100" fmla="*/ 366753 w 409556"/>
                    <a:gd name="csY100" fmla="*/ 280796 h 554291"/>
                    <a:gd name="csX101" fmla="*/ 364929 w 409556"/>
                    <a:gd name="csY101" fmla="*/ 278234 h 554291"/>
                    <a:gd name="csX102" fmla="*/ 363104 w 409556"/>
                    <a:gd name="csY102" fmla="*/ 264468 h 554291"/>
                    <a:gd name="csX103" fmla="*/ 351163 w 409556"/>
                    <a:gd name="csY103" fmla="*/ 261555 h 554291"/>
                    <a:gd name="csX104" fmla="*/ 365665 w 409556"/>
                    <a:gd name="csY104" fmla="*/ 249582 h 554291"/>
                    <a:gd name="csX105" fmla="*/ 371812 w 409556"/>
                    <a:gd name="csY105" fmla="*/ 225635 h 554291"/>
                    <a:gd name="csX106" fmla="*/ 339189 w 409556"/>
                    <a:gd name="csY106" fmla="*/ 224547 h 554291"/>
                    <a:gd name="csX107" fmla="*/ 327920 w 409556"/>
                    <a:gd name="csY107" fmla="*/ 209308 h 554291"/>
                    <a:gd name="csX108" fmla="*/ 331186 w 409556"/>
                    <a:gd name="csY108" fmla="*/ 186834 h 554291"/>
                    <a:gd name="csX109" fmla="*/ 340982 w 409556"/>
                    <a:gd name="csY109" fmla="*/ 177390 h 554291"/>
                    <a:gd name="csX110" fmla="*/ 349338 w 409556"/>
                    <a:gd name="csY110" fmla="*/ 185009 h 554291"/>
                    <a:gd name="csX111" fmla="*/ 349338 w 409556"/>
                    <a:gd name="csY111" fmla="*/ 169771 h 554291"/>
                    <a:gd name="csX112" fmla="*/ 349338 w 409556"/>
                    <a:gd name="csY112" fmla="*/ 166153 h 554291"/>
                    <a:gd name="csX113" fmla="*/ 339189 w 409556"/>
                    <a:gd name="csY113" fmla="*/ 156709 h 554291"/>
                    <a:gd name="csX114" fmla="*/ 326128 w 409556"/>
                    <a:gd name="csY114" fmla="*/ 156005 h 554291"/>
                    <a:gd name="csX115" fmla="*/ 317420 w 409556"/>
                    <a:gd name="csY115" fmla="*/ 148001 h 554291"/>
                    <a:gd name="csX116" fmla="*/ 313418 w 409556"/>
                    <a:gd name="csY116" fmla="*/ 133499 h 554291"/>
                    <a:gd name="csX117" fmla="*/ 313418 w 409556"/>
                    <a:gd name="csY117" fmla="*/ 132762 h 554291"/>
                    <a:gd name="csX118" fmla="*/ 305447 w 409556"/>
                    <a:gd name="csY118" fmla="*/ 122262 h 554291"/>
                    <a:gd name="csX119" fmla="*/ 296002 w 409556"/>
                    <a:gd name="csY119" fmla="*/ 120437 h 554291"/>
                    <a:gd name="csX120" fmla="*/ 297827 w 409556"/>
                    <a:gd name="csY120" fmla="*/ 112113 h 554291"/>
                    <a:gd name="csX121" fmla="*/ 283325 w 409556"/>
                    <a:gd name="csY121" fmla="*/ 96490 h 554291"/>
                    <a:gd name="csX122" fmla="*/ 276410 w 409556"/>
                    <a:gd name="csY122" fmla="*/ 80163 h 554291"/>
                    <a:gd name="csX123" fmla="*/ 269527 w 409556"/>
                    <a:gd name="csY123" fmla="*/ 75105 h 554291"/>
                    <a:gd name="csX124" fmla="*/ 257201 w 409556"/>
                    <a:gd name="csY124" fmla="*/ 74017 h 554291"/>
                    <a:gd name="csX125" fmla="*/ 240138 w 409556"/>
                    <a:gd name="csY125" fmla="*/ 93961 h 554291"/>
                    <a:gd name="csX126" fmla="*/ 239433 w 409556"/>
                    <a:gd name="csY126" fmla="*/ 108464 h 554291"/>
                    <a:gd name="csX127" fmla="*/ 232518 w 409556"/>
                    <a:gd name="csY127" fmla="*/ 115379 h 554291"/>
                    <a:gd name="csX128" fmla="*/ 224547 w 409556"/>
                    <a:gd name="csY128" fmla="*/ 114642 h 554291"/>
                    <a:gd name="csX129" fmla="*/ 196983 w 409556"/>
                    <a:gd name="csY129" fmla="*/ 103405 h 554291"/>
                    <a:gd name="csX130" fmla="*/ 183185 w 409556"/>
                    <a:gd name="csY130" fmla="*/ 103405 h 554291"/>
                    <a:gd name="csX131" fmla="*/ 172300 w 409556"/>
                    <a:gd name="csY131" fmla="*/ 112818 h 554291"/>
                    <a:gd name="csX132" fmla="*/ 149826 w 409556"/>
                    <a:gd name="csY132" fmla="*/ 110288 h 554291"/>
                    <a:gd name="csX133" fmla="*/ 141118 w 409556"/>
                    <a:gd name="csY133" fmla="*/ 105198 h 554291"/>
                    <a:gd name="csX134" fmla="*/ 142911 w 409556"/>
                    <a:gd name="csY134" fmla="*/ 28653 h 554291"/>
                    <a:gd name="csX135" fmla="*/ 142911 w 409556"/>
                    <a:gd name="csY135" fmla="*/ 27564 h 554291"/>
                    <a:gd name="csX136" fmla="*/ 142911 w 409556"/>
                    <a:gd name="csY136" fmla="*/ 1088 h 554291"/>
                    <a:gd name="csX137" fmla="*/ 97931 w 409556"/>
                    <a:gd name="csY137" fmla="*/ 0 h 5542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</a:cxnLst>
                  <a:rect l="l" t="t" r="r" b="b"/>
                  <a:pathLst>
                    <a:path w="409556" h="554291">
                      <a:moveTo>
                        <a:pt x="97931" y="0"/>
                      </a:moveTo>
                      <a:lnTo>
                        <a:pt x="80163" y="0"/>
                      </a:lnTo>
                      <a:lnTo>
                        <a:pt x="48982" y="6915"/>
                      </a:lnTo>
                      <a:lnTo>
                        <a:pt x="23210" y="6179"/>
                      </a:lnTo>
                      <a:lnTo>
                        <a:pt x="19945" y="9796"/>
                      </a:lnTo>
                      <a:lnTo>
                        <a:pt x="26828" y="26860"/>
                      </a:lnTo>
                      <a:lnTo>
                        <a:pt x="18856" y="68222"/>
                      </a:lnTo>
                      <a:lnTo>
                        <a:pt x="17063" y="87783"/>
                      </a:lnTo>
                      <a:lnTo>
                        <a:pt x="33743" y="78370"/>
                      </a:lnTo>
                      <a:lnTo>
                        <a:pt x="48245" y="77634"/>
                      </a:lnTo>
                      <a:lnTo>
                        <a:pt x="62043" y="93961"/>
                      </a:lnTo>
                      <a:lnTo>
                        <a:pt x="75809" y="88871"/>
                      </a:lnTo>
                      <a:lnTo>
                        <a:pt x="84517" y="90344"/>
                      </a:lnTo>
                      <a:lnTo>
                        <a:pt x="92137" y="86342"/>
                      </a:lnTo>
                      <a:lnTo>
                        <a:pt x="85958" y="147297"/>
                      </a:lnTo>
                      <a:lnTo>
                        <a:pt x="81604" y="150562"/>
                      </a:lnTo>
                      <a:lnTo>
                        <a:pt x="77634" y="154916"/>
                      </a:lnTo>
                      <a:lnTo>
                        <a:pt x="71455" y="164328"/>
                      </a:lnTo>
                      <a:lnTo>
                        <a:pt x="58394" y="167242"/>
                      </a:lnTo>
                      <a:lnTo>
                        <a:pt x="21417" y="185009"/>
                      </a:lnTo>
                      <a:lnTo>
                        <a:pt x="23947" y="197335"/>
                      </a:lnTo>
                      <a:lnTo>
                        <a:pt x="34447" y="196246"/>
                      </a:lnTo>
                      <a:lnTo>
                        <a:pt x="35183" y="202425"/>
                      </a:lnTo>
                      <a:lnTo>
                        <a:pt x="16327" y="216223"/>
                      </a:lnTo>
                      <a:lnTo>
                        <a:pt x="6179" y="213662"/>
                      </a:lnTo>
                      <a:lnTo>
                        <a:pt x="0" y="227460"/>
                      </a:lnTo>
                      <a:lnTo>
                        <a:pt x="2529" y="241226"/>
                      </a:lnTo>
                      <a:lnTo>
                        <a:pt x="11973" y="251407"/>
                      </a:lnTo>
                      <a:lnTo>
                        <a:pt x="4354" y="271351"/>
                      </a:lnTo>
                      <a:lnTo>
                        <a:pt x="8708" y="273881"/>
                      </a:lnTo>
                      <a:lnTo>
                        <a:pt x="22506" y="267734"/>
                      </a:lnTo>
                      <a:lnTo>
                        <a:pt x="27564" y="271351"/>
                      </a:lnTo>
                      <a:lnTo>
                        <a:pt x="21417" y="283325"/>
                      </a:lnTo>
                      <a:lnTo>
                        <a:pt x="29389" y="290944"/>
                      </a:lnTo>
                      <a:lnTo>
                        <a:pt x="31918" y="302917"/>
                      </a:lnTo>
                      <a:lnTo>
                        <a:pt x="31918" y="319245"/>
                      </a:lnTo>
                      <a:lnTo>
                        <a:pt x="35183" y="323598"/>
                      </a:lnTo>
                      <a:lnTo>
                        <a:pt x="41362" y="319245"/>
                      </a:lnTo>
                      <a:lnTo>
                        <a:pt x="43155" y="327216"/>
                      </a:lnTo>
                      <a:lnTo>
                        <a:pt x="50774" y="330482"/>
                      </a:lnTo>
                      <a:lnTo>
                        <a:pt x="47509" y="342455"/>
                      </a:lnTo>
                      <a:lnTo>
                        <a:pt x="55865" y="351162"/>
                      </a:lnTo>
                      <a:lnTo>
                        <a:pt x="50070" y="357341"/>
                      </a:lnTo>
                      <a:lnTo>
                        <a:pt x="44628" y="375461"/>
                      </a:lnTo>
                      <a:lnTo>
                        <a:pt x="39537" y="375461"/>
                      </a:lnTo>
                      <a:lnTo>
                        <a:pt x="73280" y="393229"/>
                      </a:lnTo>
                      <a:lnTo>
                        <a:pt x="117172" y="389964"/>
                      </a:lnTo>
                      <a:lnTo>
                        <a:pt x="118612" y="397583"/>
                      </a:lnTo>
                      <a:lnTo>
                        <a:pt x="110993" y="402673"/>
                      </a:lnTo>
                      <a:lnTo>
                        <a:pt x="100844" y="400144"/>
                      </a:lnTo>
                      <a:lnTo>
                        <a:pt x="97931" y="413174"/>
                      </a:lnTo>
                      <a:lnTo>
                        <a:pt x="122966" y="426972"/>
                      </a:lnTo>
                      <a:lnTo>
                        <a:pt x="136028" y="443299"/>
                      </a:lnTo>
                      <a:lnTo>
                        <a:pt x="141822" y="458890"/>
                      </a:lnTo>
                      <a:lnTo>
                        <a:pt x="130970" y="469775"/>
                      </a:lnTo>
                      <a:lnTo>
                        <a:pt x="136028" y="486102"/>
                      </a:lnTo>
                      <a:lnTo>
                        <a:pt x="122262" y="492985"/>
                      </a:lnTo>
                      <a:lnTo>
                        <a:pt x="110289" y="517284"/>
                      </a:lnTo>
                      <a:lnTo>
                        <a:pt x="109200" y="520549"/>
                      </a:lnTo>
                      <a:lnTo>
                        <a:pt x="117172" y="524199"/>
                      </a:lnTo>
                      <a:lnTo>
                        <a:pt x="133499" y="519108"/>
                      </a:lnTo>
                      <a:lnTo>
                        <a:pt x="141822" y="507871"/>
                      </a:lnTo>
                      <a:lnTo>
                        <a:pt x="151619" y="523110"/>
                      </a:lnTo>
                      <a:lnTo>
                        <a:pt x="179183" y="528553"/>
                      </a:lnTo>
                      <a:lnTo>
                        <a:pt x="183185" y="550674"/>
                      </a:lnTo>
                      <a:lnTo>
                        <a:pt x="192629" y="554292"/>
                      </a:lnTo>
                      <a:lnTo>
                        <a:pt x="200600" y="523110"/>
                      </a:lnTo>
                      <a:lnTo>
                        <a:pt x="196246" y="512225"/>
                      </a:lnTo>
                      <a:lnTo>
                        <a:pt x="204954" y="499900"/>
                      </a:lnTo>
                      <a:lnTo>
                        <a:pt x="207483" y="482100"/>
                      </a:lnTo>
                      <a:lnTo>
                        <a:pt x="228164" y="478483"/>
                      </a:lnTo>
                      <a:lnTo>
                        <a:pt x="244492" y="469038"/>
                      </a:lnTo>
                      <a:lnTo>
                        <a:pt x="247757" y="470863"/>
                      </a:lnTo>
                      <a:lnTo>
                        <a:pt x="280411" y="474129"/>
                      </a:lnTo>
                      <a:lnTo>
                        <a:pt x="313418" y="462155"/>
                      </a:lnTo>
                      <a:lnTo>
                        <a:pt x="305447" y="431326"/>
                      </a:lnTo>
                      <a:lnTo>
                        <a:pt x="322862" y="423354"/>
                      </a:lnTo>
                      <a:lnTo>
                        <a:pt x="325391" y="432062"/>
                      </a:lnTo>
                      <a:lnTo>
                        <a:pt x="339189" y="432767"/>
                      </a:lnTo>
                      <a:lnTo>
                        <a:pt x="344984" y="420793"/>
                      </a:lnTo>
                      <a:lnTo>
                        <a:pt x="358046" y="420089"/>
                      </a:lnTo>
                      <a:lnTo>
                        <a:pt x="352955" y="406291"/>
                      </a:lnTo>
                      <a:lnTo>
                        <a:pt x="346809" y="403762"/>
                      </a:lnTo>
                      <a:lnTo>
                        <a:pt x="349338" y="399408"/>
                      </a:lnTo>
                      <a:lnTo>
                        <a:pt x="369283" y="393229"/>
                      </a:lnTo>
                      <a:lnTo>
                        <a:pt x="373637" y="398671"/>
                      </a:lnTo>
                      <a:lnTo>
                        <a:pt x="385610" y="398671"/>
                      </a:lnTo>
                      <a:lnTo>
                        <a:pt x="389964" y="384905"/>
                      </a:lnTo>
                      <a:lnTo>
                        <a:pt x="398319" y="385610"/>
                      </a:lnTo>
                      <a:lnTo>
                        <a:pt x="405202" y="349338"/>
                      </a:lnTo>
                      <a:lnTo>
                        <a:pt x="390700" y="347897"/>
                      </a:lnTo>
                      <a:lnTo>
                        <a:pt x="409556" y="319245"/>
                      </a:lnTo>
                      <a:lnTo>
                        <a:pt x="406291" y="310889"/>
                      </a:lnTo>
                      <a:lnTo>
                        <a:pt x="409556" y="304006"/>
                      </a:lnTo>
                      <a:lnTo>
                        <a:pt x="395758" y="301445"/>
                      </a:lnTo>
                      <a:lnTo>
                        <a:pt x="395054" y="287679"/>
                      </a:lnTo>
                      <a:lnTo>
                        <a:pt x="386346" y="291680"/>
                      </a:lnTo>
                      <a:lnTo>
                        <a:pt x="379431" y="289119"/>
                      </a:lnTo>
                      <a:lnTo>
                        <a:pt x="378727" y="272088"/>
                      </a:lnTo>
                      <a:lnTo>
                        <a:pt x="371107" y="272088"/>
                      </a:lnTo>
                      <a:lnTo>
                        <a:pt x="366753" y="280796"/>
                      </a:lnTo>
                      <a:lnTo>
                        <a:pt x="364929" y="278234"/>
                      </a:lnTo>
                      <a:lnTo>
                        <a:pt x="363104" y="264468"/>
                      </a:lnTo>
                      <a:lnTo>
                        <a:pt x="351163" y="261555"/>
                      </a:lnTo>
                      <a:lnTo>
                        <a:pt x="365665" y="249582"/>
                      </a:lnTo>
                      <a:lnTo>
                        <a:pt x="371812" y="225635"/>
                      </a:lnTo>
                      <a:lnTo>
                        <a:pt x="339189" y="224547"/>
                      </a:lnTo>
                      <a:lnTo>
                        <a:pt x="327920" y="209308"/>
                      </a:lnTo>
                      <a:lnTo>
                        <a:pt x="331186" y="186834"/>
                      </a:lnTo>
                      <a:lnTo>
                        <a:pt x="340982" y="177390"/>
                      </a:lnTo>
                      <a:lnTo>
                        <a:pt x="349338" y="185009"/>
                      </a:lnTo>
                      <a:lnTo>
                        <a:pt x="349338" y="169771"/>
                      </a:lnTo>
                      <a:lnTo>
                        <a:pt x="349338" y="166153"/>
                      </a:lnTo>
                      <a:lnTo>
                        <a:pt x="339189" y="156709"/>
                      </a:lnTo>
                      <a:lnTo>
                        <a:pt x="326128" y="156005"/>
                      </a:lnTo>
                      <a:lnTo>
                        <a:pt x="317420" y="148001"/>
                      </a:lnTo>
                      <a:lnTo>
                        <a:pt x="313418" y="133499"/>
                      </a:lnTo>
                      <a:lnTo>
                        <a:pt x="313418" y="132762"/>
                      </a:lnTo>
                      <a:lnTo>
                        <a:pt x="305447" y="122262"/>
                      </a:lnTo>
                      <a:lnTo>
                        <a:pt x="296002" y="120437"/>
                      </a:lnTo>
                      <a:lnTo>
                        <a:pt x="297827" y="112113"/>
                      </a:lnTo>
                      <a:lnTo>
                        <a:pt x="283325" y="96490"/>
                      </a:lnTo>
                      <a:lnTo>
                        <a:pt x="276410" y="80163"/>
                      </a:lnTo>
                      <a:lnTo>
                        <a:pt x="269527" y="75105"/>
                      </a:lnTo>
                      <a:lnTo>
                        <a:pt x="257201" y="74017"/>
                      </a:lnTo>
                      <a:lnTo>
                        <a:pt x="240138" y="93961"/>
                      </a:lnTo>
                      <a:lnTo>
                        <a:pt x="239433" y="108464"/>
                      </a:lnTo>
                      <a:lnTo>
                        <a:pt x="232518" y="115379"/>
                      </a:lnTo>
                      <a:lnTo>
                        <a:pt x="224547" y="114642"/>
                      </a:lnTo>
                      <a:lnTo>
                        <a:pt x="196983" y="103405"/>
                      </a:lnTo>
                      <a:lnTo>
                        <a:pt x="183185" y="103405"/>
                      </a:lnTo>
                      <a:lnTo>
                        <a:pt x="172300" y="112818"/>
                      </a:lnTo>
                      <a:lnTo>
                        <a:pt x="149826" y="110288"/>
                      </a:lnTo>
                      <a:lnTo>
                        <a:pt x="141118" y="105198"/>
                      </a:lnTo>
                      <a:lnTo>
                        <a:pt x="142911" y="28653"/>
                      </a:lnTo>
                      <a:lnTo>
                        <a:pt x="142911" y="27564"/>
                      </a:lnTo>
                      <a:lnTo>
                        <a:pt x="142911" y="1088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7" name="Forma Livre: Forma 346">
                  <a:extLst>
                    <a:ext uri="{FF2B5EF4-FFF2-40B4-BE49-F238E27FC236}">
                      <a16:creationId xmlns:a16="http://schemas.microsoft.com/office/drawing/2014/main" id="{AAAA8096-CAF2-F662-51E6-2113ACBFAFB1}"/>
                    </a:ext>
                  </a:extLst>
                </p:cNvPr>
                <p:cNvSpPr/>
                <p:nvPr/>
              </p:nvSpPr>
              <p:spPr>
                <a:xfrm>
                  <a:off x="2777138" y="3423399"/>
                  <a:ext cx="409556" cy="554291"/>
                </a:xfrm>
                <a:custGeom>
                  <a:avLst/>
                  <a:gdLst>
                    <a:gd name="csX0" fmla="*/ 97931 w 409556"/>
                    <a:gd name="csY0" fmla="*/ 0 h 554291"/>
                    <a:gd name="csX1" fmla="*/ 80163 w 409556"/>
                    <a:gd name="csY1" fmla="*/ 0 h 554291"/>
                    <a:gd name="csX2" fmla="*/ 48982 w 409556"/>
                    <a:gd name="csY2" fmla="*/ 6915 h 554291"/>
                    <a:gd name="csX3" fmla="*/ 23210 w 409556"/>
                    <a:gd name="csY3" fmla="*/ 6179 h 554291"/>
                    <a:gd name="csX4" fmla="*/ 19945 w 409556"/>
                    <a:gd name="csY4" fmla="*/ 9796 h 554291"/>
                    <a:gd name="csX5" fmla="*/ 26828 w 409556"/>
                    <a:gd name="csY5" fmla="*/ 26860 h 554291"/>
                    <a:gd name="csX6" fmla="*/ 18856 w 409556"/>
                    <a:gd name="csY6" fmla="*/ 68222 h 554291"/>
                    <a:gd name="csX7" fmla="*/ 17063 w 409556"/>
                    <a:gd name="csY7" fmla="*/ 87783 h 554291"/>
                    <a:gd name="csX8" fmla="*/ 33743 w 409556"/>
                    <a:gd name="csY8" fmla="*/ 78370 h 554291"/>
                    <a:gd name="csX9" fmla="*/ 48245 w 409556"/>
                    <a:gd name="csY9" fmla="*/ 77634 h 554291"/>
                    <a:gd name="csX10" fmla="*/ 62043 w 409556"/>
                    <a:gd name="csY10" fmla="*/ 93961 h 554291"/>
                    <a:gd name="csX11" fmla="*/ 75809 w 409556"/>
                    <a:gd name="csY11" fmla="*/ 88871 h 554291"/>
                    <a:gd name="csX12" fmla="*/ 84517 w 409556"/>
                    <a:gd name="csY12" fmla="*/ 90344 h 554291"/>
                    <a:gd name="csX13" fmla="*/ 92137 w 409556"/>
                    <a:gd name="csY13" fmla="*/ 86342 h 554291"/>
                    <a:gd name="csX14" fmla="*/ 85958 w 409556"/>
                    <a:gd name="csY14" fmla="*/ 147297 h 554291"/>
                    <a:gd name="csX15" fmla="*/ 81604 w 409556"/>
                    <a:gd name="csY15" fmla="*/ 150562 h 554291"/>
                    <a:gd name="csX16" fmla="*/ 77634 w 409556"/>
                    <a:gd name="csY16" fmla="*/ 154916 h 554291"/>
                    <a:gd name="csX17" fmla="*/ 71455 w 409556"/>
                    <a:gd name="csY17" fmla="*/ 164328 h 554291"/>
                    <a:gd name="csX18" fmla="*/ 58394 w 409556"/>
                    <a:gd name="csY18" fmla="*/ 167242 h 554291"/>
                    <a:gd name="csX19" fmla="*/ 21417 w 409556"/>
                    <a:gd name="csY19" fmla="*/ 185009 h 554291"/>
                    <a:gd name="csX20" fmla="*/ 23947 w 409556"/>
                    <a:gd name="csY20" fmla="*/ 197335 h 554291"/>
                    <a:gd name="csX21" fmla="*/ 34447 w 409556"/>
                    <a:gd name="csY21" fmla="*/ 196246 h 554291"/>
                    <a:gd name="csX22" fmla="*/ 35183 w 409556"/>
                    <a:gd name="csY22" fmla="*/ 202425 h 554291"/>
                    <a:gd name="csX23" fmla="*/ 16327 w 409556"/>
                    <a:gd name="csY23" fmla="*/ 216223 h 554291"/>
                    <a:gd name="csX24" fmla="*/ 6179 w 409556"/>
                    <a:gd name="csY24" fmla="*/ 213662 h 554291"/>
                    <a:gd name="csX25" fmla="*/ 0 w 409556"/>
                    <a:gd name="csY25" fmla="*/ 227460 h 554291"/>
                    <a:gd name="csX26" fmla="*/ 2529 w 409556"/>
                    <a:gd name="csY26" fmla="*/ 241226 h 554291"/>
                    <a:gd name="csX27" fmla="*/ 11973 w 409556"/>
                    <a:gd name="csY27" fmla="*/ 251407 h 554291"/>
                    <a:gd name="csX28" fmla="*/ 4354 w 409556"/>
                    <a:gd name="csY28" fmla="*/ 271351 h 554291"/>
                    <a:gd name="csX29" fmla="*/ 8708 w 409556"/>
                    <a:gd name="csY29" fmla="*/ 273881 h 554291"/>
                    <a:gd name="csX30" fmla="*/ 22506 w 409556"/>
                    <a:gd name="csY30" fmla="*/ 267734 h 554291"/>
                    <a:gd name="csX31" fmla="*/ 27564 w 409556"/>
                    <a:gd name="csY31" fmla="*/ 271351 h 554291"/>
                    <a:gd name="csX32" fmla="*/ 21417 w 409556"/>
                    <a:gd name="csY32" fmla="*/ 283325 h 554291"/>
                    <a:gd name="csX33" fmla="*/ 29389 w 409556"/>
                    <a:gd name="csY33" fmla="*/ 290944 h 554291"/>
                    <a:gd name="csX34" fmla="*/ 31918 w 409556"/>
                    <a:gd name="csY34" fmla="*/ 302917 h 554291"/>
                    <a:gd name="csX35" fmla="*/ 31918 w 409556"/>
                    <a:gd name="csY35" fmla="*/ 319245 h 554291"/>
                    <a:gd name="csX36" fmla="*/ 35183 w 409556"/>
                    <a:gd name="csY36" fmla="*/ 323598 h 554291"/>
                    <a:gd name="csX37" fmla="*/ 41362 w 409556"/>
                    <a:gd name="csY37" fmla="*/ 319245 h 554291"/>
                    <a:gd name="csX38" fmla="*/ 43155 w 409556"/>
                    <a:gd name="csY38" fmla="*/ 327216 h 554291"/>
                    <a:gd name="csX39" fmla="*/ 50774 w 409556"/>
                    <a:gd name="csY39" fmla="*/ 330482 h 554291"/>
                    <a:gd name="csX40" fmla="*/ 47509 w 409556"/>
                    <a:gd name="csY40" fmla="*/ 342455 h 554291"/>
                    <a:gd name="csX41" fmla="*/ 55865 w 409556"/>
                    <a:gd name="csY41" fmla="*/ 351162 h 554291"/>
                    <a:gd name="csX42" fmla="*/ 50070 w 409556"/>
                    <a:gd name="csY42" fmla="*/ 357341 h 554291"/>
                    <a:gd name="csX43" fmla="*/ 44628 w 409556"/>
                    <a:gd name="csY43" fmla="*/ 375461 h 554291"/>
                    <a:gd name="csX44" fmla="*/ 39537 w 409556"/>
                    <a:gd name="csY44" fmla="*/ 375461 h 554291"/>
                    <a:gd name="csX45" fmla="*/ 73280 w 409556"/>
                    <a:gd name="csY45" fmla="*/ 393229 h 554291"/>
                    <a:gd name="csX46" fmla="*/ 117172 w 409556"/>
                    <a:gd name="csY46" fmla="*/ 389964 h 554291"/>
                    <a:gd name="csX47" fmla="*/ 118612 w 409556"/>
                    <a:gd name="csY47" fmla="*/ 397583 h 554291"/>
                    <a:gd name="csX48" fmla="*/ 110993 w 409556"/>
                    <a:gd name="csY48" fmla="*/ 402673 h 554291"/>
                    <a:gd name="csX49" fmla="*/ 100844 w 409556"/>
                    <a:gd name="csY49" fmla="*/ 400144 h 554291"/>
                    <a:gd name="csX50" fmla="*/ 97931 w 409556"/>
                    <a:gd name="csY50" fmla="*/ 413174 h 554291"/>
                    <a:gd name="csX51" fmla="*/ 122966 w 409556"/>
                    <a:gd name="csY51" fmla="*/ 426972 h 554291"/>
                    <a:gd name="csX52" fmla="*/ 136028 w 409556"/>
                    <a:gd name="csY52" fmla="*/ 443299 h 554291"/>
                    <a:gd name="csX53" fmla="*/ 141822 w 409556"/>
                    <a:gd name="csY53" fmla="*/ 458890 h 554291"/>
                    <a:gd name="csX54" fmla="*/ 130970 w 409556"/>
                    <a:gd name="csY54" fmla="*/ 469775 h 554291"/>
                    <a:gd name="csX55" fmla="*/ 136028 w 409556"/>
                    <a:gd name="csY55" fmla="*/ 486102 h 554291"/>
                    <a:gd name="csX56" fmla="*/ 122262 w 409556"/>
                    <a:gd name="csY56" fmla="*/ 492985 h 554291"/>
                    <a:gd name="csX57" fmla="*/ 110289 w 409556"/>
                    <a:gd name="csY57" fmla="*/ 517284 h 554291"/>
                    <a:gd name="csX58" fmla="*/ 109200 w 409556"/>
                    <a:gd name="csY58" fmla="*/ 520549 h 554291"/>
                    <a:gd name="csX59" fmla="*/ 117172 w 409556"/>
                    <a:gd name="csY59" fmla="*/ 524199 h 554291"/>
                    <a:gd name="csX60" fmla="*/ 133499 w 409556"/>
                    <a:gd name="csY60" fmla="*/ 519108 h 554291"/>
                    <a:gd name="csX61" fmla="*/ 141822 w 409556"/>
                    <a:gd name="csY61" fmla="*/ 507871 h 554291"/>
                    <a:gd name="csX62" fmla="*/ 151619 w 409556"/>
                    <a:gd name="csY62" fmla="*/ 523110 h 554291"/>
                    <a:gd name="csX63" fmla="*/ 179183 w 409556"/>
                    <a:gd name="csY63" fmla="*/ 528553 h 554291"/>
                    <a:gd name="csX64" fmla="*/ 183185 w 409556"/>
                    <a:gd name="csY64" fmla="*/ 550674 h 554291"/>
                    <a:gd name="csX65" fmla="*/ 192629 w 409556"/>
                    <a:gd name="csY65" fmla="*/ 554292 h 554291"/>
                    <a:gd name="csX66" fmla="*/ 200600 w 409556"/>
                    <a:gd name="csY66" fmla="*/ 523110 h 554291"/>
                    <a:gd name="csX67" fmla="*/ 196246 w 409556"/>
                    <a:gd name="csY67" fmla="*/ 512225 h 554291"/>
                    <a:gd name="csX68" fmla="*/ 204954 w 409556"/>
                    <a:gd name="csY68" fmla="*/ 499900 h 554291"/>
                    <a:gd name="csX69" fmla="*/ 207483 w 409556"/>
                    <a:gd name="csY69" fmla="*/ 482100 h 554291"/>
                    <a:gd name="csX70" fmla="*/ 228164 w 409556"/>
                    <a:gd name="csY70" fmla="*/ 478483 h 554291"/>
                    <a:gd name="csX71" fmla="*/ 244492 w 409556"/>
                    <a:gd name="csY71" fmla="*/ 469038 h 554291"/>
                    <a:gd name="csX72" fmla="*/ 247757 w 409556"/>
                    <a:gd name="csY72" fmla="*/ 470863 h 554291"/>
                    <a:gd name="csX73" fmla="*/ 280411 w 409556"/>
                    <a:gd name="csY73" fmla="*/ 474129 h 554291"/>
                    <a:gd name="csX74" fmla="*/ 313418 w 409556"/>
                    <a:gd name="csY74" fmla="*/ 462155 h 554291"/>
                    <a:gd name="csX75" fmla="*/ 305447 w 409556"/>
                    <a:gd name="csY75" fmla="*/ 431326 h 554291"/>
                    <a:gd name="csX76" fmla="*/ 322862 w 409556"/>
                    <a:gd name="csY76" fmla="*/ 423354 h 554291"/>
                    <a:gd name="csX77" fmla="*/ 325391 w 409556"/>
                    <a:gd name="csY77" fmla="*/ 432062 h 554291"/>
                    <a:gd name="csX78" fmla="*/ 339189 w 409556"/>
                    <a:gd name="csY78" fmla="*/ 432767 h 554291"/>
                    <a:gd name="csX79" fmla="*/ 344984 w 409556"/>
                    <a:gd name="csY79" fmla="*/ 420793 h 554291"/>
                    <a:gd name="csX80" fmla="*/ 358046 w 409556"/>
                    <a:gd name="csY80" fmla="*/ 420089 h 554291"/>
                    <a:gd name="csX81" fmla="*/ 352955 w 409556"/>
                    <a:gd name="csY81" fmla="*/ 406291 h 554291"/>
                    <a:gd name="csX82" fmla="*/ 346809 w 409556"/>
                    <a:gd name="csY82" fmla="*/ 403762 h 554291"/>
                    <a:gd name="csX83" fmla="*/ 349338 w 409556"/>
                    <a:gd name="csY83" fmla="*/ 399408 h 554291"/>
                    <a:gd name="csX84" fmla="*/ 369283 w 409556"/>
                    <a:gd name="csY84" fmla="*/ 393229 h 554291"/>
                    <a:gd name="csX85" fmla="*/ 373637 w 409556"/>
                    <a:gd name="csY85" fmla="*/ 398671 h 554291"/>
                    <a:gd name="csX86" fmla="*/ 385610 w 409556"/>
                    <a:gd name="csY86" fmla="*/ 398671 h 554291"/>
                    <a:gd name="csX87" fmla="*/ 389964 w 409556"/>
                    <a:gd name="csY87" fmla="*/ 384905 h 554291"/>
                    <a:gd name="csX88" fmla="*/ 398319 w 409556"/>
                    <a:gd name="csY88" fmla="*/ 385610 h 554291"/>
                    <a:gd name="csX89" fmla="*/ 405202 w 409556"/>
                    <a:gd name="csY89" fmla="*/ 349338 h 554291"/>
                    <a:gd name="csX90" fmla="*/ 390700 w 409556"/>
                    <a:gd name="csY90" fmla="*/ 347897 h 554291"/>
                    <a:gd name="csX91" fmla="*/ 409556 w 409556"/>
                    <a:gd name="csY91" fmla="*/ 319245 h 554291"/>
                    <a:gd name="csX92" fmla="*/ 406291 w 409556"/>
                    <a:gd name="csY92" fmla="*/ 310889 h 554291"/>
                    <a:gd name="csX93" fmla="*/ 409556 w 409556"/>
                    <a:gd name="csY93" fmla="*/ 304006 h 554291"/>
                    <a:gd name="csX94" fmla="*/ 395758 w 409556"/>
                    <a:gd name="csY94" fmla="*/ 301445 h 554291"/>
                    <a:gd name="csX95" fmla="*/ 395054 w 409556"/>
                    <a:gd name="csY95" fmla="*/ 287679 h 554291"/>
                    <a:gd name="csX96" fmla="*/ 386346 w 409556"/>
                    <a:gd name="csY96" fmla="*/ 291680 h 554291"/>
                    <a:gd name="csX97" fmla="*/ 379431 w 409556"/>
                    <a:gd name="csY97" fmla="*/ 289119 h 554291"/>
                    <a:gd name="csX98" fmla="*/ 378727 w 409556"/>
                    <a:gd name="csY98" fmla="*/ 272088 h 554291"/>
                    <a:gd name="csX99" fmla="*/ 371107 w 409556"/>
                    <a:gd name="csY99" fmla="*/ 272088 h 554291"/>
                    <a:gd name="csX100" fmla="*/ 366753 w 409556"/>
                    <a:gd name="csY100" fmla="*/ 280796 h 554291"/>
                    <a:gd name="csX101" fmla="*/ 364929 w 409556"/>
                    <a:gd name="csY101" fmla="*/ 278234 h 554291"/>
                    <a:gd name="csX102" fmla="*/ 363104 w 409556"/>
                    <a:gd name="csY102" fmla="*/ 264468 h 554291"/>
                    <a:gd name="csX103" fmla="*/ 351163 w 409556"/>
                    <a:gd name="csY103" fmla="*/ 261555 h 554291"/>
                    <a:gd name="csX104" fmla="*/ 365665 w 409556"/>
                    <a:gd name="csY104" fmla="*/ 249582 h 554291"/>
                    <a:gd name="csX105" fmla="*/ 371812 w 409556"/>
                    <a:gd name="csY105" fmla="*/ 225635 h 554291"/>
                    <a:gd name="csX106" fmla="*/ 339189 w 409556"/>
                    <a:gd name="csY106" fmla="*/ 224547 h 554291"/>
                    <a:gd name="csX107" fmla="*/ 327920 w 409556"/>
                    <a:gd name="csY107" fmla="*/ 209308 h 554291"/>
                    <a:gd name="csX108" fmla="*/ 331186 w 409556"/>
                    <a:gd name="csY108" fmla="*/ 186834 h 554291"/>
                    <a:gd name="csX109" fmla="*/ 340982 w 409556"/>
                    <a:gd name="csY109" fmla="*/ 177390 h 554291"/>
                    <a:gd name="csX110" fmla="*/ 349338 w 409556"/>
                    <a:gd name="csY110" fmla="*/ 185009 h 554291"/>
                    <a:gd name="csX111" fmla="*/ 349338 w 409556"/>
                    <a:gd name="csY111" fmla="*/ 169771 h 554291"/>
                    <a:gd name="csX112" fmla="*/ 349338 w 409556"/>
                    <a:gd name="csY112" fmla="*/ 166153 h 554291"/>
                    <a:gd name="csX113" fmla="*/ 339189 w 409556"/>
                    <a:gd name="csY113" fmla="*/ 156709 h 554291"/>
                    <a:gd name="csX114" fmla="*/ 326128 w 409556"/>
                    <a:gd name="csY114" fmla="*/ 156005 h 554291"/>
                    <a:gd name="csX115" fmla="*/ 317420 w 409556"/>
                    <a:gd name="csY115" fmla="*/ 148001 h 554291"/>
                    <a:gd name="csX116" fmla="*/ 313418 w 409556"/>
                    <a:gd name="csY116" fmla="*/ 133499 h 554291"/>
                    <a:gd name="csX117" fmla="*/ 313418 w 409556"/>
                    <a:gd name="csY117" fmla="*/ 132762 h 554291"/>
                    <a:gd name="csX118" fmla="*/ 305447 w 409556"/>
                    <a:gd name="csY118" fmla="*/ 122262 h 554291"/>
                    <a:gd name="csX119" fmla="*/ 296002 w 409556"/>
                    <a:gd name="csY119" fmla="*/ 120437 h 554291"/>
                    <a:gd name="csX120" fmla="*/ 297827 w 409556"/>
                    <a:gd name="csY120" fmla="*/ 112113 h 554291"/>
                    <a:gd name="csX121" fmla="*/ 283325 w 409556"/>
                    <a:gd name="csY121" fmla="*/ 96490 h 554291"/>
                    <a:gd name="csX122" fmla="*/ 276410 w 409556"/>
                    <a:gd name="csY122" fmla="*/ 80163 h 554291"/>
                    <a:gd name="csX123" fmla="*/ 269527 w 409556"/>
                    <a:gd name="csY123" fmla="*/ 75105 h 554291"/>
                    <a:gd name="csX124" fmla="*/ 257201 w 409556"/>
                    <a:gd name="csY124" fmla="*/ 74017 h 554291"/>
                    <a:gd name="csX125" fmla="*/ 240138 w 409556"/>
                    <a:gd name="csY125" fmla="*/ 93961 h 554291"/>
                    <a:gd name="csX126" fmla="*/ 239433 w 409556"/>
                    <a:gd name="csY126" fmla="*/ 108464 h 554291"/>
                    <a:gd name="csX127" fmla="*/ 232518 w 409556"/>
                    <a:gd name="csY127" fmla="*/ 115379 h 554291"/>
                    <a:gd name="csX128" fmla="*/ 224547 w 409556"/>
                    <a:gd name="csY128" fmla="*/ 114642 h 554291"/>
                    <a:gd name="csX129" fmla="*/ 196983 w 409556"/>
                    <a:gd name="csY129" fmla="*/ 103405 h 554291"/>
                    <a:gd name="csX130" fmla="*/ 183185 w 409556"/>
                    <a:gd name="csY130" fmla="*/ 103405 h 554291"/>
                    <a:gd name="csX131" fmla="*/ 172300 w 409556"/>
                    <a:gd name="csY131" fmla="*/ 112818 h 554291"/>
                    <a:gd name="csX132" fmla="*/ 149826 w 409556"/>
                    <a:gd name="csY132" fmla="*/ 110288 h 554291"/>
                    <a:gd name="csX133" fmla="*/ 141118 w 409556"/>
                    <a:gd name="csY133" fmla="*/ 105198 h 554291"/>
                    <a:gd name="csX134" fmla="*/ 142911 w 409556"/>
                    <a:gd name="csY134" fmla="*/ 28653 h 554291"/>
                    <a:gd name="csX135" fmla="*/ 142911 w 409556"/>
                    <a:gd name="csY135" fmla="*/ 27564 h 554291"/>
                    <a:gd name="csX136" fmla="*/ 142911 w 409556"/>
                    <a:gd name="csY136" fmla="*/ 1088 h 554291"/>
                    <a:gd name="csX137" fmla="*/ 97931 w 409556"/>
                    <a:gd name="csY137" fmla="*/ 0 h 5542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</a:cxnLst>
                  <a:rect l="l" t="t" r="r" b="b"/>
                  <a:pathLst>
                    <a:path w="409556" h="554291">
                      <a:moveTo>
                        <a:pt x="97931" y="0"/>
                      </a:moveTo>
                      <a:lnTo>
                        <a:pt x="80163" y="0"/>
                      </a:lnTo>
                      <a:lnTo>
                        <a:pt x="48982" y="6915"/>
                      </a:lnTo>
                      <a:lnTo>
                        <a:pt x="23210" y="6179"/>
                      </a:lnTo>
                      <a:lnTo>
                        <a:pt x="19945" y="9796"/>
                      </a:lnTo>
                      <a:lnTo>
                        <a:pt x="26828" y="26860"/>
                      </a:lnTo>
                      <a:lnTo>
                        <a:pt x="18856" y="68222"/>
                      </a:lnTo>
                      <a:lnTo>
                        <a:pt x="17063" y="87783"/>
                      </a:lnTo>
                      <a:lnTo>
                        <a:pt x="33743" y="78370"/>
                      </a:lnTo>
                      <a:lnTo>
                        <a:pt x="48245" y="77634"/>
                      </a:lnTo>
                      <a:lnTo>
                        <a:pt x="62043" y="93961"/>
                      </a:lnTo>
                      <a:lnTo>
                        <a:pt x="75809" y="88871"/>
                      </a:lnTo>
                      <a:lnTo>
                        <a:pt x="84517" y="90344"/>
                      </a:lnTo>
                      <a:lnTo>
                        <a:pt x="92137" y="86342"/>
                      </a:lnTo>
                      <a:lnTo>
                        <a:pt x="85958" y="147297"/>
                      </a:lnTo>
                      <a:lnTo>
                        <a:pt x="81604" y="150562"/>
                      </a:lnTo>
                      <a:lnTo>
                        <a:pt x="77634" y="154916"/>
                      </a:lnTo>
                      <a:lnTo>
                        <a:pt x="71455" y="164328"/>
                      </a:lnTo>
                      <a:lnTo>
                        <a:pt x="58394" y="167242"/>
                      </a:lnTo>
                      <a:lnTo>
                        <a:pt x="21417" y="185009"/>
                      </a:lnTo>
                      <a:lnTo>
                        <a:pt x="23947" y="197335"/>
                      </a:lnTo>
                      <a:lnTo>
                        <a:pt x="34447" y="196246"/>
                      </a:lnTo>
                      <a:lnTo>
                        <a:pt x="35183" y="202425"/>
                      </a:lnTo>
                      <a:lnTo>
                        <a:pt x="16327" y="216223"/>
                      </a:lnTo>
                      <a:lnTo>
                        <a:pt x="6179" y="213662"/>
                      </a:lnTo>
                      <a:lnTo>
                        <a:pt x="0" y="227460"/>
                      </a:lnTo>
                      <a:lnTo>
                        <a:pt x="2529" y="241226"/>
                      </a:lnTo>
                      <a:lnTo>
                        <a:pt x="11973" y="251407"/>
                      </a:lnTo>
                      <a:lnTo>
                        <a:pt x="4354" y="271351"/>
                      </a:lnTo>
                      <a:lnTo>
                        <a:pt x="8708" y="273881"/>
                      </a:lnTo>
                      <a:lnTo>
                        <a:pt x="22506" y="267734"/>
                      </a:lnTo>
                      <a:lnTo>
                        <a:pt x="27564" y="271351"/>
                      </a:lnTo>
                      <a:lnTo>
                        <a:pt x="21417" y="283325"/>
                      </a:lnTo>
                      <a:lnTo>
                        <a:pt x="29389" y="290944"/>
                      </a:lnTo>
                      <a:lnTo>
                        <a:pt x="31918" y="302917"/>
                      </a:lnTo>
                      <a:lnTo>
                        <a:pt x="31918" y="319245"/>
                      </a:lnTo>
                      <a:lnTo>
                        <a:pt x="35183" y="323598"/>
                      </a:lnTo>
                      <a:lnTo>
                        <a:pt x="41362" y="319245"/>
                      </a:lnTo>
                      <a:lnTo>
                        <a:pt x="43155" y="327216"/>
                      </a:lnTo>
                      <a:lnTo>
                        <a:pt x="50774" y="330482"/>
                      </a:lnTo>
                      <a:lnTo>
                        <a:pt x="47509" y="342455"/>
                      </a:lnTo>
                      <a:lnTo>
                        <a:pt x="55865" y="351162"/>
                      </a:lnTo>
                      <a:lnTo>
                        <a:pt x="50070" y="357341"/>
                      </a:lnTo>
                      <a:lnTo>
                        <a:pt x="44628" y="375461"/>
                      </a:lnTo>
                      <a:lnTo>
                        <a:pt x="39537" y="375461"/>
                      </a:lnTo>
                      <a:lnTo>
                        <a:pt x="73280" y="393229"/>
                      </a:lnTo>
                      <a:lnTo>
                        <a:pt x="117172" y="389964"/>
                      </a:lnTo>
                      <a:lnTo>
                        <a:pt x="118612" y="397583"/>
                      </a:lnTo>
                      <a:lnTo>
                        <a:pt x="110993" y="402673"/>
                      </a:lnTo>
                      <a:lnTo>
                        <a:pt x="100844" y="400144"/>
                      </a:lnTo>
                      <a:lnTo>
                        <a:pt x="97931" y="413174"/>
                      </a:lnTo>
                      <a:lnTo>
                        <a:pt x="122966" y="426972"/>
                      </a:lnTo>
                      <a:lnTo>
                        <a:pt x="136028" y="443299"/>
                      </a:lnTo>
                      <a:lnTo>
                        <a:pt x="141822" y="458890"/>
                      </a:lnTo>
                      <a:lnTo>
                        <a:pt x="130970" y="469775"/>
                      </a:lnTo>
                      <a:lnTo>
                        <a:pt x="136028" y="486102"/>
                      </a:lnTo>
                      <a:lnTo>
                        <a:pt x="122262" y="492985"/>
                      </a:lnTo>
                      <a:lnTo>
                        <a:pt x="110289" y="517284"/>
                      </a:lnTo>
                      <a:lnTo>
                        <a:pt x="109200" y="520549"/>
                      </a:lnTo>
                      <a:lnTo>
                        <a:pt x="117172" y="524199"/>
                      </a:lnTo>
                      <a:lnTo>
                        <a:pt x="133499" y="519108"/>
                      </a:lnTo>
                      <a:lnTo>
                        <a:pt x="141822" y="507871"/>
                      </a:lnTo>
                      <a:lnTo>
                        <a:pt x="151619" y="523110"/>
                      </a:lnTo>
                      <a:lnTo>
                        <a:pt x="179183" y="528553"/>
                      </a:lnTo>
                      <a:lnTo>
                        <a:pt x="183185" y="550674"/>
                      </a:lnTo>
                      <a:lnTo>
                        <a:pt x="192629" y="554292"/>
                      </a:lnTo>
                      <a:lnTo>
                        <a:pt x="200600" y="523110"/>
                      </a:lnTo>
                      <a:lnTo>
                        <a:pt x="196246" y="512225"/>
                      </a:lnTo>
                      <a:lnTo>
                        <a:pt x="204954" y="499900"/>
                      </a:lnTo>
                      <a:lnTo>
                        <a:pt x="207483" y="482100"/>
                      </a:lnTo>
                      <a:lnTo>
                        <a:pt x="228164" y="478483"/>
                      </a:lnTo>
                      <a:lnTo>
                        <a:pt x="244492" y="469038"/>
                      </a:lnTo>
                      <a:lnTo>
                        <a:pt x="247757" y="470863"/>
                      </a:lnTo>
                      <a:lnTo>
                        <a:pt x="280411" y="474129"/>
                      </a:lnTo>
                      <a:lnTo>
                        <a:pt x="313418" y="462155"/>
                      </a:lnTo>
                      <a:lnTo>
                        <a:pt x="305447" y="431326"/>
                      </a:lnTo>
                      <a:lnTo>
                        <a:pt x="322862" y="423354"/>
                      </a:lnTo>
                      <a:lnTo>
                        <a:pt x="325391" y="432062"/>
                      </a:lnTo>
                      <a:lnTo>
                        <a:pt x="339189" y="432767"/>
                      </a:lnTo>
                      <a:lnTo>
                        <a:pt x="344984" y="420793"/>
                      </a:lnTo>
                      <a:lnTo>
                        <a:pt x="358046" y="420089"/>
                      </a:lnTo>
                      <a:lnTo>
                        <a:pt x="352955" y="406291"/>
                      </a:lnTo>
                      <a:lnTo>
                        <a:pt x="346809" y="403762"/>
                      </a:lnTo>
                      <a:lnTo>
                        <a:pt x="349338" y="399408"/>
                      </a:lnTo>
                      <a:lnTo>
                        <a:pt x="369283" y="393229"/>
                      </a:lnTo>
                      <a:lnTo>
                        <a:pt x="373637" y="398671"/>
                      </a:lnTo>
                      <a:lnTo>
                        <a:pt x="385610" y="398671"/>
                      </a:lnTo>
                      <a:lnTo>
                        <a:pt x="389964" y="384905"/>
                      </a:lnTo>
                      <a:lnTo>
                        <a:pt x="398319" y="385610"/>
                      </a:lnTo>
                      <a:lnTo>
                        <a:pt x="405202" y="349338"/>
                      </a:lnTo>
                      <a:lnTo>
                        <a:pt x="390700" y="347897"/>
                      </a:lnTo>
                      <a:lnTo>
                        <a:pt x="409556" y="319245"/>
                      </a:lnTo>
                      <a:lnTo>
                        <a:pt x="406291" y="310889"/>
                      </a:lnTo>
                      <a:lnTo>
                        <a:pt x="409556" y="304006"/>
                      </a:lnTo>
                      <a:lnTo>
                        <a:pt x="395758" y="301445"/>
                      </a:lnTo>
                      <a:lnTo>
                        <a:pt x="395054" y="287679"/>
                      </a:lnTo>
                      <a:lnTo>
                        <a:pt x="386346" y="291680"/>
                      </a:lnTo>
                      <a:lnTo>
                        <a:pt x="379431" y="289119"/>
                      </a:lnTo>
                      <a:lnTo>
                        <a:pt x="378727" y="272088"/>
                      </a:lnTo>
                      <a:lnTo>
                        <a:pt x="371107" y="272088"/>
                      </a:lnTo>
                      <a:lnTo>
                        <a:pt x="366753" y="280796"/>
                      </a:lnTo>
                      <a:lnTo>
                        <a:pt x="364929" y="278234"/>
                      </a:lnTo>
                      <a:lnTo>
                        <a:pt x="363104" y="264468"/>
                      </a:lnTo>
                      <a:lnTo>
                        <a:pt x="351163" y="261555"/>
                      </a:lnTo>
                      <a:lnTo>
                        <a:pt x="365665" y="249582"/>
                      </a:lnTo>
                      <a:lnTo>
                        <a:pt x="371812" y="225635"/>
                      </a:lnTo>
                      <a:lnTo>
                        <a:pt x="339189" y="224547"/>
                      </a:lnTo>
                      <a:lnTo>
                        <a:pt x="327920" y="209308"/>
                      </a:lnTo>
                      <a:lnTo>
                        <a:pt x="331186" y="186834"/>
                      </a:lnTo>
                      <a:lnTo>
                        <a:pt x="340982" y="177390"/>
                      </a:lnTo>
                      <a:lnTo>
                        <a:pt x="349338" y="185009"/>
                      </a:lnTo>
                      <a:lnTo>
                        <a:pt x="349338" y="169771"/>
                      </a:lnTo>
                      <a:lnTo>
                        <a:pt x="349338" y="166153"/>
                      </a:lnTo>
                      <a:lnTo>
                        <a:pt x="339189" y="156709"/>
                      </a:lnTo>
                      <a:lnTo>
                        <a:pt x="326128" y="156005"/>
                      </a:lnTo>
                      <a:lnTo>
                        <a:pt x="317420" y="148001"/>
                      </a:lnTo>
                      <a:lnTo>
                        <a:pt x="313418" y="133499"/>
                      </a:lnTo>
                      <a:lnTo>
                        <a:pt x="313418" y="132762"/>
                      </a:lnTo>
                      <a:lnTo>
                        <a:pt x="305447" y="122262"/>
                      </a:lnTo>
                      <a:lnTo>
                        <a:pt x="296002" y="120437"/>
                      </a:lnTo>
                      <a:lnTo>
                        <a:pt x="297827" y="112113"/>
                      </a:lnTo>
                      <a:lnTo>
                        <a:pt x="283325" y="96490"/>
                      </a:lnTo>
                      <a:lnTo>
                        <a:pt x="276410" y="80163"/>
                      </a:lnTo>
                      <a:lnTo>
                        <a:pt x="269527" y="75105"/>
                      </a:lnTo>
                      <a:lnTo>
                        <a:pt x="257201" y="74017"/>
                      </a:lnTo>
                      <a:lnTo>
                        <a:pt x="240138" y="93961"/>
                      </a:lnTo>
                      <a:lnTo>
                        <a:pt x="239433" y="108464"/>
                      </a:lnTo>
                      <a:lnTo>
                        <a:pt x="232518" y="115379"/>
                      </a:lnTo>
                      <a:lnTo>
                        <a:pt x="224547" y="114642"/>
                      </a:lnTo>
                      <a:lnTo>
                        <a:pt x="196983" y="103405"/>
                      </a:lnTo>
                      <a:lnTo>
                        <a:pt x="183185" y="103405"/>
                      </a:lnTo>
                      <a:lnTo>
                        <a:pt x="172300" y="112818"/>
                      </a:lnTo>
                      <a:lnTo>
                        <a:pt x="149826" y="110288"/>
                      </a:lnTo>
                      <a:lnTo>
                        <a:pt x="141118" y="105198"/>
                      </a:lnTo>
                      <a:lnTo>
                        <a:pt x="142911" y="28653"/>
                      </a:lnTo>
                      <a:lnTo>
                        <a:pt x="142911" y="27564"/>
                      </a:lnTo>
                      <a:lnTo>
                        <a:pt x="142911" y="1088"/>
                      </a:lnTo>
                      <a:lnTo>
                        <a:pt x="97931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2AF4582C-E7F5-12C2-D7CC-4A402AA076DD}"/>
                    </a:ext>
                  </a:extLst>
                </p:cNvPr>
                <p:cNvSpPr/>
                <p:nvPr/>
              </p:nvSpPr>
              <p:spPr>
                <a:xfrm>
                  <a:off x="3762756" y="2151927"/>
                  <a:ext cx="425147" cy="442210"/>
                </a:xfrm>
                <a:custGeom>
                  <a:avLst/>
                  <a:gdLst>
                    <a:gd name="csX0" fmla="*/ 389579 w 425147"/>
                    <a:gd name="csY0" fmla="*/ 368930 h 442210"/>
                    <a:gd name="csX1" fmla="*/ 370019 w 425147"/>
                    <a:gd name="csY1" fmla="*/ 347545 h 442210"/>
                    <a:gd name="csX2" fmla="*/ 375077 w 425147"/>
                    <a:gd name="csY2" fmla="*/ 341718 h 442210"/>
                    <a:gd name="csX3" fmla="*/ 388875 w 425147"/>
                    <a:gd name="csY3" fmla="*/ 337397 h 442210"/>
                    <a:gd name="csX4" fmla="*/ 409556 w 425147"/>
                    <a:gd name="csY4" fmla="*/ 308712 h 442210"/>
                    <a:gd name="csX5" fmla="*/ 419705 w 425147"/>
                    <a:gd name="csY5" fmla="*/ 305446 h 442210"/>
                    <a:gd name="csX6" fmla="*/ 425147 w 425147"/>
                    <a:gd name="csY6" fmla="*/ 294210 h 442210"/>
                    <a:gd name="csX7" fmla="*/ 422234 w 425147"/>
                    <a:gd name="csY7" fmla="*/ 279707 h 442210"/>
                    <a:gd name="csX8" fmla="*/ 406995 w 425147"/>
                    <a:gd name="csY8" fmla="*/ 267734 h 442210"/>
                    <a:gd name="csX9" fmla="*/ 411349 w 425147"/>
                    <a:gd name="csY9" fmla="*/ 262291 h 442210"/>
                    <a:gd name="csX10" fmla="*/ 401937 w 425147"/>
                    <a:gd name="csY10" fmla="*/ 256497 h 442210"/>
                    <a:gd name="csX11" fmla="*/ 364929 w 425147"/>
                    <a:gd name="csY11" fmla="*/ 233255 h 442210"/>
                    <a:gd name="csX12" fmla="*/ 267350 w 425147"/>
                    <a:gd name="csY12" fmla="*/ 171243 h 442210"/>
                    <a:gd name="csX13" fmla="*/ 213278 w 425147"/>
                    <a:gd name="csY13" fmla="*/ 136060 h 442210"/>
                    <a:gd name="csX14" fmla="*/ 202777 w 425147"/>
                    <a:gd name="csY14" fmla="*/ 129881 h 442210"/>
                    <a:gd name="csX15" fmla="*/ 0 w 425147"/>
                    <a:gd name="csY15" fmla="*/ 0 h 442210"/>
                    <a:gd name="csX16" fmla="*/ 15239 w 425147"/>
                    <a:gd name="csY16" fmla="*/ 52631 h 442210"/>
                    <a:gd name="csX17" fmla="*/ 23210 w 425147"/>
                    <a:gd name="csY17" fmla="*/ 60219 h 442210"/>
                    <a:gd name="csX18" fmla="*/ 51511 w 425147"/>
                    <a:gd name="csY18" fmla="*/ 73280 h 442210"/>
                    <a:gd name="csX19" fmla="*/ 60923 w 425147"/>
                    <a:gd name="csY19" fmla="*/ 95434 h 442210"/>
                    <a:gd name="csX20" fmla="*/ 72896 w 425147"/>
                    <a:gd name="csY20" fmla="*/ 105935 h 442210"/>
                    <a:gd name="csX21" fmla="*/ 80899 w 425147"/>
                    <a:gd name="csY21" fmla="*/ 113554 h 442210"/>
                    <a:gd name="csX22" fmla="*/ 91048 w 425147"/>
                    <a:gd name="csY22" fmla="*/ 113554 h 442210"/>
                    <a:gd name="csX23" fmla="*/ 97931 w 425147"/>
                    <a:gd name="csY23" fmla="*/ 122998 h 442210"/>
                    <a:gd name="csX24" fmla="*/ 122966 w 425147"/>
                    <a:gd name="csY24" fmla="*/ 136060 h 442210"/>
                    <a:gd name="csX25" fmla="*/ 123702 w 425147"/>
                    <a:gd name="csY25" fmla="*/ 142943 h 442210"/>
                    <a:gd name="csX26" fmla="*/ 146176 w 425147"/>
                    <a:gd name="csY26" fmla="*/ 148033 h 442210"/>
                    <a:gd name="csX27" fmla="*/ 153796 w 425147"/>
                    <a:gd name="csY27" fmla="*/ 151299 h 442210"/>
                    <a:gd name="csX28" fmla="*/ 166857 w 425147"/>
                    <a:gd name="csY28" fmla="*/ 166889 h 442210"/>
                    <a:gd name="csX29" fmla="*/ 160711 w 425147"/>
                    <a:gd name="csY29" fmla="*/ 198808 h 442210"/>
                    <a:gd name="csX30" fmla="*/ 150530 w 425147"/>
                    <a:gd name="csY30" fmla="*/ 208956 h 442210"/>
                    <a:gd name="csX31" fmla="*/ 152355 w 425147"/>
                    <a:gd name="csY31" fmla="*/ 222018 h 442210"/>
                    <a:gd name="csX32" fmla="*/ 172652 w 425147"/>
                    <a:gd name="csY32" fmla="*/ 245228 h 442210"/>
                    <a:gd name="csX33" fmla="*/ 171948 w 425147"/>
                    <a:gd name="csY33" fmla="*/ 251407 h 442210"/>
                    <a:gd name="csX34" fmla="*/ 173740 w 425147"/>
                    <a:gd name="csY34" fmla="*/ 264821 h 442210"/>
                    <a:gd name="csX35" fmla="*/ 158150 w 425147"/>
                    <a:gd name="csY35" fmla="*/ 302917 h 442210"/>
                    <a:gd name="csX36" fmla="*/ 121877 w 425147"/>
                    <a:gd name="csY36" fmla="*/ 388907 h 442210"/>
                    <a:gd name="csX37" fmla="*/ 129849 w 425147"/>
                    <a:gd name="csY37" fmla="*/ 393965 h 442210"/>
                    <a:gd name="csX38" fmla="*/ 148737 w 425147"/>
                    <a:gd name="csY38" fmla="*/ 393261 h 442210"/>
                    <a:gd name="csX39" fmla="*/ 165769 w 425147"/>
                    <a:gd name="csY39" fmla="*/ 398319 h 442210"/>
                    <a:gd name="csX40" fmla="*/ 172652 w 425147"/>
                    <a:gd name="csY40" fmla="*/ 393965 h 442210"/>
                    <a:gd name="csX41" fmla="*/ 201337 w 425147"/>
                    <a:gd name="csY41" fmla="*/ 395790 h 442210"/>
                    <a:gd name="csX42" fmla="*/ 231430 w 425147"/>
                    <a:gd name="csY42" fmla="*/ 409556 h 442210"/>
                    <a:gd name="csX43" fmla="*/ 243403 w 425147"/>
                    <a:gd name="csY43" fmla="*/ 410293 h 442210"/>
                    <a:gd name="csX44" fmla="*/ 245932 w 425147"/>
                    <a:gd name="csY44" fmla="*/ 415735 h 442210"/>
                    <a:gd name="csX45" fmla="*/ 265909 w 425147"/>
                    <a:gd name="csY45" fmla="*/ 407027 h 442210"/>
                    <a:gd name="csX46" fmla="*/ 301093 w 425147"/>
                    <a:gd name="csY46" fmla="*/ 405939 h 442210"/>
                    <a:gd name="csX47" fmla="*/ 309800 w 425147"/>
                    <a:gd name="csY47" fmla="*/ 403410 h 442210"/>
                    <a:gd name="csX48" fmla="*/ 316683 w 425147"/>
                    <a:gd name="csY48" fmla="*/ 414647 h 442210"/>
                    <a:gd name="csX49" fmla="*/ 323566 w 425147"/>
                    <a:gd name="csY49" fmla="*/ 413910 h 442210"/>
                    <a:gd name="csX50" fmla="*/ 344984 w 425147"/>
                    <a:gd name="csY50" fmla="*/ 423354 h 442210"/>
                    <a:gd name="csX51" fmla="*/ 352603 w 425147"/>
                    <a:gd name="csY51" fmla="*/ 438945 h 442210"/>
                    <a:gd name="csX52" fmla="*/ 386314 w 425147"/>
                    <a:gd name="csY52" fmla="*/ 442211 h 442210"/>
                    <a:gd name="csX53" fmla="*/ 403378 w 425147"/>
                    <a:gd name="csY53" fmla="*/ 439682 h 442210"/>
                    <a:gd name="csX54" fmla="*/ 380167 w 425147"/>
                    <a:gd name="csY54" fmla="*/ 419000 h 442210"/>
                    <a:gd name="csX55" fmla="*/ 376902 w 425147"/>
                    <a:gd name="csY55" fmla="*/ 403410 h 442210"/>
                    <a:gd name="csX56" fmla="*/ 389579 w 425147"/>
                    <a:gd name="csY56" fmla="*/ 368930 h 44221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425147" h="442210">
                      <a:moveTo>
                        <a:pt x="389579" y="368930"/>
                      </a:moveTo>
                      <a:lnTo>
                        <a:pt x="370019" y="347545"/>
                      </a:lnTo>
                      <a:lnTo>
                        <a:pt x="375077" y="341718"/>
                      </a:lnTo>
                      <a:lnTo>
                        <a:pt x="388875" y="337397"/>
                      </a:lnTo>
                      <a:lnTo>
                        <a:pt x="409556" y="308712"/>
                      </a:lnTo>
                      <a:lnTo>
                        <a:pt x="419705" y="305446"/>
                      </a:lnTo>
                      <a:lnTo>
                        <a:pt x="425147" y="294210"/>
                      </a:lnTo>
                      <a:lnTo>
                        <a:pt x="422234" y="279707"/>
                      </a:lnTo>
                      <a:lnTo>
                        <a:pt x="406995" y="267734"/>
                      </a:lnTo>
                      <a:lnTo>
                        <a:pt x="411349" y="262291"/>
                      </a:lnTo>
                      <a:lnTo>
                        <a:pt x="401937" y="256497"/>
                      </a:lnTo>
                      <a:lnTo>
                        <a:pt x="364929" y="233255"/>
                      </a:lnTo>
                      <a:lnTo>
                        <a:pt x="267350" y="171243"/>
                      </a:lnTo>
                      <a:lnTo>
                        <a:pt x="213278" y="136060"/>
                      </a:lnTo>
                      <a:lnTo>
                        <a:pt x="202777" y="129881"/>
                      </a:lnTo>
                      <a:lnTo>
                        <a:pt x="0" y="0"/>
                      </a:lnTo>
                      <a:lnTo>
                        <a:pt x="15239" y="52631"/>
                      </a:lnTo>
                      <a:lnTo>
                        <a:pt x="23210" y="60219"/>
                      </a:lnTo>
                      <a:lnTo>
                        <a:pt x="51511" y="73280"/>
                      </a:lnTo>
                      <a:lnTo>
                        <a:pt x="60923" y="95434"/>
                      </a:lnTo>
                      <a:lnTo>
                        <a:pt x="72896" y="105935"/>
                      </a:lnTo>
                      <a:lnTo>
                        <a:pt x="80899" y="113554"/>
                      </a:lnTo>
                      <a:lnTo>
                        <a:pt x="91048" y="113554"/>
                      </a:lnTo>
                      <a:lnTo>
                        <a:pt x="97931" y="122998"/>
                      </a:lnTo>
                      <a:lnTo>
                        <a:pt x="122966" y="136060"/>
                      </a:lnTo>
                      <a:lnTo>
                        <a:pt x="123702" y="142943"/>
                      </a:lnTo>
                      <a:lnTo>
                        <a:pt x="146176" y="148033"/>
                      </a:lnTo>
                      <a:lnTo>
                        <a:pt x="153796" y="151299"/>
                      </a:lnTo>
                      <a:lnTo>
                        <a:pt x="166857" y="166889"/>
                      </a:lnTo>
                      <a:lnTo>
                        <a:pt x="160711" y="198808"/>
                      </a:lnTo>
                      <a:lnTo>
                        <a:pt x="150530" y="208956"/>
                      </a:lnTo>
                      <a:lnTo>
                        <a:pt x="152355" y="222018"/>
                      </a:lnTo>
                      <a:lnTo>
                        <a:pt x="172652" y="245228"/>
                      </a:lnTo>
                      <a:lnTo>
                        <a:pt x="171948" y="251407"/>
                      </a:lnTo>
                      <a:lnTo>
                        <a:pt x="173740" y="264821"/>
                      </a:lnTo>
                      <a:lnTo>
                        <a:pt x="158150" y="302917"/>
                      </a:lnTo>
                      <a:lnTo>
                        <a:pt x="121877" y="388907"/>
                      </a:lnTo>
                      <a:lnTo>
                        <a:pt x="129849" y="393965"/>
                      </a:lnTo>
                      <a:lnTo>
                        <a:pt x="148737" y="393261"/>
                      </a:lnTo>
                      <a:lnTo>
                        <a:pt x="165769" y="398319"/>
                      </a:lnTo>
                      <a:lnTo>
                        <a:pt x="172652" y="393965"/>
                      </a:lnTo>
                      <a:lnTo>
                        <a:pt x="201337" y="395790"/>
                      </a:lnTo>
                      <a:lnTo>
                        <a:pt x="231430" y="409556"/>
                      </a:lnTo>
                      <a:lnTo>
                        <a:pt x="243403" y="410293"/>
                      </a:lnTo>
                      <a:lnTo>
                        <a:pt x="245932" y="415735"/>
                      </a:lnTo>
                      <a:lnTo>
                        <a:pt x="265909" y="407027"/>
                      </a:lnTo>
                      <a:lnTo>
                        <a:pt x="301093" y="405939"/>
                      </a:lnTo>
                      <a:lnTo>
                        <a:pt x="309800" y="403410"/>
                      </a:lnTo>
                      <a:lnTo>
                        <a:pt x="316683" y="414647"/>
                      </a:lnTo>
                      <a:lnTo>
                        <a:pt x="323566" y="413910"/>
                      </a:lnTo>
                      <a:lnTo>
                        <a:pt x="344984" y="423354"/>
                      </a:lnTo>
                      <a:lnTo>
                        <a:pt x="352603" y="438945"/>
                      </a:lnTo>
                      <a:lnTo>
                        <a:pt x="386314" y="442211"/>
                      </a:lnTo>
                      <a:lnTo>
                        <a:pt x="403378" y="439682"/>
                      </a:lnTo>
                      <a:lnTo>
                        <a:pt x="380167" y="419000"/>
                      </a:lnTo>
                      <a:lnTo>
                        <a:pt x="376902" y="403410"/>
                      </a:lnTo>
                      <a:lnTo>
                        <a:pt x="389579" y="36893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9" name="Forma Livre: Forma 348">
                  <a:extLst>
                    <a:ext uri="{FF2B5EF4-FFF2-40B4-BE49-F238E27FC236}">
                      <a16:creationId xmlns:a16="http://schemas.microsoft.com/office/drawing/2014/main" id="{8B18806B-A486-6DE7-8DB8-FCBD2B6D94C7}"/>
                    </a:ext>
                  </a:extLst>
                </p:cNvPr>
                <p:cNvSpPr/>
                <p:nvPr/>
              </p:nvSpPr>
              <p:spPr>
                <a:xfrm>
                  <a:off x="3394914" y="2505619"/>
                  <a:ext cx="743655" cy="328656"/>
                </a:xfrm>
                <a:custGeom>
                  <a:avLst/>
                  <a:gdLst>
                    <a:gd name="csX0" fmla="*/ 51863 w 743655"/>
                    <a:gd name="csY0" fmla="*/ 0 h 328656"/>
                    <a:gd name="csX1" fmla="*/ 40626 w 743655"/>
                    <a:gd name="csY1" fmla="*/ 1825 h 328656"/>
                    <a:gd name="csX2" fmla="*/ 29389 w 743655"/>
                    <a:gd name="csY2" fmla="*/ 10181 h 328656"/>
                    <a:gd name="csX3" fmla="*/ 0 w 743655"/>
                    <a:gd name="csY3" fmla="*/ 143647 h 328656"/>
                    <a:gd name="csX4" fmla="*/ 13798 w 743655"/>
                    <a:gd name="csY4" fmla="*/ 140030 h 328656"/>
                    <a:gd name="csX5" fmla="*/ 17416 w 743655"/>
                    <a:gd name="csY5" fmla="*/ 157445 h 328656"/>
                    <a:gd name="csX6" fmla="*/ 34447 w 743655"/>
                    <a:gd name="csY6" fmla="*/ 169419 h 328656"/>
                    <a:gd name="csX7" fmla="*/ 46805 w 743655"/>
                    <a:gd name="csY7" fmla="*/ 166889 h 328656"/>
                    <a:gd name="csX8" fmla="*/ 57689 w 743655"/>
                    <a:gd name="csY8" fmla="*/ 170155 h 328656"/>
                    <a:gd name="csX9" fmla="*/ 75073 w 743655"/>
                    <a:gd name="csY9" fmla="*/ 153091 h 328656"/>
                    <a:gd name="csX10" fmla="*/ 90696 w 743655"/>
                    <a:gd name="csY10" fmla="*/ 152355 h 328656"/>
                    <a:gd name="csX11" fmla="*/ 130233 w 743655"/>
                    <a:gd name="csY11" fmla="*/ 183921 h 328656"/>
                    <a:gd name="csX12" fmla="*/ 137853 w 743655"/>
                    <a:gd name="csY12" fmla="*/ 178126 h 328656"/>
                    <a:gd name="csX13" fmla="*/ 155973 w 743655"/>
                    <a:gd name="csY13" fmla="*/ 178863 h 328656"/>
                    <a:gd name="csX14" fmla="*/ 172300 w 743655"/>
                    <a:gd name="csY14" fmla="*/ 171948 h 328656"/>
                    <a:gd name="csX15" fmla="*/ 192277 w 743655"/>
                    <a:gd name="csY15" fmla="*/ 174509 h 328656"/>
                    <a:gd name="csX16" fmla="*/ 221281 w 743655"/>
                    <a:gd name="csY16" fmla="*/ 200248 h 328656"/>
                    <a:gd name="csX17" fmla="*/ 236168 w 743655"/>
                    <a:gd name="csY17" fmla="*/ 233991 h 328656"/>
                    <a:gd name="csX18" fmla="*/ 238697 w 743655"/>
                    <a:gd name="csY18" fmla="*/ 251055 h 328656"/>
                    <a:gd name="csX19" fmla="*/ 256817 w 743655"/>
                    <a:gd name="csY19" fmla="*/ 263380 h 328656"/>
                    <a:gd name="csX20" fmla="*/ 253936 w 743655"/>
                    <a:gd name="csY20" fmla="*/ 276794 h 328656"/>
                    <a:gd name="csX21" fmla="*/ 271352 w 743655"/>
                    <a:gd name="csY21" fmla="*/ 296739 h 328656"/>
                    <a:gd name="csX22" fmla="*/ 277146 w 743655"/>
                    <a:gd name="csY22" fmla="*/ 313066 h 328656"/>
                    <a:gd name="csX23" fmla="*/ 286942 w 743655"/>
                    <a:gd name="csY23" fmla="*/ 313802 h 328656"/>
                    <a:gd name="csX24" fmla="*/ 304710 w 743655"/>
                    <a:gd name="csY24" fmla="*/ 327568 h 328656"/>
                    <a:gd name="csX25" fmla="*/ 318508 w 743655"/>
                    <a:gd name="csY25" fmla="*/ 328657 h 328656"/>
                    <a:gd name="csX26" fmla="*/ 329009 w 743655"/>
                    <a:gd name="csY26" fmla="*/ 328657 h 328656"/>
                    <a:gd name="csX27" fmla="*/ 349690 w 743655"/>
                    <a:gd name="csY27" fmla="*/ 328657 h 328656"/>
                    <a:gd name="csX28" fmla="*/ 372900 w 743655"/>
                    <a:gd name="csY28" fmla="*/ 322510 h 328656"/>
                    <a:gd name="csX29" fmla="*/ 395054 w 743655"/>
                    <a:gd name="csY29" fmla="*/ 314891 h 328656"/>
                    <a:gd name="csX30" fmla="*/ 416792 w 743655"/>
                    <a:gd name="csY30" fmla="*/ 298563 h 328656"/>
                    <a:gd name="csX31" fmla="*/ 430590 w 743655"/>
                    <a:gd name="csY31" fmla="*/ 296034 h 328656"/>
                    <a:gd name="csX32" fmla="*/ 451271 w 743655"/>
                    <a:gd name="csY32" fmla="*/ 300388 h 328656"/>
                    <a:gd name="csX33" fmla="*/ 479571 w 743655"/>
                    <a:gd name="csY33" fmla="*/ 314891 h 328656"/>
                    <a:gd name="csX34" fmla="*/ 498427 w 743655"/>
                    <a:gd name="csY34" fmla="*/ 318156 h 328656"/>
                    <a:gd name="csX35" fmla="*/ 528521 w 743655"/>
                    <a:gd name="csY35" fmla="*/ 316683 h 328656"/>
                    <a:gd name="csX36" fmla="*/ 536524 w 743655"/>
                    <a:gd name="csY36" fmla="*/ 316683 h 328656"/>
                    <a:gd name="csX37" fmla="*/ 544848 w 743655"/>
                    <a:gd name="csY37" fmla="*/ 315627 h 328656"/>
                    <a:gd name="csX38" fmla="*/ 555381 w 743655"/>
                    <a:gd name="csY38" fmla="*/ 308008 h 328656"/>
                    <a:gd name="csX39" fmla="*/ 582945 w 743655"/>
                    <a:gd name="csY39" fmla="*/ 286590 h 328656"/>
                    <a:gd name="csX40" fmla="*/ 602537 w 743655"/>
                    <a:gd name="csY40" fmla="*/ 263380 h 328656"/>
                    <a:gd name="csX41" fmla="*/ 622482 w 743655"/>
                    <a:gd name="csY41" fmla="*/ 261555 h 328656"/>
                    <a:gd name="csX42" fmla="*/ 642075 w 743655"/>
                    <a:gd name="csY42" fmla="*/ 247789 h 328656"/>
                    <a:gd name="csX43" fmla="*/ 659490 w 743655"/>
                    <a:gd name="csY43" fmla="*/ 245964 h 328656"/>
                    <a:gd name="csX44" fmla="*/ 675081 w 743655"/>
                    <a:gd name="csY44" fmla="*/ 252111 h 328656"/>
                    <a:gd name="csX45" fmla="*/ 694674 w 743655"/>
                    <a:gd name="csY45" fmla="*/ 252847 h 328656"/>
                    <a:gd name="csX46" fmla="*/ 709176 w 743655"/>
                    <a:gd name="csY46" fmla="*/ 248493 h 328656"/>
                    <a:gd name="csX47" fmla="*/ 728417 w 743655"/>
                    <a:gd name="csY47" fmla="*/ 238345 h 328656"/>
                    <a:gd name="csX48" fmla="*/ 743655 w 743655"/>
                    <a:gd name="csY48" fmla="*/ 220193 h 328656"/>
                    <a:gd name="csX49" fmla="*/ 742919 w 743655"/>
                    <a:gd name="csY49" fmla="*/ 210781 h 328656"/>
                    <a:gd name="csX50" fmla="*/ 738565 w 743655"/>
                    <a:gd name="csY50" fmla="*/ 192629 h 328656"/>
                    <a:gd name="csX51" fmla="*/ 737861 w 743655"/>
                    <a:gd name="csY51" fmla="*/ 191924 h 328656"/>
                    <a:gd name="csX52" fmla="*/ 735300 w 743655"/>
                    <a:gd name="csY52" fmla="*/ 181392 h 328656"/>
                    <a:gd name="csX53" fmla="*/ 717180 w 743655"/>
                    <a:gd name="csY53" fmla="*/ 132410 h 328656"/>
                    <a:gd name="csX54" fmla="*/ 717180 w 743655"/>
                    <a:gd name="csY54" fmla="*/ 102317 h 328656"/>
                    <a:gd name="csX55" fmla="*/ 726592 w 743655"/>
                    <a:gd name="csY55" fmla="*/ 89255 h 328656"/>
                    <a:gd name="csX56" fmla="*/ 720445 w 743655"/>
                    <a:gd name="csY56" fmla="*/ 85254 h 328656"/>
                    <a:gd name="csX57" fmla="*/ 712826 w 743655"/>
                    <a:gd name="csY57" fmla="*/ 69663 h 328656"/>
                    <a:gd name="csX58" fmla="*/ 691408 w 743655"/>
                    <a:gd name="csY58" fmla="*/ 60218 h 328656"/>
                    <a:gd name="csX59" fmla="*/ 684525 w 743655"/>
                    <a:gd name="csY59" fmla="*/ 60955 h 328656"/>
                    <a:gd name="csX60" fmla="*/ 677642 w 743655"/>
                    <a:gd name="csY60" fmla="*/ 49718 h 328656"/>
                    <a:gd name="csX61" fmla="*/ 668935 w 743655"/>
                    <a:gd name="csY61" fmla="*/ 52247 h 328656"/>
                    <a:gd name="csX62" fmla="*/ 633751 w 743655"/>
                    <a:gd name="csY62" fmla="*/ 53335 h 328656"/>
                    <a:gd name="csX63" fmla="*/ 613774 w 743655"/>
                    <a:gd name="csY63" fmla="*/ 62043 h 328656"/>
                    <a:gd name="csX64" fmla="*/ 611245 w 743655"/>
                    <a:gd name="csY64" fmla="*/ 56601 h 328656"/>
                    <a:gd name="csX65" fmla="*/ 599272 w 743655"/>
                    <a:gd name="csY65" fmla="*/ 55865 h 328656"/>
                    <a:gd name="csX66" fmla="*/ 569179 w 743655"/>
                    <a:gd name="csY66" fmla="*/ 42099 h 328656"/>
                    <a:gd name="csX67" fmla="*/ 540494 w 743655"/>
                    <a:gd name="csY67" fmla="*/ 40274 h 328656"/>
                    <a:gd name="csX68" fmla="*/ 533611 w 743655"/>
                    <a:gd name="csY68" fmla="*/ 44628 h 328656"/>
                    <a:gd name="csX69" fmla="*/ 516579 w 743655"/>
                    <a:gd name="csY69" fmla="*/ 39537 h 328656"/>
                    <a:gd name="csX70" fmla="*/ 497691 w 743655"/>
                    <a:gd name="csY70" fmla="*/ 40274 h 328656"/>
                    <a:gd name="csX71" fmla="*/ 489720 w 743655"/>
                    <a:gd name="csY71" fmla="*/ 35184 h 328656"/>
                    <a:gd name="csX72" fmla="*/ 486454 w 743655"/>
                    <a:gd name="csY72" fmla="*/ 37745 h 328656"/>
                    <a:gd name="csX73" fmla="*/ 465773 w 743655"/>
                    <a:gd name="csY73" fmla="*/ 50806 h 328656"/>
                    <a:gd name="csX74" fmla="*/ 453800 w 743655"/>
                    <a:gd name="csY74" fmla="*/ 50806 h 328656"/>
                    <a:gd name="csX75" fmla="*/ 435680 w 743655"/>
                    <a:gd name="csY75" fmla="*/ 60955 h 328656"/>
                    <a:gd name="csX76" fmla="*/ 428061 w 743655"/>
                    <a:gd name="csY76" fmla="*/ 58426 h 328656"/>
                    <a:gd name="csX77" fmla="*/ 424411 w 743655"/>
                    <a:gd name="csY77" fmla="*/ 62780 h 328656"/>
                    <a:gd name="csX78" fmla="*/ 400496 w 743655"/>
                    <a:gd name="csY78" fmla="*/ 65309 h 328656"/>
                    <a:gd name="csX79" fmla="*/ 387435 w 743655"/>
                    <a:gd name="csY79" fmla="*/ 56601 h 328656"/>
                    <a:gd name="csX80" fmla="*/ 377990 w 743655"/>
                    <a:gd name="csY80" fmla="*/ 58426 h 328656"/>
                    <a:gd name="csX81" fmla="*/ 366753 w 743655"/>
                    <a:gd name="csY81" fmla="*/ 67838 h 328656"/>
                    <a:gd name="csX82" fmla="*/ 367842 w 743655"/>
                    <a:gd name="csY82" fmla="*/ 81636 h 328656"/>
                    <a:gd name="csX83" fmla="*/ 363488 w 743655"/>
                    <a:gd name="csY83" fmla="*/ 87815 h 328656"/>
                    <a:gd name="csX84" fmla="*/ 341718 w 743655"/>
                    <a:gd name="csY84" fmla="*/ 83461 h 328656"/>
                    <a:gd name="csX85" fmla="*/ 330834 w 743655"/>
                    <a:gd name="csY85" fmla="*/ 95434 h 328656"/>
                    <a:gd name="csX86" fmla="*/ 310889 w 743655"/>
                    <a:gd name="csY86" fmla="*/ 91080 h 328656"/>
                    <a:gd name="csX87" fmla="*/ 294562 w 743655"/>
                    <a:gd name="csY87" fmla="*/ 79107 h 328656"/>
                    <a:gd name="csX88" fmla="*/ 271352 w 743655"/>
                    <a:gd name="csY88" fmla="*/ 85254 h 328656"/>
                    <a:gd name="csX89" fmla="*/ 252463 w 743655"/>
                    <a:gd name="csY89" fmla="*/ 82372 h 328656"/>
                    <a:gd name="csX90" fmla="*/ 213662 w 743655"/>
                    <a:gd name="csY90" fmla="*/ 65309 h 328656"/>
                    <a:gd name="csX91" fmla="*/ 206043 w 743655"/>
                    <a:gd name="csY91" fmla="*/ 47157 h 328656"/>
                    <a:gd name="csX92" fmla="*/ 202425 w 743655"/>
                    <a:gd name="csY92" fmla="*/ 42099 h 328656"/>
                    <a:gd name="csX93" fmla="*/ 181008 w 743655"/>
                    <a:gd name="csY93" fmla="*/ 41362 h 328656"/>
                    <a:gd name="csX94" fmla="*/ 172300 w 743655"/>
                    <a:gd name="csY94" fmla="*/ 33391 h 328656"/>
                    <a:gd name="csX95" fmla="*/ 144736 w 743655"/>
                    <a:gd name="csY95" fmla="*/ 34479 h 328656"/>
                    <a:gd name="csX96" fmla="*/ 132762 w 743655"/>
                    <a:gd name="csY96" fmla="*/ 11269 h 328656"/>
                    <a:gd name="csX97" fmla="*/ 96491 w 743655"/>
                    <a:gd name="csY97" fmla="*/ 11973 h 328656"/>
                    <a:gd name="csX98" fmla="*/ 76898 w 743655"/>
                    <a:gd name="csY98" fmla="*/ 4354 h 328656"/>
                    <a:gd name="csX99" fmla="*/ 68190 w 743655"/>
                    <a:gd name="csY99" fmla="*/ 8708 h 328656"/>
                    <a:gd name="csX100" fmla="*/ 51863 w 743655"/>
                    <a:gd name="csY100" fmla="*/ 0 h 3286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</a:cxnLst>
                  <a:rect l="l" t="t" r="r" b="b"/>
                  <a:pathLst>
                    <a:path w="743655" h="328656">
                      <a:moveTo>
                        <a:pt x="51863" y="0"/>
                      </a:moveTo>
                      <a:lnTo>
                        <a:pt x="40626" y="1825"/>
                      </a:lnTo>
                      <a:lnTo>
                        <a:pt x="29389" y="10181"/>
                      </a:lnTo>
                      <a:lnTo>
                        <a:pt x="0" y="143647"/>
                      </a:lnTo>
                      <a:lnTo>
                        <a:pt x="13798" y="140030"/>
                      </a:lnTo>
                      <a:lnTo>
                        <a:pt x="17416" y="157445"/>
                      </a:lnTo>
                      <a:lnTo>
                        <a:pt x="34447" y="169419"/>
                      </a:lnTo>
                      <a:lnTo>
                        <a:pt x="46805" y="166889"/>
                      </a:lnTo>
                      <a:lnTo>
                        <a:pt x="57689" y="170155"/>
                      </a:lnTo>
                      <a:lnTo>
                        <a:pt x="75073" y="153091"/>
                      </a:lnTo>
                      <a:lnTo>
                        <a:pt x="90696" y="152355"/>
                      </a:lnTo>
                      <a:lnTo>
                        <a:pt x="130233" y="183921"/>
                      </a:lnTo>
                      <a:lnTo>
                        <a:pt x="137853" y="178126"/>
                      </a:lnTo>
                      <a:lnTo>
                        <a:pt x="155973" y="178863"/>
                      </a:lnTo>
                      <a:lnTo>
                        <a:pt x="172300" y="171948"/>
                      </a:lnTo>
                      <a:lnTo>
                        <a:pt x="192277" y="174509"/>
                      </a:lnTo>
                      <a:lnTo>
                        <a:pt x="221281" y="200248"/>
                      </a:lnTo>
                      <a:lnTo>
                        <a:pt x="236168" y="233991"/>
                      </a:lnTo>
                      <a:lnTo>
                        <a:pt x="238697" y="251055"/>
                      </a:lnTo>
                      <a:lnTo>
                        <a:pt x="256817" y="263380"/>
                      </a:lnTo>
                      <a:lnTo>
                        <a:pt x="253936" y="276794"/>
                      </a:lnTo>
                      <a:lnTo>
                        <a:pt x="271352" y="296739"/>
                      </a:lnTo>
                      <a:lnTo>
                        <a:pt x="277146" y="313066"/>
                      </a:lnTo>
                      <a:lnTo>
                        <a:pt x="286942" y="313802"/>
                      </a:lnTo>
                      <a:lnTo>
                        <a:pt x="304710" y="327568"/>
                      </a:lnTo>
                      <a:lnTo>
                        <a:pt x="318508" y="328657"/>
                      </a:lnTo>
                      <a:lnTo>
                        <a:pt x="329009" y="328657"/>
                      </a:lnTo>
                      <a:lnTo>
                        <a:pt x="349690" y="328657"/>
                      </a:lnTo>
                      <a:lnTo>
                        <a:pt x="372900" y="322510"/>
                      </a:lnTo>
                      <a:lnTo>
                        <a:pt x="395054" y="314891"/>
                      </a:lnTo>
                      <a:lnTo>
                        <a:pt x="416792" y="298563"/>
                      </a:lnTo>
                      <a:lnTo>
                        <a:pt x="430590" y="296034"/>
                      </a:lnTo>
                      <a:lnTo>
                        <a:pt x="451271" y="300388"/>
                      </a:lnTo>
                      <a:lnTo>
                        <a:pt x="479571" y="314891"/>
                      </a:lnTo>
                      <a:lnTo>
                        <a:pt x="498427" y="318156"/>
                      </a:lnTo>
                      <a:lnTo>
                        <a:pt x="528521" y="316683"/>
                      </a:lnTo>
                      <a:lnTo>
                        <a:pt x="536524" y="316683"/>
                      </a:lnTo>
                      <a:lnTo>
                        <a:pt x="544848" y="315627"/>
                      </a:lnTo>
                      <a:lnTo>
                        <a:pt x="555381" y="308008"/>
                      </a:lnTo>
                      <a:lnTo>
                        <a:pt x="582945" y="286590"/>
                      </a:lnTo>
                      <a:lnTo>
                        <a:pt x="602537" y="263380"/>
                      </a:lnTo>
                      <a:lnTo>
                        <a:pt x="622482" y="261555"/>
                      </a:lnTo>
                      <a:lnTo>
                        <a:pt x="642075" y="247789"/>
                      </a:lnTo>
                      <a:lnTo>
                        <a:pt x="659490" y="245964"/>
                      </a:lnTo>
                      <a:lnTo>
                        <a:pt x="675081" y="252111"/>
                      </a:lnTo>
                      <a:lnTo>
                        <a:pt x="694674" y="252847"/>
                      </a:lnTo>
                      <a:lnTo>
                        <a:pt x="709176" y="248493"/>
                      </a:lnTo>
                      <a:lnTo>
                        <a:pt x="728417" y="238345"/>
                      </a:lnTo>
                      <a:lnTo>
                        <a:pt x="743655" y="220193"/>
                      </a:lnTo>
                      <a:lnTo>
                        <a:pt x="742919" y="210781"/>
                      </a:lnTo>
                      <a:lnTo>
                        <a:pt x="738565" y="192629"/>
                      </a:lnTo>
                      <a:lnTo>
                        <a:pt x="737861" y="191924"/>
                      </a:lnTo>
                      <a:lnTo>
                        <a:pt x="735300" y="181392"/>
                      </a:lnTo>
                      <a:lnTo>
                        <a:pt x="717180" y="132410"/>
                      </a:lnTo>
                      <a:lnTo>
                        <a:pt x="717180" y="102317"/>
                      </a:lnTo>
                      <a:lnTo>
                        <a:pt x="726592" y="89255"/>
                      </a:lnTo>
                      <a:lnTo>
                        <a:pt x="720445" y="85254"/>
                      </a:lnTo>
                      <a:lnTo>
                        <a:pt x="712826" y="69663"/>
                      </a:lnTo>
                      <a:lnTo>
                        <a:pt x="691408" y="60218"/>
                      </a:lnTo>
                      <a:lnTo>
                        <a:pt x="684525" y="60955"/>
                      </a:lnTo>
                      <a:lnTo>
                        <a:pt x="677642" y="49718"/>
                      </a:lnTo>
                      <a:lnTo>
                        <a:pt x="668935" y="52247"/>
                      </a:lnTo>
                      <a:lnTo>
                        <a:pt x="633751" y="53335"/>
                      </a:lnTo>
                      <a:lnTo>
                        <a:pt x="613774" y="62043"/>
                      </a:lnTo>
                      <a:lnTo>
                        <a:pt x="611245" y="56601"/>
                      </a:lnTo>
                      <a:lnTo>
                        <a:pt x="599272" y="55865"/>
                      </a:lnTo>
                      <a:lnTo>
                        <a:pt x="569179" y="42099"/>
                      </a:lnTo>
                      <a:lnTo>
                        <a:pt x="540494" y="40274"/>
                      </a:lnTo>
                      <a:lnTo>
                        <a:pt x="533611" y="44628"/>
                      </a:lnTo>
                      <a:lnTo>
                        <a:pt x="516579" y="39537"/>
                      </a:lnTo>
                      <a:lnTo>
                        <a:pt x="497691" y="40274"/>
                      </a:lnTo>
                      <a:lnTo>
                        <a:pt x="489720" y="35184"/>
                      </a:lnTo>
                      <a:lnTo>
                        <a:pt x="486454" y="37745"/>
                      </a:lnTo>
                      <a:lnTo>
                        <a:pt x="465773" y="50806"/>
                      </a:lnTo>
                      <a:lnTo>
                        <a:pt x="453800" y="50806"/>
                      </a:lnTo>
                      <a:lnTo>
                        <a:pt x="435680" y="60955"/>
                      </a:lnTo>
                      <a:lnTo>
                        <a:pt x="428061" y="58426"/>
                      </a:lnTo>
                      <a:lnTo>
                        <a:pt x="424411" y="62780"/>
                      </a:lnTo>
                      <a:lnTo>
                        <a:pt x="400496" y="65309"/>
                      </a:lnTo>
                      <a:lnTo>
                        <a:pt x="387435" y="56601"/>
                      </a:lnTo>
                      <a:lnTo>
                        <a:pt x="377990" y="58426"/>
                      </a:lnTo>
                      <a:lnTo>
                        <a:pt x="366753" y="67838"/>
                      </a:lnTo>
                      <a:lnTo>
                        <a:pt x="367842" y="81636"/>
                      </a:lnTo>
                      <a:lnTo>
                        <a:pt x="363488" y="87815"/>
                      </a:lnTo>
                      <a:lnTo>
                        <a:pt x="341718" y="83461"/>
                      </a:lnTo>
                      <a:lnTo>
                        <a:pt x="330834" y="95434"/>
                      </a:lnTo>
                      <a:lnTo>
                        <a:pt x="310889" y="91080"/>
                      </a:lnTo>
                      <a:lnTo>
                        <a:pt x="294562" y="79107"/>
                      </a:lnTo>
                      <a:lnTo>
                        <a:pt x="271352" y="85254"/>
                      </a:lnTo>
                      <a:lnTo>
                        <a:pt x="252463" y="82372"/>
                      </a:lnTo>
                      <a:lnTo>
                        <a:pt x="213662" y="65309"/>
                      </a:lnTo>
                      <a:lnTo>
                        <a:pt x="206043" y="47157"/>
                      </a:lnTo>
                      <a:lnTo>
                        <a:pt x="202425" y="42099"/>
                      </a:lnTo>
                      <a:lnTo>
                        <a:pt x="181008" y="41362"/>
                      </a:lnTo>
                      <a:lnTo>
                        <a:pt x="172300" y="33391"/>
                      </a:lnTo>
                      <a:lnTo>
                        <a:pt x="144736" y="34479"/>
                      </a:lnTo>
                      <a:lnTo>
                        <a:pt x="132762" y="11269"/>
                      </a:lnTo>
                      <a:lnTo>
                        <a:pt x="96491" y="11973"/>
                      </a:lnTo>
                      <a:lnTo>
                        <a:pt x="76898" y="4354"/>
                      </a:lnTo>
                      <a:lnTo>
                        <a:pt x="68190" y="8708"/>
                      </a:lnTo>
                      <a:lnTo>
                        <a:pt x="51863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0" name="Forma Livre: Forma 349">
                  <a:extLst>
                    <a:ext uri="{FF2B5EF4-FFF2-40B4-BE49-F238E27FC236}">
                      <a16:creationId xmlns:a16="http://schemas.microsoft.com/office/drawing/2014/main" id="{53655FCF-601C-4399-3C55-A2AC575C3748}"/>
                    </a:ext>
                  </a:extLst>
                </p:cNvPr>
                <p:cNvSpPr/>
                <p:nvPr/>
              </p:nvSpPr>
              <p:spPr>
                <a:xfrm>
                  <a:off x="3394914" y="2505619"/>
                  <a:ext cx="743655" cy="328656"/>
                </a:xfrm>
                <a:custGeom>
                  <a:avLst/>
                  <a:gdLst>
                    <a:gd name="csX0" fmla="*/ 51863 w 743655"/>
                    <a:gd name="csY0" fmla="*/ 0 h 328656"/>
                    <a:gd name="csX1" fmla="*/ 40626 w 743655"/>
                    <a:gd name="csY1" fmla="*/ 1825 h 328656"/>
                    <a:gd name="csX2" fmla="*/ 29389 w 743655"/>
                    <a:gd name="csY2" fmla="*/ 10181 h 328656"/>
                    <a:gd name="csX3" fmla="*/ 0 w 743655"/>
                    <a:gd name="csY3" fmla="*/ 143647 h 328656"/>
                    <a:gd name="csX4" fmla="*/ 13798 w 743655"/>
                    <a:gd name="csY4" fmla="*/ 140030 h 328656"/>
                    <a:gd name="csX5" fmla="*/ 17416 w 743655"/>
                    <a:gd name="csY5" fmla="*/ 157445 h 328656"/>
                    <a:gd name="csX6" fmla="*/ 34447 w 743655"/>
                    <a:gd name="csY6" fmla="*/ 169419 h 328656"/>
                    <a:gd name="csX7" fmla="*/ 46805 w 743655"/>
                    <a:gd name="csY7" fmla="*/ 166889 h 328656"/>
                    <a:gd name="csX8" fmla="*/ 57689 w 743655"/>
                    <a:gd name="csY8" fmla="*/ 170155 h 328656"/>
                    <a:gd name="csX9" fmla="*/ 75073 w 743655"/>
                    <a:gd name="csY9" fmla="*/ 153091 h 328656"/>
                    <a:gd name="csX10" fmla="*/ 90696 w 743655"/>
                    <a:gd name="csY10" fmla="*/ 152355 h 328656"/>
                    <a:gd name="csX11" fmla="*/ 130233 w 743655"/>
                    <a:gd name="csY11" fmla="*/ 183921 h 328656"/>
                    <a:gd name="csX12" fmla="*/ 137853 w 743655"/>
                    <a:gd name="csY12" fmla="*/ 178126 h 328656"/>
                    <a:gd name="csX13" fmla="*/ 155973 w 743655"/>
                    <a:gd name="csY13" fmla="*/ 178863 h 328656"/>
                    <a:gd name="csX14" fmla="*/ 172300 w 743655"/>
                    <a:gd name="csY14" fmla="*/ 171948 h 328656"/>
                    <a:gd name="csX15" fmla="*/ 192277 w 743655"/>
                    <a:gd name="csY15" fmla="*/ 174509 h 328656"/>
                    <a:gd name="csX16" fmla="*/ 221281 w 743655"/>
                    <a:gd name="csY16" fmla="*/ 200248 h 328656"/>
                    <a:gd name="csX17" fmla="*/ 236168 w 743655"/>
                    <a:gd name="csY17" fmla="*/ 233991 h 328656"/>
                    <a:gd name="csX18" fmla="*/ 238697 w 743655"/>
                    <a:gd name="csY18" fmla="*/ 251055 h 328656"/>
                    <a:gd name="csX19" fmla="*/ 256817 w 743655"/>
                    <a:gd name="csY19" fmla="*/ 263380 h 328656"/>
                    <a:gd name="csX20" fmla="*/ 253936 w 743655"/>
                    <a:gd name="csY20" fmla="*/ 276794 h 328656"/>
                    <a:gd name="csX21" fmla="*/ 271352 w 743655"/>
                    <a:gd name="csY21" fmla="*/ 296739 h 328656"/>
                    <a:gd name="csX22" fmla="*/ 277146 w 743655"/>
                    <a:gd name="csY22" fmla="*/ 313066 h 328656"/>
                    <a:gd name="csX23" fmla="*/ 286942 w 743655"/>
                    <a:gd name="csY23" fmla="*/ 313802 h 328656"/>
                    <a:gd name="csX24" fmla="*/ 304710 w 743655"/>
                    <a:gd name="csY24" fmla="*/ 327568 h 328656"/>
                    <a:gd name="csX25" fmla="*/ 318508 w 743655"/>
                    <a:gd name="csY25" fmla="*/ 328657 h 328656"/>
                    <a:gd name="csX26" fmla="*/ 329009 w 743655"/>
                    <a:gd name="csY26" fmla="*/ 328657 h 328656"/>
                    <a:gd name="csX27" fmla="*/ 349690 w 743655"/>
                    <a:gd name="csY27" fmla="*/ 328657 h 328656"/>
                    <a:gd name="csX28" fmla="*/ 372900 w 743655"/>
                    <a:gd name="csY28" fmla="*/ 322510 h 328656"/>
                    <a:gd name="csX29" fmla="*/ 395054 w 743655"/>
                    <a:gd name="csY29" fmla="*/ 314891 h 328656"/>
                    <a:gd name="csX30" fmla="*/ 416792 w 743655"/>
                    <a:gd name="csY30" fmla="*/ 298563 h 328656"/>
                    <a:gd name="csX31" fmla="*/ 430590 w 743655"/>
                    <a:gd name="csY31" fmla="*/ 296034 h 328656"/>
                    <a:gd name="csX32" fmla="*/ 451271 w 743655"/>
                    <a:gd name="csY32" fmla="*/ 300388 h 328656"/>
                    <a:gd name="csX33" fmla="*/ 479571 w 743655"/>
                    <a:gd name="csY33" fmla="*/ 314891 h 328656"/>
                    <a:gd name="csX34" fmla="*/ 498427 w 743655"/>
                    <a:gd name="csY34" fmla="*/ 318156 h 328656"/>
                    <a:gd name="csX35" fmla="*/ 528521 w 743655"/>
                    <a:gd name="csY35" fmla="*/ 316683 h 328656"/>
                    <a:gd name="csX36" fmla="*/ 536524 w 743655"/>
                    <a:gd name="csY36" fmla="*/ 316683 h 328656"/>
                    <a:gd name="csX37" fmla="*/ 544848 w 743655"/>
                    <a:gd name="csY37" fmla="*/ 315627 h 328656"/>
                    <a:gd name="csX38" fmla="*/ 555381 w 743655"/>
                    <a:gd name="csY38" fmla="*/ 308008 h 328656"/>
                    <a:gd name="csX39" fmla="*/ 582945 w 743655"/>
                    <a:gd name="csY39" fmla="*/ 286590 h 328656"/>
                    <a:gd name="csX40" fmla="*/ 602537 w 743655"/>
                    <a:gd name="csY40" fmla="*/ 263380 h 328656"/>
                    <a:gd name="csX41" fmla="*/ 622482 w 743655"/>
                    <a:gd name="csY41" fmla="*/ 261555 h 328656"/>
                    <a:gd name="csX42" fmla="*/ 642075 w 743655"/>
                    <a:gd name="csY42" fmla="*/ 247789 h 328656"/>
                    <a:gd name="csX43" fmla="*/ 659490 w 743655"/>
                    <a:gd name="csY43" fmla="*/ 245964 h 328656"/>
                    <a:gd name="csX44" fmla="*/ 675081 w 743655"/>
                    <a:gd name="csY44" fmla="*/ 252111 h 328656"/>
                    <a:gd name="csX45" fmla="*/ 694674 w 743655"/>
                    <a:gd name="csY45" fmla="*/ 252847 h 328656"/>
                    <a:gd name="csX46" fmla="*/ 709176 w 743655"/>
                    <a:gd name="csY46" fmla="*/ 248493 h 328656"/>
                    <a:gd name="csX47" fmla="*/ 728417 w 743655"/>
                    <a:gd name="csY47" fmla="*/ 238345 h 328656"/>
                    <a:gd name="csX48" fmla="*/ 743655 w 743655"/>
                    <a:gd name="csY48" fmla="*/ 220193 h 328656"/>
                    <a:gd name="csX49" fmla="*/ 742919 w 743655"/>
                    <a:gd name="csY49" fmla="*/ 210781 h 328656"/>
                    <a:gd name="csX50" fmla="*/ 738565 w 743655"/>
                    <a:gd name="csY50" fmla="*/ 192629 h 328656"/>
                    <a:gd name="csX51" fmla="*/ 737861 w 743655"/>
                    <a:gd name="csY51" fmla="*/ 191924 h 328656"/>
                    <a:gd name="csX52" fmla="*/ 735300 w 743655"/>
                    <a:gd name="csY52" fmla="*/ 181392 h 328656"/>
                    <a:gd name="csX53" fmla="*/ 717180 w 743655"/>
                    <a:gd name="csY53" fmla="*/ 132410 h 328656"/>
                    <a:gd name="csX54" fmla="*/ 717180 w 743655"/>
                    <a:gd name="csY54" fmla="*/ 102317 h 328656"/>
                    <a:gd name="csX55" fmla="*/ 726592 w 743655"/>
                    <a:gd name="csY55" fmla="*/ 89255 h 328656"/>
                    <a:gd name="csX56" fmla="*/ 720445 w 743655"/>
                    <a:gd name="csY56" fmla="*/ 85254 h 328656"/>
                    <a:gd name="csX57" fmla="*/ 712826 w 743655"/>
                    <a:gd name="csY57" fmla="*/ 69663 h 328656"/>
                    <a:gd name="csX58" fmla="*/ 691408 w 743655"/>
                    <a:gd name="csY58" fmla="*/ 60218 h 328656"/>
                    <a:gd name="csX59" fmla="*/ 684525 w 743655"/>
                    <a:gd name="csY59" fmla="*/ 60955 h 328656"/>
                    <a:gd name="csX60" fmla="*/ 677642 w 743655"/>
                    <a:gd name="csY60" fmla="*/ 49718 h 328656"/>
                    <a:gd name="csX61" fmla="*/ 668935 w 743655"/>
                    <a:gd name="csY61" fmla="*/ 52247 h 328656"/>
                    <a:gd name="csX62" fmla="*/ 633751 w 743655"/>
                    <a:gd name="csY62" fmla="*/ 53335 h 328656"/>
                    <a:gd name="csX63" fmla="*/ 613774 w 743655"/>
                    <a:gd name="csY63" fmla="*/ 62043 h 328656"/>
                    <a:gd name="csX64" fmla="*/ 611245 w 743655"/>
                    <a:gd name="csY64" fmla="*/ 56601 h 328656"/>
                    <a:gd name="csX65" fmla="*/ 599272 w 743655"/>
                    <a:gd name="csY65" fmla="*/ 55865 h 328656"/>
                    <a:gd name="csX66" fmla="*/ 569179 w 743655"/>
                    <a:gd name="csY66" fmla="*/ 42099 h 328656"/>
                    <a:gd name="csX67" fmla="*/ 540494 w 743655"/>
                    <a:gd name="csY67" fmla="*/ 40274 h 328656"/>
                    <a:gd name="csX68" fmla="*/ 533611 w 743655"/>
                    <a:gd name="csY68" fmla="*/ 44628 h 328656"/>
                    <a:gd name="csX69" fmla="*/ 516579 w 743655"/>
                    <a:gd name="csY69" fmla="*/ 39537 h 328656"/>
                    <a:gd name="csX70" fmla="*/ 497691 w 743655"/>
                    <a:gd name="csY70" fmla="*/ 40274 h 328656"/>
                    <a:gd name="csX71" fmla="*/ 489720 w 743655"/>
                    <a:gd name="csY71" fmla="*/ 35184 h 328656"/>
                    <a:gd name="csX72" fmla="*/ 486454 w 743655"/>
                    <a:gd name="csY72" fmla="*/ 37745 h 328656"/>
                    <a:gd name="csX73" fmla="*/ 465773 w 743655"/>
                    <a:gd name="csY73" fmla="*/ 50806 h 328656"/>
                    <a:gd name="csX74" fmla="*/ 453800 w 743655"/>
                    <a:gd name="csY74" fmla="*/ 50806 h 328656"/>
                    <a:gd name="csX75" fmla="*/ 435680 w 743655"/>
                    <a:gd name="csY75" fmla="*/ 60955 h 328656"/>
                    <a:gd name="csX76" fmla="*/ 428061 w 743655"/>
                    <a:gd name="csY76" fmla="*/ 58426 h 328656"/>
                    <a:gd name="csX77" fmla="*/ 424411 w 743655"/>
                    <a:gd name="csY77" fmla="*/ 62780 h 328656"/>
                    <a:gd name="csX78" fmla="*/ 400496 w 743655"/>
                    <a:gd name="csY78" fmla="*/ 65309 h 328656"/>
                    <a:gd name="csX79" fmla="*/ 387435 w 743655"/>
                    <a:gd name="csY79" fmla="*/ 56601 h 328656"/>
                    <a:gd name="csX80" fmla="*/ 377990 w 743655"/>
                    <a:gd name="csY80" fmla="*/ 58426 h 328656"/>
                    <a:gd name="csX81" fmla="*/ 366753 w 743655"/>
                    <a:gd name="csY81" fmla="*/ 67838 h 328656"/>
                    <a:gd name="csX82" fmla="*/ 367842 w 743655"/>
                    <a:gd name="csY82" fmla="*/ 81636 h 328656"/>
                    <a:gd name="csX83" fmla="*/ 363488 w 743655"/>
                    <a:gd name="csY83" fmla="*/ 87815 h 328656"/>
                    <a:gd name="csX84" fmla="*/ 341718 w 743655"/>
                    <a:gd name="csY84" fmla="*/ 83461 h 328656"/>
                    <a:gd name="csX85" fmla="*/ 330834 w 743655"/>
                    <a:gd name="csY85" fmla="*/ 95434 h 328656"/>
                    <a:gd name="csX86" fmla="*/ 310889 w 743655"/>
                    <a:gd name="csY86" fmla="*/ 91080 h 328656"/>
                    <a:gd name="csX87" fmla="*/ 294562 w 743655"/>
                    <a:gd name="csY87" fmla="*/ 79107 h 328656"/>
                    <a:gd name="csX88" fmla="*/ 271352 w 743655"/>
                    <a:gd name="csY88" fmla="*/ 85254 h 328656"/>
                    <a:gd name="csX89" fmla="*/ 252463 w 743655"/>
                    <a:gd name="csY89" fmla="*/ 82372 h 328656"/>
                    <a:gd name="csX90" fmla="*/ 213662 w 743655"/>
                    <a:gd name="csY90" fmla="*/ 65309 h 328656"/>
                    <a:gd name="csX91" fmla="*/ 206043 w 743655"/>
                    <a:gd name="csY91" fmla="*/ 47157 h 328656"/>
                    <a:gd name="csX92" fmla="*/ 202425 w 743655"/>
                    <a:gd name="csY92" fmla="*/ 42099 h 328656"/>
                    <a:gd name="csX93" fmla="*/ 181008 w 743655"/>
                    <a:gd name="csY93" fmla="*/ 41362 h 328656"/>
                    <a:gd name="csX94" fmla="*/ 172300 w 743655"/>
                    <a:gd name="csY94" fmla="*/ 33391 h 328656"/>
                    <a:gd name="csX95" fmla="*/ 144736 w 743655"/>
                    <a:gd name="csY95" fmla="*/ 34479 h 328656"/>
                    <a:gd name="csX96" fmla="*/ 132762 w 743655"/>
                    <a:gd name="csY96" fmla="*/ 11269 h 328656"/>
                    <a:gd name="csX97" fmla="*/ 96491 w 743655"/>
                    <a:gd name="csY97" fmla="*/ 11973 h 328656"/>
                    <a:gd name="csX98" fmla="*/ 76898 w 743655"/>
                    <a:gd name="csY98" fmla="*/ 4354 h 328656"/>
                    <a:gd name="csX99" fmla="*/ 68190 w 743655"/>
                    <a:gd name="csY99" fmla="*/ 8708 h 328656"/>
                    <a:gd name="csX100" fmla="*/ 51863 w 743655"/>
                    <a:gd name="csY100" fmla="*/ 0 h 3286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</a:cxnLst>
                  <a:rect l="l" t="t" r="r" b="b"/>
                  <a:pathLst>
                    <a:path w="743655" h="328656">
                      <a:moveTo>
                        <a:pt x="51863" y="0"/>
                      </a:moveTo>
                      <a:lnTo>
                        <a:pt x="40626" y="1825"/>
                      </a:lnTo>
                      <a:lnTo>
                        <a:pt x="29389" y="10181"/>
                      </a:lnTo>
                      <a:lnTo>
                        <a:pt x="0" y="143647"/>
                      </a:lnTo>
                      <a:lnTo>
                        <a:pt x="13798" y="140030"/>
                      </a:lnTo>
                      <a:lnTo>
                        <a:pt x="17416" y="157445"/>
                      </a:lnTo>
                      <a:lnTo>
                        <a:pt x="34447" y="169419"/>
                      </a:lnTo>
                      <a:lnTo>
                        <a:pt x="46805" y="166889"/>
                      </a:lnTo>
                      <a:lnTo>
                        <a:pt x="57689" y="170155"/>
                      </a:lnTo>
                      <a:lnTo>
                        <a:pt x="75073" y="153091"/>
                      </a:lnTo>
                      <a:lnTo>
                        <a:pt x="90696" y="152355"/>
                      </a:lnTo>
                      <a:lnTo>
                        <a:pt x="130233" y="183921"/>
                      </a:lnTo>
                      <a:lnTo>
                        <a:pt x="137853" y="178126"/>
                      </a:lnTo>
                      <a:lnTo>
                        <a:pt x="155973" y="178863"/>
                      </a:lnTo>
                      <a:lnTo>
                        <a:pt x="172300" y="171948"/>
                      </a:lnTo>
                      <a:lnTo>
                        <a:pt x="192277" y="174509"/>
                      </a:lnTo>
                      <a:lnTo>
                        <a:pt x="221281" y="200248"/>
                      </a:lnTo>
                      <a:lnTo>
                        <a:pt x="236168" y="233991"/>
                      </a:lnTo>
                      <a:lnTo>
                        <a:pt x="238697" y="251055"/>
                      </a:lnTo>
                      <a:lnTo>
                        <a:pt x="256817" y="263380"/>
                      </a:lnTo>
                      <a:lnTo>
                        <a:pt x="253936" y="276794"/>
                      </a:lnTo>
                      <a:lnTo>
                        <a:pt x="271352" y="296739"/>
                      </a:lnTo>
                      <a:lnTo>
                        <a:pt x="277146" y="313066"/>
                      </a:lnTo>
                      <a:lnTo>
                        <a:pt x="286942" y="313802"/>
                      </a:lnTo>
                      <a:lnTo>
                        <a:pt x="304710" y="327568"/>
                      </a:lnTo>
                      <a:lnTo>
                        <a:pt x="318508" y="328657"/>
                      </a:lnTo>
                      <a:lnTo>
                        <a:pt x="329009" y="328657"/>
                      </a:lnTo>
                      <a:lnTo>
                        <a:pt x="349690" y="328657"/>
                      </a:lnTo>
                      <a:lnTo>
                        <a:pt x="372900" y="322510"/>
                      </a:lnTo>
                      <a:lnTo>
                        <a:pt x="395054" y="314891"/>
                      </a:lnTo>
                      <a:lnTo>
                        <a:pt x="416792" y="298563"/>
                      </a:lnTo>
                      <a:lnTo>
                        <a:pt x="430590" y="296034"/>
                      </a:lnTo>
                      <a:lnTo>
                        <a:pt x="451271" y="300388"/>
                      </a:lnTo>
                      <a:lnTo>
                        <a:pt x="479571" y="314891"/>
                      </a:lnTo>
                      <a:lnTo>
                        <a:pt x="498427" y="318156"/>
                      </a:lnTo>
                      <a:lnTo>
                        <a:pt x="528521" y="316683"/>
                      </a:lnTo>
                      <a:lnTo>
                        <a:pt x="536524" y="316683"/>
                      </a:lnTo>
                      <a:lnTo>
                        <a:pt x="544848" y="315627"/>
                      </a:lnTo>
                      <a:lnTo>
                        <a:pt x="555381" y="308008"/>
                      </a:lnTo>
                      <a:lnTo>
                        <a:pt x="582945" y="286590"/>
                      </a:lnTo>
                      <a:lnTo>
                        <a:pt x="602537" y="263380"/>
                      </a:lnTo>
                      <a:lnTo>
                        <a:pt x="622482" y="261555"/>
                      </a:lnTo>
                      <a:lnTo>
                        <a:pt x="642075" y="247789"/>
                      </a:lnTo>
                      <a:lnTo>
                        <a:pt x="659490" y="245964"/>
                      </a:lnTo>
                      <a:lnTo>
                        <a:pt x="675081" y="252111"/>
                      </a:lnTo>
                      <a:lnTo>
                        <a:pt x="694674" y="252847"/>
                      </a:lnTo>
                      <a:lnTo>
                        <a:pt x="709176" y="248493"/>
                      </a:lnTo>
                      <a:lnTo>
                        <a:pt x="728417" y="238345"/>
                      </a:lnTo>
                      <a:lnTo>
                        <a:pt x="743655" y="220193"/>
                      </a:lnTo>
                      <a:lnTo>
                        <a:pt x="742919" y="210781"/>
                      </a:lnTo>
                      <a:lnTo>
                        <a:pt x="738565" y="192629"/>
                      </a:lnTo>
                      <a:lnTo>
                        <a:pt x="737861" y="191924"/>
                      </a:lnTo>
                      <a:lnTo>
                        <a:pt x="735300" y="181392"/>
                      </a:lnTo>
                      <a:lnTo>
                        <a:pt x="717180" y="132410"/>
                      </a:lnTo>
                      <a:lnTo>
                        <a:pt x="717180" y="102317"/>
                      </a:lnTo>
                      <a:lnTo>
                        <a:pt x="726592" y="89255"/>
                      </a:lnTo>
                      <a:lnTo>
                        <a:pt x="720445" y="85254"/>
                      </a:lnTo>
                      <a:lnTo>
                        <a:pt x="712826" y="69663"/>
                      </a:lnTo>
                      <a:lnTo>
                        <a:pt x="691408" y="60218"/>
                      </a:lnTo>
                      <a:lnTo>
                        <a:pt x="684525" y="60955"/>
                      </a:lnTo>
                      <a:lnTo>
                        <a:pt x="677642" y="49718"/>
                      </a:lnTo>
                      <a:lnTo>
                        <a:pt x="668935" y="52247"/>
                      </a:lnTo>
                      <a:lnTo>
                        <a:pt x="633751" y="53335"/>
                      </a:lnTo>
                      <a:lnTo>
                        <a:pt x="613774" y="62043"/>
                      </a:lnTo>
                      <a:lnTo>
                        <a:pt x="611245" y="56601"/>
                      </a:lnTo>
                      <a:lnTo>
                        <a:pt x="599272" y="55865"/>
                      </a:lnTo>
                      <a:lnTo>
                        <a:pt x="569179" y="42099"/>
                      </a:lnTo>
                      <a:lnTo>
                        <a:pt x="540494" y="40274"/>
                      </a:lnTo>
                      <a:lnTo>
                        <a:pt x="533611" y="44628"/>
                      </a:lnTo>
                      <a:lnTo>
                        <a:pt x="516579" y="39537"/>
                      </a:lnTo>
                      <a:lnTo>
                        <a:pt x="497691" y="40274"/>
                      </a:lnTo>
                      <a:lnTo>
                        <a:pt x="489720" y="35184"/>
                      </a:lnTo>
                      <a:lnTo>
                        <a:pt x="486454" y="37745"/>
                      </a:lnTo>
                      <a:lnTo>
                        <a:pt x="465773" y="50806"/>
                      </a:lnTo>
                      <a:lnTo>
                        <a:pt x="453800" y="50806"/>
                      </a:lnTo>
                      <a:lnTo>
                        <a:pt x="435680" y="60955"/>
                      </a:lnTo>
                      <a:lnTo>
                        <a:pt x="428061" y="58426"/>
                      </a:lnTo>
                      <a:lnTo>
                        <a:pt x="424411" y="62780"/>
                      </a:lnTo>
                      <a:lnTo>
                        <a:pt x="400496" y="65309"/>
                      </a:lnTo>
                      <a:lnTo>
                        <a:pt x="387435" y="56601"/>
                      </a:lnTo>
                      <a:lnTo>
                        <a:pt x="377990" y="58426"/>
                      </a:lnTo>
                      <a:lnTo>
                        <a:pt x="366753" y="67838"/>
                      </a:lnTo>
                      <a:lnTo>
                        <a:pt x="367842" y="81636"/>
                      </a:lnTo>
                      <a:lnTo>
                        <a:pt x="363488" y="87815"/>
                      </a:lnTo>
                      <a:lnTo>
                        <a:pt x="341718" y="83461"/>
                      </a:lnTo>
                      <a:lnTo>
                        <a:pt x="330834" y="95434"/>
                      </a:lnTo>
                      <a:lnTo>
                        <a:pt x="310889" y="91080"/>
                      </a:lnTo>
                      <a:lnTo>
                        <a:pt x="294562" y="79107"/>
                      </a:lnTo>
                      <a:lnTo>
                        <a:pt x="271352" y="85254"/>
                      </a:lnTo>
                      <a:lnTo>
                        <a:pt x="252463" y="82372"/>
                      </a:lnTo>
                      <a:lnTo>
                        <a:pt x="213662" y="65309"/>
                      </a:lnTo>
                      <a:lnTo>
                        <a:pt x="206043" y="47157"/>
                      </a:lnTo>
                      <a:lnTo>
                        <a:pt x="202425" y="42099"/>
                      </a:lnTo>
                      <a:lnTo>
                        <a:pt x="181008" y="41362"/>
                      </a:lnTo>
                      <a:lnTo>
                        <a:pt x="172300" y="33391"/>
                      </a:lnTo>
                      <a:lnTo>
                        <a:pt x="144736" y="34479"/>
                      </a:lnTo>
                      <a:lnTo>
                        <a:pt x="132762" y="11269"/>
                      </a:lnTo>
                      <a:lnTo>
                        <a:pt x="96491" y="11973"/>
                      </a:lnTo>
                      <a:lnTo>
                        <a:pt x="76898" y="4354"/>
                      </a:lnTo>
                      <a:lnTo>
                        <a:pt x="68190" y="8708"/>
                      </a:lnTo>
                      <a:lnTo>
                        <a:pt x="51863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1" name="Forma Livre: Forma 350">
                  <a:extLst>
                    <a:ext uri="{FF2B5EF4-FFF2-40B4-BE49-F238E27FC236}">
                      <a16:creationId xmlns:a16="http://schemas.microsoft.com/office/drawing/2014/main" id="{24CF23CC-D728-8722-C26A-74294B64E3EE}"/>
                    </a:ext>
                  </a:extLst>
                </p:cNvPr>
                <p:cNvSpPr/>
                <p:nvPr/>
              </p:nvSpPr>
              <p:spPr>
                <a:xfrm>
                  <a:off x="3394914" y="2505619"/>
                  <a:ext cx="743655" cy="328656"/>
                </a:xfrm>
                <a:custGeom>
                  <a:avLst/>
                  <a:gdLst>
                    <a:gd name="csX0" fmla="*/ 51863 w 743655"/>
                    <a:gd name="csY0" fmla="*/ 0 h 328656"/>
                    <a:gd name="csX1" fmla="*/ 40626 w 743655"/>
                    <a:gd name="csY1" fmla="*/ 1825 h 328656"/>
                    <a:gd name="csX2" fmla="*/ 29389 w 743655"/>
                    <a:gd name="csY2" fmla="*/ 10181 h 328656"/>
                    <a:gd name="csX3" fmla="*/ 0 w 743655"/>
                    <a:gd name="csY3" fmla="*/ 143647 h 328656"/>
                    <a:gd name="csX4" fmla="*/ 13798 w 743655"/>
                    <a:gd name="csY4" fmla="*/ 140030 h 328656"/>
                    <a:gd name="csX5" fmla="*/ 17416 w 743655"/>
                    <a:gd name="csY5" fmla="*/ 157445 h 328656"/>
                    <a:gd name="csX6" fmla="*/ 34447 w 743655"/>
                    <a:gd name="csY6" fmla="*/ 169419 h 328656"/>
                    <a:gd name="csX7" fmla="*/ 46805 w 743655"/>
                    <a:gd name="csY7" fmla="*/ 166889 h 328656"/>
                    <a:gd name="csX8" fmla="*/ 57689 w 743655"/>
                    <a:gd name="csY8" fmla="*/ 170155 h 328656"/>
                    <a:gd name="csX9" fmla="*/ 75073 w 743655"/>
                    <a:gd name="csY9" fmla="*/ 153091 h 328656"/>
                    <a:gd name="csX10" fmla="*/ 90696 w 743655"/>
                    <a:gd name="csY10" fmla="*/ 152355 h 328656"/>
                    <a:gd name="csX11" fmla="*/ 130233 w 743655"/>
                    <a:gd name="csY11" fmla="*/ 183921 h 328656"/>
                    <a:gd name="csX12" fmla="*/ 137853 w 743655"/>
                    <a:gd name="csY12" fmla="*/ 178126 h 328656"/>
                    <a:gd name="csX13" fmla="*/ 155973 w 743655"/>
                    <a:gd name="csY13" fmla="*/ 178863 h 328656"/>
                    <a:gd name="csX14" fmla="*/ 172300 w 743655"/>
                    <a:gd name="csY14" fmla="*/ 171948 h 328656"/>
                    <a:gd name="csX15" fmla="*/ 192277 w 743655"/>
                    <a:gd name="csY15" fmla="*/ 174509 h 328656"/>
                    <a:gd name="csX16" fmla="*/ 221281 w 743655"/>
                    <a:gd name="csY16" fmla="*/ 200248 h 328656"/>
                    <a:gd name="csX17" fmla="*/ 236168 w 743655"/>
                    <a:gd name="csY17" fmla="*/ 233991 h 328656"/>
                    <a:gd name="csX18" fmla="*/ 238697 w 743655"/>
                    <a:gd name="csY18" fmla="*/ 251055 h 328656"/>
                    <a:gd name="csX19" fmla="*/ 256817 w 743655"/>
                    <a:gd name="csY19" fmla="*/ 263380 h 328656"/>
                    <a:gd name="csX20" fmla="*/ 253936 w 743655"/>
                    <a:gd name="csY20" fmla="*/ 276794 h 328656"/>
                    <a:gd name="csX21" fmla="*/ 271352 w 743655"/>
                    <a:gd name="csY21" fmla="*/ 296739 h 328656"/>
                    <a:gd name="csX22" fmla="*/ 277146 w 743655"/>
                    <a:gd name="csY22" fmla="*/ 313066 h 328656"/>
                    <a:gd name="csX23" fmla="*/ 286942 w 743655"/>
                    <a:gd name="csY23" fmla="*/ 313802 h 328656"/>
                    <a:gd name="csX24" fmla="*/ 304710 w 743655"/>
                    <a:gd name="csY24" fmla="*/ 327568 h 328656"/>
                    <a:gd name="csX25" fmla="*/ 318508 w 743655"/>
                    <a:gd name="csY25" fmla="*/ 328657 h 328656"/>
                    <a:gd name="csX26" fmla="*/ 329009 w 743655"/>
                    <a:gd name="csY26" fmla="*/ 328657 h 328656"/>
                    <a:gd name="csX27" fmla="*/ 349690 w 743655"/>
                    <a:gd name="csY27" fmla="*/ 328657 h 328656"/>
                    <a:gd name="csX28" fmla="*/ 372900 w 743655"/>
                    <a:gd name="csY28" fmla="*/ 322510 h 328656"/>
                    <a:gd name="csX29" fmla="*/ 395054 w 743655"/>
                    <a:gd name="csY29" fmla="*/ 314891 h 328656"/>
                    <a:gd name="csX30" fmla="*/ 416792 w 743655"/>
                    <a:gd name="csY30" fmla="*/ 298563 h 328656"/>
                    <a:gd name="csX31" fmla="*/ 430590 w 743655"/>
                    <a:gd name="csY31" fmla="*/ 296034 h 328656"/>
                    <a:gd name="csX32" fmla="*/ 451271 w 743655"/>
                    <a:gd name="csY32" fmla="*/ 300388 h 328656"/>
                    <a:gd name="csX33" fmla="*/ 479571 w 743655"/>
                    <a:gd name="csY33" fmla="*/ 314891 h 328656"/>
                    <a:gd name="csX34" fmla="*/ 498427 w 743655"/>
                    <a:gd name="csY34" fmla="*/ 318156 h 328656"/>
                    <a:gd name="csX35" fmla="*/ 528521 w 743655"/>
                    <a:gd name="csY35" fmla="*/ 316683 h 328656"/>
                    <a:gd name="csX36" fmla="*/ 536524 w 743655"/>
                    <a:gd name="csY36" fmla="*/ 316683 h 328656"/>
                    <a:gd name="csX37" fmla="*/ 544848 w 743655"/>
                    <a:gd name="csY37" fmla="*/ 315627 h 328656"/>
                    <a:gd name="csX38" fmla="*/ 555381 w 743655"/>
                    <a:gd name="csY38" fmla="*/ 308008 h 328656"/>
                    <a:gd name="csX39" fmla="*/ 582945 w 743655"/>
                    <a:gd name="csY39" fmla="*/ 286590 h 328656"/>
                    <a:gd name="csX40" fmla="*/ 602537 w 743655"/>
                    <a:gd name="csY40" fmla="*/ 263380 h 328656"/>
                    <a:gd name="csX41" fmla="*/ 622482 w 743655"/>
                    <a:gd name="csY41" fmla="*/ 261555 h 328656"/>
                    <a:gd name="csX42" fmla="*/ 642075 w 743655"/>
                    <a:gd name="csY42" fmla="*/ 247789 h 328656"/>
                    <a:gd name="csX43" fmla="*/ 659490 w 743655"/>
                    <a:gd name="csY43" fmla="*/ 245964 h 328656"/>
                    <a:gd name="csX44" fmla="*/ 675081 w 743655"/>
                    <a:gd name="csY44" fmla="*/ 252111 h 328656"/>
                    <a:gd name="csX45" fmla="*/ 694674 w 743655"/>
                    <a:gd name="csY45" fmla="*/ 252847 h 328656"/>
                    <a:gd name="csX46" fmla="*/ 709176 w 743655"/>
                    <a:gd name="csY46" fmla="*/ 248493 h 328656"/>
                    <a:gd name="csX47" fmla="*/ 728417 w 743655"/>
                    <a:gd name="csY47" fmla="*/ 238345 h 328656"/>
                    <a:gd name="csX48" fmla="*/ 743655 w 743655"/>
                    <a:gd name="csY48" fmla="*/ 220193 h 328656"/>
                    <a:gd name="csX49" fmla="*/ 742919 w 743655"/>
                    <a:gd name="csY49" fmla="*/ 210781 h 328656"/>
                    <a:gd name="csX50" fmla="*/ 738565 w 743655"/>
                    <a:gd name="csY50" fmla="*/ 192629 h 328656"/>
                    <a:gd name="csX51" fmla="*/ 737861 w 743655"/>
                    <a:gd name="csY51" fmla="*/ 191924 h 328656"/>
                    <a:gd name="csX52" fmla="*/ 735300 w 743655"/>
                    <a:gd name="csY52" fmla="*/ 181392 h 328656"/>
                    <a:gd name="csX53" fmla="*/ 717180 w 743655"/>
                    <a:gd name="csY53" fmla="*/ 132410 h 328656"/>
                    <a:gd name="csX54" fmla="*/ 717180 w 743655"/>
                    <a:gd name="csY54" fmla="*/ 102317 h 328656"/>
                    <a:gd name="csX55" fmla="*/ 726592 w 743655"/>
                    <a:gd name="csY55" fmla="*/ 89255 h 328656"/>
                    <a:gd name="csX56" fmla="*/ 720445 w 743655"/>
                    <a:gd name="csY56" fmla="*/ 85254 h 328656"/>
                    <a:gd name="csX57" fmla="*/ 712826 w 743655"/>
                    <a:gd name="csY57" fmla="*/ 69663 h 328656"/>
                    <a:gd name="csX58" fmla="*/ 691408 w 743655"/>
                    <a:gd name="csY58" fmla="*/ 60218 h 328656"/>
                    <a:gd name="csX59" fmla="*/ 684525 w 743655"/>
                    <a:gd name="csY59" fmla="*/ 60955 h 328656"/>
                    <a:gd name="csX60" fmla="*/ 677642 w 743655"/>
                    <a:gd name="csY60" fmla="*/ 49718 h 328656"/>
                    <a:gd name="csX61" fmla="*/ 668935 w 743655"/>
                    <a:gd name="csY61" fmla="*/ 52247 h 328656"/>
                    <a:gd name="csX62" fmla="*/ 633751 w 743655"/>
                    <a:gd name="csY62" fmla="*/ 53335 h 328656"/>
                    <a:gd name="csX63" fmla="*/ 613774 w 743655"/>
                    <a:gd name="csY63" fmla="*/ 62043 h 328656"/>
                    <a:gd name="csX64" fmla="*/ 611245 w 743655"/>
                    <a:gd name="csY64" fmla="*/ 56601 h 328656"/>
                    <a:gd name="csX65" fmla="*/ 599272 w 743655"/>
                    <a:gd name="csY65" fmla="*/ 55865 h 328656"/>
                    <a:gd name="csX66" fmla="*/ 569179 w 743655"/>
                    <a:gd name="csY66" fmla="*/ 42099 h 328656"/>
                    <a:gd name="csX67" fmla="*/ 540494 w 743655"/>
                    <a:gd name="csY67" fmla="*/ 40274 h 328656"/>
                    <a:gd name="csX68" fmla="*/ 533611 w 743655"/>
                    <a:gd name="csY68" fmla="*/ 44628 h 328656"/>
                    <a:gd name="csX69" fmla="*/ 516579 w 743655"/>
                    <a:gd name="csY69" fmla="*/ 39537 h 328656"/>
                    <a:gd name="csX70" fmla="*/ 497691 w 743655"/>
                    <a:gd name="csY70" fmla="*/ 40274 h 328656"/>
                    <a:gd name="csX71" fmla="*/ 489720 w 743655"/>
                    <a:gd name="csY71" fmla="*/ 35184 h 328656"/>
                    <a:gd name="csX72" fmla="*/ 486454 w 743655"/>
                    <a:gd name="csY72" fmla="*/ 37745 h 328656"/>
                    <a:gd name="csX73" fmla="*/ 465773 w 743655"/>
                    <a:gd name="csY73" fmla="*/ 50806 h 328656"/>
                    <a:gd name="csX74" fmla="*/ 453800 w 743655"/>
                    <a:gd name="csY74" fmla="*/ 50806 h 328656"/>
                    <a:gd name="csX75" fmla="*/ 435680 w 743655"/>
                    <a:gd name="csY75" fmla="*/ 60955 h 328656"/>
                    <a:gd name="csX76" fmla="*/ 428061 w 743655"/>
                    <a:gd name="csY76" fmla="*/ 58426 h 328656"/>
                    <a:gd name="csX77" fmla="*/ 424411 w 743655"/>
                    <a:gd name="csY77" fmla="*/ 62780 h 328656"/>
                    <a:gd name="csX78" fmla="*/ 400496 w 743655"/>
                    <a:gd name="csY78" fmla="*/ 65309 h 328656"/>
                    <a:gd name="csX79" fmla="*/ 387435 w 743655"/>
                    <a:gd name="csY79" fmla="*/ 56601 h 328656"/>
                    <a:gd name="csX80" fmla="*/ 377990 w 743655"/>
                    <a:gd name="csY80" fmla="*/ 58426 h 328656"/>
                    <a:gd name="csX81" fmla="*/ 366753 w 743655"/>
                    <a:gd name="csY81" fmla="*/ 67838 h 328656"/>
                    <a:gd name="csX82" fmla="*/ 367842 w 743655"/>
                    <a:gd name="csY82" fmla="*/ 81636 h 328656"/>
                    <a:gd name="csX83" fmla="*/ 363488 w 743655"/>
                    <a:gd name="csY83" fmla="*/ 87815 h 328656"/>
                    <a:gd name="csX84" fmla="*/ 341718 w 743655"/>
                    <a:gd name="csY84" fmla="*/ 83461 h 328656"/>
                    <a:gd name="csX85" fmla="*/ 330834 w 743655"/>
                    <a:gd name="csY85" fmla="*/ 95434 h 328656"/>
                    <a:gd name="csX86" fmla="*/ 310889 w 743655"/>
                    <a:gd name="csY86" fmla="*/ 91080 h 328656"/>
                    <a:gd name="csX87" fmla="*/ 294562 w 743655"/>
                    <a:gd name="csY87" fmla="*/ 79107 h 328656"/>
                    <a:gd name="csX88" fmla="*/ 271352 w 743655"/>
                    <a:gd name="csY88" fmla="*/ 85254 h 328656"/>
                    <a:gd name="csX89" fmla="*/ 252463 w 743655"/>
                    <a:gd name="csY89" fmla="*/ 82372 h 328656"/>
                    <a:gd name="csX90" fmla="*/ 213662 w 743655"/>
                    <a:gd name="csY90" fmla="*/ 65309 h 328656"/>
                    <a:gd name="csX91" fmla="*/ 206043 w 743655"/>
                    <a:gd name="csY91" fmla="*/ 47157 h 328656"/>
                    <a:gd name="csX92" fmla="*/ 202425 w 743655"/>
                    <a:gd name="csY92" fmla="*/ 42099 h 328656"/>
                    <a:gd name="csX93" fmla="*/ 181008 w 743655"/>
                    <a:gd name="csY93" fmla="*/ 41362 h 328656"/>
                    <a:gd name="csX94" fmla="*/ 172300 w 743655"/>
                    <a:gd name="csY94" fmla="*/ 33391 h 328656"/>
                    <a:gd name="csX95" fmla="*/ 144736 w 743655"/>
                    <a:gd name="csY95" fmla="*/ 34479 h 328656"/>
                    <a:gd name="csX96" fmla="*/ 132762 w 743655"/>
                    <a:gd name="csY96" fmla="*/ 11269 h 328656"/>
                    <a:gd name="csX97" fmla="*/ 96491 w 743655"/>
                    <a:gd name="csY97" fmla="*/ 11973 h 328656"/>
                    <a:gd name="csX98" fmla="*/ 76898 w 743655"/>
                    <a:gd name="csY98" fmla="*/ 4354 h 328656"/>
                    <a:gd name="csX99" fmla="*/ 68190 w 743655"/>
                    <a:gd name="csY99" fmla="*/ 8708 h 328656"/>
                    <a:gd name="csX100" fmla="*/ 51863 w 743655"/>
                    <a:gd name="csY100" fmla="*/ 0 h 3286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</a:cxnLst>
                  <a:rect l="l" t="t" r="r" b="b"/>
                  <a:pathLst>
                    <a:path w="743655" h="328656">
                      <a:moveTo>
                        <a:pt x="51863" y="0"/>
                      </a:moveTo>
                      <a:lnTo>
                        <a:pt x="40626" y="1825"/>
                      </a:lnTo>
                      <a:lnTo>
                        <a:pt x="29389" y="10181"/>
                      </a:lnTo>
                      <a:lnTo>
                        <a:pt x="0" y="143647"/>
                      </a:lnTo>
                      <a:lnTo>
                        <a:pt x="13798" y="140030"/>
                      </a:lnTo>
                      <a:lnTo>
                        <a:pt x="17416" y="157445"/>
                      </a:lnTo>
                      <a:lnTo>
                        <a:pt x="34447" y="169419"/>
                      </a:lnTo>
                      <a:lnTo>
                        <a:pt x="46805" y="166889"/>
                      </a:lnTo>
                      <a:lnTo>
                        <a:pt x="57689" y="170155"/>
                      </a:lnTo>
                      <a:lnTo>
                        <a:pt x="75073" y="153091"/>
                      </a:lnTo>
                      <a:lnTo>
                        <a:pt x="90696" y="152355"/>
                      </a:lnTo>
                      <a:lnTo>
                        <a:pt x="130233" y="183921"/>
                      </a:lnTo>
                      <a:lnTo>
                        <a:pt x="137853" y="178126"/>
                      </a:lnTo>
                      <a:lnTo>
                        <a:pt x="155973" y="178863"/>
                      </a:lnTo>
                      <a:lnTo>
                        <a:pt x="172300" y="171948"/>
                      </a:lnTo>
                      <a:lnTo>
                        <a:pt x="192277" y="174509"/>
                      </a:lnTo>
                      <a:lnTo>
                        <a:pt x="221281" y="200248"/>
                      </a:lnTo>
                      <a:lnTo>
                        <a:pt x="236168" y="233991"/>
                      </a:lnTo>
                      <a:lnTo>
                        <a:pt x="238697" y="251055"/>
                      </a:lnTo>
                      <a:lnTo>
                        <a:pt x="256817" y="263380"/>
                      </a:lnTo>
                      <a:lnTo>
                        <a:pt x="253936" y="276794"/>
                      </a:lnTo>
                      <a:lnTo>
                        <a:pt x="271352" y="296739"/>
                      </a:lnTo>
                      <a:lnTo>
                        <a:pt x="277146" y="313066"/>
                      </a:lnTo>
                      <a:lnTo>
                        <a:pt x="286942" y="313802"/>
                      </a:lnTo>
                      <a:lnTo>
                        <a:pt x="304710" y="327568"/>
                      </a:lnTo>
                      <a:lnTo>
                        <a:pt x="318508" y="328657"/>
                      </a:lnTo>
                      <a:lnTo>
                        <a:pt x="329009" y="328657"/>
                      </a:lnTo>
                      <a:lnTo>
                        <a:pt x="349690" y="328657"/>
                      </a:lnTo>
                      <a:lnTo>
                        <a:pt x="372900" y="322510"/>
                      </a:lnTo>
                      <a:lnTo>
                        <a:pt x="395054" y="314891"/>
                      </a:lnTo>
                      <a:lnTo>
                        <a:pt x="416792" y="298563"/>
                      </a:lnTo>
                      <a:lnTo>
                        <a:pt x="430590" y="296034"/>
                      </a:lnTo>
                      <a:lnTo>
                        <a:pt x="451271" y="300388"/>
                      </a:lnTo>
                      <a:lnTo>
                        <a:pt x="479571" y="314891"/>
                      </a:lnTo>
                      <a:lnTo>
                        <a:pt x="498427" y="318156"/>
                      </a:lnTo>
                      <a:lnTo>
                        <a:pt x="528521" y="316683"/>
                      </a:lnTo>
                      <a:lnTo>
                        <a:pt x="536524" y="316683"/>
                      </a:lnTo>
                      <a:lnTo>
                        <a:pt x="544848" y="315627"/>
                      </a:lnTo>
                      <a:lnTo>
                        <a:pt x="555381" y="308008"/>
                      </a:lnTo>
                      <a:lnTo>
                        <a:pt x="582945" y="286590"/>
                      </a:lnTo>
                      <a:lnTo>
                        <a:pt x="602537" y="263380"/>
                      </a:lnTo>
                      <a:lnTo>
                        <a:pt x="622482" y="261555"/>
                      </a:lnTo>
                      <a:lnTo>
                        <a:pt x="642075" y="247789"/>
                      </a:lnTo>
                      <a:lnTo>
                        <a:pt x="659490" y="245964"/>
                      </a:lnTo>
                      <a:lnTo>
                        <a:pt x="675081" y="252111"/>
                      </a:lnTo>
                      <a:lnTo>
                        <a:pt x="694674" y="252847"/>
                      </a:lnTo>
                      <a:lnTo>
                        <a:pt x="709176" y="248493"/>
                      </a:lnTo>
                      <a:lnTo>
                        <a:pt x="728417" y="238345"/>
                      </a:lnTo>
                      <a:lnTo>
                        <a:pt x="743655" y="220193"/>
                      </a:lnTo>
                      <a:lnTo>
                        <a:pt x="742919" y="210781"/>
                      </a:lnTo>
                      <a:lnTo>
                        <a:pt x="738565" y="192629"/>
                      </a:lnTo>
                      <a:lnTo>
                        <a:pt x="737861" y="191924"/>
                      </a:lnTo>
                      <a:lnTo>
                        <a:pt x="735300" y="181392"/>
                      </a:lnTo>
                      <a:lnTo>
                        <a:pt x="717180" y="132410"/>
                      </a:lnTo>
                      <a:lnTo>
                        <a:pt x="717180" y="102317"/>
                      </a:lnTo>
                      <a:lnTo>
                        <a:pt x="726592" y="89255"/>
                      </a:lnTo>
                      <a:lnTo>
                        <a:pt x="720445" y="85254"/>
                      </a:lnTo>
                      <a:lnTo>
                        <a:pt x="712826" y="69663"/>
                      </a:lnTo>
                      <a:lnTo>
                        <a:pt x="691408" y="60218"/>
                      </a:lnTo>
                      <a:lnTo>
                        <a:pt x="684525" y="60955"/>
                      </a:lnTo>
                      <a:lnTo>
                        <a:pt x="677642" y="49718"/>
                      </a:lnTo>
                      <a:lnTo>
                        <a:pt x="668935" y="52247"/>
                      </a:lnTo>
                      <a:lnTo>
                        <a:pt x="633751" y="53335"/>
                      </a:lnTo>
                      <a:lnTo>
                        <a:pt x="613774" y="62043"/>
                      </a:lnTo>
                      <a:lnTo>
                        <a:pt x="611245" y="56601"/>
                      </a:lnTo>
                      <a:lnTo>
                        <a:pt x="599272" y="55865"/>
                      </a:lnTo>
                      <a:lnTo>
                        <a:pt x="569179" y="42099"/>
                      </a:lnTo>
                      <a:lnTo>
                        <a:pt x="540494" y="40274"/>
                      </a:lnTo>
                      <a:lnTo>
                        <a:pt x="533611" y="44628"/>
                      </a:lnTo>
                      <a:lnTo>
                        <a:pt x="516579" y="39537"/>
                      </a:lnTo>
                      <a:lnTo>
                        <a:pt x="497691" y="40274"/>
                      </a:lnTo>
                      <a:lnTo>
                        <a:pt x="489720" y="35184"/>
                      </a:lnTo>
                      <a:lnTo>
                        <a:pt x="486454" y="37745"/>
                      </a:lnTo>
                      <a:lnTo>
                        <a:pt x="465773" y="50806"/>
                      </a:lnTo>
                      <a:lnTo>
                        <a:pt x="453800" y="50806"/>
                      </a:lnTo>
                      <a:lnTo>
                        <a:pt x="435680" y="60955"/>
                      </a:lnTo>
                      <a:lnTo>
                        <a:pt x="428061" y="58426"/>
                      </a:lnTo>
                      <a:lnTo>
                        <a:pt x="424411" y="62780"/>
                      </a:lnTo>
                      <a:lnTo>
                        <a:pt x="400496" y="65309"/>
                      </a:lnTo>
                      <a:lnTo>
                        <a:pt x="387435" y="56601"/>
                      </a:lnTo>
                      <a:lnTo>
                        <a:pt x="377990" y="58426"/>
                      </a:lnTo>
                      <a:lnTo>
                        <a:pt x="366753" y="67838"/>
                      </a:lnTo>
                      <a:lnTo>
                        <a:pt x="367842" y="81636"/>
                      </a:lnTo>
                      <a:lnTo>
                        <a:pt x="363488" y="87815"/>
                      </a:lnTo>
                      <a:lnTo>
                        <a:pt x="341718" y="83461"/>
                      </a:lnTo>
                      <a:lnTo>
                        <a:pt x="330834" y="95434"/>
                      </a:lnTo>
                      <a:lnTo>
                        <a:pt x="310889" y="91080"/>
                      </a:lnTo>
                      <a:lnTo>
                        <a:pt x="294562" y="79107"/>
                      </a:lnTo>
                      <a:lnTo>
                        <a:pt x="271352" y="85254"/>
                      </a:lnTo>
                      <a:lnTo>
                        <a:pt x="252463" y="82372"/>
                      </a:lnTo>
                      <a:lnTo>
                        <a:pt x="213662" y="65309"/>
                      </a:lnTo>
                      <a:lnTo>
                        <a:pt x="206043" y="47157"/>
                      </a:lnTo>
                      <a:lnTo>
                        <a:pt x="202425" y="42099"/>
                      </a:lnTo>
                      <a:lnTo>
                        <a:pt x="181008" y="41362"/>
                      </a:lnTo>
                      <a:lnTo>
                        <a:pt x="172300" y="33391"/>
                      </a:lnTo>
                      <a:lnTo>
                        <a:pt x="144736" y="34479"/>
                      </a:lnTo>
                      <a:lnTo>
                        <a:pt x="132762" y="11269"/>
                      </a:lnTo>
                      <a:lnTo>
                        <a:pt x="96491" y="11973"/>
                      </a:lnTo>
                      <a:lnTo>
                        <a:pt x="76898" y="4354"/>
                      </a:lnTo>
                      <a:lnTo>
                        <a:pt x="68190" y="8708"/>
                      </a:lnTo>
                      <a:lnTo>
                        <a:pt x="51863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2" name="Forma Livre: Forma 351">
                  <a:extLst>
                    <a:ext uri="{FF2B5EF4-FFF2-40B4-BE49-F238E27FC236}">
                      <a16:creationId xmlns:a16="http://schemas.microsoft.com/office/drawing/2014/main" id="{68111946-B160-0189-BF43-3AAE9A689B92}"/>
                    </a:ext>
                  </a:extLst>
                </p:cNvPr>
                <p:cNvSpPr/>
                <p:nvPr/>
              </p:nvSpPr>
              <p:spPr>
                <a:xfrm>
                  <a:off x="3394914" y="2505619"/>
                  <a:ext cx="743655" cy="328656"/>
                </a:xfrm>
                <a:custGeom>
                  <a:avLst/>
                  <a:gdLst>
                    <a:gd name="csX0" fmla="*/ 51863 w 743655"/>
                    <a:gd name="csY0" fmla="*/ 0 h 328656"/>
                    <a:gd name="csX1" fmla="*/ 40626 w 743655"/>
                    <a:gd name="csY1" fmla="*/ 1825 h 328656"/>
                    <a:gd name="csX2" fmla="*/ 29389 w 743655"/>
                    <a:gd name="csY2" fmla="*/ 10181 h 328656"/>
                    <a:gd name="csX3" fmla="*/ 0 w 743655"/>
                    <a:gd name="csY3" fmla="*/ 143647 h 328656"/>
                    <a:gd name="csX4" fmla="*/ 13798 w 743655"/>
                    <a:gd name="csY4" fmla="*/ 140030 h 328656"/>
                    <a:gd name="csX5" fmla="*/ 17416 w 743655"/>
                    <a:gd name="csY5" fmla="*/ 157445 h 328656"/>
                    <a:gd name="csX6" fmla="*/ 34447 w 743655"/>
                    <a:gd name="csY6" fmla="*/ 169419 h 328656"/>
                    <a:gd name="csX7" fmla="*/ 46805 w 743655"/>
                    <a:gd name="csY7" fmla="*/ 166889 h 328656"/>
                    <a:gd name="csX8" fmla="*/ 57689 w 743655"/>
                    <a:gd name="csY8" fmla="*/ 170155 h 328656"/>
                    <a:gd name="csX9" fmla="*/ 75073 w 743655"/>
                    <a:gd name="csY9" fmla="*/ 153091 h 328656"/>
                    <a:gd name="csX10" fmla="*/ 90696 w 743655"/>
                    <a:gd name="csY10" fmla="*/ 152355 h 328656"/>
                    <a:gd name="csX11" fmla="*/ 130233 w 743655"/>
                    <a:gd name="csY11" fmla="*/ 183921 h 328656"/>
                    <a:gd name="csX12" fmla="*/ 137853 w 743655"/>
                    <a:gd name="csY12" fmla="*/ 178126 h 328656"/>
                    <a:gd name="csX13" fmla="*/ 155973 w 743655"/>
                    <a:gd name="csY13" fmla="*/ 178863 h 328656"/>
                    <a:gd name="csX14" fmla="*/ 172300 w 743655"/>
                    <a:gd name="csY14" fmla="*/ 171948 h 328656"/>
                    <a:gd name="csX15" fmla="*/ 192277 w 743655"/>
                    <a:gd name="csY15" fmla="*/ 174509 h 328656"/>
                    <a:gd name="csX16" fmla="*/ 221281 w 743655"/>
                    <a:gd name="csY16" fmla="*/ 200248 h 328656"/>
                    <a:gd name="csX17" fmla="*/ 236168 w 743655"/>
                    <a:gd name="csY17" fmla="*/ 233991 h 328656"/>
                    <a:gd name="csX18" fmla="*/ 238697 w 743655"/>
                    <a:gd name="csY18" fmla="*/ 251055 h 328656"/>
                    <a:gd name="csX19" fmla="*/ 256817 w 743655"/>
                    <a:gd name="csY19" fmla="*/ 263380 h 328656"/>
                    <a:gd name="csX20" fmla="*/ 253936 w 743655"/>
                    <a:gd name="csY20" fmla="*/ 276794 h 328656"/>
                    <a:gd name="csX21" fmla="*/ 271352 w 743655"/>
                    <a:gd name="csY21" fmla="*/ 296739 h 328656"/>
                    <a:gd name="csX22" fmla="*/ 277146 w 743655"/>
                    <a:gd name="csY22" fmla="*/ 313066 h 328656"/>
                    <a:gd name="csX23" fmla="*/ 286942 w 743655"/>
                    <a:gd name="csY23" fmla="*/ 313802 h 328656"/>
                    <a:gd name="csX24" fmla="*/ 304710 w 743655"/>
                    <a:gd name="csY24" fmla="*/ 327568 h 328656"/>
                    <a:gd name="csX25" fmla="*/ 318508 w 743655"/>
                    <a:gd name="csY25" fmla="*/ 328657 h 328656"/>
                    <a:gd name="csX26" fmla="*/ 329009 w 743655"/>
                    <a:gd name="csY26" fmla="*/ 328657 h 328656"/>
                    <a:gd name="csX27" fmla="*/ 349690 w 743655"/>
                    <a:gd name="csY27" fmla="*/ 328657 h 328656"/>
                    <a:gd name="csX28" fmla="*/ 372900 w 743655"/>
                    <a:gd name="csY28" fmla="*/ 322510 h 328656"/>
                    <a:gd name="csX29" fmla="*/ 395054 w 743655"/>
                    <a:gd name="csY29" fmla="*/ 314891 h 328656"/>
                    <a:gd name="csX30" fmla="*/ 416792 w 743655"/>
                    <a:gd name="csY30" fmla="*/ 298563 h 328656"/>
                    <a:gd name="csX31" fmla="*/ 430590 w 743655"/>
                    <a:gd name="csY31" fmla="*/ 296034 h 328656"/>
                    <a:gd name="csX32" fmla="*/ 451271 w 743655"/>
                    <a:gd name="csY32" fmla="*/ 300388 h 328656"/>
                    <a:gd name="csX33" fmla="*/ 479571 w 743655"/>
                    <a:gd name="csY33" fmla="*/ 314891 h 328656"/>
                    <a:gd name="csX34" fmla="*/ 498427 w 743655"/>
                    <a:gd name="csY34" fmla="*/ 318156 h 328656"/>
                    <a:gd name="csX35" fmla="*/ 528521 w 743655"/>
                    <a:gd name="csY35" fmla="*/ 316683 h 328656"/>
                    <a:gd name="csX36" fmla="*/ 536524 w 743655"/>
                    <a:gd name="csY36" fmla="*/ 316683 h 328656"/>
                    <a:gd name="csX37" fmla="*/ 544848 w 743655"/>
                    <a:gd name="csY37" fmla="*/ 315627 h 328656"/>
                    <a:gd name="csX38" fmla="*/ 555381 w 743655"/>
                    <a:gd name="csY38" fmla="*/ 308008 h 328656"/>
                    <a:gd name="csX39" fmla="*/ 582945 w 743655"/>
                    <a:gd name="csY39" fmla="*/ 286590 h 328656"/>
                    <a:gd name="csX40" fmla="*/ 602537 w 743655"/>
                    <a:gd name="csY40" fmla="*/ 263380 h 328656"/>
                    <a:gd name="csX41" fmla="*/ 622482 w 743655"/>
                    <a:gd name="csY41" fmla="*/ 261555 h 328656"/>
                    <a:gd name="csX42" fmla="*/ 642075 w 743655"/>
                    <a:gd name="csY42" fmla="*/ 247789 h 328656"/>
                    <a:gd name="csX43" fmla="*/ 659490 w 743655"/>
                    <a:gd name="csY43" fmla="*/ 245964 h 328656"/>
                    <a:gd name="csX44" fmla="*/ 675081 w 743655"/>
                    <a:gd name="csY44" fmla="*/ 252111 h 328656"/>
                    <a:gd name="csX45" fmla="*/ 694674 w 743655"/>
                    <a:gd name="csY45" fmla="*/ 252847 h 328656"/>
                    <a:gd name="csX46" fmla="*/ 709176 w 743655"/>
                    <a:gd name="csY46" fmla="*/ 248493 h 328656"/>
                    <a:gd name="csX47" fmla="*/ 728417 w 743655"/>
                    <a:gd name="csY47" fmla="*/ 238345 h 328656"/>
                    <a:gd name="csX48" fmla="*/ 743655 w 743655"/>
                    <a:gd name="csY48" fmla="*/ 220193 h 328656"/>
                    <a:gd name="csX49" fmla="*/ 742919 w 743655"/>
                    <a:gd name="csY49" fmla="*/ 210781 h 328656"/>
                    <a:gd name="csX50" fmla="*/ 738565 w 743655"/>
                    <a:gd name="csY50" fmla="*/ 192629 h 328656"/>
                    <a:gd name="csX51" fmla="*/ 737861 w 743655"/>
                    <a:gd name="csY51" fmla="*/ 191924 h 328656"/>
                    <a:gd name="csX52" fmla="*/ 735300 w 743655"/>
                    <a:gd name="csY52" fmla="*/ 181392 h 328656"/>
                    <a:gd name="csX53" fmla="*/ 717180 w 743655"/>
                    <a:gd name="csY53" fmla="*/ 132410 h 328656"/>
                    <a:gd name="csX54" fmla="*/ 717180 w 743655"/>
                    <a:gd name="csY54" fmla="*/ 102317 h 328656"/>
                    <a:gd name="csX55" fmla="*/ 726592 w 743655"/>
                    <a:gd name="csY55" fmla="*/ 89255 h 328656"/>
                    <a:gd name="csX56" fmla="*/ 720445 w 743655"/>
                    <a:gd name="csY56" fmla="*/ 85254 h 328656"/>
                    <a:gd name="csX57" fmla="*/ 712826 w 743655"/>
                    <a:gd name="csY57" fmla="*/ 69663 h 328656"/>
                    <a:gd name="csX58" fmla="*/ 691408 w 743655"/>
                    <a:gd name="csY58" fmla="*/ 60218 h 328656"/>
                    <a:gd name="csX59" fmla="*/ 684525 w 743655"/>
                    <a:gd name="csY59" fmla="*/ 60955 h 328656"/>
                    <a:gd name="csX60" fmla="*/ 677642 w 743655"/>
                    <a:gd name="csY60" fmla="*/ 49718 h 328656"/>
                    <a:gd name="csX61" fmla="*/ 668935 w 743655"/>
                    <a:gd name="csY61" fmla="*/ 52247 h 328656"/>
                    <a:gd name="csX62" fmla="*/ 633751 w 743655"/>
                    <a:gd name="csY62" fmla="*/ 53335 h 328656"/>
                    <a:gd name="csX63" fmla="*/ 613774 w 743655"/>
                    <a:gd name="csY63" fmla="*/ 62043 h 328656"/>
                    <a:gd name="csX64" fmla="*/ 611245 w 743655"/>
                    <a:gd name="csY64" fmla="*/ 56601 h 328656"/>
                    <a:gd name="csX65" fmla="*/ 599272 w 743655"/>
                    <a:gd name="csY65" fmla="*/ 55865 h 328656"/>
                    <a:gd name="csX66" fmla="*/ 569179 w 743655"/>
                    <a:gd name="csY66" fmla="*/ 42099 h 328656"/>
                    <a:gd name="csX67" fmla="*/ 540494 w 743655"/>
                    <a:gd name="csY67" fmla="*/ 40274 h 328656"/>
                    <a:gd name="csX68" fmla="*/ 533611 w 743655"/>
                    <a:gd name="csY68" fmla="*/ 44628 h 328656"/>
                    <a:gd name="csX69" fmla="*/ 516579 w 743655"/>
                    <a:gd name="csY69" fmla="*/ 39537 h 328656"/>
                    <a:gd name="csX70" fmla="*/ 497691 w 743655"/>
                    <a:gd name="csY70" fmla="*/ 40274 h 328656"/>
                    <a:gd name="csX71" fmla="*/ 489720 w 743655"/>
                    <a:gd name="csY71" fmla="*/ 35184 h 328656"/>
                    <a:gd name="csX72" fmla="*/ 486454 w 743655"/>
                    <a:gd name="csY72" fmla="*/ 37745 h 328656"/>
                    <a:gd name="csX73" fmla="*/ 465773 w 743655"/>
                    <a:gd name="csY73" fmla="*/ 50806 h 328656"/>
                    <a:gd name="csX74" fmla="*/ 453800 w 743655"/>
                    <a:gd name="csY74" fmla="*/ 50806 h 328656"/>
                    <a:gd name="csX75" fmla="*/ 435680 w 743655"/>
                    <a:gd name="csY75" fmla="*/ 60955 h 328656"/>
                    <a:gd name="csX76" fmla="*/ 428061 w 743655"/>
                    <a:gd name="csY76" fmla="*/ 58426 h 328656"/>
                    <a:gd name="csX77" fmla="*/ 424411 w 743655"/>
                    <a:gd name="csY77" fmla="*/ 62780 h 328656"/>
                    <a:gd name="csX78" fmla="*/ 400496 w 743655"/>
                    <a:gd name="csY78" fmla="*/ 65309 h 328656"/>
                    <a:gd name="csX79" fmla="*/ 387435 w 743655"/>
                    <a:gd name="csY79" fmla="*/ 56601 h 328656"/>
                    <a:gd name="csX80" fmla="*/ 377990 w 743655"/>
                    <a:gd name="csY80" fmla="*/ 58426 h 328656"/>
                    <a:gd name="csX81" fmla="*/ 366753 w 743655"/>
                    <a:gd name="csY81" fmla="*/ 67838 h 328656"/>
                    <a:gd name="csX82" fmla="*/ 367842 w 743655"/>
                    <a:gd name="csY82" fmla="*/ 81636 h 328656"/>
                    <a:gd name="csX83" fmla="*/ 363488 w 743655"/>
                    <a:gd name="csY83" fmla="*/ 87815 h 328656"/>
                    <a:gd name="csX84" fmla="*/ 341718 w 743655"/>
                    <a:gd name="csY84" fmla="*/ 83461 h 328656"/>
                    <a:gd name="csX85" fmla="*/ 330834 w 743655"/>
                    <a:gd name="csY85" fmla="*/ 95434 h 328656"/>
                    <a:gd name="csX86" fmla="*/ 310889 w 743655"/>
                    <a:gd name="csY86" fmla="*/ 91080 h 328656"/>
                    <a:gd name="csX87" fmla="*/ 294562 w 743655"/>
                    <a:gd name="csY87" fmla="*/ 79107 h 328656"/>
                    <a:gd name="csX88" fmla="*/ 271352 w 743655"/>
                    <a:gd name="csY88" fmla="*/ 85254 h 328656"/>
                    <a:gd name="csX89" fmla="*/ 252463 w 743655"/>
                    <a:gd name="csY89" fmla="*/ 82372 h 328656"/>
                    <a:gd name="csX90" fmla="*/ 213662 w 743655"/>
                    <a:gd name="csY90" fmla="*/ 65309 h 328656"/>
                    <a:gd name="csX91" fmla="*/ 206043 w 743655"/>
                    <a:gd name="csY91" fmla="*/ 47157 h 328656"/>
                    <a:gd name="csX92" fmla="*/ 202425 w 743655"/>
                    <a:gd name="csY92" fmla="*/ 42099 h 328656"/>
                    <a:gd name="csX93" fmla="*/ 181008 w 743655"/>
                    <a:gd name="csY93" fmla="*/ 41362 h 328656"/>
                    <a:gd name="csX94" fmla="*/ 172300 w 743655"/>
                    <a:gd name="csY94" fmla="*/ 33391 h 328656"/>
                    <a:gd name="csX95" fmla="*/ 144736 w 743655"/>
                    <a:gd name="csY95" fmla="*/ 34479 h 328656"/>
                    <a:gd name="csX96" fmla="*/ 132762 w 743655"/>
                    <a:gd name="csY96" fmla="*/ 11269 h 328656"/>
                    <a:gd name="csX97" fmla="*/ 96491 w 743655"/>
                    <a:gd name="csY97" fmla="*/ 11973 h 328656"/>
                    <a:gd name="csX98" fmla="*/ 76898 w 743655"/>
                    <a:gd name="csY98" fmla="*/ 4354 h 328656"/>
                    <a:gd name="csX99" fmla="*/ 68190 w 743655"/>
                    <a:gd name="csY99" fmla="*/ 8708 h 328656"/>
                    <a:gd name="csX100" fmla="*/ 51863 w 743655"/>
                    <a:gd name="csY100" fmla="*/ 0 h 3286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</a:cxnLst>
                  <a:rect l="l" t="t" r="r" b="b"/>
                  <a:pathLst>
                    <a:path w="743655" h="328656">
                      <a:moveTo>
                        <a:pt x="51863" y="0"/>
                      </a:moveTo>
                      <a:lnTo>
                        <a:pt x="40626" y="1825"/>
                      </a:lnTo>
                      <a:lnTo>
                        <a:pt x="29389" y="10181"/>
                      </a:lnTo>
                      <a:lnTo>
                        <a:pt x="0" y="143647"/>
                      </a:lnTo>
                      <a:lnTo>
                        <a:pt x="13798" y="140030"/>
                      </a:lnTo>
                      <a:lnTo>
                        <a:pt x="17416" y="157445"/>
                      </a:lnTo>
                      <a:lnTo>
                        <a:pt x="34447" y="169419"/>
                      </a:lnTo>
                      <a:lnTo>
                        <a:pt x="46805" y="166889"/>
                      </a:lnTo>
                      <a:lnTo>
                        <a:pt x="57689" y="170155"/>
                      </a:lnTo>
                      <a:lnTo>
                        <a:pt x="75073" y="153091"/>
                      </a:lnTo>
                      <a:lnTo>
                        <a:pt x="90696" y="152355"/>
                      </a:lnTo>
                      <a:lnTo>
                        <a:pt x="130233" y="183921"/>
                      </a:lnTo>
                      <a:lnTo>
                        <a:pt x="137853" y="178126"/>
                      </a:lnTo>
                      <a:lnTo>
                        <a:pt x="155973" y="178863"/>
                      </a:lnTo>
                      <a:lnTo>
                        <a:pt x="172300" y="171948"/>
                      </a:lnTo>
                      <a:lnTo>
                        <a:pt x="192277" y="174509"/>
                      </a:lnTo>
                      <a:lnTo>
                        <a:pt x="221281" y="200248"/>
                      </a:lnTo>
                      <a:lnTo>
                        <a:pt x="236168" y="233991"/>
                      </a:lnTo>
                      <a:lnTo>
                        <a:pt x="238697" y="251055"/>
                      </a:lnTo>
                      <a:lnTo>
                        <a:pt x="256817" y="263380"/>
                      </a:lnTo>
                      <a:lnTo>
                        <a:pt x="253936" y="276794"/>
                      </a:lnTo>
                      <a:lnTo>
                        <a:pt x="271352" y="296739"/>
                      </a:lnTo>
                      <a:lnTo>
                        <a:pt x="277146" y="313066"/>
                      </a:lnTo>
                      <a:lnTo>
                        <a:pt x="286942" y="313802"/>
                      </a:lnTo>
                      <a:lnTo>
                        <a:pt x="304710" y="327568"/>
                      </a:lnTo>
                      <a:lnTo>
                        <a:pt x="318508" y="328657"/>
                      </a:lnTo>
                      <a:lnTo>
                        <a:pt x="329009" y="328657"/>
                      </a:lnTo>
                      <a:lnTo>
                        <a:pt x="349690" y="328657"/>
                      </a:lnTo>
                      <a:lnTo>
                        <a:pt x="372900" y="322510"/>
                      </a:lnTo>
                      <a:lnTo>
                        <a:pt x="395054" y="314891"/>
                      </a:lnTo>
                      <a:lnTo>
                        <a:pt x="416792" y="298563"/>
                      </a:lnTo>
                      <a:lnTo>
                        <a:pt x="430590" y="296034"/>
                      </a:lnTo>
                      <a:lnTo>
                        <a:pt x="451271" y="300388"/>
                      </a:lnTo>
                      <a:lnTo>
                        <a:pt x="479571" y="314891"/>
                      </a:lnTo>
                      <a:lnTo>
                        <a:pt x="498427" y="318156"/>
                      </a:lnTo>
                      <a:lnTo>
                        <a:pt x="528521" y="316683"/>
                      </a:lnTo>
                      <a:lnTo>
                        <a:pt x="536524" y="316683"/>
                      </a:lnTo>
                      <a:lnTo>
                        <a:pt x="544848" y="315627"/>
                      </a:lnTo>
                      <a:lnTo>
                        <a:pt x="555381" y="308008"/>
                      </a:lnTo>
                      <a:lnTo>
                        <a:pt x="582945" y="286590"/>
                      </a:lnTo>
                      <a:lnTo>
                        <a:pt x="602537" y="263380"/>
                      </a:lnTo>
                      <a:lnTo>
                        <a:pt x="622482" y="261555"/>
                      </a:lnTo>
                      <a:lnTo>
                        <a:pt x="642075" y="247789"/>
                      </a:lnTo>
                      <a:lnTo>
                        <a:pt x="659490" y="245964"/>
                      </a:lnTo>
                      <a:lnTo>
                        <a:pt x="675081" y="252111"/>
                      </a:lnTo>
                      <a:lnTo>
                        <a:pt x="694674" y="252847"/>
                      </a:lnTo>
                      <a:lnTo>
                        <a:pt x="709176" y="248493"/>
                      </a:lnTo>
                      <a:lnTo>
                        <a:pt x="728417" y="238345"/>
                      </a:lnTo>
                      <a:lnTo>
                        <a:pt x="743655" y="220193"/>
                      </a:lnTo>
                      <a:lnTo>
                        <a:pt x="742919" y="210781"/>
                      </a:lnTo>
                      <a:lnTo>
                        <a:pt x="738565" y="192629"/>
                      </a:lnTo>
                      <a:lnTo>
                        <a:pt x="737861" y="191924"/>
                      </a:lnTo>
                      <a:lnTo>
                        <a:pt x="735300" y="181392"/>
                      </a:lnTo>
                      <a:lnTo>
                        <a:pt x="717180" y="132410"/>
                      </a:lnTo>
                      <a:lnTo>
                        <a:pt x="717180" y="102317"/>
                      </a:lnTo>
                      <a:lnTo>
                        <a:pt x="726592" y="89255"/>
                      </a:lnTo>
                      <a:lnTo>
                        <a:pt x="720445" y="85254"/>
                      </a:lnTo>
                      <a:lnTo>
                        <a:pt x="712826" y="69663"/>
                      </a:lnTo>
                      <a:lnTo>
                        <a:pt x="691408" y="60218"/>
                      </a:lnTo>
                      <a:lnTo>
                        <a:pt x="684525" y="60955"/>
                      </a:lnTo>
                      <a:lnTo>
                        <a:pt x="677642" y="49718"/>
                      </a:lnTo>
                      <a:lnTo>
                        <a:pt x="668935" y="52247"/>
                      </a:lnTo>
                      <a:lnTo>
                        <a:pt x="633751" y="53335"/>
                      </a:lnTo>
                      <a:lnTo>
                        <a:pt x="613774" y="62043"/>
                      </a:lnTo>
                      <a:lnTo>
                        <a:pt x="611245" y="56601"/>
                      </a:lnTo>
                      <a:lnTo>
                        <a:pt x="599272" y="55865"/>
                      </a:lnTo>
                      <a:lnTo>
                        <a:pt x="569179" y="42099"/>
                      </a:lnTo>
                      <a:lnTo>
                        <a:pt x="540494" y="40274"/>
                      </a:lnTo>
                      <a:lnTo>
                        <a:pt x="533611" y="44628"/>
                      </a:lnTo>
                      <a:lnTo>
                        <a:pt x="516579" y="39537"/>
                      </a:lnTo>
                      <a:lnTo>
                        <a:pt x="497691" y="40274"/>
                      </a:lnTo>
                      <a:lnTo>
                        <a:pt x="489720" y="35184"/>
                      </a:lnTo>
                      <a:lnTo>
                        <a:pt x="486454" y="37745"/>
                      </a:lnTo>
                      <a:lnTo>
                        <a:pt x="465773" y="50806"/>
                      </a:lnTo>
                      <a:lnTo>
                        <a:pt x="453800" y="50806"/>
                      </a:lnTo>
                      <a:lnTo>
                        <a:pt x="435680" y="60955"/>
                      </a:lnTo>
                      <a:lnTo>
                        <a:pt x="428061" y="58426"/>
                      </a:lnTo>
                      <a:lnTo>
                        <a:pt x="424411" y="62780"/>
                      </a:lnTo>
                      <a:lnTo>
                        <a:pt x="400496" y="65309"/>
                      </a:lnTo>
                      <a:lnTo>
                        <a:pt x="387435" y="56601"/>
                      </a:lnTo>
                      <a:lnTo>
                        <a:pt x="377990" y="58426"/>
                      </a:lnTo>
                      <a:lnTo>
                        <a:pt x="366753" y="67838"/>
                      </a:lnTo>
                      <a:lnTo>
                        <a:pt x="367842" y="81636"/>
                      </a:lnTo>
                      <a:lnTo>
                        <a:pt x="363488" y="87815"/>
                      </a:lnTo>
                      <a:lnTo>
                        <a:pt x="341718" y="83461"/>
                      </a:lnTo>
                      <a:lnTo>
                        <a:pt x="330834" y="95434"/>
                      </a:lnTo>
                      <a:lnTo>
                        <a:pt x="310889" y="91080"/>
                      </a:lnTo>
                      <a:lnTo>
                        <a:pt x="294562" y="79107"/>
                      </a:lnTo>
                      <a:lnTo>
                        <a:pt x="271352" y="85254"/>
                      </a:lnTo>
                      <a:lnTo>
                        <a:pt x="252463" y="82372"/>
                      </a:lnTo>
                      <a:lnTo>
                        <a:pt x="213662" y="65309"/>
                      </a:lnTo>
                      <a:lnTo>
                        <a:pt x="206043" y="47157"/>
                      </a:lnTo>
                      <a:lnTo>
                        <a:pt x="202425" y="42099"/>
                      </a:lnTo>
                      <a:lnTo>
                        <a:pt x="181008" y="41362"/>
                      </a:lnTo>
                      <a:lnTo>
                        <a:pt x="172300" y="33391"/>
                      </a:lnTo>
                      <a:lnTo>
                        <a:pt x="144736" y="34479"/>
                      </a:lnTo>
                      <a:lnTo>
                        <a:pt x="132762" y="11269"/>
                      </a:lnTo>
                      <a:lnTo>
                        <a:pt x="96491" y="11973"/>
                      </a:lnTo>
                      <a:lnTo>
                        <a:pt x="76898" y="4354"/>
                      </a:lnTo>
                      <a:lnTo>
                        <a:pt x="68190" y="8708"/>
                      </a:lnTo>
                      <a:lnTo>
                        <a:pt x="51863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35E349DE-F983-6BA3-E5D3-41390DA7AD2F}"/>
                    </a:ext>
                  </a:extLst>
                </p:cNvPr>
                <p:cNvSpPr/>
                <p:nvPr/>
              </p:nvSpPr>
              <p:spPr>
                <a:xfrm>
                  <a:off x="2957794" y="5874909"/>
                  <a:ext cx="169770" cy="136764"/>
                </a:xfrm>
                <a:custGeom>
                  <a:avLst/>
                  <a:gdLst>
                    <a:gd name="csX0" fmla="*/ 114642 w 169770"/>
                    <a:gd name="csY0" fmla="*/ 20329 h 136764"/>
                    <a:gd name="csX1" fmla="*/ 106639 w 169770"/>
                    <a:gd name="csY1" fmla="*/ 14535 h 136764"/>
                    <a:gd name="csX2" fmla="*/ 102669 w 169770"/>
                    <a:gd name="csY2" fmla="*/ 0 h 136764"/>
                    <a:gd name="csX3" fmla="*/ 78339 w 169770"/>
                    <a:gd name="csY3" fmla="*/ 736 h 136764"/>
                    <a:gd name="csX4" fmla="*/ 40626 w 169770"/>
                    <a:gd name="csY4" fmla="*/ 42099 h 136764"/>
                    <a:gd name="csX5" fmla="*/ 1088 w 169770"/>
                    <a:gd name="csY5" fmla="*/ 85990 h 136764"/>
                    <a:gd name="csX6" fmla="*/ 0 w 169770"/>
                    <a:gd name="csY6" fmla="*/ 136764 h 136764"/>
                    <a:gd name="csX7" fmla="*/ 1088 w 169770"/>
                    <a:gd name="csY7" fmla="*/ 136764 h 136764"/>
                    <a:gd name="csX8" fmla="*/ 62748 w 169770"/>
                    <a:gd name="csY8" fmla="*/ 112466 h 136764"/>
                    <a:gd name="csX9" fmla="*/ 67102 w 169770"/>
                    <a:gd name="csY9" fmla="*/ 110641 h 136764"/>
                    <a:gd name="csX10" fmla="*/ 70719 w 169770"/>
                    <a:gd name="csY10" fmla="*/ 109936 h 136764"/>
                    <a:gd name="csX11" fmla="*/ 92137 w 169770"/>
                    <a:gd name="csY11" fmla="*/ 101229 h 136764"/>
                    <a:gd name="csX12" fmla="*/ 92873 w 169770"/>
                    <a:gd name="csY12" fmla="*/ 100492 h 136764"/>
                    <a:gd name="csX13" fmla="*/ 105935 w 169770"/>
                    <a:gd name="csY13" fmla="*/ 87431 h 136764"/>
                    <a:gd name="csX14" fmla="*/ 112081 w 169770"/>
                    <a:gd name="csY14" fmla="*/ 79811 h 136764"/>
                    <a:gd name="csX15" fmla="*/ 131674 w 169770"/>
                    <a:gd name="csY15" fmla="*/ 72928 h 136764"/>
                    <a:gd name="csX16" fmla="*/ 138557 w 169770"/>
                    <a:gd name="csY16" fmla="*/ 72928 h 136764"/>
                    <a:gd name="csX17" fmla="*/ 137853 w 169770"/>
                    <a:gd name="csY17" fmla="*/ 78018 h 136764"/>
                    <a:gd name="csX18" fmla="*/ 145472 w 169770"/>
                    <a:gd name="csY18" fmla="*/ 78018 h 136764"/>
                    <a:gd name="csX19" fmla="*/ 139645 w 169770"/>
                    <a:gd name="csY19" fmla="*/ 72192 h 136764"/>
                    <a:gd name="csX20" fmla="*/ 143647 w 169770"/>
                    <a:gd name="csY20" fmla="*/ 67838 h 136764"/>
                    <a:gd name="csX21" fmla="*/ 132762 w 169770"/>
                    <a:gd name="csY21" fmla="*/ 67133 h 136764"/>
                    <a:gd name="csX22" fmla="*/ 133499 w 169770"/>
                    <a:gd name="csY22" fmla="*/ 64220 h 136764"/>
                    <a:gd name="csX23" fmla="*/ 144736 w 169770"/>
                    <a:gd name="csY23" fmla="*/ 65309 h 136764"/>
                    <a:gd name="csX24" fmla="*/ 143647 w 169770"/>
                    <a:gd name="csY24" fmla="*/ 72192 h 136764"/>
                    <a:gd name="csX25" fmla="*/ 150530 w 169770"/>
                    <a:gd name="csY25" fmla="*/ 74017 h 136764"/>
                    <a:gd name="csX26" fmla="*/ 169771 w 169770"/>
                    <a:gd name="csY26" fmla="*/ 61691 h 136764"/>
                    <a:gd name="csX27" fmla="*/ 161063 w 169770"/>
                    <a:gd name="csY27" fmla="*/ 57337 h 136764"/>
                    <a:gd name="csX28" fmla="*/ 158534 w 169770"/>
                    <a:gd name="csY28" fmla="*/ 53336 h 136764"/>
                    <a:gd name="csX29" fmla="*/ 156709 w 169770"/>
                    <a:gd name="csY29" fmla="*/ 43539 h 136764"/>
                    <a:gd name="csX30" fmla="*/ 142207 w 169770"/>
                    <a:gd name="csY30" fmla="*/ 40274 h 136764"/>
                    <a:gd name="csX31" fmla="*/ 130938 w 169770"/>
                    <a:gd name="csY31" fmla="*/ 23946 h 136764"/>
                    <a:gd name="csX32" fmla="*/ 124055 w 169770"/>
                    <a:gd name="csY32" fmla="*/ 25772 h 136764"/>
                    <a:gd name="csX33" fmla="*/ 114642 w 169770"/>
                    <a:gd name="csY33" fmla="*/ 20329 h 1367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</a:cxnLst>
                  <a:rect l="l" t="t" r="r" b="b"/>
                  <a:pathLst>
                    <a:path w="169770" h="136764">
                      <a:moveTo>
                        <a:pt x="114642" y="20329"/>
                      </a:moveTo>
                      <a:lnTo>
                        <a:pt x="106639" y="14535"/>
                      </a:lnTo>
                      <a:lnTo>
                        <a:pt x="102669" y="0"/>
                      </a:lnTo>
                      <a:lnTo>
                        <a:pt x="78339" y="736"/>
                      </a:lnTo>
                      <a:lnTo>
                        <a:pt x="40626" y="42099"/>
                      </a:lnTo>
                      <a:lnTo>
                        <a:pt x="1088" y="85990"/>
                      </a:lnTo>
                      <a:lnTo>
                        <a:pt x="0" y="136764"/>
                      </a:lnTo>
                      <a:lnTo>
                        <a:pt x="1088" y="136764"/>
                      </a:lnTo>
                      <a:lnTo>
                        <a:pt x="62748" y="112466"/>
                      </a:lnTo>
                      <a:lnTo>
                        <a:pt x="67102" y="110641"/>
                      </a:lnTo>
                      <a:lnTo>
                        <a:pt x="70719" y="109936"/>
                      </a:lnTo>
                      <a:lnTo>
                        <a:pt x="92137" y="101229"/>
                      </a:lnTo>
                      <a:lnTo>
                        <a:pt x="92873" y="100492"/>
                      </a:lnTo>
                      <a:lnTo>
                        <a:pt x="105935" y="87431"/>
                      </a:lnTo>
                      <a:lnTo>
                        <a:pt x="112081" y="79811"/>
                      </a:lnTo>
                      <a:lnTo>
                        <a:pt x="131674" y="72928"/>
                      </a:lnTo>
                      <a:lnTo>
                        <a:pt x="138557" y="72928"/>
                      </a:lnTo>
                      <a:lnTo>
                        <a:pt x="137853" y="78018"/>
                      </a:lnTo>
                      <a:lnTo>
                        <a:pt x="145472" y="78018"/>
                      </a:lnTo>
                      <a:lnTo>
                        <a:pt x="139645" y="72192"/>
                      </a:lnTo>
                      <a:lnTo>
                        <a:pt x="143647" y="67838"/>
                      </a:lnTo>
                      <a:lnTo>
                        <a:pt x="132762" y="67133"/>
                      </a:lnTo>
                      <a:lnTo>
                        <a:pt x="133499" y="64220"/>
                      </a:lnTo>
                      <a:lnTo>
                        <a:pt x="144736" y="65309"/>
                      </a:lnTo>
                      <a:lnTo>
                        <a:pt x="143647" y="72192"/>
                      </a:lnTo>
                      <a:lnTo>
                        <a:pt x="150530" y="74017"/>
                      </a:lnTo>
                      <a:lnTo>
                        <a:pt x="169771" y="61691"/>
                      </a:lnTo>
                      <a:lnTo>
                        <a:pt x="161063" y="57337"/>
                      </a:lnTo>
                      <a:lnTo>
                        <a:pt x="158534" y="53336"/>
                      </a:lnTo>
                      <a:lnTo>
                        <a:pt x="156709" y="43539"/>
                      </a:lnTo>
                      <a:lnTo>
                        <a:pt x="142207" y="40274"/>
                      </a:lnTo>
                      <a:lnTo>
                        <a:pt x="130938" y="23946"/>
                      </a:lnTo>
                      <a:lnTo>
                        <a:pt x="124055" y="25772"/>
                      </a:lnTo>
                      <a:lnTo>
                        <a:pt x="114642" y="203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4" name="Forma Livre: Forma 353">
                  <a:extLst>
                    <a:ext uri="{FF2B5EF4-FFF2-40B4-BE49-F238E27FC236}">
                      <a16:creationId xmlns:a16="http://schemas.microsoft.com/office/drawing/2014/main" id="{38BF7AFF-BCD7-31B9-CC2A-2EC7181006A2}"/>
                    </a:ext>
                  </a:extLst>
                </p:cNvPr>
                <p:cNvSpPr/>
                <p:nvPr/>
              </p:nvSpPr>
              <p:spPr>
                <a:xfrm>
                  <a:off x="2957794" y="5874909"/>
                  <a:ext cx="169770" cy="136764"/>
                </a:xfrm>
                <a:custGeom>
                  <a:avLst/>
                  <a:gdLst>
                    <a:gd name="csX0" fmla="*/ 114642 w 169770"/>
                    <a:gd name="csY0" fmla="*/ 20329 h 136764"/>
                    <a:gd name="csX1" fmla="*/ 106639 w 169770"/>
                    <a:gd name="csY1" fmla="*/ 14535 h 136764"/>
                    <a:gd name="csX2" fmla="*/ 102669 w 169770"/>
                    <a:gd name="csY2" fmla="*/ 0 h 136764"/>
                    <a:gd name="csX3" fmla="*/ 78339 w 169770"/>
                    <a:gd name="csY3" fmla="*/ 736 h 136764"/>
                    <a:gd name="csX4" fmla="*/ 40626 w 169770"/>
                    <a:gd name="csY4" fmla="*/ 42099 h 136764"/>
                    <a:gd name="csX5" fmla="*/ 1088 w 169770"/>
                    <a:gd name="csY5" fmla="*/ 85990 h 136764"/>
                    <a:gd name="csX6" fmla="*/ 0 w 169770"/>
                    <a:gd name="csY6" fmla="*/ 136764 h 136764"/>
                    <a:gd name="csX7" fmla="*/ 1088 w 169770"/>
                    <a:gd name="csY7" fmla="*/ 136764 h 136764"/>
                    <a:gd name="csX8" fmla="*/ 62748 w 169770"/>
                    <a:gd name="csY8" fmla="*/ 112466 h 136764"/>
                    <a:gd name="csX9" fmla="*/ 67102 w 169770"/>
                    <a:gd name="csY9" fmla="*/ 110641 h 136764"/>
                    <a:gd name="csX10" fmla="*/ 70719 w 169770"/>
                    <a:gd name="csY10" fmla="*/ 109936 h 136764"/>
                    <a:gd name="csX11" fmla="*/ 92137 w 169770"/>
                    <a:gd name="csY11" fmla="*/ 101229 h 136764"/>
                    <a:gd name="csX12" fmla="*/ 92873 w 169770"/>
                    <a:gd name="csY12" fmla="*/ 100492 h 136764"/>
                    <a:gd name="csX13" fmla="*/ 105935 w 169770"/>
                    <a:gd name="csY13" fmla="*/ 87431 h 136764"/>
                    <a:gd name="csX14" fmla="*/ 112081 w 169770"/>
                    <a:gd name="csY14" fmla="*/ 79811 h 136764"/>
                    <a:gd name="csX15" fmla="*/ 131674 w 169770"/>
                    <a:gd name="csY15" fmla="*/ 72928 h 136764"/>
                    <a:gd name="csX16" fmla="*/ 138557 w 169770"/>
                    <a:gd name="csY16" fmla="*/ 72928 h 136764"/>
                    <a:gd name="csX17" fmla="*/ 137853 w 169770"/>
                    <a:gd name="csY17" fmla="*/ 78018 h 136764"/>
                    <a:gd name="csX18" fmla="*/ 145472 w 169770"/>
                    <a:gd name="csY18" fmla="*/ 78018 h 136764"/>
                    <a:gd name="csX19" fmla="*/ 139645 w 169770"/>
                    <a:gd name="csY19" fmla="*/ 72192 h 136764"/>
                    <a:gd name="csX20" fmla="*/ 143647 w 169770"/>
                    <a:gd name="csY20" fmla="*/ 67838 h 136764"/>
                    <a:gd name="csX21" fmla="*/ 132762 w 169770"/>
                    <a:gd name="csY21" fmla="*/ 67133 h 136764"/>
                    <a:gd name="csX22" fmla="*/ 133499 w 169770"/>
                    <a:gd name="csY22" fmla="*/ 64220 h 136764"/>
                    <a:gd name="csX23" fmla="*/ 144736 w 169770"/>
                    <a:gd name="csY23" fmla="*/ 65309 h 136764"/>
                    <a:gd name="csX24" fmla="*/ 143647 w 169770"/>
                    <a:gd name="csY24" fmla="*/ 72192 h 136764"/>
                    <a:gd name="csX25" fmla="*/ 150530 w 169770"/>
                    <a:gd name="csY25" fmla="*/ 74017 h 136764"/>
                    <a:gd name="csX26" fmla="*/ 169771 w 169770"/>
                    <a:gd name="csY26" fmla="*/ 61691 h 136764"/>
                    <a:gd name="csX27" fmla="*/ 161063 w 169770"/>
                    <a:gd name="csY27" fmla="*/ 57337 h 136764"/>
                    <a:gd name="csX28" fmla="*/ 158534 w 169770"/>
                    <a:gd name="csY28" fmla="*/ 53336 h 136764"/>
                    <a:gd name="csX29" fmla="*/ 156709 w 169770"/>
                    <a:gd name="csY29" fmla="*/ 43539 h 136764"/>
                    <a:gd name="csX30" fmla="*/ 142207 w 169770"/>
                    <a:gd name="csY30" fmla="*/ 40274 h 136764"/>
                    <a:gd name="csX31" fmla="*/ 130938 w 169770"/>
                    <a:gd name="csY31" fmla="*/ 23946 h 136764"/>
                    <a:gd name="csX32" fmla="*/ 124055 w 169770"/>
                    <a:gd name="csY32" fmla="*/ 25772 h 136764"/>
                    <a:gd name="csX33" fmla="*/ 114642 w 169770"/>
                    <a:gd name="csY33" fmla="*/ 20329 h 1367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</a:cxnLst>
                  <a:rect l="l" t="t" r="r" b="b"/>
                  <a:pathLst>
                    <a:path w="169770" h="136764">
                      <a:moveTo>
                        <a:pt x="114642" y="20329"/>
                      </a:moveTo>
                      <a:lnTo>
                        <a:pt x="106639" y="14535"/>
                      </a:lnTo>
                      <a:lnTo>
                        <a:pt x="102669" y="0"/>
                      </a:lnTo>
                      <a:lnTo>
                        <a:pt x="78339" y="736"/>
                      </a:lnTo>
                      <a:lnTo>
                        <a:pt x="40626" y="42099"/>
                      </a:lnTo>
                      <a:lnTo>
                        <a:pt x="1088" y="85990"/>
                      </a:lnTo>
                      <a:lnTo>
                        <a:pt x="0" y="136764"/>
                      </a:lnTo>
                      <a:lnTo>
                        <a:pt x="1088" y="136764"/>
                      </a:lnTo>
                      <a:lnTo>
                        <a:pt x="62748" y="112466"/>
                      </a:lnTo>
                      <a:lnTo>
                        <a:pt x="67102" y="110641"/>
                      </a:lnTo>
                      <a:lnTo>
                        <a:pt x="70719" y="109936"/>
                      </a:lnTo>
                      <a:lnTo>
                        <a:pt x="92137" y="101229"/>
                      </a:lnTo>
                      <a:lnTo>
                        <a:pt x="92873" y="100492"/>
                      </a:lnTo>
                      <a:lnTo>
                        <a:pt x="105935" y="87431"/>
                      </a:lnTo>
                      <a:lnTo>
                        <a:pt x="112081" y="79811"/>
                      </a:lnTo>
                      <a:lnTo>
                        <a:pt x="131674" y="72928"/>
                      </a:lnTo>
                      <a:lnTo>
                        <a:pt x="138557" y="72928"/>
                      </a:lnTo>
                      <a:lnTo>
                        <a:pt x="137853" y="78018"/>
                      </a:lnTo>
                      <a:lnTo>
                        <a:pt x="145472" y="78018"/>
                      </a:lnTo>
                      <a:lnTo>
                        <a:pt x="139645" y="72192"/>
                      </a:lnTo>
                      <a:lnTo>
                        <a:pt x="143647" y="67838"/>
                      </a:lnTo>
                      <a:lnTo>
                        <a:pt x="132762" y="67133"/>
                      </a:lnTo>
                      <a:lnTo>
                        <a:pt x="133499" y="64220"/>
                      </a:lnTo>
                      <a:lnTo>
                        <a:pt x="144736" y="65309"/>
                      </a:lnTo>
                      <a:lnTo>
                        <a:pt x="143647" y="72192"/>
                      </a:lnTo>
                      <a:lnTo>
                        <a:pt x="150530" y="74017"/>
                      </a:lnTo>
                      <a:lnTo>
                        <a:pt x="169771" y="61691"/>
                      </a:lnTo>
                      <a:lnTo>
                        <a:pt x="161063" y="57337"/>
                      </a:lnTo>
                      <a:lnTo>
                        <a:pt x="158534" y="53336"/>
                      </a:lnTo>
                      <a:lnTo>
                        <a:pt x="156709" y="43539"/>
                      </a:lnTo>
                      <a:lnTo>
                        <a:pt x="142207" y="40274"/>
                      </a:lnTo>
                      <a:lnTo>
                        <a:pt x="130938" y="23946"/>
                      </a:lnTo>
                      <a:lnTo>
                        <a:pt x="124055" y="25772"/>
                      </a:lnTo>
                      <a:lnTo>
                        <a:pt x="114642" y="203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5" name="Forma Livre: Forma 354">
                  <a:extLst>
                    <a:ext uri="{FF2B5EF4-FFF2-40B4-BE49-F238E27FC236}">
                      <a16:creationId xmlns:a16="http://schemas.microsoft.com/office/drawing/2014/main" id="{E0A4E59D-0C96-3D20-8A28-2BE55DC53EAC}"/>
                    </a:ext>
                  </a:extLst>
                </p:cNvPr>
                <p:cNvSpPr/>
                <p:nvPr/>
              </p:nvSpPr>
              <p:spPr>
                <a:xfrm>
                  <a:off x="2957794" y="5874909"/>
                  <a:ext cx="169770" cy="136764"/>
                </a:xfrm>
                <a:custGeom>
                  <a:avLst/>
                  <a:gdLst>
                    <a:gd name="csX0" fmla="*/ 114642 w 169770"/>
                    <a:gd name="csY0" fmla="*/ 20329 h 136764"/>
                    <a:gd name="csX1" fmla="*/ 106639 w 169770"/>
                    <a:gd name="csY1" fmla="*/ 14535 h 136764"/>
                    <a:gd name="csX2" fmla="*/ 102669 w 169770"/>
                    <a:gd name="csY2" fmla="*/ 0 h 136764"/>
                    <a:gd name="csX3" fmla="*/ 78339 w 169770"/>
                    <a:gd name="csY3" fmla="*/ 736 h 136764"/>
                    <a:gd name="csX4" fmla="*/ 40626 w 169770"/>
                    <a:gd name="csY4" fmla="*/ 42099 h 136764"/>
                    <a:gd name="csX5" fmla="*/ 1088 w 169770"/>
                    <a:gd name="csY5" fmla="*/ 85990 h 136764"/>
                    <a:gd name="csX6" fmla="*/ 0 w 169770"/>
                    <a:gd name="csY6" fmla="*/ 136764 h 136764"/>
                    <a:gd name="csX7" fmla="*/ 1088 w 169770"/>
                    <a:gd name="csY7" fmla="*/ 136764 h 136764"/>
                    <a:gd name="csX8" fmla="*/ 62748 w 169770"/>
                    <a:gd name="csY8" fmla="*/ 112466 h 136764"/>
                    <a:gd name="csX9" fmla="*/ 67102 w 169770"/>
                    <a:gd name="csY9" fmla="*/ 110641 h 136764"/>
                    <a:gd name="csX10" fmla="*/ 70719 w 169770"/>
                    <a:gd name="csY10" fmla="*/ 109936 h 136764"/>
                    <a:gd name="csX11" fmla="*/ 92137 w 169770"/>
                    <a:gd name="csY11" fmla="*/ 101229 h 136764"/>
                    <a:gd name="csX12" fmla="*/ 92873 w 169770"/>
                    <a:gd name="csY12" fmla="*/ 100492 h 136764"/>
                    <a:gd name="csX13" fmla="*/ 105935 w 169770"/>
                    <a:gd name="csY13" fmla="*/ 87431 h 136764"/>
                    <a:gd name="csX14" fmla="*/ 112081 w 169770"/>
                    <a:gd name="csY14" fmla="*/ 79811 h 136764"/>
                    <a:gd name="csX15" fmla="*/ 131674 w 169770"/>
                    <a:gd name="csY15" fmla="*/ 72928 h 136764"/>
                    <a:gd name="csX16" fmla="*/ 138557 w 169770"/>
                    <a:gd name="csY16" fmla="*/ 72928 h 136764"/>
                    <a:gd name="csX17" fmla="*/ 137853 w 169770"/>
                    <a:gd name="csY17" fmla="*/ 78018 h 136764"/>
                    <a:gd name="csX18" fmla="*/ 145472 w 169770"/>
                    <a:gd name="csY18" fmla="*/ 78018 h 136764"/>
                    <a:gd name="csX19" fmla="*/ 139645 w 169770"/>
                    <a:gd name="csY19" fmla="*/ 72192 h 136764"/>
                    <a:gd name="csX20" fmla="*/ 143647 w 169770"/>
                    <a:gd name="csY20" fmla="*/ 67838 h 136764"/>
                    <a:gd name="csX21" fmla="*/ 132762 w 169770"/>
                    <a:gd name="csY21" fmla="*/ 67133 h 136764"/>
                    <a:gd name="csX22" fmla="*/ 133499 w 169770"/>
                    <a:gd name="csY22" fmla="*/ 64220 h 136764"/>
                    <a:gd name="csX23" fmla="*/ 144736 w 169770"/>
                    <a:gd name="csY23" fmla="*/ 65309 h 136764"/>
                    <a:gd name="csX24" fmla="*/ 143647 w 169770"/>
                    <a:gd name="csY24" fmla="*/ 72192 h 136764"/>
                    <a:gd name="csX25" fmla="*/ 150530 w 169770"/>
                    <a:gd name="csY25" fmla="*/ 74017 h 136764"/>
                    <a:gd name="csX26" fmla="*/ 169771 w 169770"/>
                    <a:gd name="csY26" fmla="*/ 61691 h 136764"/>
                    <a:gd name="csX27" fmla="*/ 161063 w 169770"/>
                    <a:gd name="csY27" fmla="*/ 57337 h 136764"/>
                    <a:gd name="csX28" fmla="*/ 158534 w 169770"/>
                    <a:gd name="csY28" fmla="*/ 53336 h 136764"/>
                    <a:gd name="csX29" fmla="*/ 156709 w 169770"/>
                    <a:gd name="csY29" fmla="*/ 43539 h 136764"/>
                    <a:gd name="csX30" fmla="*/ 142207 w 169770"/>
                    <a:gd name="csY30" fmla="*/ 40274 h 136764"/>
                    <a:gd name="csX31" fmla="*/ 130938 w 169770"/>
                    <a:gd name="csY31" fmla="*/ 23946 h 136764"/>
                    <a:gd name="csX32" fmla="*/ 124055 w 169770"/>
                    <a:gd name="csY32" fmla="*/ 25772 h 136764"/>
                    <a:gd name="csX33" fmla="*/ 114642 w 169770"/>
                    <a:gd name="csY33" fmla="*/ 20329 h 1367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</a:cxnLst>
                  <a:rect l="l" t="t" r="r" b="b"/>
                  <a:pathLst>
                    <a:path w="169770" h="136764">
                      <a:moveTo>
                        <a:pt x="114642" y="20329"/>
                      </a:moveTo>
                      <a:lnTo>
                        <a:pt x="106639" y="14535"/>
                      </a:lnTo>
                      <a:lnTo>
                        <a:pt x="102669" y="0"/>
                      </a:lnTo>
                      <a:lnTo>
                        <a:pt x="78339" y="736"/>
                      </a:lnTo>
                      <a:lnTo>
                        <a:pt x="40626" y="42099"/>
                      </a:lnTo>
                      <a:lnTo>
                        <a:pt x="1088" y="85990"/>
                      </a:lnTo>
                      <a:lnTo>
                        <a:pt x="0" y="136764"/>
                      </a:lnTo>
                      <a:lnTo>
                        <a:pt x="1088" y="136764"/>
                      </a:lnTo>
                      <a:lnTo>
                        <a:pt x="62748" y="112466"/>
                      </a:lnTo>
                      <a:lnTo>
                        <a:pt x="67102" y="110641"/>
                      </a:lnTo>
                      <a:lnTo>
                        <a:pt x="70719" y="109936"/>
                      </a:lnTo>
                      <a:lnTo>
                        <a:pt x="92137" y="101229"/>
                      </a:lnTo>
                      <a:lnTo>
                        <a:pt x="92873" y="100492"/>
                      </a:lnTo>
                      <a:lnTo>
                        <a:pt x="105935" y="87431"/>
                      </a:lnTo>
                      <a:lnTo>
                        <a:pt x="112081" y="79811"/>
                      </a:lnTo>
                      <a:lnTo>
                        <a:pt x="131674" y="72928"/>
                      </a:lnTo>
                      <a:lnTo>
                        <a:pt x="138557" y="72928"/>
                      </a:lnTo>
                      <a:lnTo>
                        <a:pt x="137853" y="78018"/>
                      </a:lnTo>
                      <a:lnTo>
                        <a:pt x="145472" y="78018"/>
                      </a:lnTo>
                      <a:lnTo>
                        <a:pt x="139645" y="72192"/>
                      </a:lnTo>
                      <a:lnTo>
                        <a:pt x="143647" y="67838"/>
                      </a:lnTo>
                      <a:lnTo>
                        <a:pt x="132762" y="67133"/>
                      </a:lnTo>
                      <a:lnTo>
                        <a:pt x="133499" y="64220"/>
                      </a:lnTo>
                      <a:lnTo>
                        <a:pt x="144736" y="65309"/>
                      </a:lnTo>
                      <a:lnTo>
                        <a:pt x="143647" y="72192"/>
                      </a:lnTo>
                      <a:lnTo>
                        <a:pt x="150530" y="74017"/>
                      </a:lnTo>
                      <a:lnTo>
                        <a:pt x="169771" y="61691"/>
                      </a:lnTo>
                      <a:lnTo>
                        <a:pt x="161063" y="57337"/>
                      </a:lnTo>
                      <a:lnTo>
                        <a:pt x="158534" y="53336"/>
                      </a:lnTo>
                      <a:lnTo>
                        <a:pt x="156709" y="43539"/>
                      </a:lnTo>
                      <a:lnTo>
                        <a:pt x="142207" y="40274"/>
                      </a:lnTo>
                      <a:lnTo>
                        <a:pt x="130938" y="23946"/>
                      </a:lnTo>
                      <a:lnTo>
                        <a:pt x="124055" y="25772"/>
                      </a:lnTo>
                      <a:lnTo>
                        <a:pt x="114642" y="203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6" name="Forma Livre: Forma 355">
                  <a:extLst>
                    <a:ext uri="{FF2B5EF4-FFF2-40B4-BE49-F238E27FC236}">
                      <a16:creationId xmlns:a16="http://schemas.microsoft.com/office/drawing/2014/main" id="{1BD9E18C-1032-C423-3C70-B07D6000643A}"/>
                    </a:ext>
                  </a:extLst>
                </p:cNvPr>
                <p:cNvSpPr/>
                <p:nvPr/>
              </p:nvSpPr>
              <p:spPr>
                <a:xfrm>
                  <a:off x="2957794" y="5874909"/>
                  <a:ext cx="169770" cy="136764"/>
                </a:xfrm>
                <a:custGeom>
                  <a:avLst/>
                  <a:gdLst>
                    <a:gd name="csX0" fmla="*/ 114642 w 169770"/>
                    <a:gd name="csY0" fmla="*/ 20329 h 136764"/>
                    <a:gd name="csX1" fmla="*/ 106639 w 169770"/>
                    <a:gd name="csY1" fmla="*/ 14535 h 136764"/>
                    <a:gd name="csX2" fmla="*/ 102669 w 169770"/>
                    <a:gd name="csY2" fmla="*/ 0 h 136764"/>
                    <a:gd name="csX3" fmla="*/ 78339 w 169770"/>
                    <a:gd name="csY3" fmla="*/ 736 h 136764"/>
                    <a:gd name="csX4" fmla="*/ 40626 w 169770"/>
                    <a:gd name="csY4" fmla="*/ 42099 h 136764"/>
                    <a:gd name="csX5" fmla="*/ 1088 w 169770"/>
                    <a:gd name="csY5" fmla="*/ 85990 h 136764"/>
                    <a:gd name="csX6" fmla="*/ 0 w 169770"/>
                    <a:gd name="csY6" fmla="*/ 136764 h 136764"/>
                    <a:gd name="csX7" fmla="*/ 1088 w 169770"/>
                    <a:gd name="csY7" fmla="*/ 136764 h 136764"/>
                    <a:gd name="csX8" fmla="*/ 62748 w 169770"/>
                    <a:gd name="csY8" fmla="*/ 112466 h 136764"/>
                    <a:gd name="csX9" fmla="*/ 67102 w 169770"/>
                    <a:gd name="csY9" fmla="*/ 110641 h 136764"/>
                    <a:gd name="csX10" fmla="*/ 70719 w 169770"/>
                    <a:gd name="csY10" fmla="*/ 109936 h 136764"/>
                    <a:gd name="csX11" fmla="*/ 92137 w 169770"/>
                    <a:gd name="csY11" fmla="*/ 101229 h 136764"/>
                    <a:gd name="csX12" fmla="*/ 92873 w 169770"/>
                    <a:gd name="csY12" fmla="*/ 100492 h 136764"/>
                    <a:gd name="csX13" fmla="*/ 105935 w 169770"/>
                    <a:gd name="csY13" fmla="*/ 87431 h 136764"/>
                    <a:gd name="csX14" fmla="*/ 112081 w 169770"/>
                    <a:gd name="csY14" fmla="*/ 79811 h 136764"/>
                    <a:gd name="csX15" fmla="*/ 131674 w 169770"/>
                    <a:gd name="csY15" fmla="*/ 72928 h 136764"/>
                    <a:gd name="csX16" fmla="*/ 138557 w 169770"/>
                    <a:gd name="csY16" fmla="*/ 72928 h 136764"/>
                    <a:gd name="csX17" fmla="*/ 137853 w 169770"/>
                    <a:gd name="csY17" fmla="*/ 78018 h 136764"/>
                    <a:gd name="csX18" fmla="*/ 145472 w 169770"/>
                    <a:gd name="csY18" fmla="*/ 78018 h 136764"/>
                    <a:gd name="csX19" fmla="*/ 139645 w 169770"/>
                    <a:gd name="csY19" fmla="*/ 72192 h 136764"/>
                    <a:gd name="csX20" fmla="*/ 143647 w 169770"/>
                    <a:gd name="csY20" fmla="*/ 67838 h 136764"/>
                    <a:gd name="csX21" fmla="*/ 132762 w 169770"/>
                    <a:gd name="csY21" fmla="*/ 67133 h 136764"/>
                    <a:gd name="csX22" fmla="*/ 133499 w 169770"/>
                    <a:gd name="csY22" fmla="*/ 64220 h 136764"/>
                    <a:gd name="csX23" fmla="*/ 144736 w 169770"/>
                    <a:gd name="csY23" fmla="*/ 65309 h 136764"/>
                    <a:gd name="csX24" fmla="*/ 143647 w 169770"/>
                    <a:gd name="csY24" fmla="*/ 72192 h 136764"/>
                    <a:gd name="csX25" fmla="*/ 150530 w 169770"/>
                    <a:gd name="csY25" fmla="*/ 74017 h 136764"/>
                    <a:gd name="csX26" fmla="*/ 169771 w 169770"/>
                    <a:gd name="csY26" fmla="*/ 61691 h 136764"/>
                    <a:gd name="csX27" fmla="*/ 161063 w 169770"/>
                    <a:gd name="csY27" fmla="*/ 57337 h 136764"/>
                    <a:gd name="csX28" fmla="*/ 158534 w 169770"/>
                    <a:gd name="csY28" fmla="*/ 53336 h 136764"/>
                    <a:gd name="csX29" fmla="*/ 156709 w 169770"/>
                    <a:gd name="csY29" fmla="*/ 43539 h 136764"/>
                    <a:gd name="csX30" fmla="*/ 142207 w 169770"/>
                    <a:gd name="csY30" fmla="*/ 40274 h 136764"/>
                    <a:gd name="csX31" fmla="*/ 130938 w 169770"/>
                    <a:gd name="csY31" fmla="*/ 23946 h 136764"/>
                    <a:gd name="csX32" fmla="*/ 124055 w 169770"/>
                    <a:gd name="csY32" fmla="*/ 25772 h 136764"/>
                    <a:gd name="csX33" fmla="*/ 114642 w 169770"/>
                    <a:gd name="csY33" fmla="*/ 20329 h 1367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</a:cxnLst>
                  <a:rect l="l" t="t" r="r" b="b"/>
                  <a:pathLst>
                    <a:path w="169770" h="136764">
                      <a:moveTo>
                        <a:pt x="114642" y="20329"/>
                      </a:moveTo>
                      <a:lnTo>
                        <a:pt x="106639" y="14535"/>
                      </a:lnTo>
                      <a:lnTo>
                        <a:pt x="102669" y="0"/>
                      </a:lnTo>
                      <a:lnTo>
                        <a:pt x="78339" y="736"/>
                      </a:lnTo>
                      <a:lnTo>
                        <a:pt x="40626" y="42099"/>
                      </a:lnTo>
                      <a:lnTo>
                        <a:pt x="1088" y="85990"/>
                      </a:lnTo>
                      <a:lnTo>
                        <a:pt x="0" y="136764"/>
                      </a:lnTo>
                      <a:lnTo>
                        <a:pt x="1088" y="136764"/>
                      </a:lnTo>
                      <a:lnTo>
                        <a:pt x="62748" y="112466"/>
                      </a:lnTo>
                      <a:lnTo>
                        <a:pt x="67102" y="110641"/>
                      </a:lnTo>
                      <a:lnTo>
                        <a:pt x="70719" y="109936"/>
                      </a:lnTo>
                      <a:lnTo>
                        <a:pt x="92137" y="101229"/>
                      </a:lnTo>
                      <a:lnTo>
                        <a:pt x="92873" y="100492"/>
                      </a:lnTo>
                      <a:lnTo>
                        <a:pt x="105935" y="87431"/>
                      </a:lnTo>
                      <a:lnTo>
                        <a:pt x="112081" y="79811"/>
                      </a:lnTo>
                      <a:lnTo>
                        <a:pt x="131674" y="72928"/>
                      </a:lnTo>
                      <a:lnTo>
                        <a:pt x="138557" y="72928"/>
                      </a:lnTo>
                      <a:lnTo>
                        <a:pt x="137853" y="78018"/>
                      </a:lnTo>
                      <a:lnTo>
                        <a:pt x="145472" y="78018"/>
                      </a:lnTo>
                      <a:lnTo>
                        <a:pt x="139645" y="72192"/>
                      </a:lnTo>
                      <a:lnTo>
                        <a:pt x="143647" y="67838"/>
                      </a:lnTo>
                      <a:lnTo>
                        <a:pt x="132762" y="67133"/>
                      </a:lnTo>
                      <a:lnTo>
                        <a:pt x="133499" y="64220"/>
                      </a:lnTo>
                      <a:lnTo>
                        <a:pt x="144736" y="65309"/>
                      </a:lnTo>
                      <a:lnTo>
                        <a:pt x="143647" y="72192"/>
                      </a:lnTo>
                      <a:lnTo>
                        <a:pt x="150530" y="74017"/>
                      </a:lnTo>
                      <a:lnTo>
                        <a:pt x="169771" y="61691"/>
                      </a:lnTo>
                      <a:lnTo>
                        <a:pt x="161063" y="57337"/>
                      </a:lnTo>
                      <a:lnTo>
                        <a:pt x="158534" y="53336"/>
                      </a:lnTo>
                      <a:lnTo>
                        <a:pt x="156709" y="43539"/>
                      </a:lnTo>
                      <a:lnTo>
                        <a:pt x="142207" y="40274"/>
                      </a:lnTo>
                      <a:lnTo>
                        <a:pt x="130938" y="23946"/>
                      </a:lnTo>
                      <a:lnTo>
                        <a:pt x="124055" y="25772"/>
                      </a:lnTo>
                      <a:lnTo>
                        <a:pt x="114642" y="203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7" name="Forma Livre: Forma 356">
                  <a:extLst>
                    <a:ext uri="{FF2B5EF4-FFF2-40B4-BE49-F238E27FC236}">
                      <a16:creationId xmlns:a16="http://schemas.microsoft.com/office/drawing/2014/main" id="{136F04DC-4329-DD84-2D0C-E7A988121284}"/>
                    </a:ext>
                  </a:extLst>
                </p:cNvPr>
                <p:cNvSpPr/>
                <p:nvPr/>
              </p:nvSpPr>
              <p:spPr>
                <a:xfrm>
                  <a:off x="3236028" y="2313022"/>
                  <a:ext cx="263347" cy="413525"/>
                </a:xfrm>
                <a:custGeom>
                  <a:avLst/>
                  <a:gdLst>
                    <a:gd name="csX0" fmla="*/ 146913 w 263347"/>
                    <a:gd name="csY0" fmla="*/ 40978 h 413525"/>
                    <a:gd name="csX1" fmla="*/ 121173 w 263347"/>
                    <a:gd name="csY1" fmla="*/ 17031 h 413525"/>
                    <a:gd name="csX2" fmla="*/ 108464 w 263347"/>
                    <a:gd name="csY2" fmla="*/ 14502 h 413525"/>
                    <a:gd name="csX3" fmla="*/ 102285 w 263347"/>
                    <a:gd name="csY3" fmla="*/ 0 h 413525"/>
                    <a:gd name="csX4" fmla="*/ 100492 w 263347"/>
                    <a:gd name="csY4" fmla="*/ 21385 h 413525"/>
                    <a:gd name="csX5" fmla="*/ 96138 w 263347"/>
                    <a:gd name="csY5" fmla="*/ 30830 h 413525"/>
                    <a:gd name="csX6" fmla="*/ 85958 w 263347"/>
                    <a:gd name="csY6" fmla="*/ 35888 h 413525"/>
                    <a:gd name="csX7" fmla="*/ 84165 w 263347"/>
                    <a:gd name="csY7" fmla="*/ 47157 h 413525"/>
                    <a:gd name="csX8" fmla="*/ 79075 w 263347"/>
                    <a:gd name="csY8" fmla="*/ 48950 h 413525"/>
                    <a:gd name="csX9" fmla="*/ 73985 w 263347"/>
                    <a:gd name="csY9" fmla="*/ 70367 h 413525"/>
                    <a:gd name="csX10" fmla="*/ 82340 w 263347"/>
                    <a:gd name="csY10" fmla="*/ 74721 h 413525"/>
                    <a:gd name="csX11" fmla="*/ 82340 w 263347"/>
                    <a:gd name="csY11" fmla="*/ 82340 h 413525"/>
                    <a:gd name="csX12" fmla="*/ 87783 w 263347"/>
                    <a:gd name="csY12" fmla="*/ 84133 h 413525"/>
                    <a:gd name="csX13" fmla="*/ 84165 w 263347"/>
                    <a:gd name="csY13" fmla="*/ 101197 h 413525"/>
                    <a:gd name="csX14" fmla="*/ 89223 w 263347"/>
                    <a:gd name="csY14" fmla="*/ 114258 h 413525"/>
                    <a:gd name="csX15" fmla="*/ 97227 w 263347"/>
                    <a:gd name="csY15" fmla="*/ 134939 h 413525"/>
                    <a:gd name="csX16" fmla="*/ 86694 w 263347"/>
                    <a:gd name="csY16" fmla="*/ 158150 h 413525"/>
                    <a:gd name="csX17" fmla="*/ 89223 w 263347"/>
                    <a:gd name="csY17" fmla="*/ 168298 h 413525"/>
                    <a:gd name="csX18" fmla="*/ 79811 w 263347"/>
                    <a:gd name="csY18" fmla="*/ 170859 h 413525"/>
                    <a:gd name="csX19" fmla="*/ 39537 w 263347"/>
                    <a:gd name="csY19" fmla="*/ 208924 h 413525"/>
                    <a:gd name="csX20" fmla="*/ 0 w 263347"/>
                    <a:gd name="csY20" fmla="*/ 245932 h 413525"/>
                    <a:gd name="csX21" fmla="*/ 12710 w 263347"/>
                    <a:gd name="csY21" fmla="*/ 265525 h 413525"/>
                    <a:gd name="csX22" fmla="*/ 8356 w 263347"/>
                    <a:gd name="csY22" fmla="*/ 286206 h 413525"/>
                    <a:gd name="csX23" fmla="*/ 23210 w 263347"/>
                    <a:gd name="csY23" fmla="*/ 319949 h 413525"/>
                    <a:gd name="csX24" fmla="*/ 30093 w 263347"/>
                    <a:gd name="csY24" fmla="*/ 314859 h 413525"/>
                    <a:gd name="csX25" fmla="*/ 46420 w 263347"/>
                    <a:gd name="csY25" fmla="*/ 314859 h 413525"/>
                    <a:gd name="csX26" fmla="*/ 58394 w 263347"/>
                    <a:gd name="csY26" fmla="*/ 320653 h 413525"/>
                    <a:gd name="csX27" fmla="*/ 58394 w 263347"/>
                    <a:gd name="csY27" fmla="*/ 326832 h 413525"/>
                    <a:gd name="csX28" fmla="*/ 47893 w 263347"/>
                    <a:gd name="csY28" fmla="*/ 331922 h 413525"/>
                    <a:gd name="csX29" fmla="*/ 47893 w 263347"/>
                    <a:gd name="csY29" fmla="*/ 351867 h 413525"/>
                    <a:gd name="csX30" fmla="*/ 50774 w 263347"/>
                    <a:gd name="csY30" fmla="*/ 355132 h 413525"/>
                    <a:gd name="csX31" fmla="*/ 63484 w 263347"/>
                    <a:gd name="csY31" fmla="*/ 341334 h 413525"/>
                    <a:gd name="csX32" fmla="*/ 76546 w 263347"/>
                    <a:gd name="csY32" fmla="*/ 346424 h 413525"/>
                    <a:gd name="csX33" fmla="*/ 85958 w 263347"/>
                    <a:gd name="csY33" fmla="*/ 341334 h 413525"/>
                    <a:gd name="csX34" fmla="*/ 92873 w 263347"/>
                    <a:gd name="csY34" fmla="*/ 345688 h 413525"/>
                    <a:gd name="csX35" fmla="*/ 94666 w 263347"/>
                    <a:gd name="csY35" fmla="*/ 340630 h 413525"/>
                    <a:gd name="csX36" fmla="*/ 107375 w 263347"/>
                    <a:gd name="csY36" fmla="*/ 341334 h 413525"/>
                    <a:gd name="csX37" fmla="*/ 103021 w 263347"/>
                    <a:gd name="csY37" fmla="*/ 346424 h 413525"/>
                    <a:gd name="csX38" fmla="*/ 106639 w 263347"/>
                    <a:gd name="csY38" fmla="*/ 352571 h 413525"/>
                    <a:gd name="csX39" fmla="*/ 121173 w 263347"/>
                    <a:gd name="csY39" fmla="*/ 348217 h 413525"/>
                    <a:gd name="csX40" fmla="*/ 145472 w 263347"/>
                    <a:gd name="csY40" fmla="*/ 381960 h 413525"/>
                    <a:gd name="csX41" fmla="*/ 163240 w 263347"/>
                    <a:gd name="csY41" fmla="*/ 385962 h 413525"/>
                    <a:gd name="csX42" fmla="*/ 170123 w 263347"/>
                    <a:gd name="csY42" fmla="*/ 409172 h 413525"/>
                    <a:gd name="csX43" fmla="*/ 178831 w 263347"/>
                    <a:gd name="csY43" fmla="*/ 412790 h 413525"/>
                    <a:gd name="csX44" fmla="*/ 197687 w 263347"/>
                    <a:gd name="csY44" fmla="*/ 409172 h 413525"/>
                    <a:gd name="csX45" fmla="*/ 222722 w 263347"/>
                    <a:gd name="csY45" fmla="*/ 413526 h 413525"/>
                    <a:gd name="csX46" fmla="*/ 222018 w 263347"/>
                    <a:gd name="csY46" fmla="*/ 402289 h 413525"/>
                    <a:gd name="csX47" fmla="*/ 158886 w 263347"/>
                    <a:gd name="csY47" fmla="*/ 336276 h 413525"/>
                    <a:gd name="csX48" fmla="*/ 188275 w 263347"/>
                    <a:gd name="csY48" fmla="*/ 202777 h 413525"/>
                    <a:gd name="csX49" fmla="*/ 199512 w 263347"/>
                    <a:gd name="csY49" fmla="*/ 194422 h 413525"/>
                    <a:gd name="csX50" fmla="*/ 210749 w 263347"/>
                    <a:gd name="csY50" fmla="*/ 192597 h 413525"/>
                    <a:gd name="csX51" fmla="*/ 227076 w 263347"/>
                    <a:gd name="csY51" fmla="*/ 201305 h 413525"/>
                    <a:gd name="csX52" fmla="*/ 235784 w 263347"/>
                    <a:gd name="csY52" fmla="*/ 196951 h 413525"/>
                    <a:gd name="csX53" fmla="*/ 255377 w 263347"/>
                    <a:gd name="csY53" fmla="*/ 204570 h 413525"/>
                    <a:gd name="csX54" fmla="*/ 258994 w 263347"/>
                    <a:gd name="csY54" fmla="*/ 161415 h 413525"/>
                    <a:gd name="csX55" fmla="*/ 257906 w 263347"/>
                    <a:gd name="csY55" fmla="*/ 153059 h 413525"/>
                    <a:gd name="csX56" fmla="*/ 262259 w 263347"/>
                    <a:gd name="csY56" fmla="*/ 144352 h 413525"/>
                    <a:gd name="csX57" fmla="*/ 257201 w 263347"/>
                    <a:gd name="csY57" fmla="*/ 120437 h 413525"/>
                    <a:gd name="csX58" fmla="*/ 263348 w 263347"/>
                    <a:gd name="csY58" fmla="*/ 102285 h 413525"/>
                    <a:gd name="csX59" fmla="*/ 250286 w 263347"/>
                    <a:gd name="csY59" fmla="*/ 89223 h 413525"/>
                    <a:gd name="csX60" fmla="*/ 251022 w 263347"/>
                    <a:gd name="csY60" fmla="*/ 84133 h 413525"/>
                    <a:gd name="csX61" fmla="*/ 232166 w 263347"/>
                    <a:gd name="csY61" fmla="*/ 67806 h 413525"/>
                    <a:gd name="csX62" fmla="*/ 228901 w 263347"/>
                    <a:gd name="csY62" fmla="*/ 47861 h 413525"/>
                    <a:gd name="csX63" fmla="*/ 237224 w 263347"/>
                    <a:gd name="csY63" fmla="*/ 34095 h 413525"/>
                    <a:gd name="csX64" fmla="*/ 232166 w 263347"/>
                    <a:gd name="csY64" fmla="*/ 28268 h 413525"/>
                    <a:gd name="csX65" fmla="*/ 208956 w 263347"/>
                    <a:gd name="csY65" fmla="*/ 24651 h 413525"/>
                    <a:gd name="csX66" fmla="*/ 185009 w 263347"/>
                    <a:gd name="csY66" fmla="*/ 40242 h 413525"/>
                    <a:gd name="csX67" fmla="*/ 146913 w 263347"/>
                    <a:gd name="csY67" fmla="*/ 40978 h 413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3347" h="413525">
                      <a:moveTo>
                        <a:pt x="146913" y="40978"/>
                      </a:moveTo>
                      <a:lnTo>
                        <a:pt x="121173" y="17031"/>
                      </a:lnTo>
                      <a:lnTo>
                        <a:pt x="108464" y="14502"/>
                      </a:lnTo>
                      <a:lnTo>
                        <a:pt x="102285" y="0"/>
                      </a:lnTo>
                      <a:lnTo>
                        <a:pt x="100492" y="21385"/>
                      </a:lnTo>
                      <a:lnTo>
                        <a:pt x="96138" y="30830"/>
                      </a:lnTo>
                      <a:lnTo>
                        <a:pt x="85958" y="35888"/>
                      </a:lnTo>
                      <a:lnTo>
                        <a:pt x="84165" y="47157"/>
                      </a:lnTo>
                      <a:lnTo>
                        <a:pt x="79075" y="48950"/>
                      </a:lnTo>
                      <a:lnTo>
                        <a:pt x="73985" y="70367"/>
                      </a:lnTo>
                      <a:lnTo>
                        <a:pt x="82340" y="74721"/>
                      </a:lnTo>
                      <a:lnTo>
                        <a:pt x="82340" y="82340"/>
                      </a:lnTo>
                      <a:lnTo>
                        <a:pt x="87783" y="84133"/>
                      </a:lnTo>
                      <a:lnTo>
                        <a:pt x="84165" y="101197"/>
                      </a:lnTo>
                      <a:lnTo>
                        <a:pt x="89223" y="114258"/>
                      </a:lnTo>
                      <a:lnTo>
                        <a:pt x="97227" y="134939"/>
                      </a:lnTo>
                      <a:lnTo>
                        <a:pt x="86694" y="158150"/>
                      </a:lnTo>
                      <a:lnTo>
                        <a:pt x="89223" y="168298"/>
                      </a:lnTo>
                      <a:lnTo>
                        <a:pt x="79811" y="170859"/>
                      </a:lnTo>
                      <a:lnTo>
                        <a:pt x="39537" y="208924"/>
                      </a:lnTo>
                      <a:lnTo>
                        <a:pt x="0" y="245932"/>
                      </a:lnTo>
                      <a:lnTo>
                        <a:pt x="12710" y="265525"/>
                      </a:lnTo>
                      <a:lnTo>
                        <a:pt x="8356" y="286206"/>
                      </a:lnTo>
                      <a:lnTo>
                        <a:pt x="23210" y="319949"/>
                      </a:lnTo>
                      <a:lnTo>
                        <a:pt x="30093" y="314859"/>
                      </a:lnTo>
                      <a:lnTo>
                        <a:pt x="46420" y="314859"/>
                      </a:lnTo>
                      <a:lnTo>
                        <a:pt x="58394" y="320653"/>
                      </a:lnTo>
                      <a:lnTo>
                        <a:pt x="58394" y="326832"/>
                      </a:lnTo>
                      <a:lnTo>
                        <a:pt x="47893" y="331922"/>
                      </a:lnTo>
                      <a:lnTo>
                        <a:pt x="47893" y="351867"/>
                      </a:lnTo>
                      <a:lnTo>
                        <a:pt x="50774" y="355132"/>
                      </a:lnTo>
                      <a:lnTo>
                        <a:pt x="63484" y="341334"/>
                      </a:lnTo>
                      <a:lnTo>
                        <a:pt x="76546" y="346424"/>
                      </a:lnTo>
                      <a:lnTo>
                        <a:pt x="85958" y="341334"/>
                      </a:lnTo>
                      <a:lnTo>
                        <a:pt x="92873" y="345688"/>
                      </a:lnTo>
                      <a:lnTo>
                        <a:pt x="94666" y="340630"/>
                      </a:lnTo>
                      <a:lnTo>
                        <a:pt x="107375" y="341334"/>
                      </a:lnTo>
                      <a:lnTo>
                        <a:pt x="103021" y="346424"/>
                      </a:lnTo>
                      <a:lnTo>
                        <a:pt x="106639" y="352571"/>
                      </a:lnTo>
                      <a:lnTo>
                        <a:pt x="121173" y="348217"/>
                      </a:lnTo>
                      <a:lnTo>
                        <a:pt x="145472" y="381960"/>
                      </a:lnTo>
                      <a:lnTo>
                        <a:pt x="163240" y="385962"/>
                      </a:lnTo>
                      <a:lnTo>
                        <a:pt x="170123" y="409172"/>
                      </a:lnTo>
                      <a:lnTo>
                        <a:pt x="178831" y="412790"/>
                      </a:lnTo>
                      <a:lnTo>
                        <a:pt x="197687" y="409172"/>
                      </a:lnTo>
                      <a:lnTo>
                        <a:pt x="222722" y="413526"/>
                      </a:lnTo>
                      <a:lnTo>
                        <a:pt x="222018" y="402289"/>
                      </a:lnTo>
                      <a:lnTo>
                        <a:pt x="158886" y="336276"/>
                      </a:lnTo>
                      <a:lnTo>
                        <a:pt x="188275" y="202777"/>
                      </a:lnTo>
                      <a:lnTo>
                        <a:pt x="199512" y="194422"/>
                      </a:lnTo>
                      <a:lnTo>
                        <a:pt x="210749" y="192597"/>
                      </a:lnTo>
                      <a:lnTo>
                        <a:pt x="227076" y="201305"/>
                      </a:lnTo>
                      <a:lnTo>
                        <a:pt x="235784" y="196951"/>
                      </a:lnTo>
                      <a:lnTo>
                        <a:pt x="255377" y="204570"/>
                      </a:lnTo>
                      <a:lnTo>
                        <a:pt x="258994" y="161415"/>
                      </a:lnTo>
                      <a:lnTo>
                        <a:pt x="257906" y="153059"/>
                      </a:lnTo>
                      <a:lnTo>
                        <a:pt x="262259" y="144352"/>
                      </a:lnTo>
                      <a:lnTo>
                        <a:pt x="257201" y="120437"/>
                      </a:lnTo>
                      <a:lnTo>
                        <a:pt x="263348" y="102285"/>
                      </a:lnTo>
                      <a:lnTo>
                        <a:pt x="250286" y="89223"/>
                      </a:lnTo>
                      <a:lnTo>
                        <a:pt x="251022" y="84133"/>
                      </a:lnTo>
                      <a:lnTo>
                        <a:pt x="232166" y="67806"/>
                      </a:lnTo>
                      <a:lnTo>
                        <a:pt x="228901" y="47861"/>
                      </a:lnTo>
                      <a:lnTo>
                        <a:pt x="237224" y="34095"/>
                      </a:lnTo>
                      <a:lnTo>
                        <a:pt x="232166" y="28268"/>
                      </a:lnTo>
                      <a:lnTo>
                        <a:pt x="208956" y="24651"/>
                      </a:lnTo>
                      <a:lnTo>
                        <a:pt x="185009" y="40242"/>
                      </a:lnTo>
                      <a:lnTo>
                        <a:pt x="146913" y="4097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8" name="Forma Livre: Forma 357">
                  <a:extLst>
                    <a:ext uri="{FF2B5EF4-FFF2-40B4-BE49-F238E27FC236}">
                      <a16:creationId xmlns:a16="http://schemas.microsoft.com/office/drawing/2014/main" id="{E4EDA4F4-AC14-35EF-ADFB-8A93479F4078}"/>
                    </a:ext>
                  </a:extLst>
                </p:cNvPr>
                <p:cNvSpPr/>
                <p:nvPr/>
              </p:nvSpPr>
              <p:spPr>
                <a:xfrm>
                  <a:off x="3236028" y="2313022"/>
                  <a:ext cx="263347" cy="413525"/>
                </a:xfrm>
                <a:custGeom>
                  <a:avLst/>
                  <a:gdLst>
                    <a:gd name="csX0" fmla="*/ 146913 w 263347"/>
                    <a:gd name="csY0" fmla="*/ 40978 h 413525"/>
                    <a:gd name="csX1" fmla="*/ 121173 w 263347"/>
                    <a:gd name="csY1" fmla="*/ 17031 h 413525"/>
                    <a:gd name="csX2" fmla="*/ 108464 w 263347"/>
                    <a:gd name="csY2" fmla="*/ 14502 h 413525"/>
                    <a:gd name="csX3" fmla="*/ 102285 w 263347"/>
                    <a:gd name="csY3" fmla="*/ 0 h 413525"/>
                    <a:gd name="csX4" fmla="*/ 100492 w 263347"/>
                    <a:gd name="csY4" fmla="*/ 21385 h 413525"/>
                    <a:gd name="csX5" fmla="*/ 96138 w 263347"/>
                    <a:gd name="csY5" fmla="*/ 30830 h 413525"/>
                    <a:gd name="csX6" fmla="*/ 85958 w 263347"/>
                    <a:gd name="csY6" fmla="*/ 35888 h 413525"/>
                    <a:gd name="csX7" fmla="*/ 84165 w 263347"/>
                    <a:gd name="csY7" fmla="*/ 47157 h 413525"/>
                    <a:gd name="csX8" fmla="*/ 79075 w 263347"/>
                    <a:gd name="csY8" fmla="*/ 48950 h 413525"/>
                    <a:gd name="csX9" fmla="*/ 73985 w 263347"/>
                    <a:gd name="csY9" fmla="*/ 70367 h 413525"/>
                    <a:gd name="csX10" fmla="*/ 82340 w 263347"/>
                    <a:gd name="csY10" fmla="*/ 74721 h 413525"/>
                    <a:gd name="csX11" fmla="*/ 82340 w 263347"/>
                    <a:gd name="csY11" fmla="*/ 82340 h 413525"/>
                    <a:gd name="csX12" fmla="*/ 87783 w 263347"/>
                    <a:gd name="csY12" fmla="*/ 84133 h 413525"/>
                    <a:gd name="csX13" fmla="*/ 84165 w 263347"/>
                    <a:gd name="csY13" fmla="*/ 101197 h 413525"/>
                    <a:gd name="csX14" fmla="*/ 89223 w 263347"/>
                    <a:gd name="csY14" fmla="*/ 114258 h 413525"/>
                    <a:gd name="csX15" fmla="*/ 97227 w 263347"/>
                    <a:gd name="csY15" fmla="*/ 134939 h 413525"/>
                    <a:gd name="csX16" fmla="*/ 86694 w 263347"/>
                    <a:gd name="csY16" fmla="*/ 158150 h 413525"/>
                    <a:gd name="csX17" fmla="*/ 89223 w 263347"/>
                    <a:gd name="csY17" fmla="*/ 168298 h 413525"/>
                    <a:gd name="csX18" fmla="*/ 79811 w 263347"/>
                    <a:gd name="csY18" fmla="*/ 170859 h 413525"/>
                    <a:gd name="csX19" fmla="*/ 39537 w 263347"/>
                    <a:gd name="csY19" fmla="*/ 208924 h 413525"/>
                    <a:gd name="csX20" fmla="*/ 0 w 263347"/>
                    <a:gd name="csY20" fmla="*/ 245932 h 413525"/>
                    <a:gd name="csX21" fmla="*/ 12710 w 263347"/>
                    <a:gd name="csY21" fmla="*/ 265525 h 413525"/>
                    <a:gd name="csX22" fmla="*/ 8356 w 263347"/>
                    <a:gd name="csY22" fmla="*/ 286206 h 413525"/>
                    <a:gd name="csX23" fmla="*/ 23210 w 263347"/>
                    <a:gd name="csY23" fmla="*/ 319949 h 413525"/>
                    <a:gd name="csX24" fmla="*/ 30093 w 263347"/>
                    <a:gd name="csY24" fmla="*/ 314859 h 413525"/>
                    <a:gd name="csX25" fmla="*/ 46420 w 263347"/>
                    <a:gd name="csY25" fmla="*/ 314859 h 413525"/>
                    <a:gd name="csX26" fmla="*/ 58394 w 263347"/>
                    <a:gd name="csY26" fmla="*/ 320653 h 413525"/>
                    <a:gd name="csX27" fmla="*/ 58394 w 263347"/>
                    <a:gd name="csY27" fmla="*/ 326832 h 413525"/>
                    <a:gd name="csX28" fmla="*/ 47893 w 263347"/>
                    <a:gd name="csY28" fmla="*/ 331922 h 413525"/>
                    <a:gd name="csX29" fmla="*/ 47893 w 263347"/>
                    <a:gd name="csY29" fmla="*/ 351867 h 413525"/>
                    <a:gd name="csX30" fmla="*/ 50774 w 263347"/>
                    <a:gd name="csY30" fmla="*/ 355132 h 413525"/>
                    <a:gd name="csX31" fmla="*/ 63484 w 263347"/>
                    <a:gd name="csY31" fmla="*/ 341334 h 413525"/>
                    <a:gd name="csX32" fmla="*/ 76546 w 263347"/>
                    <a:gd name="csY32" fmla="*/ 346424 h 413525"/>
                    <a:gd name="csX33" fmla="*/ 85958 w 263347"/>
                    <a:gd name="csY33" fmla="*/ 341334 h 413525"/>
                    <a:gd name="csX34" fmla="*/ 92873 w 263347"/>
                    <a:gd name="csY34" fmla="*/ 345688 h 413525"/>
                    <a:gd name="csX35" fmla="*/ 94666 w 263347"/>
                    <a:gd name="csY35" fmla="*/ 340630 h 413525"/>
                    <a:gd name="csX36" fmla="*/ 107375 w 263347"/>
                    <a:gd name="csY36" fmla="*/ 341334 h 413525"/>
                    <a:gd name="csX37" fmla="*/ 103021 w 263347"/>
                    <a:gd name="csY37" fmla="*/ 346424 h 413525"/>
                    <a:gd name="csX38" fmla="*/ 106639 w 263347"/>
                    <a:gd name="csY38" fmla="*/ 352571 h 413525"/>
                    <a:gd name="csX39" fmla="*/ 121173 w 263347"/>
                    <a:gd name="csY39" fmla="*/ 348217 h 413525"/>
                    <a:gd name="csX40" fmla="*/ 145472 w 263347"/>
                    <a:gd name="csY40" fmla="*/ 381960 h 413525"/>
                    <a:gd name="csX41" fmla="*/ 163240 w 263347"/>
                    <a:gd name="csY41" fmla="*/ 385962 h 413525"/>
                    <a:gd name="csX42" fmla="*/ 170123 w 263347"/>
                    <a:gd name="csY42" fmla="*/ 409172 h 413525"/>
                    <a:gd name="csX43" fmla="*/ 178831 w 263347"/>
                    <a:gd name="csY43" fmla="*/ 412790 h 413525"/>
                    <a:gd name="csX44" fmla="*/ 197687 w 263347"/>
                    <a:gd name="csY44" fmla="*/ 409172 h 413525"/>
                    <a:gd name="csX45" fmla="*/ 222722 w 263347"/>
                    <a:gd name="csY45" fmla="*/ 413526 h 413525"/>
                    <a:gd name="csX46" fmla="*/ 222018 w 263347"/>
                    <a:gd name="csY46" fmla="*/ 402289 h 413525"/>
                    <a:gd name="csX47" fmla="*/ 158886 w 263347"/>
                    <a:gd name="csY47" fmla="*/ 336276 h 413525"/>
                    <a:gd name="csX48" fmla="*/ 188275 w 263347"/>
                    <a:gd name="csY48" fmla="*/ 202777 h 413525"/>
                    <a:gd name="csX49" fmla="*/ 199512 w 263347"/>
                    <a:gd name="csY49" fmla="*/ 194422 h 413525"/>
                    <a:gd name="csX50" fmla="*/ 210749 w 263347"/>
                    <a:gd name="csY50" fmla="*/ 192597 h 413525"/>
                    <a:gd name="csX51" fmla="*/ 227076 w 263347"/>
                    <a:gd name="csY51" fmla="*/ 201305 h 413525"/>
                    <a:gd name="csX52" fmla="*/ 235784 w 263347"/>
                    <a:gd name="csY52" fmla="*/ 196951 h 413525"/>
                    <a:gd name="csX53" fmla="*/ 255377 w 263347"/>
                    <a:gd name="csY53" fmla="*/ 204570 h 413525"/>
                    <a:gd name="csX54" fmla="*/ 258994 w 263347"/>
                    <a:gd name="csY54" fmla="*/ 161415 h 413525"/>
                    <a:gd name="csX55" fmla="*/ 257906 w 263347"/>
                    <a:gd name="csY55" fmla="*/ 153059 h 413525"/>
                    <a:gd name="csX56" fmla="*/ 262259 w 263347"/>
                    <a:gd name="csY56" fmla="*/ 144352 h 413525"/>
                    <a:gd name="csX57" fmla="*/ 257201 w 263347"/>
                    <a:gd name="csY57" fmla="*/ 120437 h 413525"/>
                    <a:gd name="csX58" fmla="*/ 263348 w 263347"/>
                    <a:gd name="csY58" fmla="*/ 102285 h 413525"/>
                    <a:gd name="csX59" fmla="*/ 250286 w 263347"/>
                    <a:gd name="csY59" fmla="*/ 89223 h 413525"/>
                    <a:gd name="csX60" fmla="*/ 251022 w 263347"/>
                    <a:gd name="csY60" fmla="*/ 84133 h 413525"/>
                    <a:gd name="csX61" fmla="*/ 232166 w 263347"/>
                    <a:gd name="csY61" fmla="*/ 67806 h 413525"/>
                    <a:gd name="csX62" fmla="*/ 228901 w 263347"/>
                    <a:gd name="csY62" fmla="*/ 47861 h 413525"/>
                    <a:gd name="csX63" fmla="*/ 237224 w 263347"/>
                    <a:gd name="csY63" fmla="*/ 34095 h 413525"/>
                    <a:gd name="csX64" fmla="*/ 232166 w 263347"/>
                    <a:gd name="csY64" fmla="*/ 28268 h 413525"/>
                    <a:gd name="csX65" fmla="*/ 208956 w 263347"/>
                    <a:gd name="csY65" fmla="*/ 24651 h 413525"/>
                    <a:gd name="csX66" fmla="*/ 185009 w 263347"/>
                    <a:gd name="csY66" fmla="*/ 40242 h 413525"/>
                    <a:gd name="csX67" fmla="*/ 146913 w 263347"/>
                    <a:gd name="csY67" fmla="*/ 40978 h 413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3347" h="413525">
                      <a:moveTo>
                        <a:pt x="146913" y="40978"/>
                      </a:moveTo>
                      <a:lnTo>
                        <a:pt x="121173" y="17031"/>
                      </a:lnTo>
                      <a:lnTo>
                        <a:pt x="108464" y="14502"/>
                      </a:lnTo>
                      <a:lnTo>
                        <a:pt x="102285" y="0"/>
                      </a:lnTo>
                      <a:lnTo>
                        <a:pt x="100492" y="21385"/>
                      </a:lnTo>
                      <a:lnTo>
                        <a:pt x="96138" y="30830"/>
                      </a:lnTo>
                      <a:lnTo>
                        <a:pt x="85958" y="35888"/>
                      </a:lnTo>
                      <a:lnTo>
                        <a:pt x="84165" y="47157"/>
                      </a:lnTo>
                      <a:lnTo>
                        <a:pt x="79075" y="48950"/>
                      </a:lnTo>
                      <a:lnTo>
                        <a:pt x="73985" y="70367"/>
                      </a:lnTo>
                      <a:lnTo>
                        <a:pt x="82340" y="74721"/>
                      </a:lnTo>
                      <a:lnTo>
                        <a:pt x="82340" y="82340"/>
                      </a:lnTo>
                      <a:lnTo>
                        <a:pt x="87783" y="84133"/>
                      </a:lnTo>
                      <a:lnTo>
                        <a:pt x="84165" y="101197"/>
                      </a:lnTo>
                      <a:lnTo>
                        <a:pt x="89223" y="114258"/>
                      </a:lnTo>
                      <a:lnTo>
                        <a:pt x="97227" y="134939"/>
                      </a:lnTo>
                      <a:lnTo>
                        <a:pt x="86694" y="158150"/>
                      </a:lnTo>
                      <a:lnTo>
                        <a:pt x="89223" y="168298"/>
                      </a:lnTo>
                      <a:lnTo>
                        <a:pt x="79811" y="170859"/>
                      </a:lnTo>
                      <a:lnTo>
                        <a:pt x="39537" y="208924"/>
                      </a:lnTo>
                      <a:lnTo>
                        <a:pt x="0" y="245932"/>
                      </a:lnTo>
                      <a:lnTo>
                        <a:pt x="12710" y="265525"/>
                      </a:lnTo>
                      <a:lnTo>
                        <a:pt x="8356" y="286206"/>
                      </a:lnTo>
                      <a:lnTo>
                        <a:pt x="23210" y="319949"/>
                      </a:lnTo>
                      <a:lnTo>
                        <a:pt x="30093" y="314859"/>
                      </a:lnTo>
                      <a:lnTo>
                        <a:pt x="46420" y="314859"/>
                      </a:lnTo>
                      <a:lnTo>
                        <a:pt x="58394" y="320653"/>
                      </a:lnTo>
                      <a:lnTo>
                        <a:pt x="58394" y="326832"/>
                      </a:lnTo>
                      <a:lnTo>
                        <a:pt x="47893" y="331922"/>
                      </a:lnTo>
                      <a:lnTo>
                        <a:pt x="47893" y="351867"/>
                      </a:lnTo>
                      <a:lnTo>
                        <a:pt x="50774" y="355132"/>
                      </a:lnTo>
                      <a:lnTo>
                        <a:pt x="63484" y="341334"/>
                      </a:lnTo>
                      <a:lnTo>
                        <a:pt x="76546" y="346424"/>
                      </a:lnTo>
                      <a:lnTo>
                        <a:pt x="85958" y="341334"/>
                      </a:lnTo>
                      <a:lnTo>
                        <a:pt x="92873" y="345688"/>
                      </a:lnTo>
                      <a:lnTo>
                        <a:pt x="94666" y="340630"/>
                      </a:lnTo>
                      <a:lnTo>
                        <a:pt x="107375" y="341334"/>
                      </a:lnTo>
                      <a:lnTo>
                        <a:pt x="103021" y="346424"/>
                      </a:lnTo>
                      <a:lnTo>
                        <a:pt x="106639" y="352571"/>
                      </a:lnTo>
                      <a:lnTo>
                        <a:pt x="121173" y="348217"/>
                      </a:lnTo>
                      <a:lnTo>
                        <a:pt x="145472" y="381960"/>
                      </a:lnTo>
                      <a:lnTo>
                        <a:pt x="163240" y="385962"/>
                      </a:lnTo>
                      <a:lnTo>
                        <a:pt x="170123" y="409172"/>
                      </a:lnTo>
                      <a:lnTo>
                        <a:pt x="178831" y="412790"/>
                      </a:lnTo>
                      <a:lnTo>
                        <a:pt x="197687" y="409172"/>
                      </a:lnTo>
                      <a:lnTo>
                        <a:pt x="222722" y="413526"/>
                      </a:lnTo>
                      <a:lnTo>
                        <a:pt x="222018" y="402289"/>
                      </a:lnTo>
                      <a:lnTo>
                        <a:pt x="158886" y="336276"/>
                      </a:lnTo>
                      <a:lnTo>
                        <a:pt x="188275" y="202777"/>
                      </a:lnTo>
                      <a:lnTo>
                        <a:pt x="199512" y="194422"/>
                      </a:lnTo>
                      <a:lnTo>
                        <a:pt x="210749" y="192597"/>
                      </a:lnTo>
                      <a:lnTo>
                        <a:pt x="227076" y="201305"/>
                      </a:lnTo>
                      <a:lnTo>
                        <a:pt x="235784" y="196951"/>
                      </a:lnTo>
                      <a:lnTo>
                        <a:pt x="255377" y="204570"/>
                      </a:lnTo>
                      <a:lnTo>
                        <a:pt x="258994" y="161415"/>
                      </a:lnTo>
                      <a:lnTo>
                        <a:pt x="257906" y="153059"/>
                      </a:lnTo>
                      <a:lnTo>
                        <a:pt x="262259" y="144352"/>
                      </a:lnTo>
                      <a:lnTo>
                        <a:pt x="257201" y="120437"/>
                      </a:lnTo>
                      <a:lnTo>
                        <a:pt x="263348" y="102285"/>
                      </a:lnTo>
                      <a:lnTo>
                        <a:pt x="250286" y="89223"/>
                      </a:lnTo>
                      <a:lnTo>
                        <a:pt x="251022" y="84133"/>
                      </a:lnTo>
                      <a:lnTo>
                        <a:pt x="232166" y="67806"/>
                      </a:lnTo>
                      <a:lnTo>
                        <a:pt x="228901" y="47861"/>
                      </a:lnTo>
                      <a:lnTo>
                        <a:pt x="237224" y="34095"/>
                      </a:lnTo>
                      <a:lnTo>
                        <a:pt x="232166" y="28268"/>
                      </a:lnTo>
                      <a:lnTo>
                        <a:pt x="208956" y="24651"/>
                      </a:lnTo>
                      <a:lnTo>
                        <a:pt x="185009" y="40242"/>
                      </a:lnTo>
                      <a:lnTo>
                        <a:pt x="146913" y="4097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59" name="Forma Livre: Forma 358">
                  <a:extLst>
                    <a:ext uri="{FF2B5EF4-FFF2-40B4-BE49-F238E27FC236}">
                      <a16:creationId xmlns:a16="http://schemas.microsoft.com/office/drawing/2014/main" id="{28355E17-09E1-36EC-25BB-6998B778CB8E}"/>
                    </a:ext>
                  </a:extLst>
                </p:cNvPr>
                <p:cNvSpPr/>
                <p:nvPr/>
              </p:nvSpPr>
              <p:spPr>
                <a:xfrm>
                  <a:off x="3236028" y="2313022"/>
                  <a:ext cx="263347" cy="413525"/>
                </a:xfrm>
                <a:custGeom>
                  <a:avLst/>
                  <a:gdLst>
                    <a:gd name="csX0" fmla="*/ 146913 w 263347"/>
                    <a:gd name="csY0" fmla="*/ 40978 h 413525"/>
                    <a:gd name="csX1" fmla="*/ 121173 w 263347"/>
                    <a:gd name="csY1" fmla="*/ 17031 h 413525"/>
                    <a:gd name="csX2" fmla="*/ 108464 w 263347"/>
                    <a:gd name="csY2" fmla="*/ 14502 h 413525"/>
                    <a:gd name="csX3" fmla="*/ 102285 w 263347"/>
                    <a:gd name="csY3" fmla="*/ 0 h 413525"/>
                    <a:gd name="csX4" fmla="*/ 100492 w 263347"/>
                    <a:gd name="csY4" fmla="*/ 21385 h 413525"/>
                    <a:gd name="csX5" fmla="*/ 96138 w 263347"/>
                    <a:gd name="csY5" fmla="*/ 30830 h 413525"/>
                    <a:gd name="csX6" fmla="*/ 85958 w 263347"/>
                    <a:gd name="csY6" fmla="*/ 35888 h 413525"/>
                    <a:gd name="csX7" fmla="*/ 84165 w 263347"/>
                    <a:gd name="csY7" fmla="*/ 47157 h 413525"/>
                    <a:gd name="csX8" fmla="*/ 79075 w 263347"/>
                    <a:gd name="csY8" fmla="*/ 48950 h 413525"/>
                    <a:gd name="csX9" fmla="*/ 73985 w 263347"/>
                    <a:gd name="csY9" fmla="*/ 70367 h 413525"/>
                    <a:gd name="csX10" fmla="*/ 82340 w 263347"/>
                    <a:gd name="csY10" fmla="*/ 74721 h 413525"/>
                    <a:gd name="csX11" fmla="*/ 82340 w 263347"/>
                    <a:gd name="csY11" fmla="*/ 82340 h 413525"/>
                    <a:gd name="csX12" fmla="*/ 87783 w 263347"/>
                    <a:gd name="csY12" fmla="*/ 84133 h 413525"/>
                    <a:gd name="csX13" fmla="*/ 84165 w 263347"/>
                    <a:gd name="csY13" fmla="*/ 101197 h 413525"/>
                    <a:gd name="csX14" fmla="*/ 89223 w 263347"/>
                    <a:gd name="csY14" fmla="*/ 114258 h 413525"/>
                    <a:gd name="csX15" fmla="*/ 97227 w 263347"/>
                    <a:gd name="csY15" fmla="*/ 134939 h 413525"/>
                    <a:gd name="csX16" fmla="*/ 86694 w 263347"/>
                    <a:gd name="csY16" fmla="*/ 158150 h 413525"/>
                    <a:gd name="csX17" fmla="*/ 89223 w 263347"/>
                    <a:gd name="csY17" fmla="*/ 168298 h 413525"/>
                    <a:gd name="csX18" fmla="*/ 79811 w 263347"/>
                    <a:gd name="csY18" fmla="*/ 170859 h 413525"/>
                    <a:gd name="csX19" fmla="*/ 39537 w 263347"/>
                    <a:gd name="csY19" fmla="*/ 208924 h 413525"/>
                    <a:gd name="csX20" fmla="*/ 0 w 263347"/>
                    <a:gd name="csY20" fmla="*/ 245932 h 413525"/>
                    <a:gd name="csX21" fmla="*/ 12710 w 263347"/>
                    <a:gd name="csY21" fmla="*/ 265525 h 413525"/>
                    <a:gd name="csX22" fmla="*/ 8356 w 263347"/>
                    <a:gd name="csY22" fmla="*/ 286206 h 413525"/>
                    <a:gd name="csX23" fmla="*/ 23210 w 263347"/>
                    <a:gd name="csY23" fmla="*/ 319949 h 413525"/>
                    <a:gd name="csX24" fmla="*/ 30093 w 263347"/>
                    <a:gd name="csY24" fmla="*/ 314859 h 413525"/>
                    <a:gd name="csX25" fmla="*/ 46420 w 263347"/>
                    <a:gd name="csY25" fmla="*/ 314859 h 413525"/>
                    <a:gd name="csX26" fmla="*/ 58394 w 263347"/>
                    <a:gd name="csY26" fmla="*/ 320653 h 413525"/>
                    <a:gd name="csX27" fmla="*/ 58394 w 263347"/>
                    <a:gd name="csY27" fmla="*/ 326832 h 413525"/>
                    <a:gd name="csX28" fmla="*/ 47893 w 263347"/>
                    <a:gd name="csY28" fmla="*/ 331922 h 413525"/>
                    <a:gd name="csX29" fmla="*/ 47893 w 263347"/>
                    <a:gd name="csY29" fmla="*/ 351867 h 413525"/>
                    <a:gd name="csX30" fmla="*/ 50774 w 263347"/>
                    <a:gd name="csY30" fmla="*/ 355132 h 413525"/>
                    <a:gd name="csX31" fmla="*/ 63484 w 263347"/>
                    <a:gd name="csY31" fmla="*/ 341334 h 413525"/>
                    <a:gd name="csX32" fmla="*/ 76546 w 263347"/>
                    <a:gd name="csY32" fmla="*/ 346424 h 413525"/>
                    <a:gd name="csX33" fmla="*/ 85958 w 263347"/>
                    <a:gd name="csY33" fmla="*/ 341334 h 413525"/>
                    <a:gd name="csX34" fmla="*/ 92873 w 263347"/>
                    <a:gd name="csY34" fmla="*/ 345688 h 413525"/>
                    <a:gd name="csX35" fmla="*/ 94666 w 263347"/>
                    <a:gd name="csY35" fmla="*/ 340630 h 413525"/>
                    <a:gd name="csX36" fmla="*/ 107375 w 263347"/>
                    <a:gd name="csY36" fmla="*/ 341334 h 413525"/>
                    <a:gd name="csX37" fmla="*/ 103021 w 263347"/>
                    <a:gd name="csY37" fmla="*/ 346424 h 413525"/>
                    <a:gd name="csX38" fmla="*/ 106639 w 263347"/>
                    <a:gd name="csY38" fmla="*/ 352571 h 413525"/>
                    <a:gd name="csX39" fmla="*/ 121173 w 263347"/>
                    <a:gd name="csY39" fmla="*/ 348217 h 413525"/>
                    <a:gd name="csX40" fmla="*/ 145472 w 263347"/>
                    <a:gd name="csY40" fmla="*/ 381960 h 413525"/>
                    <a:gd name="csX41" fmla="*/ 163240 w 263347"/>
                    <a:gd name="csY41" fmla="*/ 385962 h 413525"/>
                    <a:gd name="csX42" fmla="*/ 170123 w 263347"/>
                    <a:gd name="csY42" fmla="*/ 409172 h 413525"/>
                    <a:gd name="csX43" fmla="*/ 178831 w 263347"/>
                    <a:gd name="csY43" fmla="*/ 412790 h 413525"/>
                    <a:gd name="csX44" fmla="*/ 197687 w 263347"/>
                    <a:gd name="csY44" fmla="*/ 409172 h 413525"/>
                    <a:gd name="csX45" fmla="*/ 222722 w 263347"/>
                    <a:gd name="csY45" fmla="*/ 413526 h 413525"/>
                    <a:gd name="csX46" fmla="*/ 222018 w 263347"/>
                    <a:gd name="csY46" fmla="*/ 402289 h 413525"/>
                    <a:gd name="csX47" fmla="*/ 158886 w 263347"/>
                    <a:gd name="csY47" fmla="*/ 336276 h 413525"/>
                    <a:gd name="csX48" fmla="*/ 188275 w 263347"/>
                    <a:gd name="csY48" fmla="*/ 202777 h 413525"/>
                    <a:gd name="csX49" fmla="*/ 199512 w 263347"/>
                    <a:gd name="csY49" fmla="*/ 194422 h 413525"/>
                    <a:gd name="csX50" fmla="*/ 210749 w 263347"/>
                    <a:gd name="csY50" fmla="*/ 192597 h 413525"/>
                    <a:gd name="csX51" fmla="*/ 227076 w 263347"/>
                    <a:gd name="csY51" fmla="*/ 201305 h 413525"/>
                    <a:gd name="csX52" fmla="*/ 235784 w 263347"/>
                    <a:gd name="csY52" fmla="*/ 196951 h 413525"/>
                    <a:gd name="csX53" fmla="*/ 255377 w 263347"/>
                    <a:gd name="csY53" fmla="*/ 204570 h 413525"/>
                    <a:gd name="csX54" fmla="*/ 258994 w 263347"/>
                    <a:gd name="csY54" fmla="*/ 161415 h 413525"/>
                    <a:gd name="csX55" fmla="*/ 257906 w 263347"/>
                    <a:gd name="csY55" fmla="*/ 153059 h 413525"/>
                    <a:gd name="csX56" fmla="*/ 262259 w 263347"/>
                    <a:gd name="csY56" fmla="*/ 144352 h 413525"/>
                    <a:gd name="csX57" fmla="*/ 257201 w 263347"/>
                    <a:gd name="csY57" fmla="*/ 120437 h 413525"/>
                    <a:gd name="csX58" fmla="*/ 263348 w 263347"/>
                    <a:gd name="csY58" fmla="*/ 102285 h 413525"/>
                    <a:gd name="csX59" fmla="*/ 250286 w 263347"/>
                    <a:gd name="csY59" fmla="*/ 89223 h 413525"/>
                    <a:gd name="csX60" fmla="*/ 251022 w 263347"/>
                    <a:gd name="csY60" fmla="*/ 84133 h 413525"/>
                    <a:gd name="csX61" fmla="*/ 232166 w 263347"/>
                    <a:gd name="csY61" fmla="*/ 67806 h 413525"/>
                    <a:gd name="csX62" fmla="*/ 228901 w 263347"/>
                    <a:gd name="csY62" fmla="*/ 47861 h 413525"/>
                    <a:gd name="csX63" fmla="*/ 237224 w 263347"/>
                    <a:gd name="csY63" fmla="*/ 34095 h 413525"/>
                    <a:gd name="csX64" fmla="*/ 232166 w 263347"/>
                    <a:gd name="csY64" fmla="*/ 28268 h 413525"/>
                    <a:gd name="csX65" fmla="*/ 208956 w 263347"/>
                    <a:gd name="csY65" fmla="*/ 24651 h 413525"/>
                    <a:gd name="csX66" fmla="*/ 185009 w 263347"/>
                    <a:gd name="csY66" fmla="*/ 40242 h 413525"/>
                    <a:gd name="csX67" fmla="*/ 146913 w 263347"/>
                    <a:gd name="csY67" fmla="*/ 40978 h 413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3347" h="413525">
                      <a:moveTo>
                        <a:pt x="146913" y="40978"/>
                      </a:moveTo>
                      <a:lnTo>
                        <a:pt x="121173" y="17031"/>
                      </a:lnTo>
                      <a:lnTo>
                        <a:pt x="108464" y="14502"/>
                      </a:lnTo>
                      <a:lnTo>
                        <a:pt x="102285" y="0"/>
                      </a:lnTo>
                      <a:lnTo>
                        <a:pt x="100492" y="21385"/>
                      </a:lnTo>
                      <a:lnTo>
                        <a:pt x="96138" y="30830"/>
                      </a:lnTo>
                      <a:lnTo>
                        <a:pt x="85958" y="35888"/>
                      </a:lnTo>
                      <a:lnTo>
                        <a:pt x="84165" y="47157"/>
                      </a:lnTo>
                      <a:lnTo>
                        <a:pt x="79075" y="48950"/>
                      </a:lnTo>
                      <a:lnTo>
                        <a:pt x="73985" y="70367"/>
                      </a:lnTo>
                      <a:lnTo>
                        <a:pt x="82340" y="74721"/>
                      </a:lnTo>
                      <a:lnTo>
                        <a:pt x="82340" y="82340"/>
                      </a:lnTo>
                      <a:lnTo>
                        <a:pt x="87783" y="84133"/>
                      </a:lnTo>
                      <a:lnTo>
                        <a:pt x="84165" y="101197"/>
                      </a:lnTo>
                      <a:lnTo>
                        <a:pt x="89223" y="114258"/>
                      </a:lnTo>
                      <a:lnTo>
                        <a:pt x="97227" y="134939"/>
                      </a:lnTo>
                      <a:lnTo>
                        <a:pt x="86694" y="158150"/>
                      </a:lnTo>
                      <a:lnTo>
                        <a:pt x="89223" y="168298"/>
                      </a:lnTo>
                      <a:lnTo>
                        <a:pt x="79811" y="170859"/>
                      </a:lnTo>
                      <a:lnTo>
                        <a:pt x="39537" y="208924"/>
                      </a:lnTo>
                      <a:lnTo>
                        <a:pt x="0" y="245932"/>
                      </a:lnTo>
                      <a:lnTo>
                        <a:pt x="12710" y="265525"/>
                      </a:lnTo>
                      <a:lnTo>
                        <a:pt x="8356" y="286206"/>
                      </a:lnTo>
                      <a:lnTo>
                        <a:pt x="23210" y="319949"/>
                      </a:lnTo>
                      <a:lnTo>
                        <a:pt x="30093" y="314859"/>
                      </a:lnTo>
                      <a:lnTo>
                        <a:pt x="46420" y="314859"/>
                      </a:lnTo>
                      <a:lnTo>
                        <a:pt x="58394" y="320653"/>
                      </a:lnTo>
                      <a:lnTo>
                        <a:pt x="58394" y="326832"/>
                      </a:lnTo>
                      <a:lnTo>
                        <a:pt x="47893" y="331922"/>
                      </a:lnTo>
                      <a:lnTo>
                        <a:pt x="47893" y="351867"/>
                      </a:lnTo>
                      <a:lnTo>
                        <a:pt x="50774" y="355132"/>
                      </a:lnTo>
                      <a:lnTo>
                        <a:pt x="63484" y="341334"/>
                      </a:lnTo>
                      <a:lnTo>
                        <a:pt x="76546" y="346424"/>
                      </a:lnTo>
                      <a:lnTo>
                        <a:pt x="85958" y="341334"/>
                      </a:lnTo>
                      <a:lnTo>
                        <a:pt x="92873" y="345688"/>
                      </a:lnTo>
                      <a:lnTo>
                        <a:pt x="94666" y="340630"/>
                      </a:lnTo>
                      <a:lnTo>
                        <a:pt x="107375" y="341334"/>
                      </a:lnTo>
                      <a:lnTo>
                        <a:pt x="103021" y="346424"/>
                      </a:lnTo>
                      <a:lnTo>
                        <a:pt x="106639" y="352571"/>
                      </a:lnTo>
                      <a:lnTo>
                        <a:pt x="121173" y="348217"/>
                      </a:lnTo>
                      <a:lnTo>
                        <a:pt x="145472" y="381960"/>
                      </a:lnTo>
                      <a:lnTo>
                        <a:pt x="163240" y="385962"/>
                      </a:lnTo>
                      <a:lnTo>
                        <a:pt x="170123" y="409172"/>
                      </a:lnTo>
                      <a:lnTo>
                        <a:pt x="178831" y="412790"/>
                      </a:lnTo>
                      <a:lnTo>
                        <a:pt x="197687" y="409172"/>
                      </a:lnTo>
                      <a:lnTo>
                        <a:pt x="222722" y="413526"/>
                      </a:lnTo>
                      <a:lnTo>
                        <a:pt x="222018" y="402289"/>
                      </a:lnTo>
                      <a:lnTo>
                        <a:pt x="158886" y="336276"/>
                      </a:lnTo>
                      <a:lnTo>
                        <a:pt x="188275" y="202777"/>
                      </a:lnTo>
                      <a:lnTo>
                        <a:pt x="199512" y="194422"/>
                      </a:lnTo>
                      <a:lnTo>
                        <a:pt x="210749" y="192597"/>
                      </a:lnTo>
                      <a:lnTo>
                        <a:pt x="227076" y="201305"/>
                      </a:lnTo>
                      <a:lnTo>
                        <a:pt x="235784" y="196951"/>
                      </a:lnTo>
                      <a:lnTo>
                        <a:pt x="255377" y="204570"/>
                      </a:lnTo>
                      <a:lnTo>
                        <a:pt x="258994" y="161415"/>
                      </a:lnTo>
                      <a:lnTo>
                        <a:pt x="257906" y="153059"/>
                      </a:lnTo>
                      <a:lnTo>
                        <a:pt x="262259" y="144352"/>
                      </a:lnTo>
                      <a:lnTo>
                        <a:pt x="257201" y="120437"/>
                      </a:lnTo>
                      <a:lnTo>
                        <a:pt x="263348" y="102285"/>
                      </a:lnTo>
                      <a:lnTo>
                        <a:pt x="250286" y="89223"/>
                      </a:lnTo>
                      <a:lnTo>
                        <a:pt x="251022" y="84133"/>
                      </a:lnTo>
                      <a:lnTo>
                        <a:pt x="232166" y="67806"/>
                      </a:lnTo>
                      <a:lnTo>
                        <a:pt x="228901" y="47861"/>
                      </a:lnTo>
                      <a:lnTo>
                        <a:pt x="237224" y="34095"/>
                      </a:lnTo>
                      <a:lnTo>
                        <a:pt x="232166" y="28268"/>
                      </a:lnTo>
                      <a:lnTo>
                        <a:pt x="208956" y="24651"/>
                      </a:lnTo>
                      <a:lnTo>
                        <a:pt x="185009" y="40242"/>
                      </a:lnTo>
                      <a:lnTo>
                        <a:pt x="146913" y="4097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0" name="Forma Livre: Forma 359">
                  <a:extLst>
                    <a:ext uri="{FF2B5EF4-FFF2-40B4-BE49-F238E27FC236}">
                      <a16:creationId xmlns:a16="http://schemas.microsoft.com/office/drawing/2014/main" id="{CDCBD2DA-BB67-5F77-60BD-C35A8F5A891B}"/>
                    </a:ext>
                  </a:extLst>
                </p:cNvPr>
                <p:cNvSpPr/>
                <p:nvPr/>
              </p:nvSpPr>
              <p:spPr>
                <a:xfrm>
                  <a:off x="3236028" y="2313022"/>
                  <a:ext cx="263347" cy="413525"/>
                </a:xfrm>
                <a:custGeom>
                  <a:avLst/>
                  <a:gdLst>
                    <a:gd name="csX0" fmla="*/ 146913 w 263347"/>
                    <a:gd name="csY0" fmla="*/ 40978 h 413525"/>
                    <a:gd name="csX1" fmla="*/ 121173 w 263347"/>
                    <a:gd name="csY1" fmla="*/ 17031 h 413525"/>
                    <a:gd name="csX2" fmla="*/ 108464 w 263347"/>
                    <a:gd name="csY2" fmla="*/ 14502 h 413525"/>
                    <a:gd name="csX3" fmla="*/ 102285 w 263347"/>
                    <a:gd name="csY3" fmla="*/ 0 h 413525"/>
                    <a:gd name="csX4" fmla="*/ 100492 w 263347"/>
                    <a:gd name="csY4" fmla="*/ 21385 h 413525"/>
                    <a:gd name="csX5" fmla="*/ 96138 w 263347"/>
                    <a:gd name="csY5" fmla="*/ 30830 h 413525"/>
                    <a:gd name="csX6" fmla="*/ 85958 w 263347"/>
                    <a:gd name="csY6" fmla="*/ 35888 h 413525"/>
                    <a:gd name="csX7" fmla="*/ 84165 w 263347"/>
                    <a:gd name="csY7" fmla="*/ 47157 h 413525"/>
                    <a:gd name="csX8" fmla="*/ 79075 w 263347"/>
                    <a:gd name="csY8" fmla="*/ 48950 h 413525"/>
                    <a:gd name="csX9" fmla="*/ 73985 w 263347"/>
                    <a:gd name="csY9" fmla="*/ 70367 h 413525"/>
                    <a:gd name="csX10" fmla="*/ 82340 w 263347"/>
                    <a:gd name="csY10" fmla="*/ 74721 h 413525"/>
                    <a:gd name="csX11" fmla="*/ 82340 w 263347"/>
                    <a:gd name="csY11" fmla="*/ 82340 h 413525"/>
                    <a:gd name="csX12" fmla="*/ 87783 w 263347"/>
                    <a:gd name="csY12" fmla="*/ 84133 h 413525"/>
                    <a:gd name="csX13" fmla="*/ 84165 w 263347"/>
                    <a:gd name="csY13" fmla="*/ 101197 h 413525"/>
                    <a:gd name="csX14" fmla="*/ 89223 w 263347"/>
                    <a:gd name="csY14" fmla="*/ 114258 h 413525"/>
                    <a:gd name="csX15" fmla="*/ 97227 w 263347"/>
                    <a:gd name="csY15" fmla="*/ 134939 h 413525"/>
                    <a:gd name="csX16" fmla="*/ 86694 w 263347"/>
                    <a:gd name="csY16" fmla="*/ 158150 h 413525"/>
                    <a:gd name="csX17" fmla="*/ 89223 w 263347"/>
                    <a:gd name="csY17" fmla="*/ 168298 h 413525"/>
                    <a:gd name="csX18" fmla="*/ 79811 w 263347"/>
                    <a:gd name="csY18" fmla="*/ 170859 h 413525"/>
                    <a:gd name="csX19" fmla="*/ 39537 w 263347"/>
                    <a:gd name="csY19" fmla="*/ 208924 h 413525"/>
                    <a:gd name="csX20" fmla="*/ 0 w 263347"/>
                    <a:gd name="csY20" fmla="*/ 245932 h 413525"/>
                    <a:gd name="csX21" fmla="*/ 12710 w 263347"/>
                    <a:gd name="csY21" fmla="*/ 265525 h 413525"/>
                    <a:gd name="csX22" fmla="*/ 8356 w 263347"/>
                    <a:gd name="csY22" fmla="*/ 286206 h 413525"/>
                    <a:gd name="csX23" fmla="*/ 23210 w 263347"/>
                    <a:gd name="csY23" fmla="*/ 319949 h 413525"/>
                    <a:gd name="csX24" fmla="*/ 30093 w 263347"/>
                    <a:gd name="csY24" fmla="*/ 314859 h 413525"/>
                    <a:gd name="csX25" fmla="*/ 46420 w 263347"/>
                    <a:gd name="csY25" fmla="*/ 314859 h 413525"/>
                    <a:gd name="csX26" fmla="*/ 58394 w 263347"/>
                    <a:gd name="csY26" fmla="*/ 320653 h 413525"/>
                    <a:gd name="csX27" fmla="*/ 58394 w 263347"/>
                    <a:gd name="csY27" fmla="*/ 326832 h 413525"/>
                    <a:gd name="csX28" fmla="*/ 47893 w 263347"/>
                    <a:gd name="csY28" fmla="*/ 331922 h 413525"/>
                    <a:gd name="csX29" fmla="*/ 47893 w 263347"/>
                    <a:gd name="csY29" fmla="*/ 351867 h 413525"/>
                    <a:gd name="csX30" fmla="*/ 50774 w 263347"/>
                    <a:gd name="csY30" fmla="*/ 355132 h 413525"/>
                    <a:gd name="csX31" fmla="*/ 63484 w 263347"/>
                    <a:gd name="csY31" fmla="*/ 341334 h 413525"/>
                    <a:gd name="csX32" fmla="*/ 76546 w 263347"/>
                    <a:gd name="csY32" fmla="*/ 346424 h 413525"/>
                    <a:gd name="csX33" fmla="*/ 85958 w 263347"/>
                    <a:gd name="csY33" fmla="*/ 341334 h 413525"/>
                    <a:gd name="csX34" fmla="*/ 92873 w 263347"/>
                    <a:gd name="csY34" fmla="*/ 345688 h 413525"/>
                    <a:gd name="csX35" fmla="*/ 94666 w 263347"/>
                    <a:gd name="csY35" fmla="*/ 340630 h 413525"/>
                    <a:gd name="csX36" fmla="*/ 107375 w 263347"/>
                    <a:gd name="csY36" fmla="*/ 341334 h 413525"/>
                    <a:gd name="csX37" fmla="*/ 103021 w 263347"/>
                    <a:gd name="csY37" fmla="*/ 346424 h 413525"/>
                    <a:gd name="csX38" fmla="*/ 106639 w 263347"/>
                    <a:gd name="csY38" fmla="*/ 352571 h 413525"/>
                    <a:gd name="csX39" fmla="*/ 121173 w 263347"/>
                    <a:gd name="csY39" fmla="*/ 348217 h 413525"/>
                    <a:gd name="csX40" fmla="*/ 145472 w 263347"/>
                    <a:gd name="csY40" fmla="*/ 381960 h 413525"/>
                    <a:gd name="csX41" fmla="*/ 163240 w 263347"/>
                    <a:gd name="csY41" fmla="*/ 385962 h 413525"/>
                    <a:gd name="csX42" fmla="*/ 170123 w 263347"/>
                    <a:gd name="csY42" fmla="*/ 409172 h 413525"/>
                    <a:gd name="csX43" fmla="*/ 178831 w 263347"/>
                    <a:gd name="csY43" fmla="*/ 412790 h 413525"/>
                    <a:gd name="csX44" fmla="*/ 197687 w 263347"/>
                    <a:gd name="csY44" fmla="*/ 409172 h 413525"/>
                    <a:gd name="csX45" fmla="*/ 222722 w 263347"/>
                    <a:gd name="csY45" fmla="*/ 413526 h 413525"/>
                    <a:gd name="csX46" fmla="*/ 222018 w 263347"/>
                    <a:gd name="csY46" fmla="*/ 402289 h 413525"/>
                    <a:gd name="csX47" fmla="*/ 158886 w 263347"/>
                    <a:gd name="csY47" fmla="*/ 336276 h 413525"/>
                    <a:gd name="csX48" fmla="*/ 188275 w 263347"/>
                    <a:gd name="csY48" fmla="*/ 202777 h 413525"/>
                    <a:gd name="csX49" fmla="*/ 199512 w 263347"/>
                    <a:gd name="csY49" fmla="*/ 194422 h 413525"/>
                    <a:gd name="csX50" fmla="*/ 210749 w 263347"/>
                    <a:gd name="csY50" fmla="*/ 192597 h 413525"/>
                    <a:gd name="csX51" fmla="*/ 227076 w 263347"/>
                    <a:gd name="csY51" fmla="*/ 201305 h 413525"/>
                    <a:gd name="csX52" fmla="*/ 235784 w 263347"/>
                    <a:gd name="csY52" fmla="*/ 196951 h 413525"/>
                    <a:gd name="csX53" fmla="*/ 255377 w 263347"/>
                    <a:gd name="csY53" fmla="*/ 204570 h 413525"/>
                    <a:gd name="csX54" fmla="*/ 258994 w 263347"/>
                    <a:gd name="csY54" fmla="*/ 161415 h 413525"/>
                    <a:gd name="csX55" fmla="*/ 257906 w 263347"/>
                    <a:gd name="csY55" fmla="*/ 153059 h 413525"/>
                    <a:gd name="csX56" fmla="*/ 262259 w 263347"/>
                    <a:gd name="csY56" fmla="*/ 144352 h 413525"/>
                    <a:gd name="csX57" fmla="*/ 257201 w 263347"/>
                    <a:gd name="csY57" fmla="*/ 120437 h 413525"/>
                    <a:gd name="csX58" fmla="*/ 263348 w 263347"/>
                    <a:gd name="csY58" fmla="*/ 102285 h 413525"/>
                    <a:gd name="csX59" fmla="*/ 250286 w 263347"/>
                    <a:gd name="csY59" fmla="*/ 89223 h 413525"/>
                    <a:gd name="csX60" fmla="*/ 251022 w 263347"/>
                    <a:gd name="csY60" fmla="*/ 84133 h 413525"/>
                    <a:gd name="csX61" fmla="*/ 232166 w 263347"/>
                    <a:gd name="csY61" fmla="*/ 67806 h 413525"/>
                    <a:gd name="csX62" fmla="*/ 228901 w 263347"/>
                    <a:gd name="csY62" fmla="*/ 47861 h 413525"/>
                    <a:gd name="csX63" fmla="*/ 237224 w 263347"/>
                    <a:gd name="csY63" fmla="*/ 34095 h 413525"/>
                    <a:gd name="csX64" fmla="*/ 232166 w 263347"/>
                    <a:gd name="csY64" fmla="*/ 28268 h 413525"/>
                    <a:gd name="csX65" fmla="*/ 208956 w 263347"/>
                    <a:gd name="csY65" fmla="*/ 24651 h 413525"/>
                    <a:gd name="csX66" fmla="*/ 185009 w 263347"/>
                    <a:gd name="csY66" fmla="*/ 40242 h 413525"/>
                    <a:gd name="csX67" fmla="*/ 146913 w 263347"/>
                    <a:gd name="csY67" fmla="*/ 40978 h 413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</a:cxnLst>
                  <a:rect l="l" t="t" r="r" b="b"/>
                  <a:pathLst>
                    <a:path w="263347" h="413525">
                      <a:moveTo>
                        <a:pt x="146913" y="40978"/>
                      </a:moveTo>
                      <a:lnTo>
                        <a:pt x="121173" y="17031"/>
                      </a:lnTo>
                      <a:lnTo>
                        <a:pt x="108464" y="14502"/>
                      </a:lnTo>
                      <a:lnTo>
                        <a:pt x="102285" y="0"/>
                      </a:lnTo>
                      <a:lnTo>
                        <a:pt x="100492" y="21385"/>
                      </a:lnTo>
                      <a:lnTo>
                        <a:pt x="96138" y="30830"/>
                      </a:lnTo>
                      <a:lnTo>
                        <a:pt x="85958" y="35888"/>
                      </a:lnTo>
                      <a:lnTo>
                        <a:pt x="84165" y="47157"/>
                      </a:lnTo>
                      <a:lnTo>
                        <a:pt x="79075" y="48950"/>
                      </a:lnTo>
                      <a:lnTo>
                        <a:pt x="73985" y="70367"/>
                      </a:lnTo>
                      <a:lnTo>
                        <a:pt x="82340" y="74721"/>
                      </a:lnTo>
                      <a:lnTo>
                        <a:pt x="82340" y="82340"/>
                      </a:lnTo>
                      <a:lnTo>
                        <a:pt x="87783" y="84133"/>
                      </a:lnTo>
                      <a:lnTo>
                        <a:pt x="84165" y="101197"/>
                      </a:lnTo>
                      <a:lnTo>
                        <a:pt x="89223" y="114258"/>
                      </a:lnTo>
                      <a:lnTo>
                        <a:pt x="97227" y="134939"/>
                      </a:lnTo>
                      <a:lnTo>
                        <a:pt x="86694" y="158150"/>
                      </a:lnTo>
                      <a:lnTo>
                        <a:pt x="89223" y="168298"/>
                      </a:lnTo>
                      <a:lnTo>
                        <a:pt x="79811" y="170859"/>
                      </a:lnTo>
                      <a:lnTo>
                        <a:pt x="39537" y="208924"/>
                      </a:lnTo>
                      <a:lnTo>
                        <a:pt x="0" y="245932"/>
                      </a:lnTo>
                      <a:lnTo>
                        <a:pt x="12710" y="265525"/>
                      </a:lnTo>
                      <a:lnTo>
                        <a:pt x="8356" y="286206"/>
                      </a:lnTo>
                      <a:lnTo>
                        <a:pt x="23210" y="319949"/>
                      </a:lnTo>
                      <a:lnTo>
                        <a:pt x="30093" y="314859"/>
                      </a:lnTo>
                      <a:lnTo>
                        <a:pt x="46420" y="314859"/>
                      </a:lnTo>
                      <a:lnTo>
                        <a:pt x="58394" y="320653"/>
                      </a:lnTo>
                      <a:lnTo>
                        <a:pt x="58394" y="326832"/>
                      </a:lnTo>
                      <a:lnTo>
                        <a:pt x="47893" y="331922"/>
                      </a:lnTo>
                      <a:lnTo>
                        <a:pt x="47893" y="351867"/>
                      </a:lnTo>
                      <a:lnTo>
                        <a:pt x="50774" y="355132"/>
                      </a:lnTo>
                      <a:lnTo>
                        <a:pt x="63484" y="341334"/>
                      </a:lnTo>
                      <a:lnTo>
                        <a:pt x="76546" y="346424"/>
                      </a:lnTo>
                      <a:lnTo>
                        <a:pt x="85958" y="341334"/>
                      </a:lnTo>
                      <a:lnTo>
                        <a:pt x="92873" y="345688"/>
                      </a:lnTo>
                      <a:lnTo>
                        <a:pt x="94666" y="340630"/>
                      </a:lnTo>
                      <a:lnTo>
                        <a:pt x="107375" y="341334"/>
                      </a:lnTo>
                      <a:lnTo>
                        <a:pt x="103021" y="346424"/>
                      </a:lnTo>
                      <a:lnTo>
                        <a:pt x="106639" y="352571"/>
                      </a:lnTo>
                      <a:lnTo>
                        <a:pt x="121173" y="348217"/>
                      </a:lnTo>
                      <a:lnTo>
                        <a:pt x="145472" y="381960"/>
                      </a:lnTo>
                      <a:lnTo>
                        <a:pt x="163240" y="385962"/>
                      </a:lnTo>
                      <a:lnTo>
                        <a:pt x="170123" y="409172"/>
                      </a:lnTo>
                      <a:lnTo>
                        <a:pt x="178831" y="412790"/>
                      </a:lnTo>
                      <a:lnTo>
                        <a:pt x="197687" y="409172"/>
                      </a:lnTo>
                      <a:lnTo>
                        <a:pt x="222722" y="413526"/>
                      </a:lnTo>
                      <a:lnTo>
                        <a:pt x="222018" y="402289"/>
                      </a:lnTo>
                      <a:lnTo>
                        <a:pt x="158886" y="336276"/>
                      </a:lnTo>
                      <a:lnTo>
                        <a:pt x="188275" y="202777"/>
                      </a:lnTo>
                      <a:lnTo>
                        <a:pt x="199512" y="194422"/>
                      </a:lnTo>
                      <a:lnTo>
                        <a:pt x="210749" y="192597"/>
                      </a:lnTo>
                      <a:lnTo>
                        <a:pt x="227076" y="201305"/>
                      </a:lnTo>
                      <a:lnTo>
                        <a:pt x="235784" y="196951"/>
                      </a:lnTo>
                      <a:lnTo>
                        <a:pt x="255377" y="204570"/>
                      </a:lnTo>
                      <a:lnTo>
                        <a:pt x="258994" y="161415"/>
                      </a:lnTo>
                      <a:lnTo>
                        <a:pt x="257906" y="153059"/>
                      </a:lnTo>
                      <a:lnTo>
                        <a:pt x="262259" y="144352"/>
                      </a:lnTo>
                      <a:lnTo>
                        <a:pt x="257201" y="120437"/>
                      </a:lnTo>
                      <a:lnTo>
                        <a:pt x="263348" y="102285"/>
                      </a:lnTo>
                      <a:lnTo>
                        <a:pt x="250286" y="89223"/>
                      </a:lnTo>
                      <a:lnTo>
                        <a:pt x="251022" y="84133"/>
                      </a:lnTo>
                      <a:lnTo>
                        <a:pt x="232166" y="67806"/>
                      </a:lnTo>
                      <a:lnTo>
                        <a:pt x="228901" y="47861"/>
                      </a:lnTo>
                      <a:lnTo>
                        <a:pt x="237224" y="34095"/>
                      </a:lnTo>
                      <a:lnTo>
                        <a:pt x="232166" y="28268"/>
                      </a:lnTo>
                      <a:lnTo>
                        <a:pt x="208956" y="24651"/>
                      </a:lnTo>
                      <a:lnTo>
                        <a:pt x="185009" y="40242"/>
                      </a:lnTo>
                      <a:lnTo>
                        <a:pt x="146913" y="4097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1" name="Forma Livre: Forma 360">
                  <a:extLst>
                    <a:ext uri="{FF2B5EF4-FFF2-40B4-BE49-F238E27FC236}">
                      <a16:creationId xmlns:a16="http://schemas.microsoft.com/office/drawing/2014/main" id="{68AFB70D-474F-4F0B-2027-572234CCB411}"/>
                    </a:ext>
                  </a:extLst>
                </p:cNvPr>
                <p:cNvSpPr/>
                <p:nvPr/>
              </p:nvSpPr>
              <p:spPr>
                <a:xfrm>
                  <a:off x="2420918" y="6171648"/>
                  <a:ext cx="407731" cy="384521"/>
                </a:xfrm>
                <a:custGeom>
                  <a:avLst/>
                  <a:gdLst>
                    <a:gd name="csX0" fmla="*/ 179919 w 407731"/>
                    <a:gd name="csY0" fmla="*/ 0 h 384521"/>
                    <a:gd name="csX1" fmla="*/ 173740 w 407731"/>
                    <a:gd name="csY1" fmla="*/ 2561 h 384521"/>
                    <a:gd name="csX2" fmla="*/ 159238 w 407731"/>
                    <a:gd name="csY2" fmla="*/ 5090 h 384521"/>
                    <a:gd name="csX3" fmla="*/ 154884 w 407731"/>
                    <a:gd name="csY3" fmla="*/ 2561 h 384521"/>
                    <a:gd name="csX4" fmla="*/ 141822 w 407731"/>
                    <a:gd name="csY4" fmla="*/ 2561 h 384521"/>
                    <a:gd name="csX5" fmla="*/ 134939 w 407731"/>
                    <a:gd name="csY5" fmla="*/ 23946 h 384521"/>
                    <a:gd name="csX6" fmla="*/ 122230 w 407731"/>
                    <a:gd name="csY6" fmla="*/ 29037 h 384521"/>
                    <a:gd name="csX7" fmla="*/ 118612 w 407731"/>
                    <a:gd name="csY7" fmla="*/ 35183 h 384521"/>
                    <a:gd name="csX8" fmla="*/ 109904 w 407731"/>
                    <a:gd name="csY8" fmla="*/ 35920 h 384521"/>
                    <a:gd name="csX9" fmla="*/ 106639 w 407731"/>
                    <a:gd name="csY9" fmla="*/ 44627 h 384521"/>
                    <a:gd name="csX10" fmla="*/ 111729 w 407731"/>
                    <a:gd name="csY10" fmla="*/ 50806 h 384521"/>
                    <a:gd name="csX11" fmla="*/ 104110 w 407731"/>
                    <a:gd name="csY11" fmla="*/ 52247 h 384521"/>
                    <a:gd name="csX12" fmla="*/ 105903 w 407731"/>
                    <a:gd name="csY12" fmla="*/ 58426 h 384521"/>
                    <a:gd name="csX13" fmla="*/ 97931 w 407731"/>
                    <a:gd name="csY13" fmla="*/ 64572 h 384521"/>
                    <a:gd name="csX14" fmla="*/ 75809 w 407731"/>
                    <a:gd name="csY14" fmla="*/ 67838 h 384521"/>
                    <a:gd name="csX15" fmla="*/ 62748 w 407731"/>
                    <a:gd name="csY15" fmla="*/ 76545 h 384521"/>
                    <a:gd name="csX16" fmla="*/ 52599 w 407731"/>
                    <a:gd name="csY16" fmla="*/ 66013 h 384521"/>
                    <a:gd name="csX17" fmla="*/ 30829 w 407731"/>
                    <a:gd name="csY17" fmla="*/ 74721 h 384521"/>
                    <a:gd name="csX18" fmla="*/ 25035 w 407731"/>
                    <a:gd name="csY18" fmla="*/ 71455 h 384521"/>
                    <a:gd name="csX19" fmla="*/ 5058 w 407731"/>
                    <a:gd name="csY19" fmla="*/ 82340 h 384521"/>
                    <a:gd name="csX20" fmla="*/ 0 w 407731"/>
                    <a:gd name="csY20" fmla="*/ 89255 h 384521"/>
                    <a:gd name="csX21" fmla="*/ 2529 w 407731"/>
                    <a:gd name="csY21" fmla="*/ 97227 h 384521"/>
                    <a:gd name="csX22" fmla="*/ 17031 w 407731"/>
                    <a:gd name="csY22" fmla="*/ 109936 h 384521"/>
                    <a:gd name="csX23" fmla="*/ 13766 w 407731"/>
                    <a:gd name="csY23" fmla="*/ 132410 h 384521"/>
                    <a:gd name="csX24" fmla="*/ 35888 w 407731"/>
                    <a:gd name="csY24" fmla="*/ 173772 h 384521"/>
                    <a:gd name="csX25" fmla="*/ 36976 w 407731"/>
                    <a:gd name="csY25" fmla="*/ 178126 h 384521"/>
                    <a:gd name="csX26" fmla="*/ 55865 w 407731"/>
                    <a:gd name="csY26" fmla="*/ 218400 h 384521"/>
                    <a:gd name="csX27" fmla="*/ 55128 w 407731"/>
                    <a:gd name="csY27" fmla="*/ 242699 h 384521"/>
                    <a:gd name="csX28" fmla="*/ 60219 w 407731"/>
                    <a:gd name="csY28" fmla="*/ 276057 h 384521"/>
                    <a:gd name="csX29" fmla="*/ 67102 w 407731"/>
                    <a:gd name="csY29" fmla="*/ 289119 h 384521"/>
                    <a:gd name="csX30" fmla="*/ 99020 w 407731"/>
                    <a:gd name="csY30" fmla="*/ 290592 h 384521"/>
                    <a:gd name="csX31" fmla="*/ 127320 w 407731"/>
                    <a:gd name="csY31" fmla="*/ 286590 h 384521"/>
                    <a:gd name="csX32" fmla="*/ 131674 w 407731"/>
                    <a:gd name="csY32" fmla="*/ 284765 h 384521"/>
                    <a:gd name="csX33" fmla="*/ 151267 w 407731"/>
                    <a:gd name="csY33" fmla="*/ 289855 h 384521"/>
                    <a:gd name="csX34" fmla="*/ 171211 w 407731"/>
                    <a:gd name="csY34" fmla="*/ 276057 h 384521"/>
                    <a:gd name="csX35" fmla="*/ 173740 w 407731"/>
                    <a:gd name="csY35" fmla="*/ 278586 h 384521"/>
                    <a:gd name="csX36" fmla="*/ 186802 w 407731"/>
                    <a:gd name="csY36" fmla="*/ 274264 h 384521"/>
                    <a:gd name="csX37" fmla="*/ 189363 w 407731"/>
                    <a:gd name="csY37" fmla="*/ 278586 h 384521"/>
                    <a:gd name="csX38" fmla="*/ 191892 w 407731"/>
                    <a:gd name="csY38" fmla="*/ 276794 h 384521"/>
                    <a:gd name="csX39" fmla="*/ 201337 w 407731"/>
                    <a:gd name="csY39" fmla="*/ 278586 h 384521"/>
                    <a:gd name="csX40" fmla="*/ 212574 w 407731"/>
                    <a:gd name="csY40" fmla="*/ 290592 h 384521"/>
                    <a:gd name="csX41" fmla="*/ 215839 w 407731"/>
                    <a:gd name="csY41" fmla="*/ 287294 h 384521"/>
                    <a:gd name="csX42" fmla="*/ 235784 w 407731"/>
                    <a:gd name="csY42" fmla="*/ 300356 h 384521"/>
                    <a:gd name="csX43" fmla="*/ 254640 w 407731"/>
                    <a:gd name="csY43" fmla="*/ 322510 h 384521"/>
                    <a:gd name="csX44" fmla="*/ 276058 w 407731"/>
                    <a:gd name="csY44" fmla="*/ 311241 h 384521"/>
                    <a:gd name="csX45" fmla="*/ 293473 w 407731"/>
                    <a:gd name="csY45" fmla="*/ 317419 h 384521"/>
                    <a:gd name="csX46" fmla="*/ 301093 w 407731"/>
                    <a:gd name="csY46" fmla="*/ 318156 h 384521"/>
                    <a:gd name="csX47" fmla="*/ 311593 w 407731"/>
                    <a:gd name="csY47" fmla="*/ 337365 h 384521"/>
                    <a:gd name="csX48" fmla="*/ 310505 w 407731"/>
                    <a:gd name="csY48" fmla="*/ 353692 h 384521"/>
                    <a:gd name="csX49" fmla="*/ 316683 w 407731"/>
                    <a:gd name="csY49" fmla="*/ 363840 h 384521"/>
                    <a:gd name="csX50" fmla="*/ 328657 w 407731"/>
                    <a:gd name="csY50" fmla="*/ 364576 h 384521"/>
                    <a:gd name="csX51" fmla="*/ 339157 w 407731"/>
                    <a:gd name="csY51" fmla="*/ 356957 h 384521"/>
                    <a:gd name="csX52" fmla="*/ 340630 w 407731"/>
                    <a:gd name="csY52" fmla="*/ 364576 h 384521"/>
                    <a:gd name="csX53" fmla="*/ 335540 w 407731"/>
                    <a:gd name="csY53" fmla="*/ 367489 h 384521"/>
                    <a:gd name="csX54" fmla="*/ 341718 w 407731"/>
                    <a:gd name="csY54" fmla="*/ 367489 h 384521"/>
                    <a:gd name="csX55" fmla="*/ 346072 w 407731"/>
                    <a:gd name="csY55" fmla="*/ 374020 h 384521"/>
                    <a:gd name="csX56" fmla="*/ 355484 w 407731"/>
                    <a:gd name="csY56" fmla="*/ 376902 h 384521"/>
                    <a:gd name="csX57" fmla="*/ 355484 w 407731"/>
                    <a:gd name="csY57" fmla="*/ 381992 h 384521"/>
                    <a:gd name="csX58" fmla="*/ 365665 w 407731"/>
                    <a:gd name="csY58" fmla="*/ 384521 h 384521"/>
                    <a:gd name="csX59" fmla="*/ 359838 w 407731"/>
                    <a:gd name="csY59" fmla="*/ 355132 h 384521"/>
                    <a:gd name="csX60" fmla="*/ 359838 w 407731"/>
                    <a:gd name="csY60" fmla="*/ 342455 h 384521"/>
                    <a:gd name="csX61" fmla="*/ 362400 w 407731"/>
                    <a:gd name="csY61" fmla="*/ 326128 h 384521"/>
                    <a:gd name="csX62" fmla="*/ 370723 w 407731"/>
                    <a:gd name="csY62" fmla="*/ 300356 h 384521"/>
                    <a:gd name="csX63" fmla="*/ 396847 w 407731"/>
                    <a:gd name="csY63" fmla="*/ 255376 h 384521"/>
                    <a:gd name="csX64" fmla="*/ 407731 w 407731"/>
                    <a:gd name="csY64" fmla="*/ 238345 h 384521"/>
                    <a:gd name="csX65" fmla="*/ 404466 w 407731"/>
                    <a:gd name="csY65" fmla="*/ 232166 h 384521"/>
                    <a:gd name="csX66" fmla="*/ 392493 w 407731"/>
                    <a:gd name="csY66" fmla="*/ 230373 h 384521"/>
                    <a:gd name="csX67" fmla="*/ 380167 w 407731"/>
                    <a:gd name="csY67" fmla="*/ 216575 h 384521"/>
                    <a:gd name="csX68" fmla="*/ 376902 w 407731"/>
                    <a:gd name="csY68" fmla="*/ 202073 h 384521"/>
                    <a:gd name="csX69" fmla="*/ 376166 w 407731"/>
                    <a:gd name="csY69" fmla="*/ 158181 h 384521"/>
                    <a:gd name="csX70" fmla="*/ 380167 w 407731"/>
                    <a:gd name="csY70" fmla="*/ 136028 h 384521"/>
                    <a:gd name="csX71" fmla="*/ 363104 w 407731"/>
                    <a:gd name="csY71" fmla="*/ 86694 h 384521"/>
                    <a:gd name="csX72" fmla="*/ 346777 w 407731"/>
                    <a:gd name="csY72" fmla="*/ 86694 h 384521"/>
                    <a:gd name="csX73" fmla="*/ 340630 w 407731"/>
                    <a:gd name="csY73" fmla="*/ 80899 h 384521"/>
                    <a:gd name="csX74" fmla="*/ 333011 w 407731"/>
                    <a:gd name="csY74" fmla="*/ 74017 h 384521"/>
                    <a:gd name="csX75" fmla="*/ 330481 w 407731"/>
                    <a:gd name="csY75" fmla="*/ 65308 h 384521"/>
                    <a:gd name="csX76" fmla="*/ 318476 w 407731"/>
                    <a:gd name="csY76" fmla="*/ 60218 h 384521"/>
                    <a:gd name="csX77" fmla="*/ 309064 w 407731"/>
                    <a:gd name="csY77" fmla="*/ 70367 h 384521"/>
                    <a:gd name="csX78" fmla="*/ 284765 w 407731"/>
                    <a:gd name="csY78" fmla="*/ 68926 h 384521"/>
                    <a:gd name="csX79" fmla="*/ 276058 w 407731"/>
                    <a:gd name="csY79" fmla="*/ 59130 h 384521"/>
                    <a:gd name="csX80" fmla="*/ 277850 w 407731"/>
                    <a:gd name="csY80" fmla="*/ 51511 h 384521"/>
                    <a:gd name="csX81" fmla="*/ 265173 w 407731"/>
                    <a:gd name="csY81" fmla="*/ 52247 h 384521"/>
                    <a:gd name="csX82" fmla="*/ 255376 w 407731"/>
                    <a:gd name="csY82" fmla="*/ 44627 h 384521"/>
                    <a:gd name="csX83" fmla="*/ 251375 w 407731"/>
                    <a:gd name="csY83" fmla="*/ 45364 h 384521"/>
                    <a:gd name="csX84" fmla="*/ 253936 w 407731"/>
                    <a:gd name="csY84" fmla="*/ 41362 h 384521"/>
                    <a:gd name="csX85" fmla="*/ 259730 w 407731"/>
                    <a:gd name="csY85" fmla="*/ 32654 h 384521"/>
                    <a:gd name="csX86" fmla="*/ 252111 w 407731"/>
                    <a:gd name="csY86" fmla="*/ 9444 h 384521"/>
                    <a:gd name="csX87" fmla="*/ 239049 w 407731"/>
                    <a:gd name="csY87" fmla="*/ 18152 h 384521"/>
                    <a:gd name="csX88" fmla="*/ 225251 w 407731"/>
                    <a:gd name="csY88" fmla="*/ 19593 h 384521"/>
                    <a:gd name="csX89" fmla="*/ 217632 w 407731"/>
                    <a:gd name="csY89" fmla="*/ 15239 h 384521"/>
                    <a:gd name="csX90" fmla="*/ 206395 w 407731"/>
                    <a:gd name="csY90" fmla="*/ 16327 h 384521"/>
                    <a:gd name="csX91" fmla="*/ 186802 w 407731"/>
                    <a:gd name="csY91" fmla="*/ 8708 h 384521"/>
                    <a:gd name="csX92" fmla="*/ 185714 w 407731"/>
                    <a:gd name="csY92" fmla="*/ 4354 h 384521"/>
                    <a:gd name="csX93" fmla="*/ 179919 w 407731"/>
                    <a:gd name="csY93" fmla="*/ 0 h 384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</a:cxnLst>
                  <a:rect l="l" t="t" r="r" b="b"/>
                  <a:pathLst>
                    <a:path w="407731" h="384521">
                      <a:moveTo>
                        <a:pt x="179919" y="0"/>
                      </a:moveTo>
                      <a:lnTo>
                        <a:pt x="173740" y="2561"/>
                      </a:lnTo>
                      <a:lnTo>
                        <a:pt x="159238" y="5090"/>
                      </a:lnTo>
                      <a:lnTo>
                        <a:pt x="154884" y="2561"/>
                      </a:lnTo>
                      <a:lnTo>
                        <a:pt x="141822" y="2561"/>
                      </a:lnTo>
                      <a:lnTo>
                        <a:pt x="134939" y="23946"/>
                      </a:lnTo>
                      <a:lnTo>
                        <a:pt x="122230" y="29037"/>
                      </a:lnTo>
                      <a:lnTo>
                        <a:pt x="118612" y="35183"/>
                      </a:lnTo>
                      <a:lnTo>
                        <a:pt x="109904" y="35920"/>
                      </a:lnTo>
                      <a:lnTo>
                        <a:pt x="106639" y="44627"/>
                      </a:lnTo>
                      <a:lnTo>
                        <a:pt x="111729" y="50806"/>
                      </a:lnTo>
                      <a:lnTo>
                        <a:pt x="104110" y="52247"/>
                      </a:lnTo>
                      <a:lnTo>
                        <a:pt x="105903" y="58426"/>
                      </a:lnTo>
                      <a:lnTo>
                        <a:pt x="97931" y="64572"/>
                      </a:lnTo>
                      <a:lnTo>
                        <a:pt x="75809" y="67838"/>
                      </a:lnTo>
                      <a:lnTo>
                        <a:pt x="62748" y="76545"/>
                      </a:lnTo>
                      <a:lnTo>
                        <a:pt x="52599" y="66013"/>
                      </a:lnTo>
                      <a:lnTo>
                        <a:pt x="30829" y="74721"/>
                      </a:lnTo>
                      <a:lnTo>
                        <a:pt x="25035" y="71455"/>
                      </a:lnTo>
                      <a:lnTo>
                        <a:pt x="5058" y="82340"/>
                      </a:lnTo>
                      <a:lnTo>
                        <a:pt x="0" y="89255"/>
                      </a:lnTo>
                      <a:lnTo>
                        <a:pt x="2529" y="97227"/>
                      </a:lnTo>
                      <a:lnTo>
                        <a:pt x="17031" y="109936"/>
                      </a:lnTo>
                      <a:lnTo>
                        <a:pt x="13766" y="132410"/>
                      </a:lnTo>
                      <a:lnTo>
                        <a:pt x="35888" y="173772"/>
                      </a:lnTo>
                      <a:lnTo>
                        <a:pt x="36976" y="178126"/>
                      </a:lnTo>
                      <a:lnTo>
                        <a:pt x="55865" y="218400"/>
                      </a:lnTo>
                      <a:lnTo>
                        <a:pt x="55128" y="242699"/>
                      </a:lnTo>
                      <a:lnTo>
                        <a:pt x="60219" y="276057"/>
                      </a:lnTo>
                      <a:lnTo>
                        <a:pt x="67102" y="289119"/>
                      </a:lnTo>
                      <a:lnTo>
                        <a:pt x="99020" y="290592"/>
                      </a:lnTo>
                      <a:lnTo>
                        <a:pt x="127320" y="286590"/>
                      </a:lnTo>
                      <a:lnTo>
                        <a:pt x="131674" y="284765"/>
                      </a:lnTo>
                      <a:lnTo>
                        <a:pt x="151267" y="289855"/>
                      </a:lnTo>
                      <a:lnTo>
                        <a:pt x="171211" y="276057"/>
                      </a:lnTo>
                      <a:lnTo>
                        <a:pt x="173740" y="278586"/>
                      </a:lnTo>
                      <a:lnTo>
                        <a:pt x="186802" y="274264"/>
                      </a:lnTo>
                      <a:lnTo>
                        <a:pt x="189363" y="278586"/>
                      </a:lnTo>
                      <a:lnTo>
                        <a:pt x="191892" y="276794"/>
                      </a:lnTo>
                      <a:lnTo>
                        <a:pt x="201337" y="278586"/>
                      </a:lnTo>
                      <a:lnTo>
                        <a:pt x="212574" y="290592"/>
                      </a:lnTo>
                      <a:lnTo>
                        <a:pt x="215839" y="287294"/>
                      </a:lnTo>
                      <a:lnTo>
                        <a:pt x="235784" y="300356"/>
                      </a:lnTo>
                      <a:lnTo>
                        <a:pt x="254640" y="322510"/>
                      </a:lnTo>
                      <a:lnTo>
                        <a:pt x="276058" y="311241"/>
                      </a:lnTo>
                      <a:lnTo>
                        <a:pt x="293473" y="317419"/>
                      </a:lnTo>
                      <a:lnTo>
                        <a:pt x="301093" y="318156"/>
                      </a:lnTo>
                      <a:lnTo>
                        <a:pt x="311593" y="337365"/>
                      </a:lnTo>
                      <a:lnTo>
                        <a:pt x="310505" y="353692"/>
                      </a:lnTo>
                      <a:lnTo>
                        <a:pt x="316683" y="363840"/>
                      </a:lnTo>
                      <a:lnTo>
                        <a:pt x="328657" y="364576"/>
                      </a:lnTo>
                      <a:lnTo>
                        <a:pt x="339157" y="356957"/>
                      </a:lnTo>
                      <a:lnTo>
                        <a:pt x="340630" y="364576"/>
                      </a:lnTo>
                      <a:lnTo>
                        <a:pt x="335540" y="367489"/>
                      </a:lnTo>
                      <a:lnTo>
                        <a:pt x="341718" y="367489"/>
                      </a:lnTo>
                      <a:lnTo>
                        <a:pt x="346072" y="374020"/>
                      </a:lnTo>
                      <a:lnTo>
                        <a:pt x="355484" y="376902"/>
                      </a:lnTo>
                      <a:lnTo>
                        <a:pt x="355484" y="381992"/>
                      </a:lnTo>
                      <a:lnTo>
                        <a:pt x="365665" y="384521"/>
                      </a:lnTo>
                      <a:lnTo>
                        <a:pt x="359838" y="355132"/>
                      </a:lnTo>
                      <a:lnTo>
                        <a:pt x="359838" y="342455"/>
                      </a:lnTo>
                      <a:lnTo>
                        <a:pt x="362400" y="326128"/>
                      </a:lnTo>
                      <a:lnTo>
                        <a:pt x="370723" y="300356"/>
                      </a:lnTo>
                      <a:lnTo>
                        <a:pt x="396847" y="255376"/>
                      </a:lnTo>
                      <a:lnTo>
                        <a:pt x="407731" y="238345"/>
                      </a:lnTo>
                      <a:lnTo>
                        <a:pt x="404466" y="232166"/>
                      </a:lnTo>
                      <a:lnTo>
                        <a:pt x="392493" y="230373"/>
                      </a:lnTo>
                      <a:lnTo>
                        <a:pt x="380167" y="216575"/>
                      </a:lnTo>
                      <a:lnTo>
                        <a:pt x="376902" y="202073"/>
                      </a:lnTo>
                      <a:lnTo>
                        <a:pt x="376166" y="158181"/>
                      </a:lnTo>
                      <a:lnTo>
                        <a:pt x="380167" y="136028"/>
                      </a:lnTo>
                      <a:lnTo>
                        <a:pt x="363104" y="86694"/>
                      </a:lnTo>
                      <a:lnTo>
                        <a:pt x="346777" y="86694"/>
                      </a:lnTo>
                      <a:lnTo>
                        <a:pt x="340630" y="80899"/>
                      </a:lnTo>
                      <a:lnTo>
                        <a:pt x="333011" y="74017"/>
                      </a:lnTo>
                      <a:lnTo>
                        <a:pt x="330481" y="65308"/>
                      </a:lnTo>
                      <a:lnTo>
                        <a:pt x="318476" y="60218"/>
                      </a:lnTo>
                      <a:lnTo>
                        <a:pt x="309064" y="70367"/>
                      </a:lnTo>
                      <a:lnTo>
                        <a:pt x="284765" y="68926"/>
                      </a:lnTo>
                      <a:lnTo>
                        <a:pt x="276058" y="59130"/>
                      </a:lnTo>
                      <a:lnTo>
                        <a:pt x="277850" y="51511"/>
                      </a:lnTo>
                      <a:lnTo>
                        <a:pt x="265173" y="52247"/>
                      </a:lnTo>
                      <a:lnTo>
                        <a:pt x="255376" y="44627"/>
                      </a:lnTo>
                      <a:lnTo>
                        <a:pt x="251375" y="45364"/>
                      </a:lnTo>
                      <a:lnTo>
                        <a:pt x="253936" y="41362"/>
                      </a:lnTo>
                      <a:lnTo>
                        <a:pt x="259730" y="32654"/>
                      </a:lnTo>
                      <a:lnTo>
                        <a:pt x="252111" y="9444"/>
                      </a:lnTo>
                      <a:lnTo>
                        <a:pt x="239049" y="18152"/>
                      </a:lnTo>
                      <a:lnTo>
                        <a:pt x="225251" y="19593"/>
                      </a:lnTo>
                      <a:lnTo>
                        <a:pt x="217632" y="15239"/>
                      </a:lnTo>
                      <a:lnTo>
                        <a:pt x="206395" y="16327"/>
                      </a:lnTo>
                      <a:lnTo>
                        <a:pt x="186802" y="8708"/>
                      </a:lnTo>
                      <a:lnTo>
                        <a:pt x="185714" y="4354"/>
                      </a:lnTo>
                      <a:lnTo>
                        <a:pt x="17991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2" name="Forma Livre: Forma 361">
                  <a:extLst>
                    <a:ext uri="{FF2B5EF4-FFF2-40B4-BE49-F238E27FC236}">
                      <a16:creationId xmlns:a16="http://schemas.microsoft.com/office/drawing/2014/main" id="{CE53641A-C90F-0E47-A9D4-5D4DA1C0E2BA}"/>
                    </a:ext>
                  </a:extLst>
                </p:cNvPr>
                <p:cNvSpPr/>
                <p:nvPr/>
              </p:nvSpPr>
              <p:spPr>
                <a:xfrm>
                  <a:off x="2420918" y="6171648"/>
                  <a:ext cx="407731" cy="384521"/>
                </a:xfrm>
                <a:custGeom>
                  <a:avLst/>
                  <a:gdLst>
                    <a:gd name="csX0" fmla="*/ 179919 w 407731"/>
                    <a:gd name="csY0" fmla="*/ 0 h 384521"/>
                    <a:gd name="csX1" fmla="*/ 173740 w 407731"/>
                    <a:gd name="csY1" fmla="*/ 2561 h 384521"/>
                    <a:gd name="csX2" fmla="*/ 159238 w 407731"/>
                    <a:gd name="csY2" fmla="*/ 5090 h 384521"/>
                    <a:gd name="csX3" fmla="*/ 154884 w 407731"/>
                    <a:gd name="csY3" fmla="*/ 2561 h 384521"/>
                    <a:gd name="csX4" fmla="*/ 141822 w 407731"/>
                    <a:gd name="csY4" fmla="*/ 2561 h 384521"/>
                    <a:gd name="csX5" fmla="*/ 134939 w 407731"/>
                    <a:gd name="csY5" fmla="*/ 23946 h 384521"/>
                    <a:gd name="csX6" fmla="*/ 122230 w 407731"/>
                    <a:gd name="csY6" fmla="*/ 29037 h 384521"/>
                    <a:gd name="csX7" fmla="*/ 118612 w 407731"/>
                    <a:gd name="csY7" fmla="*/ 35183 h 384521"/>
                    <a:gd name="csX8" fmla="*/ 109904 w 407731"/>
                    <a:gd name="csY8" fmla="*/ 35920 h 384521"/>
                    <a:gd name="csX9" fmla="*/ 106639 w 407731"/>
                    <a:gd name="csY9" fmla="*/ 44627 h 384521"/>
                    <a:gd name="csX10" fmla="*/ 111729 w 407731"/>
                    <a:gd name="csY10" fmla="*/ 50806 h 384521"/>
                    <a:gd name="csX11" fmla="*/ 104110 w 407731"/>
                    <a:gd name="csY11" fmla="*/ 52247 h 384521"/>
                    <a:gd name="csX12" fmla="*/ 105903 w 407731"/>
                    <a:gd name="csY12" fmla="*/ 58426 h 384521"/>
                    <a:gd name="csX13" fmla="*/ 97931 w 407731"/>
                    <a:gd name="csY13" fmla="*/ 64572 h 384521"/>
                    <a:gd name="csX14" fmla="*/ 75809 w 407731"/>
                    <a:gd name="csY14" fmla="*/ 67838 h 384521"/>
                    <a:gd name="csX15" fmla="*/ 62748 w 407731"/>
                    <a:gd name="csY15" fmla="*/ 76545 h 384521"/>
                    <a:gd name="csX16" fmla="*/ 52599 w 407731"/>
                    <a:gd name="csY16" fmla="*/ 66013 h 384521"/>
                    <a:gd name="csX17" fmla="*/ 30829 w 407731"/>
                    <a:gd name="csY17" fmla="*/ 74721 h 384521"/>
                    <a:gd name="csX18" fmla="*/ 25035 w 407731"/>
                    <a:gd name="csY18" fmla="*/ 71455 h 384521"/>
                    <a:gd name="csX19" fmla="*/ 5058 w 407731"/>
                    <a:gd name="csY19" fmla="*/ 82340 h 384521"/>
                    <a:gd name="csX20" fmla="*/ 0 w 407731"/>
                    <a:gd name="csY20" fmla="*/ 89255 h 384521"/>
                    <a:gd name="csX21" fmla="*/ 2529 w 407731"/>
                    <a:gd name="csY21" fmla="*/ 97227 h 384521"/>
                    <a:gd name="csX22" fmla="*/ 17031 w 407731"/>
                    <a:gd name="csY22" fmla="*/ 109936 h 384521"/>
                    <a:gd name="csX23" fmla="*/ 13766 w 407731"/>
                    <a:gd name="csY23" fmla="*/ 132410 h 384521"/>
                    <a:gd name="csX24" fmla="*/ 35888 w 407731"/>
                    <a:gd name="csY24" fmla="*/ 173772 h 384521"/>
                    <a:gd name="csX25" fmla="*/ 36976 w 407731"/>
                    <a:gd name="csY25" fmla="*/ 178126 h 384521"/>
                    <a:gd name="csX26" fmla="*/ 55865 w 407731"/>
                    <a:gd name="csY26" fmla="*/ 218400 h 384521"/>
                    <a:gd name="csX27" fmla="*/ 55128 w 407731"/>
                    <a:gd name="csY27" fmla="*/ 242699 h 384521"/>
                    <a:gd name="csX28" fmla="*/ 60219 w 407731"/>
                    <a:gd name="csY28" fmla="*/ 276057 h 384521"/>
                    <a:gd name="csX29" fmla="*/ 67102 w 407731"/>
                    <a:gd name="csY29" fmla="*/ 289119 h 384521"/>
                    <a:gd name="csX30" fmla="*/ 99020 w 407731"/>
                    <a:gd name="csY30" fmla="*/ 290592 h 384521"/>
                    <a:gd name="csX31" fmla="*/ 127320 w 407731"/>
                    <a:gd name="csY31" fmla="*/ 286590 h 384521"/>
                    <a:gd name="csX32" fmla="*/ 131674 w 407731"/>
                    <a:gd name="csY32" fmla="*/ 284765 h 384521"/>
                    <a:gd name="csX33" fmla="*/ 151267 w 407731"/>
                    <a:gd name="csY33" fmla="*/ 289855 h 384521"/>
                    <a:gd name="csX34" fmla="*/ 171211 w 407731"/>
                    <a:gd name="csY34" fmla="*/ 276057 h 384521"/>
                    <a:gd name="csX35" fmla="*/ 173740 w 407731"/>
                    <a:gd name="csY35" fmla="*/ 278586 h 384521"/>
                    <a:gd name="csX36" fmla="*/ 186802 w 407731"/>
                    <a:gd name="csY36" fmla="*/ 274264 h 384521"/>
                    <a:gd name="csX37" fmla="*/ 189363 w 407731"/>
                    <a:gd name="csY37" fmla="*/ 278586 h 384521"/>
                    <a:gd name="csX38" fmla="*/ 191892 w 407731"/>
                    <a:gd name="csY38" fmla="*/ 276794 h 384521"/>
                    <a:gd name="csX39" fmla="*/ 201337 w 407731"/>
                    <a:gd name="csY39" fmla="*/ 278586 h 384521"/>
                    <a:gd name="csX40" fmla="*/ 212574 w 407731"/>
                    <a:gd name="csY40" fmla="*/ 290592 h 384521"/>
                    <a:gd name="csX41" fmla="*/ 215839 w 407731"/>
                    <a:gd name="csY41" fmla="*/ 287294 h 384521"/>
                    <a:gd name="csX42" fmla="*/ 235784 w 407731"/>
                    <a:gd name="csY42" fmla="*/ 300356 h 384521"/>
                    <a:gd name="csX43" fmla="*/ 254640 w 407731"/>
                    <a:gd name="csY43" fmla="*/ 322510 h 384521"/>
                    <a:gd name="csX44" fmla="*/ 276058 w 407731"/>
                    <a:gd name="csY44" fmla="*/ 311241 h 384521"/>
                    <a:gd name="csX45" fmla="*/ 293473 w 407731"/>
                    <a:gd name="csY45" fmla="*/ 317419 h 384521"/>
                    <a:gd name="csX46" fmla="*/ 301093 w 407731"/>
                    <a:gd name="csY46" fmla="*/ 318156 h 384521"/>
                    <a:gd name="csX47" fmla="*/ 311593 w 407731"/>
                    <a:gd name="csY47" fmla="*/ 337365 h 384521"/>
                    <a:gd name="csX48" fmla="*/ 310505 w 407731"/>
                    <a:gd name="csY48" fmla="*/ 353692 h 384521"/>
                    <a:gd name="csX49" fmla="*/ 316683 w 407731"/>
                    <a:gd name="csY49" fmla="*/ 363840 h 384521"/>
                    <a:gd name="csX50" fmla="*/ 328657 w 407731"/>
                    <a:gd name="csY50" fmla="*/ 364576 h 384521"/>
                    <a:gd name="csX51" fmla="*/ 339157 w 407731"/>
                    <a:gd name="csY51" fmla="*/ 356957 h 384521"/>
                    <a:gd name="csX52" fmla="*/ 340630 w 407731"/>
                    <a:gd name="csY52" fmla="*/ 364576 h 384521"/>
                    <a:gd name="csX53" fmla="*/ 335540 w 407731"/>
                    <a:gd name="csY53" fmla="*/ 367489 h 384521"/>
                    <a:gd name="csX54" fmla="*/ 341718 w 407731"/>
                    <a:gd name="csY54" fmla="*/ 367489 h 384521"/>
                    <a:gd name="csX55" fmla="*/ 346072 w 407731"/>
                    <a:gd name="csY55" fmla="*/ 374020 h 384521"/>
                    <a:gd name="csX56" fmla="*/ 355484 w 407731"/>
                    <a:gd name="csY56" fmla="*/ 376902 h 384521"/>
                    <a:gd name="csX57" fmla="*/ 355484 w 407731"/>
                    <a:gd name="csY57" fmla="*/ 381992 h 384521"/>
                    <a:gd name="csX58" fmla="*/ 365665 w 407731"/>
                    <a:gd name="csY58" fmla="*/ 384521 h 384521"/>
                    <a:gd name="csX59" fmla="*/ 359838 w 407731"/>
                    <a:gd name="csY59" fmla="*/ 355132 h 384521"/>
                    <a:gd name="csX60" fmla="*/ 359838 w 407731"/>
                    <a:gd name="csY60" fmla="*/ 342455 h 384521"/>
                    <a:gd name="csX61" fmla="*/ 362400 w 407731"/>
                    <a:gd name="csY61" fmla="*/ 326128 h 384521"/>
                    <a:gd name="csX62" fmla="*/ 370723 w 407731"/>
                    <a:gd name="csY62" fmla="*/ 300356 h 384521"/>
                    <a:gd name="csX63" fmla="*/ 396847 w 407731"/>
                    <a:gd name="csY63" fmla="*/ 255376 h 384521"/>
                    <a:gd name="csX64" fmla="*/ 407731 w 407731"/>
                    <a:gd name="csY64" fmla="*/ 238345 h 384521"/>
                    <a:gd name="csX65" fmla="*/ 404466 w 407731"/>
                    <a:gd name="csY65" fmla="*/ 232166 h 384521"/>
                    <a:gd name="csX66" fmla="*/ 392493 w 407731"/>
                    <a:gd name="csY66" fmla="*/ 230373 h 384521"/>
                    <a:gd name="csX67" fmla="*/ 380167 w 407731"/>
                    <a:gd name="csY67" fmla="*/ 216575 h 384521"/>
                    <a:gd name="csX68" fmla="*/ 376902 w 407731"/>
                    <a:gd name="csY68" fmla="*/ 202073 h 384521"/>
                    <a:gd name="csX69" fmla="*/ 376166 w 407731"/>
                    <a:gd name="csY69" fmla="*/ 158181 h 384521"/>
                    <a:gd name="csX70" fmla="*/ 380167 w 407731"/>
                    <a:gd name="csY70" fmla="*/ 136028 h 384521"/>
                    <a:gd name="csX71" fmla="*/ 363104 w 407731"/>
                    <a:gd name="csY71" fmla="*/ 86694 h 384521"/>
                    <a:gd name="csX72" fmla="*/ 346777 w 407731"/>
                    <a:gd name="csY72" fmla="*/ 86694 h 384521"/>
                    <a:gd name="csX73" fmla="*/ 340630 w 407731"/>
                    <a:gd name="csY73" fmla="*/ 80899 h 384521"/>
                    <a:gd name="csX74" fmla="*/ 333011 w 407731"/>
                    <a:gd name="csY74" fmla="*/ 74017 h 384521"/>
                    <a:gd name="csX75" fmla="*/ 330481 w 407731"/>
                    <a:gd name="csY75" fmla="*/ 65308 h 384521"/>
                    <a:gd name="csX76" fmla="*/ 318476 w 407731"/>
                    <a:gd name="csY76" fmla="*/ 60218 h 384521"/>
                    <a:gd name="csX77" fmla="*/ 309064 w 407731"/>
                    <a:gd name="csY77" fmla="*/ 70367 h 384521"/>
                    <a:gd name="csX78" fmla="*/ 284765 w 407731"/>
                    <a:gd name="csY78" fmla="*/ 68926 h 384521"/>
                    <a:gd name="csX79" fmla="*/ 276058 w 407731"/>
                    <a:gd name="csY79" fmla="*/ 59130 h 384521"/>
                    <a:gd name="csX80" fmla="*/ 277850 w 407731"/>
                    <a:gd name="csY80" fmla="*/ 51511 h 384521"/>
                    <a:gd name="csX81" fmla="*/ 265173 w 407731"/>
                    <a:gd name="csY81" fmla="*/ 52247 h 384521"/>
                    <a:gd name="csX82" fmla="*/ 255376 w 407731"/>
                    <a:gd name="csY82" fmla="*/ 44627 h 384521"/>
                    <a:gd name="csX83" fmla="*/ 251375 w 407731"/>
                    <a:gd name="csY83" fmla="*/ 45364 h 384521"/>
                    <a:gd name="csX84" fmla="*/ 253936 w 407731"/>
                    <a:gd name="csY84" fmla="*/ 41362 h 384521"/>
                    <a:gd name="csX85" fmla="*/ 259730 w 407731"/>
                    <a:gd name="csY85" fmla="*/ 32654 h 384521"/>
                    <a:gd name="csX86" fmla="*/ 252111 w 407731"/>
                    <a:gd name="csY86" fmla="*/ 9444 h 384521"/>
                    <a:gd name="csX87" fmla="*/ 239049 w 407731"/>
                    <a:gd name="csY87" fmla="*/ 18152 h 384521"/>
                    <a:gd name="csX88" fmla="*/ 225251 w 407731"/>
                    <a:gd name="csY88" fmla="*/ 19593 h 384521"/>
                    <a:gd name="csX89" fmla="*/ 217632 w 407731"/>
                    <a:gd name="csY89" fmla="*/ 15239 h 384521"/>
                    <a:gd name="csX90" fmla="*/ 206395 w 407731"/>
                    <a:gd name="csY90" fmla="*/ 16327 h 384521"/>
                    <a:gd name="csX91" fmla="*/ 186802 w 407731"/>
                    <a:gd name="csY91" fmla="*/ 8708 h 384521"/>
                    <a:gd name="csX92" fmla="*/ 185714 w 407731"/>
                    <a:gd name="csY92" fmla="*/ 4354 h 384521"/>
                    <a:gd name="csX93" fmla="*/ 179919 w 407731"/>
                    <a:gd name="csY93" fmla="*/ 0 h 384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</a:cxnLst>
                  <a:rect l="l" t="t" r="r" b="b"/>
                  <a:pathLst>
                    <a:path w="407731" h="384521">
                      <a:moveTo>
                        <a:pt x="179919" y="0"/>
                      </a:moveTo>
                      <a:lnTo>
                        <a:pt x="173740" y="2561"/>
                      </a:lnTo>
                      <a:lnTo>
                        <a:pt x="159238" y="5090"/>
                      </a:lnTo>
                      <a:lnTo>
                        <a:pt x="154884" y="2561"/>
                      </a:lnTo>
                      <a:lnTo>
                        <a:pt x="141822" y="2561"/>
                      </a:lnTo>
                      <a:lnTo>
                        <a:pt x="134939" y="23946"/>
                      </a:lnTo>
                      <a:lnTo>
                        <a:pt x="122230" y="29037"/>
                      </a:lnTo>
                      <a:lnTo>
                        <a:pt x="118612" y="35183"/>
                      </a:lnTo>
                      <a:lnTo>
                        <a:pt x="109904" y="35920"/>
                      </a:lnTo>
                      <a:lnTo>
                        <a:pt x="106639" y="44627"/>
                      </a:lnTo>
                      <a:lnTo>
                        <a:pt x="111729" y="50806"/>
                      </a:lnTo>
                      <a:lnTo>
                        <a:pt x="104110" y="52247"/>
                      </a:lnTo>
                      <a:lnTo>
                        <a:pt x="105903" y="58426"/>
                      </a:lnTo>
                      <a:lnTo>
                        <a:pt x="97931" y="64572"/>
                      </a:lnTo>
                      <a:lnTo>
                        <a:pt x="75809" y="67838"/>
                      </a:lnTo>
                      <a:lnTo>
                        <a:pt x="62748" y="76545"/>
                      </a:lnTo>
                      <a:lnTo>
                        <a:pt x="52599" y="66013"/>
                      </a:lnTo>
                      <a:lnTo>
                        <a:pt x="30829" y="74721"/>
                      </a:lnTo>
                      <a:lnTo>
                        <a:pt x="25035" y="71455"/>
                      </a:lnTo>
                      <a:lnTo>
                        <a:pt x="5058" y="82340"/>
                      </a:lnTo>
                      <a:lnTo>
                        <a:pt x="0" y="89255"/>
                      </a:lnTo>
                      <a:lnTo>
                        <a:pt x="2529" y="97227"/>
                      </a:lnTo>
                      <a:lnTo>
                        <a:pt x="17031" y="109936"/>
                      </a:lnTo>
                      <a:lnTo>
                        <a:pt x="13766" y="132410"/>
                      </a:lnTo>
                      <a:lnTo>
                        <a:pt x="35888" y="173772"/>
                      </a:lnTo>
                      <a:lnTo>
                        <a:pt x="36976" y="178126"/>
                      </a:lnTo>
                      <a:lnTo>
                        <a:pt x="55865" y="218400"/>
                      </a:lnTo>
                      <a:lnTo>
                        <a:pt x="55128" y="242699"/>
                      </a:lnTo>
                      <a:lnTo>
                        <a:pt x="60219" y="276057"/>
                      </a:lnTo>
                      <a:lnTo>
                        <a:pt x="67102" y="289119"/>
                      </a:lnTo>
                      <a:lnTo>
                        <a:pt x="99020" y="290592"/>
                      </a:lnTo>
                      <a:lnTo>
                        <a:pt x="127320" y="286590"/>
                      </a:lnTo>
                      <a:lnTo>
                        <a:pt x="131674" y="284765"/>
                      </a:lnTo>
                      <a:lnTo>
                        <a:pt x="151267" y="289855"/>
                      </a:lnTo>
                      <a:lnTo>
                        <a:pt x="171211" y="276057"/>
                      </a:lnTo>
                      <a:lnTo>
                        <a:pt x="173740" y="278586"/>
                      </a:lnTo>
                      <a:lnTo>
                        <a:pt x="186802" y="274264"/>
                      </a:lnTo>
                      <a:lnTo>
                        <a:pt x="189363" y="278586"/>
                      </a:lnTo>
                      <a:lnTo>
                        <a:pt x="191892" y="276794"/>
                      </a:lnTo>
                      <a:lnTo>
                        <a:pt x="201337" y="278586"/>
                      </a:lnTo>
                      <a:lnTo>
                        <a:pt x="212574" y="290592"/>
                      </a:lnTo>
                      <a:lnTo>
                        <a:pt x="215839" y="287294"/>
                      </a:lnTo>
                      <a:lnTo>
                        <a:pt x="235784" y="300356"/>
                      </a:lnTo>
                      <a:lnTo>
                        <a:pt x="254640" y="322510"/>
                      </a:lnTo>
                      <a:lnTo>
                        <a:pt x="276058" y="311241"/>
                      </a:lnTo>
                      <a:lnTo>
                        <a:pt x="293473" y="317419"/>
                      </a:lnTo>
                      <a:lnTo>
                        <a:pt x="301093" y="318156"/>
                      </a:lnTo>
                      <a:lnTo>
                        <a:pt x="311593" y="337365"/>
                      </a:lnTo>
                      <a:lnTo>
                        <a:pt x="310505" y="353692"/>
                      </a:lnTo>
                      <a:lnTo>
                        <a:pt x="316683" y="363840"/>
                      </a:lnTo>
                      <a:lnTo>
                        <a:pt x="328657" y="364576"/>
                      </a:lnTo>
                      <a:lnTo>
                        <a:pt x="339157" y="356957"/>
                      </a:lnTo>
                      <a:lnTo>
                        <a:pt x="340630" y="364576"/>
                      </a:lnTo>
                      <a:lnTo>
                        <a:pt x="335540" y="367489"/>
                      </a:lnTo>
                      <a:lnTo>
                        <a:pt x="341718" y="367489"/>
                      </a:lnTo>
                      <a:lnTo>
                        <a:pt x="346072" y="374020"/>
                      </a:lnTo>
                      <a:lnTo>
                        <a:pt x="355484" y="376902"/>
                      </a:lnTo>
                      <a:lnTo>
                        <a:pt x="355484" y="381992"/>
                      </a:lnTo>
                      <a:lnTo>
                        <a:pt x="365665" y="384521"/>
                      </a:lnTo>
                      <a:lnTo>
                        <a:pt x="359838" y="355132"/>
                      </a:lnTo>
                      <a:lnTo>
                        <a:pt x="359838" y="342455"/>
                      </a:lnTo>
                      <a:lnTo>
                        <a:pt x="362400" y="326128"/>
                      </a:lnTo>
                      <a:lnTo>
                        <a:pt x="370723" y="300356"/>
                      </a:lnTo>
                      <a:lnTo>
                        <a:pt x="396847" y="255376"/>
                      </a:lnTo>
                      <a:lnTo>
                        <a:pt x="407731" y="238345"/>
                      </a:lnTo>
                      <a:lnTo>
                        <a:pt x="404466" y="232166"/>
                      </a:lnTo>
                      <a:lnTo>
                        <a:pt x="392493" y="230373"/>
                      </a:lnTo>
                      <a:lnTo>
                        <a:pt x="380167" y="216575"/>
                      </a:lnTo>
                      <a:lnTo>
                        <a:pt x="376902" y="202073"/>
                      </a:lnTo>
                      <a:lnTo>
                        <a:pt x="376166" y="158181"/>
                      </a:lnTo>
                      <a:lnTo>
                        <a:pt x="380167" y="136028"/>
                      </a:lnTo>
                      <a:lnTo>
                        <a:pt x="363104" y="86694"/>
                      </a:lnTo>
                      <a:lnTo>
                        <a:pt x="346777" y="86694"/>
                      </a:lnTo>
                      <a:lnTo>
                        <a:pt x="340630" y="80899"/>
                      </a:lnTo>
                      <a:lnTo>
                        <a:pt x="333011" y="74017"/>
                      </a:lnTo>
                      <a:lnTo>
                        <a:pt x="330481" y="65308"/>
                      </a:lnTo>
                      <a:lnTo>
                        <a:pt x="318476" y="60218"/>
                      </a:lnTo>
                      <a:lnTo>
                        <a:pt x="309064" y="70367"/>
                      </a:lnTo>
                      <a:lnTo>
                        <a:pt x="284765" y="68926"/>
                      </a:lnTo>
                      <a:lnTo>
                        <a:pt x="276058" y="59130"/>
                      </a:lnTo>
                      <a:lnTo>
                        <a:pt x="277850" y="51511"/>
                      </a:lnTo>
                      <a:lnTo>
                        <a:pt x="265173" y="52247"/>
                      </a:lnTo>
                      <a:lnTo>
                        <a:pt x="255376" y="44627"/>
                      </a:lnTo>
                      <a:lnTo>
                        <a:pt x="251375" y="45364"/>
                      </a:lnTo>
                      <a:lnTo>
                        <a:pt x="253936" y="41362"/>
                      </a:lnTo>
                      <a:lnTo>
                        <a:pt x="259730" y="32654"/>
                      </a:lnTo>
                      <a:lnTo>
                        <a:pt x="252111" y="9444"/>
                      </a:lnTo>
                      <a:lnTo>
                        <a:pt x="239049" y="18152"/>
                      </a:lnTo>
                      <a:lnTo>
                        <a:pt x="225251" y="19593"/>
                      </a:lnTo>
                      <a:lnTo>
                        <a:pt x="217632" y="15239"/>
                      </a:lnTo>
                      <a:lnTo>
                        <a:pt x="206395" y="16327"/>
                      </a:lnTo>
                      <a:lnTo>
                        <a:pt x="186802" y="8708"/>
                      </a:lnTo>
                      <a:lnTo>
                        <a:pt x="185714" y="4354"/>
                      </a:lnTo>
                      <a:lnTo>
                        <a:pt x="17991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3" name="Forma Livre: Forma 362">
                  <a:extLst>
                    <a:ext uri="{FF2B5EF4-FFF2-40B4-BE49-F238E27FC236}">
                      <a16:creationId xmlns:a16="http://schemas.microsoft.com/office/drawing/2014/main" id="{F5501738-9802-3F18-D21E-4B87910B7BB9}"/>
                    </a:ext>
                  </a:extLst>
                </p:cNvPr>
                <p:cNvSpPr/>
                <p:nvPr/>
              </p:nvSpPr>
              <p:spPr>
                <a:xfrm>
                  <a:off x="2420918" y="6171648"/>
                  <a:ext cx="407731" cy="384521"/>
                </a:xfrm>
                <a:custGeom>
                  <a:avLst/>
                  <a:gdLst>
                    <a:gd name="csX0" fmla="*/ 179919 w 407731"/>
                    <a:gd name="csY0" fmla="*/ 0 h 384521"/>
                    <a:gd name="csX1" fmla="*/ 173740 w 407731"/>
                    <a:gd name="csY1" fmla="*/ 2561 h 384521"/>
                    <a:gd name="csX2" fmla="*/ 159238 w 407731"/>
                    <a:gd name="csY2" fmla="*/ 5090 h 384521"/>
                    <a:gd name="csX3" fmla="*/ 154884 w 407731"/>
                    <a:gd name="csY3" fmla="*/ 2561 h 384521"/>
                    <a:gd name="csX4" fmla="*/ 141822 w 407731"/>
                    <a:gd name="csY4" fmla="*/ 2561 h 384521"/>
                    <a:gd name="csX5" fmla="*/ 134939 w 407731"/>
                    <a:gd name="csY5" fmla="*/ 23946 h 384521"/>
                    <a:gd name="csX6" fmla="*/ 122230 w 407731"/>
                    <a:gd name="csY6" fmla="*/ 29037 h 384521"/>
                    <a:gd name="csX7" fmla="*/ 118612 w 407731"/>
                    <a:gd name="csY7" fmla="*/ 35183 h 384521"/>
                    <a:gd name="csX8" fmla="*/ 109904 w 407731"/>
                    <a:gd name="csY8" fmla="*/ 35920 h 384521"/>
                    <a:gd name="csX9" fmla="*/ 106639 w 407731"/>
                    <a:gd name="csY9" fmla="*/ 44627 h 384521"/>
                    <a:gd name="csX10" fmla="*/ 111729 w 407731"/>
                    <a:gd name="csY10" fmla="*/ 50806 h 384521"/>
                    <a:gd name="csX11" fmla="*/ 104110 w 407731"/>
                    <a:gd name="csY11" fmla="*/ 52247 h 384521"/>
                    <a:gd name="csX12" fmla="*/ 105903 w 407731"/>
                    <a:gd name="csY12" fmla="*/ 58426 h 384521"/>
                    <a:gd name="csX13" fmla="*/ 97931 w 407731"/>
                    <a:gd name="csY13" fmla="*/ 64572 h 384521"/>
                    <a:gd name="csX14" fmla="*/ 75809 w 407731"/>
                    <a:gd name="csY14" fmla="*/ 67838 h 384521"/>
                    <a:gd name="csX15" fmla="*/ 62748 w 407731"/>
                    <a:gd name="csY15" fmla="*/ 76545 h 384521"/>
                    <a:gd name="csX16" fmla="*/ 52599 w 407731"/>
                    <a:gd name="csY16" fmla="*/ 66013 h 384521"/>
                    <a:gd name="csX17" fmla="*/ 30829 w 407731"/>
                    <a:gd name="csY17" fmla="*/ 74721 h 384521"/>
                    <a:gd name="csX18" fmla="*/ 25035 w 407731"/>
                    <a:gd name="csY18" fmla="*/ 71455 h 384521"/>
                    <a:gd name="csX19" fmla="*/ 5058 w 407731"/>
                    <a:gd name="csY19" fmla="*/ 82340 h 384521"/>
                    <a:gd name="csX20" fmla="*/ 0 w 407731"/>
                    <a:gd name="csY20" fmla="*/ 89255 h 384521"/>
                    <a:gd name="csX21" fmla="*/ 2529 w 407731"/>
                    <a:gd name="csY21" fmla="*/ 97227 h 384521"/>
                    <a:gd name="csX22" fmla="*/ 17031 w 407731"/>
                    <a:gd name="csY22" fmla="*/ 109936 h 384521"/>
                    <a:gd name="csX23" fmla="*/ 13766 w 407731"/>
                    <a:gd name="csY23" fmla="*/ 132410 h 384521"/>
                    <a:gd name="csX24" fmla="*/ 35888 w 407731"/>
                    <a:gd name="csY24" fmla="*/ 173772 h 384521"/>
                    <a:gd name="csX25" fmla="*/ 36976 w 407731"/>
                    <a:gd name="csY25" fmla="*/ 178126 h 384521"/>
                    <a:gd name="csX26" fmla="*/ 55865 w 407731"/>
                    <a:gd name="csY26" fmla="*/ 218400 h 384521"/>
                    <a:gd name="csX27" fmla="*/ 55128 w 407731"/>
                    <a:gd name="csY27" fmla="*/ 242699 h 384521"/>
                    <a:gd name="csX28" fmla="*/ 60219 w 407731"/>
                    <a:gd name="csY28" fmla="*/ 276057 h 384521"/>
                    <a:gd name="csX29" fmla="*/ 67102 w 407731"/>
                    <a:gd name="csY29" fmla="*/ 289119 h 384521"/>
                    <a:gd name="csX30" fmla="*/ 99020 w 407731"/>
                    <a:gd name="csY30" fmla="*/ 290592 h 384521"/>
                    <a:gd name="csX31" fmla="*/ 127320 w 407731"/>
                    <a:gd name="csY31" fmla="*/ 286590 h 384521"/>
                    <a:gd name="csX32" fmla="*/ 131674 w 407731"/>
                    <a:gd name="csY32" fmla="*/ 284765 h 384521"/>
                    <a:gd name="csX33" fmla="*/ 151267 w 407731"/>
                    <a:gd name="csY33" fmla="*/ 289855 h 384521"/>
                    <a:gd name="csX34" fmla="*/ 171211 w 407731"/>
                    <a:gd name="csY34" fmla="*/ 276057 h 384521"/>
                    <a:gd name="csX35" fmla="*/ 173740 w 407731"/>
                    <a:gd name="csY35" fmla="*/ 278586 h 384521"/>
                    <a:gd name="csX36" fmla="*/ 186802 w 407731"/>
                    <a:gd name="csY36" fmla="*/ 274264 h 384521"/>
                    <a:gd name="csX37" fmla="*/ 189363 w 407731"/>
                    <a:gd name="csY37" fmla="*/ 278586 h 384521"/>
                    <a:gd name="csX38" fmla="*/ 191892 w 407731"/>
                    <a:gd name="csY38" fmla="*/ 276794 h 384521"/>
                    <a:gd name="csX39" fmla="*/ 201337 w 407731"/>
                    <a:gd name="csY39" fmla="*/ 278586 h 384521"/>
                    <a:gd name="csX40" fmla="*/ 212574 w 407731"/>
                    <a:gd name="csY40" fmla="*/ 290592 h 384521"/>
                    <a:gd name="csX41" fmla="*/ 215839 w 407731"/>
                    <a:gd name="csY41" fmla="*/ 287294 h 384521"/>
                    <a:gd name="csX42" fmla="*/ 235784 w 407731"/>
                    <a:gd name="csY42" fmla="*/ 300356 h 384521"/>
                    <a:gd name="csX43" fmla="*/ 254640 w 407731"/>
                    <a:gd name="csY43" fmla="*/ 322510 h 384521"/>
                    <a:gd name="csX44" fmla="*/ 276058 w 407731"/>
                    <a:gd name="csY44" fmla="*/ 311241 h 384521"/>
                    <a:gd name="csX45" fmla="*/ 293473 w 407731"/>
                    <a:gd name="csY45" fmla="*/ 317419 h 384521"/>
                    <a:gd name="csX46" fmla="*/ 301093 w 407731"/>
                    <a:gd name="csY46" fmla="*/ 318156 h 384521"/>
                    <a:gd name="csX47" fmla="*/ 311593 w 407731"/>
                    <a:gd name="csY47" fmla="*/ 337365 h 384521"/>
                    <a:gd name="csX48" fmla="*/ 310505 w 407731"/>
                    <a:gd name="csY48" fmla="*/ 353692 h 384521"/>
                    <a:gd name="csX49" fmla="*/ 316683 w 407731"/>
                    <a:gd name="csY49" fmla="*/ 363840 h 384521"/>
                    <a:gd name="csX50" fmla="*/ 328657 w 407731"/>
                    <a:gd name="csY50" fmla="*/ 364576 h 384521"/>
                    <a:gd name="csX51" fmla="*/ 339157 w 407731"/>
                    <a:gd name="csY51" fmla="*/ 356957 h 384521"/>
                    <a:gd name="csX52" fmla="*/ 340630 w 407731"/>
                    <a:gd name="csY52" fmla="*/ 364576 h 384521"/>
                    <a:gd name="csX53" fmla="*/ 335540 w 407731"/>
                    <a:gd name="csY53" fmla="*/ 367489 h 384521"/>
                    <a:gd name="csX54" fmla="*/ 341718 w 407731"/>
                    <a:gd name="csY54" fmla="*/ 367489 h 384521"/>
                    <a:gd name="csX55" fmla="*/ 346072 w 407731"/>
                    <a:gd name="csY55" fmla="*/ 374020 h 384521"/>
                    <a:gd name="csX56" fmla="*/ 355484 w 407731"/>
                    <a:gd name="csY56" fmla="*/ 376902 h 384521"/>
                    <a:gd name="csX57" fmla="*/ 355484 w 407731"/>
                    <a:gd name="csY57" fmla="*/ 381992 h 384521"/>
                    <a:gd name="csX58" fmla="*/ 365665 w 407731"/>
                    <a:gd name="csY58" fmla="*/ 384521 h 384521"/>
                    <a:gd name="csX59" fmla="*/ 359838 w 407731"/>
                    <a:gd name="csY59" fmla="*/ 355132 h 384521"/>
                    <a:gd name="csX60" fmla="*/ 359838 w 407731"/>
                    <a:gd name="csY60" fmla="*/ 342455 h 384521"/>
                    <a:gd name="csX61" fmla="*/ 362400 w 407731"/>
                    <a:gd name="csY61" fmla="*/ 326128 h 384521"/>
                    <a:gd name="csX62" fmla="*/ 370723 w 407731"/>
                    <a:gd name="csY62" fmla="*/ 300356 h 384521"/>
                    <a:gd name="csX63" fmla="*/ 396847 w 407731"/>
                    <a:gd name="csY63" fmla="*/ 255376 h 384521"/>
                    <a:gd name="csX64" fmla="*/ 407731 w 407731"/>
                    <a:gd name="csY64" fmla="*/ 238345 h 384521"/>
                    <a:gd name="csX65" fmla="*/ 404466 w 407731"/>
                    <a:gd name="csY65" fmla="*/ 232166 h 384521"/>
                    <a:gd name="csX66" fmla="*/ 392493 w 407731"/>
                    <a:gd name="csY66" fmla="*/ 230373 h 384521"/>
                    <a:gd name="csX67" fmla="*/ 380167 w 407731"/>
                    <a:gd name="csY67" fmla="*/ 216575 h 384521"/>
                    <a:gd name="csX68" fmla="*/ 376902 w 407731"/>
                    <a:gd name="csY68" fmla="*/ 202073 h 384521"/>
                    <a:gd name="csX69" fmla="*/ 376166 w 407731"/>
                    <a:gd name="csY69" fmla="*/ 158181 h 384521"/>
                    <a:gd name="csX70" fmla="*/ 380167 w 407731"/>
                    <a:gd name="csY70" fmla="*/ 136028 h 384521"/>
                    <a:gd name="csX71" fmla="*/ 363104 w 407731"/>
                    <a:gd name="csY71" fmla="*/ 86694 h 384521"/>
                    <a:gd name="csX72" fmla="*/ 346777 w 407731"/>
                    <a:gd name="csY72" fmla="*/ 86694 h 384521"/>
                    <a:gd name="csX73" fmla="*/ 340630 w 407731"/>
                    <a:gd name="csY73" fmla="*/ 80899 h 384521"/>
                    <a:gd name="csX74" fmla="*/ 333011 w 407731"/>
                    <a:gd name="csY74" fmla="*/ 74017 h 384521"/>
                    <a:gd name="csX75" fmla="*/ 330481 w 407731"/>
                    <a:gd name="csY75" fmla="*/ 65308 h 384521"/>
                    <a:gd name="csX76" fmla="*/ 318476 w 407731"/>
                    <a:gd name="csY76" fmla="*/ 60218 h 384521"/>
                    <a:gd name="csX77" fmla="*/ 309064 w 407731"/>
                    <a:gd name="csY77" fmla="*/ 70367 h 384521"/>
                    <a:gd name="csX78" fmla="*/ 284765 w 407731"/>
                    <a:gd name="csY78" fmla="*/ 68926 h 384521"/>
                    <a:gd name="csX79" fmla="*/ 276058 w 407731"/>
                    <a:gd name="csY79" fmla="*/ 59130 h 384521"/>
                    <a:gd name="csX80" fmla="*/ 277850 w 407731"/>
                    <a:gd name="csY80" fmla="*/ 51511 h 384521"/>
                    <a:gd name="csX81" fmla="*/ 265173 w 407731"/>
                    <a:gd name="csY81" fmla="*/ 52247 h 384521"/>
                    <a:gd name="csX82" fmla="*/ 255376 w 407731"/>
                    <a:gd name="csY82" fmla="*/ 44627 h 384521"/>
                    <a:gd name="csX83" fmla="*/ 251375 w 407731"/>
                    <a:gd name="csY83" fmla="*/ 45364 h 384521"/>
                    <a:gd name="csX84" fmla="*/ 253936 w 407731"/>
                    <a:gd name="csY84" fmla="*/ 41362 h 384521"/>
                    <a:gd name="csX85" fmla="*/ 259730 w 407731"/>
                    <a:gd name="csY85" fmla="*/ 32654 h 384521"/>
                    <a:gd name="csX86" fmla="*/ 252111 w 407731"/>
                    <a:gd name="csY86" fmla="*/ 9444 h 384521"/>
                    <a:gd name="csX87" fmla="*/ 239049 w 407731"/>
                    <a:gd name="csY87" fmla="*/ 18152 h 384521"/>
                    <a:gd name="csX88" fmla="*/ 225251 w 407731"/>
                    <a:gd name="csY88" fmla="*/ 19593 h 384521"/>
                    <a:gd name="csX89" fmla="*/ 217632 w 407731"/>
                    <a:gd name="csY89" fmla="*/ 15239 h 384521"/>
                    <a:gd name="csX90" fmla="*/ 206395 w 407731"/>
                    <a:gd name="csY90" fmla="*/ 16327 h 384521"/>
                    <a:gd name="csX91" fmla="*/ 186802 w 407731"/>
                    <a:gd name="csY91" fmla="*/ 8708 h 384521"/>
                    <a:gd name="csX92" fmla="*/ 185714 w 407731"/>
                    <a:gd name="csY92" fmla="*/ 4354 h 384521"/>
                    <a:gd name="csX93" fmla="*/ 179919 w 407731"/>
                    <a:gd name="csY93" fmla="*/ 0 h 384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</a:cxnLst>
                  <a:rect l="l" t="t" r="r" b="b"/>
                  <a:pathLst>
                    <a:path w="407731" h="384521">
                      <a:moveTo>
                        <a:pt x="179919" y="0"/>
                      </a:moveTo>
                      <a:lnTo>
                        <a:pt x="173740" y="2561"/>
                      </a:lnTo>
                      <a:lnTo>
                        <a:pt x="159238" y="5090"/>
                      </a:lnTo>
                      <a:lnTo>
                        <a:pt x="154884" y="2561"/>
                      </a:lnTo>
                      <a:lnTo>
                        <a:pt x="141822" y="2561"/>
                      </a:lnTo>
                      <a:lnTo>
                        <a:pt x="134939" y="23946"/>
                      </a:lnTo>
                      <a:lnTo>
                        <a:pt x="122230" y="29037"/>
                      </a:lnTo>
                      <a:lnTo>
                        <a:pt x="118612" y="35183"/>
                      </a:lnTo>
                      <a:lnTo>
                        <a:pt x="109904" y="35920"/>
                      </a:lnTo>
                      <a:lnTo>
                        <a:pt x="106639" y="44627"/>
                      </a:lnTo>
                      <a:lnTo>
                        <a:pt x="111729" y="50806"/>
                      </a:lnTo>
                      <a:lnTo>
                        <a:pt x="104110" y="52247"/>
                      </a:lnTo>
                      <a:lnTo>
                        <a:pt x="105903" y="58426"/>
                      </a:lnTo>
                      <a:lnTo>
                        <a:pt x="97931" y="64572"/>
                      </a:lnTo>
                      <a:lnTo>
                        <a:pt x="75809" y="67838"/>
                      </a:lnTo>
                      <a:lnTo>
                        <a:pt x="62748" y="76545"/>
                      </a:lnTo>
                      <a:lnTo>
                        <a:pt x="52599" y="66013"/>
                      </a:lnTo>
                      <a:lnTo>
                        <a:pt x="30829" y="74721"/>
                      </a:lnTo>
                      <a:lnTo>
                        <a:pt x="25035" y="71455"/>
                      </a:lnTo>
                      <a:lnTo>
                        <a:pt x="5058" y="82340"/>
                      </a:lnTo>
                      <a:lnTo>
                        <a:pt x="0" y="89255"/>
                      </a:lnTo>
                      <a:lnTo>
                        <a:pt x="2529" y="97227"/>
                      </a:lnTo>
                      <a:lnTo>
                        <a:pt x="17031" y="109936"/>
                      </a:lnTo>
                      <a:lnTo>
                        <a:pt x="13766" y="132410"/>
                      </a:lnTo>
                      <a:lnTo>
                        <a:pt x="35888" y="173772"/>
                      </a:lnTo>
                      <a:lnTo>
                        <a:pt x="36976" y="178126"/>
                      </a:lnTo>
                      <a:lnTo>
                        <a:pt x="55865" y="218400"/>
                      </a:lnTo>
                      <a:lnTo>
                        <a:pt x="55128" y="242699"/>
                      </a:lnTo>
                      <a:lnTo>
                        <a:pt x="60219" y="276057"/>
                      </a:lnTo>
                      <a:lnTo>
                        <a:pt x="67102" y="289119"/>
                      </a:lnTo>
                      <a:lnTo>
                        <a:pt x="99020" y="290592"/>
                      </a:lnTo>
                      <a:lnTo>
                        <a:pt x="127320" y="286590"/>
                      </a:lnTo>
                      <a:lnTo>
                        <a:pt x="131674" y="284765"/>
                      </a:lnTo>
                      <a:lnTo>
                        <a:pt x="151267" y="289855"/>
                      </a:lnTo>
                      <a:lnTo>
                        <a:pt x="171211" y="276057"/>
                      </a:lnTo>
                      <a:lnTo>
                        <a:pt x="173740" y="278586"/>
                      </a:lnTo>
                      <a:lnTo>
                        <a:pt x="186802" y="274264"/>
                      </a:lnTo>
                      <a:lnTo>
                        <a:pt x="189363" y="278586"/>
                      </a:lnTo>
                      <a:lnTo>
                        <a:pt x="191892" y="276794"/>
                      </a:lnTo>
                      <a:lnTo>
                        <a:pt x="201337" y="278586"/>
                      </a:lnTo>
                      <a:lnTo>
                        <a:pt x="212574" y="290592"/>
                      </a:lnTo>
                      <a:lnTo>
                        <a:pt x="215839" y="287294"/>
                      </a:lnTo>
                      <a:lnTo>
                        <a:pt x="235784" y="300356"/>
                      </a:lnTo>
                      <a:lnTo>
                        <a:pt x="254640" y="322510"/>
                      </a:lnTo>
                      <a:lnTo>
                        <a:pt x="276058" y="311241"/>
                      </a:lnTo>
                      <a:lnTo>
                        <a:pt x="293473" y="317419"/>
                      </a:lnTo>
                      <a:lnTo>
                        <a:pt x="301093" y="318156"/>
                      </a:lnTo>
                      <a:lnTo>
                        <a:pt x="311593" y="337365"/>
                      </a:lnTo>
                      <a:lnTo>
                        <a:pt x="310505" y="353692"/>
                      </a:lnTo>
                      <a:lnTo>
                        <a:pt x="316683" y="363840"/>
                      </a:lnTo>
                      <a:lnTo>
                        <a:pt x="328657" y="364576"/>
                      </a:lnTo>
                      <a:lnTo>
                        <a:pt x="339157" y="356957"/>
                      </a:lnTo>
                      <a:lnTo>
                        <a:pt x="340630" y="364576"/>
                      </a:lnTo>
                      <a:lnTo>
                        <a:pt x="335540" y="367489"/>
                      </a:lnTo>
                      <a:lnTo>
                        <a:pt x="341718" y="367489"/>
                      </a:lnTo>
                      <a:lnTo>
                        <a:pt x="346072" y="374020"/>
                      </a:lnTo>
                      <a:lnTo>
                        <a:pt x="355484" y="376902"/>
                      </a:lnTo>
                      <a:lnTo>
                        <a:pt x="355484" y="381992"/>
                      </a:lnTo>
                      <a:lnTo>
                        <a:pt x="365665" y="384521"/>
                      </a:lnTo>
                      <a:lnTo>
                        <a:pt x="359838" y="355132"/>
                      </a:lnTo>
                      <a:lnTo>
                        <a:pt x="359838" y="342455"/>
                      </a:lnTo>
                      <a:lnTo>
                        <a:pt x="362400" y="326128"/>
                      </a:lnTo>
                      <a:lnTo>
                        <a:pt x="370723" y="300356"/>
                      </a:lnTo>
                      <a:lnTo>
                        <a:pt x="396847" y="255376"/>
                      </a:lnTo>
                      <a:lnTo>
                        <a:pt x="407731" y="238345"/>
                      </a:lnTo>
                      <a:lnTo>
                        <a:pt x="404466" y="232166"/>
                      </a:lnTo>
                      <a:lnTo>
                        <a:pt x="392493" y="230373"/>
                      </a:lnTo>
                      <a:lnTo>
                        <a:pt x="380167" y="216575"/>
                      </a:lnTo>
                      <a:lnTo>
                        <a:pt x="376902" y="202073"/>
                      </a:lnTo>
                      <a:lnTo>
                        <a:pt x="376166" y="158181"/>
                      </a:lnTo>
                      <a:lnTo>
                        <a:pt x="380167" y="136028"/>
                      </a:lnTo>
                      <a:lnTo>
                        <a:pt x="363104" y="86694"/>
                      </a:lnTo>
                      <a:lnTo>
                        <a:pt x="346777" y="86694"/>
                      </a:lnTo>
                      <a:lnTo>
                        <a:pt x="340630" y="80899"/>
                      </a:lnTo>
                      <a:lnTo>
                        <a:pt x="333011" y="74017"/>
                      </a:lnTo>
                      <a:lnTo>
                        <a:pt x="330481" y="65308"/>
                      </a:lnTo>
                      <a:lnTo>
                        <a:pt x="318476" y="60218"/>
                      </a:lnTo>
                      <a:lnTo>
                        <a:pt x="309064" y="70367"/>
                      </a:lnTo>
                      <a:lnTo>
                        <a:pt x="284765" y="68926"/>
                      </a:lnTo>
                      <a:lnTo>
                        <a:pt x="276058" y="59130"/>
                      </a:lnTo>
                      <a:lnTo>
                        <a:pt x="277850" y="51511"/>
                      </a:lnTo>
                      <a:lnTo>
                        <a:pt x="265173" y="52247"/>
                      </a:lnTo>
                      <a:lnTo>
                        <a:pt x="255376" y="44627"/>
                      </a:lnTo>
                      <a:lnTo>
                        <a:pt x="251375" y="45364"/>
                      </a:lnTo>
                      <a:lnTo>
                        <a:pt x="253936" y="41362"/>
                      </a:lnTo>
                      <a:lnTo>
                        <a:pt x="259730" y="32654"/>
                      </a:lnTo>
                      <a:lnTo>
                        <a:pt x="252111" y="9444"/>
                      </a:lnTo>
                      <a:lnTo>
                        <a:pt x="239049" y="18152"/>
                      </a:lnTo>
                      <a:lnTo>
                        <a:pt x="225251" y="19593"/>
                      </a:lnTo>
                      <a:lnTo>
                        <a:pt x="217632" y="15239"/>
                      </a:lnTo>
                      <a:lnTo>
                        <a:pt x="206395" y="16327"/>
                      </a:lnTo>
                      <a:lnTo>
                        <a:pt x="186802" y="8708"/>
                      </a:lnTo>
                      <a:lnTo>
                        <a:pt x="185714" y="4354"/>
                      </a:lnTo>
                      <a:lnTo>
                        <a:pt x="179919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4" name="Forma Livre: Forma 363">
                  <a:extLst>
                    <a:ext uri="{FF2B5EF4-FFF2-40B4-BE49-F238E27FC236}">
                      <a16:creationId xmlns:a16="http://schemas.microsoft.com/office/drawing/2014/main" id="{FFA893B5-88BA-65A4-10FE-F04D17E5B34C}"/>
                    </a:ext>
                  </a:extLst>
                </p:cNvPr>
                <p:cNvSpPr/>
                <p:nvPr/>
              </p:nvSpPr>
              <p:spPr>
                <a:xfrm>
                  <a:off x="2420918" y="6171648"/>
                  <a:ext cx="407731" cy="384521"/>
                </a:xfrm>
                <a:custGeom>
                  <a:avLst/>
                  <a:gdLst>
                    <a:gd name="csX0" fmla="*/ 179919 w 407731"/>
                    <a:gd name="csY0" fmla="*/ 0 h 384521"/>
                    <a:gd name="csX1" fmla="*/ 173740 w 407731"/>
                    <a:gd name="csY1" fmla="*/ 2561 h 384521"/>
                    <a:gd name="csX2" fmla="*/ 159238 w 407731"/>
                    <a:gd name="csY2" fmla="*/ 5090 h 384521"/>
                    <a:gd name="csX3" fmla="*/ 154884 w 407731"/>
                    <a:gd name="csY3" fmla="*/ 2561 h 384521"/>
                    <a:gd name="csX4" fmla="*/ 141822 w 407731"/>
                    <a:gd name="csY4" fmla="*/ 2561 h 384521"/>
                    <a:gd name="csX5" fmla="*/ 134939 w 407731"/>
                    <a:gd name="csY5" fmla="*/ 23946 h 384521"/>
                    <a:gd name="csX6" fmla="*/ 122230 w 407731"/>
                    <a:gd name="csY6" fmla="*/ 29037 h 384521"/>
                    <a:gd name="csX7" fmla="*/ 118612 w 407731"/>
                    <a:gd name="csY7" fmla="*/ 35183 h 384521"/>
                    <a:gd name="csX8" fmla="*/ 109904 w 407731"/>
                    <a:gd name="csY8" fmla="*/ 35920 h 384521"/>
                    <a:gd name="csX9" fmla="*/ 106639 w 407731"/>
                    <a:gd name="csY9" fmla="*/ 44627 h 384521"/>
                    <a:gd name="csX10" fmla="*/ 111729 w 407731"/>
                    <a:gd name="csY10" fmla="*/ 50806 h 384521"/>
                    <a:gd name="csX11" fmla="*/ 104110 w 407731"/>
                    <a:gd name="csY11" fmla="*/ 52247 h 384521"/>
                    <a:gd name="csX12" fmla="*/ 105903 w 407731"/>
                    <a:gd name="csY12" fmla="*/ 58426 h 384521"/>
                    <a:gd name="csX13" fmla="*/ 97931 w 407731"/>
                    <a:gd name="csY13" fmla="*/ 64572 h 384521"/>
                    <a:gd name="csX14" fmla="*/ 75809 w 407731"/>
                    <a:gd name="csY14" fmla="*/ 67838 h 384521"/>
                    <a:gd name="csX15" fmla="*/ 62748 w 407731"/>
                    <a:gd name="csY15" fmla="*/ 76545 h 384521"/>
                    <a:gd name="csX16" fmla="*/ 52599 w 407731"/>
                    <a:gd name="csY16" fmla="*/ 66013 h 384521"/>
                    <a:gd name="csX17" fmla="*/ 30829 w 407731"/>
                    <a:gd name="csY17" fmla="*/ 74721 h 384521"/>
                    <a:gd name="csX18" fmla="*/ 25035 w 407731"/>
                    <a:gd name="csY18" fmla="*/ 71455 h 384521"/>
                    <a:gd name="csX19" fmla="*/ 5058 w 407731"/>
                    <a:gd name="csY19" fmla="*/ 82340 h 384521"/>
                    <a:gd name="csX20" fmla="*/ 0 w 407731"/>
                    <a:gd name="csY20" fmla="*/ 89255 h 384521"/>
                    <a:gd name="csX21" fmla="*/ 2529 w 407731"/>
                    <a:gd name="csY21" fmla="*/ 97227 h 384521"/>
                    <a:gd name="csX22" fmla="*/ 17031 w 407731"/>
                    <a:gd name="csY22" fmla="*/ 109936 h 384521"/>
                    <a:gd name="csX23" fmla="*/ 13766 w 407731"/>
                    <a:gd name="csY23" fmla="*/ 132410 h 384521"/>
                    <a:gd name="csX24" fmla="*/ 35888 w 407731"/>
                    <a:gd name="csY24" fmla="*/ 173772 h 384521"/>
                    <a:gd name="csX25" fmla="*/ 36976 w 407731"/>
                    <a:gd name="csY25" fmla="*/ 178126 h 384521"/>
                    <a:gd name="csX26" fmla="*/ 55865 w 407731"/>
                    <a:gd name="csY26" fmla="*/ 218400 h 384521"/>
                    <a:gd name="csX27" fmla="*/ 55128 w 407731"/>
                    <a:gd name="csY27" fmla="*/ 242699 h 384521"/>
                    <a:gd name="csX28" fmla="*/ 60219 w 407731"/>
                    <a:gd name="csY28" fmla="*/ 276057 h 384521"/>
                    <a:gd name="csX29" fmla="*/ 67102 w 407731"/>
                    <a:gd name="csY29" fmla="*/ 289119 h 384521"/>
                    <a:gd name="csX30" fmla="*/ 99020 w 407731"/>
                    <a:gd name="csY30" fmla="*/ 290592 h 384521"/>
                    <a:gd name="csX31" fmla="*/ 127320 w 407731"/>
                    <a:gd name="csY31" fmla="*/ 286590 h 384521"/>
                    <a:gd name="csX32" fmla="*/ 131674 w 407731"/>
                    <a:gd name="csY32" fmla="*/ 284765 h 384521"/>
                    <a:gd name="csX33" fmla="*/ 151267 w 407731"/>
                    <a:gd name="csY33" fmla="*/ 289855 h 384521"/>
                    <a:gd name="csX34" fmla="*/ 171211 w 407731"/>
                    <a:gd name="csY34" fmla="*/ 276057 h 384521"/>
                    <a:gd name="csX35" fmla="*/ 173740 w 407731"/>
                    <a:gd name="csY35" fmla="*/ 278586 h 384521"/>
                    <a:gd name="csX36" fmla="*/ 186802 w 407731"/>
                    <a:gd name="csY36" fmla="*/ 274264 h 384521"/>
                    <a:gd name="csX37" fmla="*/ 189363 w 407731"/>
                    <a:gd name="csY37" fmla="*/ 278586 h 384521"/>
                    <a:gd name="csX38" fmla="*/ 191892 w 407731"/>
                    <a:gd name="csY38" fmla="*/ 276794 h 384521"/>
                    <a:gd name="csX39" fmla="*/ 201337 w 407731"/>
                    <a:gd name="csY39" fmla="*/ 278586 h 384521"/>
                    <a:gd name="csX40" fmla="*/ 212574 w 407731"/>
                    <a:gd name="csY40" fmla="*/ 290592 h 384521"/>
                    <a:gd name="csX41" fmla="*/ 215839 w 407731"/>
                    <a:gd name="csY41" fmla="*/ 287294 h 384521"/>
                    <a:gd name="csX42" fmla="*/ 235784 w 407731"/>
                    <a:gd name="csY42" fmla="*/ 300356 h 384521"/>
                    <a:gd name="csX43" fmla="*/ 254640 w 407731"/>
                    <a:gd name="csY43" fmla="*/ 322510 h 384521"/>
                    <a:gd name="csX44" fmla="*/ 276058 w 407731"/>
                    <a:gd name="csY44" fmla="*/ 311241 h 384521"/>
                    <a:gd name="csX45" fmla="*/ 293473 w 407731"/>
                    <a:gd name="csY45" fmla="*/ 317419 h 384521"/>
                    <a:gd name="csX46" fmla="*/ 301093 w 407731"/>
                    <a:gd name="csY46" fmla="*/ 318156 h 384521"/>
                    <a:gd name="csX47" fmla="*/ 311593 w 407731"/>
                    <a:gd name="csY47" fmla="*/ 337365 h 384521"/>
                    <a:gd name="csX48" fmla="*/ 310505 w 407731"/>
                    <a:gd name="csY48" fmla="*/ 353692 h 384521"/>
                    <a:gd name="csX49" fmla="*/ 316683 w 407731"/>
                    <a:gd name="csY49" fmla="*/ 363840 h 384521"/>
                    <a:gd name="csX50" fmla="*/ 328657 w 407731"/>
                    <a:gd name="csY50" fmla="*/ 364576 h 384521"/>
                    <a:gd name="csX51" fmla="*/ 339157 w 407731"/>
                    <a:gd name="csY51" fmla="*/ 356957 h 384521"/>
                    <a:gd name="csX52" fmla="*/ 340630 w 407731"/>
                    <a:gd name="csY52" fmla="*/ 364576 h 384521"/>
                    <a:gd name="csX53" fmla="*/ 335540 w 407731"/>
                    <a:gd name="csY53" fmla="*/ 367489 h 384521"/>
                    <a:gd name="csX54" fmla="*/ 341718 w 407731"/>
                    <a:gd name="csY54" fmla="*/ 367489 h 384521"/>
                    <a:gd name="csX55" fmla="*/ 346072 w 407731"/>
                    <a:gd name="csY55" fmla="*/ 374020 h 384521"/>
                    <a:gd name="csX56" fmla="*/ 355484 w 407731"/>
                    <a:gd name="csY56" fmla="*/ 376902 h 384521"/>
                    <a:gd name="csX57" fmla="*/ 355484 w 407731"/>
                    <a:gd name="csY57" fmla="*/ 381992 h 384521"/>
                    <a:gd name="csX58" fmla="*/ 365665 w 407731"/>
                    <a:gd name="csY58" fmla="*/ 384521 h 384521"/>
                    <a:gd name="csX59" fmla="*/ 359838 w 407731"/>
                    <a:gd name="csY59" fmla="*/ 355132 h 384521"/>
                    <a:gd name="csX60" fmla="*/ 359838 w 407731"/>
                    <a:gd name="csY60" fmla="*/ 342455 h 384521"/>
                    <a:gd name="csX61" fmla="*/ 362400 w 407731"/>
                    <a:gd name="csY61" fmla="*/ 326128 h 384521"/>
                    <a:gd name="csX62" fmla="*/ 370723 w 407731"/>
                    <a:gd name="csY62" fmla="*/ 300356 h 384521"/>
                    <a:gd name="csX63" fmla="*/ 396847 w 407731"/>
                    <a:gd name="csY63" fmla="*/ 255376 h 384521"/>
                    <a:gd name="csX64" fmla="*/ 407731 w 407731"/>
                    <a:gd name="csY64" fmla="*/ 238345 h 384521"/>
                    <a:gd name="csX65" fmla="*/ 404466 w 407731"/>
                    <a:gd name="csY65" fmla="*/ 232166 h 384521"/>
                    <a:gd name="csX66" fmla="*/ 392493 w 407731"/>
                    <a:gd name="csY66" fmla="*/ 230373 h 384521"/>
                    <a:gd name="csX67" fmla="*/ 380167 w 407731"/>
                    <a:gd name="csY67" fmla="*/ 216575 h 384521"/>
                    <a:gd name="csX68" fmla="*/ 376902 w 407731"/>
                    <a:gd name="csY68" fmla="*/ 202073 h 384521"/>
                    <a:gd name="csX69" fmla="*/ 376166 w 407731"/>
                    <a:gd name="csY69" fmla="*/ 158181 h 384521"/>
                    <a:gd name="csX70" fmla="*/ 380167 w 407731"/>
                    <a:gd name="csY70" fmla="*/ 136028 h 384521"/>
                    <a:gd name="csX71" fmla="*/ 363104 w 407731"/>
                    <a:gd name="csY71" fmla="*/ 86694 h 384521"/>
                    <a:gd name="csX72" fmla="*/ 346777 w 407731"/>
                    <a:gd name="csY72" fmla="*/ 86694 h 384521"/>
                    <a:gd name="csX73" fmla="*/ 340630 w 407731"/>
                    <a:gd name="csY73" fmla="*/ 80899 h 384521"/>
                    <a:gd name="csX74" fmla="*/ 333011 w 407731"/>
                    <a:gd name="csY74" fmla="*/ 74017 h 384521"/>
                    <a:gd name="csX75" fmla="*/ 330481 w 407731"/>
                    <a:gd name="csY75" fmla="*/ 65308 h 384521"/>
                    <a:gd name="csX76" fmla="*/ 318476 w 407731"/>
                    <a:gd name="csY76" fmla="*/ 60218 h 384521"/>
                    <a:gd name="csX77" fmla="*/ 309064 w 407731"/>
                    <a:gd name="csY77" fmla="*/ 70367 h 384521"/>
                    <a:gd name="csX78" fmla="*/ 284765 w 407731"/>
                    <a:gd name="csY78" fmla="*/ 68926 h 384521"/>
                    <a:gd name="csX79" fmla="*/ 276058 w 407731"/>
                    <a:gd name="csY79" fmla="*/ 59130 h 384521"/>
                    <a:gd name="csX80" fmla="*/ 277850 w 407731"/>
                    <a:gd name="csY80" fmla="*/ 51511 h 384521"/>
                    <a:gd name="csX81" fmla="*/ 265173 w 407731"/>
                    <a:gd name="csY81" fmla="*/ 52247 h 384521"/>
                    <a:gd name="csX82" fmla="*/ 255376 w 407731"/>
                    <a:gd name="csY82" fmla="*/ 44627 h 384521"/>
                    <a:gd name="csX83" fmla="*/ 251375 w 407731"/>
                    <a:gd name="csY83" fmla="*/ 45364 h 384521"/>
                    <a:gd name="csX84" fmla="*/ 253936 w 407731"/>
                    <a:gd name="csY84" fmla="*/ 41362 h 384521"/>
                    <a:gd name="csX85" fmla="*/ 259730 w 407731"/>
                    <a:gd name="csY85" fmla="*/ 32654 h 384521"/>
                    <a:gd name="csX86" fmla="*/ 252111 w 407731"/>
                    <a:gd name="csY86" fmla="*/ 9444 h 384521"/>
                    <a:gd name="csX87" fmla="*/ 239049 w 407731"/>
                    <a:gd name="csY87" fmla="*/ 18152 h 384521"/>
                    <a:gd name="csX88" fmla="*/ 225251 w 407731"/>
                    <a:gd name="csY88" fmla="*/ 19593 h 384521"/>
                    <a:gd name="csX89" fmla="*/ 217632 w 407731"/>
                    <a:gd name="csY89" fmla="*/ 15239 h 384521"/>
                    <a:gd name="csX90" fmla="*/ 206395 w 407731"/>
                    <a:gd name="csY90" fmla="*/ 16327 h 384521"/>
                    <a:gd name="csX91" fmla="*/ 186802 w 407731"/>
                    <a:gd name="csY91" fmla="*/ 8708 h 384521"/>
                    <a:gd name="csX92" fmla="*/ 185714 w 407731"/>
                    <a:gd name="csY92" fmla="*/ 4354 h 384521"/>
                    <a:gd name="csX93" fmla="*/ 179919 w 407731"/>
                    <a:gd name="csY93" fmla="*/ 0 h 384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</a:cxnLst>
                  <a:rect l="l" t="t" r="r" b="b"/>
                  <a:pathLst>
                    <a:path w="407731" h="384521">
                      <a:moveTo>
                        <a:pt x="179919" y="0"/>
                      </a:moveTo>
                      <a:lnTo>
                        <a:pt x="173740" y="2561"/>
                      </a:lnTo>
                      <a:lnTo>
                        <a:pt x="159238" y="5090"/>
                      </a:lnTo>
                      <a:lnTo>
                        <a:pt x="154884" y="2561"/>
                      </a:lnTo>
                      <a:lnTo>
                        <a:pt x="141822" y="2561"/>
                      </a:lnTo>
                      <a:lnTo>
                        <a:pt x="134939" y="23946"/>
                      </a:lnTo>
                      <a:lnTo>
                        <a:pt x="122230" y="29037"/>
                      </a:lnTo>
                      <a:lnTo>
                        <a:pt x="118612" y="35183"/>
                      </a:lnTo>
                      <a:lnTo>
                        <a:pt x="109904" y="35920"/>
                      </a:lnTo>
                      <a:lnTo>
                        <a:pt x="106639" y="44627"/>
                      </a:lnTo>
                      <a:lnTo>
                        <a:pt x="111729" y="50806"/>
                      </a:lnTo>
                      <a:lnTo>
                        <a:pt x="104110" y="52247"/>
                      </a:lnTo>
                      <a:lnTo>
                        <a:pt x="105903" y="58426"/>
                      </a:lnTo>
                      <a:lnTo>
                        <a:pt x="97931" y="64572"/>
                      </a:lnTo>
                      <a:lnTo>
                        <a:pt x="75809" y="67838"/>
                      </a:lnTo>
                      <a:lnTo>
                        <a:pt x="62748" y="76545"/>
                      </a:lnTo>
                      <a:lnTo>
                        <a:pt x="52599" y="66013"/>
                      </a:lnTo>
                      <a:lnTo>
                        <a:pt x="30829" y="74721"/>
                      </a:lnTo>
                      <a:lnTo>
                        <a:pt x="25035" y="71455"/>
                      </a:lnTo>
                      <a:lnTo>
                        <a:pt x="5058" y="82340"/>
                      </a:lnTo>
                      <a:lnTo>
                        <a:pt x="0" y="89255"/>
                      </a:lnTo>
                      <a:lnTo>
                        <a:pt x="2529" y="97227"/>
                      </a:lnTo>
                      <a:lnTo>
                        <a:pt x="17031" y="109936"/>
                      </a:lnTo>
                      <a:lnTo>
                        <a:pt x="13766" y="132410"/>
                      </a:lnTo>
                      <a:lnTo>
                        <a:pt x="35888" y="173772"/>
                      </a:lnTo>
                      <a:lnTo>
                        <a:pt x="36976" y="178126"/>
                      </a:lnTo>
                      <a:lnTo>
                        <a:pt x="55865" y="218400"/>
                      </a:lnTo>
                      <a:lnTo>
                        <a:pt x="55128" y="242699"/>
                      </a:lnTo>
                      <a:lnTo>
                        <a:pt x="60219" y="276057"/>
                      </a:lnTo>
                      <a:lnTo>
                        <a:pt x="67102" y="289119"/>
                      </a:lnTo>
                      <a:lnTo>
                        <a:pt x="99020" y="290592"/>
                      </a:lnTo>
                      <a:lnTo>
                        <a:pt x="127320" y="286590"/>
                      </a:lnTo>
                      <a:lnTo>
                        <a:pt x="131674" y="284765"/>
                      </a:lnTo>
                      <a:lnTo>
                        <a:pt x="151267" y="289855"/>
                      </a:lnTo>
                      <a:lnTo>
                        <a:pt x="171211" y="276057"/>
                      </a:lnTo>
                      <a:lnTo>
                        <a:pt x="173740" y="278586"/>
                      </a:lnTo>
                      <a:lnTo>
                        <a:pt x="186802" y="274264"/>
                      </a:lnTo>
                      <a:lnTo>
                        <a:pt x="189363" y="278586"/>
                      </a:lnTo>
                      <a:lnTo>
                        <a:pt x="191892" y="276794"/>
                      </a:lnTo>
                      <a:lnTo>
                        <a:pt x="201337" y="278586"/>
                      </a:lnTo>
                      <a:lnTo>
                        <a:pt x="212574" y="290592"/>
                      </a:lnTo>
                      <a:lnTo>
                        <a:pt x="215839" y="287294"/>
                      </a:lnTo>
                      <a:lnTo>
                        <a:pt x="235784" y="300356"/>
                      </a:lnTo>
                      <a:lnTo>
                        <a:pt x="254640" y="322510"/>
                      </a:lnTo>
                      <a:lnTo>
                        <a:pt x="276058" y="311241"/>
                      </a:lnTo>
                      <a:lnTo>
                        <a:pt x="293473" y="317419"/>
                      </a:lnTo>
                      <a:lnTo>
                        <a:pt x="301093" y="318156"/>
                      </a:lnTo>
                      <a:lnTo>
                        <a:pt x="311593" y="337365"/>
                      </a:lnTo>
                      <a:lnTo>
                        <a:pt x="310505" y="353692"/>
                      </a:lnTo>
                      <a:lnTo>
                        <a:pt x="316683" y="363840"/>
                      </a:lnTo>
                      <a:lnTo>
                        <a:pt x="328657" y="364576"/>
                      </a:lnTo>
                      <a:lnTo>
                        <a:pt x="339157" y="356957"/>
                      </a:lnTo>
                      <a:lnTo>
                        <a:pt x="340630" y="364576"/>
                      </a:lnTo>
                      <a:lnTo>
                        <a:pt x="335540" y="367489"/>
                      </a:lnTo>
                      <a:lnTo>
                        <a:pt x="341718" y="367489"/>
                      </a:lnTo>
                      <a:lnTo>
                        <a:pt x="346072" y="374020"/>
                      </a:lnTo>
                      <a:lnTo>
                        <a:pt x="355484" y="376902"/>
                      </a:lnTo>
                      <a:lnTo>
                        <a:pt x="355484" y="381992"/>
                      </a:lnTo>
                      <a:lnTo>
                        <a:pt x="365665" y="384521"/>
                      </a:lnTo>
                      <a:lnTo>
                        <a:pt x="359838" y="355132"/>
                      </a:lnTo>
                      <a:lnTo>
                        <a:pt x="359838" y="342455"/>
                      </a:lnTo>
                      <a:lnTo>
                        <a:pt x="362400" y="326128"/>
                      </a:lnTo>
                      <a:lnTo>
                        <a:pt x="370723" y="300356"/>
                      </a:lnTo>
                      <a:lnTo>
                        <a:pt x="396847" y="255376"/>
                      </a:lnTo>
                      <a:lnTo>
                        <a:pt x="407731" y="238345"/>
                      </a:lnTo>
                      <a:lnTo>
                        <a:pt x="404466" y="232166"/>
                      </a:lnTo>
                      <a:lnTo>
                        <a:pt x="392493" y="230373"/>
                      </a:lnTo>
                      <a:lnTo>
                        <a:pt x="380167" y="216575"/>
                      </a:lnTo>
                      <a:lnTo>
                        <a:pt x="376902" y="202073"/>
                      </a:lnTo>
                      <a:lnTo>
                        <a:pt x="376166" y="158181"/>
                      </a:lnTo>
                      <a:lnTo>
                        <a:pt x="380167" y="136028"/>
                      </a:lnTo>
                      <a:lnTo>
                        <a:pt x="363104" y="86694"/>
                      </a:lnTo>
                      <a:lnTo>
                        <a:pt x="346777" y="86694"/>
                      </a:lnTo>
                      <a:lnTo>
                        <a:pt x="340630" y="80899"/>
                      </a:lnTo>
                      <a:lnTo>
                        <a:pt x="333011" y="74017"/>
                      </a:lnTo>
                      <a:lnTo>
                        <a:pt x="330481" y="65308"/>
                      </a:lnTo>
                      <a:lnTo>
                        <a:pt x="318476" y="60218"/>
                      </a:lnTo>
                      <a:lnTo>
                        <a:pt x="309064" y="70367"/>
                      </a:lnTo>
                      <a:lnTo>
                        <a:pt x="284765" y="68926"/>
                      </a:lnTo>
                      <a:lnTo>
                        <a:pt x="276058" y="59130"/>
                      </a:lnTo>
                      <a:lnTo>
                        <a:pt x="277850" y="51511"/>
                      </a:lnTo>
                      <a:lnTo>
                        <a:pt x="265173" y="52247"/>
                      </a:lnTo>
                      <a:lnTo>
                        <a:pt x="255376" y="44627"/>
                      </a:lnTo>
                      <a:lnTo>
                        <a:pt x="251375" y="45364"/>
                      </a:lnTo>
                      <a:lnTo>
                        <a:pt x="253936" y="41362"/>
                      </a:lnTo>
                      <a:lnTo>
                        <a:pt x="259730" y="32654"/>
                      </a:lnTo>
                      <a:lnTo>
                        <a:pt x="252111" y="9444"/>
                      </a:lnTo>
                      <a:lnTo>
                        <a:pt x="239049" y="18152"/>
                      </a:lnTo>
                      <a:lnTo>
                        <a:pt x="225251" y="19593"/>
                      </a:lnTo>
                      <a:lnTo>
                        <a:pt x="217632" y="15239"/>
                      </a:lnTo>
                      <a:lnTo>
                        <a:pt x="206395" y="16327"/>
                      </a:lnTo>
                      <a:lnTo>
                        <a:pt x="186802" y="8708"/>
                      </a:lnTo>
                      <a:lnTo>
                        <a:pt x="185714" y="4354"/>
                      </a:lnTo>
                      <a:lnTo>
                        <a:pt x="179919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5" name="Forma Livre: Forma 364">
                  <a:extLst>
                    <a:ext uri="{FF2B5EF4-FFF2-40B4-BE49-F238E27FC236}">
                      <a16:creationId xmlns:a16="http://schemas.microsoft.com/office/drawing/2014/main" id="{10883866-42D9-BA81-4458-E0A1E7E0A446}"/>
                    </a:ext>
                  </a:extLst>
                </p:cNvPr>
                <p:cNvSpPr/>
                <p:nvPr/>
              </p:nvSpPr>
              <p:spPr>
                <a:xfrm>
                  <a:off x="3480168" y="3592081"/>
                  <a:ext cx="334803" cy="411380"/>
                </a:xfrm>
                <a:custGeom>
                  <a:avLst/>
                  <a:gdLst>
                    <a:gd name="csX0" fmla="*/ 109552 w 334803"/>
                    <a:gd name="csY0" fmla="*/ 19945 h 411380"/>
                    <a:gd name="csX1" fmla="*/ 109552 w 334803"/>
                    <a:gd name="csY1" fmla="*/ 9444 h 411380"/>
                    <a:gd name="csX2" fmla="*/ 93225 w 334803"/>
                    <a:gd name="csY2" fmla="*/ 0 h 411380"/>
                    <a:gd name="csX3" fmla="*/ 79427 w 334803"/>
                    <a:gd name="csY3" fmla="*/ 18152 h 411380"/>
                    <a:gd name="csX4" fmla="*/ 79427 w 334803"/>
                    <a:gd name="csY4" fmla="*/ 18856 h 411380"/>
                    <a:gd name="csX5" fmla="*/ 89607 w 334803"/>
                    <a:gd name="csY5" fmla="*/ 24299 h 411380"/>
                    <a:gd name="csX6" fmla="*/ 93929 w 334803"/>
                    <a:gd name="csY6" fmla="*/ 38097 h 411380"/>
                    <a:gd name="csX7" fmla="*/ 63100 w 334803"/>
                    <a:gd name="csY7" fmla="*/ 62780 h 411380"/>
                    <a:gd name="csX8" fmla="*/ 44980 w 334803"/>
                    <a:gd name="csY8" fmla="*/ 91432 h 411380"/>
                    <a:gd name="csX9" fmla="*/ 28653 w 334803"/>
                    <a:gd name="csY9" fmla="*/ 98315 h 411380"/>
                    <a:gd name="csX10" fmla="*/ 33743 w 334803"/>
                    <a:gd name="csY10" fmla="*/ 109552 h 411380"/>
                    <a:gd name="csX11" fmla="*/ 50774 w 334803"/>
                    <a:gd name="csY11" fmla="*/ 109552 h 411380"/>
                    <a:gd name="csX12" fmla="*/ 51863 w 334803"/>
                    <a:gd name="csY12" fmla="*/ 122262 h 411380"/>
                    <a:gd name="csX13" fmla="*/ 39889 w 334803"/>
                    <a:gd name="csY13" fmla="*/ 126616 h 411380"/>
                    <a:gd name="csX14" fmla="*/ 38801 w 334803"/>
                    <a:gd name="csY14" fmla="*/ 137853 h 411380"/>
                    <a:gd name="csX15" fmla="*/ 30093 w 334803"/>
                    <a:gd name="csY15" fmla="*/ 151651 h 411380"/>
                    <a:gd name="csX16" fmla="*/ 30093 w 334803"/>
                    <a:gd name="csY16" fmla="*/ 161799 h 411380"/>
                    <a:gd name="csX17" fmla="*/ 40626 w 334803"/>
                    <a:gd name="csY17" fmla="*/ 169771 h 411380"/>
                    <a:gd name="csX18" fmla="*/ 33743 w 334803"/>
                    <a:gd name="csY18" fmla="*/ 187539 h 411380"/>
                    <a:gd name="csX19" fmla="*/ 26123 w 334803"/>
                    <a:gd name="csY19" fmla="*/ 193717 h 411380"/>
                    <a:gd name="csX20" fmla="*/ 20681 w 334803"/>
                    <a:gd name="csY20" fmla="*/ 191188 h 411380"/>
                    <a:gd name="csX21" fmla="*/ 15591 w 334803"/>
                    <a:gd name="csY21" fmla="*/ 198071 h 411380"/>
                    <a:gd name="csX22" fmla="*/ 20681 w 334803"/>
                    <a:gd name="csY22" fmla="*/ 200600 h 411380"/>
                    <a:gd name="csX23" fmla="*/ 16327 w 334803"/>
                    <a:gd name="csY23" fmla="*/ 214398 h 411380"/>
                    <a:gd name="csX24" fmla="*/ 18120 w 334803"/>
                    <a:gd name="csY24" fmla="*/ 228196 h 411380"/>
                    <a:gd name="csX25" fmla="*/ 8708 w 334803"/>
                    <a:gd name="csY25" fmla="*/ 240874 h 411380"/>
                    <a:gd name="csX26" fmla="*/ 0 w 334803"/>
                    <a:gd name="csY26" fmla="*/ 247757 h 411380"/>
                    <a:gd name="csX27" fmla="*/ 4354 w 334803"/>
                    <a:gd name="csY27" fmla="*/ 255761 h 411380"/>
                    <a:gd name="csX28" fmla="*/ 8708 w 334803"/>
                    <a:gd name="csY28" fmla="*/ 254672 h 411380"/>
                    <a:gd name="csX29" fmla="*/ 9412 w 334803"/>
                    <a:gd name="csY29" fmla="*/ 272088 h 411380"/>
                    <a:gd name="csX30" fmla="*/ 19945 w 334803"/>
                    <a:gd name="csY30" fmla="*/ 264084 h 411380"/>
                    <a:gd name="csX31" fmla="*/ 34447 w 334803"/>
                    <a:gd name="csY31" fmla="*/ 264084 h 411380"/>
                    <a:gd name="csX32" fmla="*/ 22474 w 334803"/>
                    <a:gd name="csY32" fmla="*/ 272792 h 411380"/>
                    <a:gd name="csX33" fmla="*/ 26828 w 334803"/>
                    <a:gd name="csY33" fmla="*/ 280411 h 411380"/>
                    <a:gd name="csX34" fmla="*/ 18120 w 334803"/>
                    <a:gd name="csY34" fmla="*/ 309064 h 411380"/>
                    <a:gd name="csX35" fmla="*/ 5442 w 334803"/>
                    <a:gd name="csY35" fmla="*/ 320333 h 411380"/>
                    <a:gd name="csX36" fmla="*/ 1088 w 334803"/>
                    <a:gd name="csY36" fmla="*/ 331218 h 411380"/>
                    <a:gd name="csX37" fmla="*/ 4354 w 334803"/>
                    <a:gd name="csY37" fmla="*/ 339926 h 411380"/>
                    <a:gd name="csX38" fmla="*/ 25035 w 334803"/>
                    <a:gd name="csY38" fmla="*/ 342455 h 411380"/>
                    <a:gd name="csX39" fmla="*/ 39889 w 334803"/>
                    <a:gd name="csY39" fmla="*/ 373636 h 411380"/>
                    <a:gd name="csX40" fmla="*/ 44980 w 334803"/>
                    <a:gd name="csY40" fmla="*/ 371107 h 411380"/>
                    <a:gd name="csX41" fmla="*/ 49334 w 334803"/>
                    <a:gd name="csY41" fmla="*/ 372548 h 411380"/>
                    <a:gd name="csX42" fmla="*/ 48245 w 334803"/>
                    <a:gd name="csY42" fmla="*/ 395790 h 411380"/>
                    <a:gd name="csX43" fmla="*/ 53303 w 334803"/>
                    <a:gd name="csY43" fmla="*/ 400144 h 411380"/>
                    <a:gd name="csX44" fmla="*/ 70719 w 334803"/>
                    <a:gd name="csY44" fmla="*/ 401937 h 411380"/>
                    <a:gd name="csX45" fmla="*/ 75073 w 334803"/>
                    <a:gd name="csY45" fmla="*/ 395054 h 411380"/>
                    <a:gd name="csX46" fmla="*/ 71455 w 334803"/>
                    <a:gd name="csY46" fmla="*/ 389964 h 411380"/>
                    <a:gd name="csX47" fmla="*/ 82692 w 334803"/>
                    <a:gd name="csY47" fmla="*/ 391436 h 411380"/>
                    <a:gd name="csX48" fmla="*/ 91400 w 334803"/>
                    <a:gd name="csY48" fmla="*/ 379463 h 411380"/>
                    <a:gd name="csX49" fmla="*/ 107727 w 334803"/>
                    <a:gd name="csY49" fmla="*/ 385610 h 411380"/>
                    <a:gd name="csX50" fmla="*/ 112818 w 334803"/>
                    <a:gd name="csY50" fmla="*/ 379463 h 411380"/>
                    <a:gd name="csX51" fmla="*/ 129145 w 334803"/>
                    <a:gd name="csY51" fmla="*/ 384521 h 411380"/>
                    <a:gd name="csX52" fmla="*/ 132762 w 334803"/>
                    <a:gd name="csY52" fmla="*/ 390700 h 411380"/>
                    <a:gd name="csX53" fmla="*/ 130233 w 334803"/>
                    <a:gd name="csY53" fmla="*/ 398319 h 411380"/>
                    <a:gd name="csX54" fmla="*/ 144736 w 334803"/>
                    <a:gd name="csY54" fmla="*/ 411381 h 411380"/>
                    <a:gd name="csX55" fmla="*/ 163592 w 334803"/>
                    <a:gd name="csY55" fmla="*/ 364929 h 411380"/>
                    <a:gd name="csX56" fmla="*/ 175565 w 334803"/>
                    <a:gd name="csY56" fmla="*/ 333011 h 411380"/>
                    <a:gd name="csX57" fmla="*/ 181744 w 334803"/>
                    <a:gd name="csY57" fmla="*/ 383817 h 411380"/>
                    <a:gd name="csX58" fmla="*/ 198775 w 334803"/>
                    <a:gd name="csY58" fmla="*/ 395054 h 411380"/>
                    <a:gd name="csX59" fmla="*/ 212573 w 334803"/>
                    <a:gd name="csY59" fmla="*/ 392525 h 411380"/>
                    <a:gd name="csX60" fmla="*/ 214398 w 334803"/>
                    <a:gd name="csY60" fmla="*/ 401201 h 411380"/>
                    <a:gd name="csX61" fmla="*/ 262644 w 334803"/>
                    <a:gd name="csY61" fmla="*/ 383081 h 411380"/>
                    <a:gd name="csX62" fmla="*/ 306535 w 334803"/>
                    <a:gd name="csY62" fmla="*/ 365665 h 411380"/>
                    <a:gd name="csX63" fmla="*/ 321037 w 334803"/>
                    <a:gd name="csY63" fmla="*/ 297091 h 411380"/>
                    <a:gd name="csX64" fmla="*/ 322126 w 334803"/>
                    <a:gd name="csY64" fmla="*/ 296002 h 411380"/>
                    <a:gd name="csX65" fmla="*/ 334803 w 334803"/>
                    <a:gd name="csY65" fmla="*/ 222018 h 411380"/>
                    <a:gd name="csX66" fmla="*/ 326480 w 334803"/>
                    <a:gd name="csY66" fmla="*/ 211869 h 411380"/>
                    <a:gd name="csX67" fmla="*/ 323567 w 334803"/>
                    <a:gd name="csY67" fmla="*/ 198808 h 411380"/>
                    <a:gd name="csX68" fmla="*/ 322126 w 334803"/>
                    <a:gd name="csY68" fmla="*/ 166153 h 411380"/>
                    <a:gd name="csX69" fmla="*/ 316683 w 334803"/>
                    <a:gd name="csY69" fmla="*/ 137853 h 411380"/>
                    <a:gd name="csX70" fmla="*/ 313418 w 334803"/>
                    <a:gd name="csY70" fmla="*/ 129881 h 411380"/>
                    <a:gd name="csX71" fmla="*/ 306535 w 334803"/>
                    <a:gd name="csY71" fmla="*/ 133499 h 411380"/>
                    <a:gd name="csX72" fmla="*/ 299620 w 334803"/>
                    <a:gd name="csY72" fmla="*/ 129881 h 411380"/>
                    <a:gd name="csX73" fmla="*/ 297827 w 334803"/>
                    <a:gd name="csY73" fmla="*/ 135324 h 411380"/>
                    <a:gd name="csX74" fmla="*/ 293473 w 334803"/>
                    <a:gd name="csY74" fmla="*/ 124055 h 411380"/>
                    <a:gd name="csX75" fmla="*/ 286558 w 334803"/>
                    <a:gd name="csY75" fmla="*/ 120437 h 411380"/>
                    <a:gd name="csX76" fmla="*/ 278939 w 334803"/>
                    <a:gd name="csY76" fmla="*/ 127320 h 411380"/>
                    <a:gd name="csX77" fmla="*/ 277146 w 334803"/>
                    <a:gd name="csY77" fmla="*/ 117172 h 411380"/>
                    <a:gd name="csX78" fmla="*/ 264436 w 334803"/>
                    <a:gd name="csY78" fmla="*/ 117172 h 411380"/>
                    <a:gd name="csX79" fmla="*/ 266997 w 334803"/>
                    <a:gd name="csY79" fmla="*/ 112113 h 411380"/>
                    <a:gd name="csX80" fmla="*/ 262644 w 334803"/>
                    <a:gd name="csY80" fmla="*/ 110288 h 411380"/>
                    <a:gd name="csX81" fmla="*/ 259378 w 334803"/>
                    <a:gd name="csY81" fmla="*/ 107759 h 411380"/>
                    <a:gd name="csX82" fmla="*/ 264436 w 334803"/>
                    <a:gd name="csY82" fmla="*/ 103406 h 411380"/>
                    <a:gd name="csX83" fmla="*/ 259378 w 334803"/>
                    <a:gd name="csY83" fmla="*/ 98315 h 411380"/>
                    <a:gd name="csX84" fmla="*/ 261907 w 334803"/>
                    <a:gd name="csY84" fmla="*/ 91432 h 411380"/>
                    <a:gd name="csX85" fmla="*/ 253199 w 334803"/>
                    <a:gd name="csY85" fmla="*/ 87783 h 411380"/>
                    <a:gd name="csX86" fmla="*/ 257553 w 334803"/>
                    <a:gd name="csY86" fmla="*/ 78370 h 411380"/>
                    <a:gd name="csX87" fmla="*/ 260082 w 334803"/>
                    <a:gd name="csY87" fmla="*/ 70751 h 411380"/>
                    <a:gd name="csX88" fmla="*/ 253936 w 334803"/>
                    <a:gd name="csY88" fmla="*/ 68926 h 411380"/>
                    <a:gd name="csX89" fmla="*/ 241226 w 334803"/>
                    <a:gd name="csY89" fmla="*/ 50806 h 411380"/>
                    <a:gd name="csX90" fmla="*/ 243755 w 334803"/>
                    <a:gd name="csY90" fmla="*/ 43891 h 411380"/>
                    <a:gd name="csX91" fmla="*/ 228901 w 334803"/>
                    <a:gd name="csY91" fmla="*/ 43187 h 411380"/>
                    <a:gd name="csX92" fmla="*/ 227428 w 334803"/>
                    <a:gd name="csY92" fmla="*/ 31918 h 411380"/>
                    <a:gd name="csX93" fmla="*/ 222018 w 334803"/>
                    <a:gd name="csY93" fmla="*/ 26860 h 411380"/>
                    <a:gd name="csX94" fmla="*/ 196246 w 334803"/>
                    <a:gd name="csY94" fmla="*/ 16327 h 411380"/>
                    <a:gd name="csX95" fmla="*/ 197335 w 334803"/>
                    <a:gd name="csY95" fmla="*/ 11237 h 411380"/>
                    <a:gd name="csX96" fmla="*/ 193717 w 334803"/>
                    <a:gd name="csY96" fmla="*/ 11237 h 411380"/>
                    <a:gd name="csX97" fmla="*/ 172300 w 334803"/>
                    <a:gd name="csY97" fmla="*/ 22506 h 411380"/>
                    <a:gd name="csX98" fmla="*/ 150915 w 334803"/>
                    <a:gd name="csY98" fmla="*/ 18856 h 411380"/>
                    <a:gd name="csX99" fmla="*/ 144736 w 334803"/>
                    <a:gd name="csY99" fmla="*/ 12325 h 411380"/>
                    <a:gd name="csX100" fmla="*/ 130233 w 334803"/>
                    <a:gd name="csY100" fmla="*/ 16327 h 411380"/>
                    <a:gd name="csX101" fmla="*/ 121525 w 334803"/>
                    <a:gd name="csY101" fmla="*/ 14887 h 411380"/>
                    <a:gd name="csX102" fmla="*/ 113906 w 334803"/>
                    <a:gd name="csY102" fmla="*/ 23210 h 411380"/>
                    <a:gd name="csX103" fmla="*/ 109552 w 334803"/>
                    <a:gd name="csY103" fmla="*/ 19945 h 4113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</a:cxnLst>
                  <a:rect l="l" t="t" r="r" b="b"/>
                  <a:pathLst>
                    <a:path w="334803" h="411380">
                      <a:moveTo>
                        <a:pt x="109552" y="19945"/>
                      </a:moveTo>
                      <a:lnTo>
                        <a:pt x="109552" y="9444"/>
                      </a:lnTo>
                      <a:lnTo>
                        <a:pt x="93225" y="0"/>
                      </a:lnTo>
                      <a:lnTo>
                        <a:pt x="79427" y="18152"/>
                      </a:lnTo>
                      <a:lnTo>
                        <a:pt x="79427" y="18856"/>
                      </a:lnTo>
                      <a:lnTo>
                        <a:pt x="89607" y="24299"/>
                      </a:lnTo>
                      <a:lnTo>
                        <a:pt x="93929" y="38097"/>
                      </a:lnTo>
                      <a:lnTo>
                        <a:pt x="63100" y="62780"/>
                      </a:lnTo>
                      <a:lnTo>
                        <a:pt x="44980" y="91432"/>
                      </a:lnTo>
                      <a:lnTo>
                        <a:pt x="28653" y="98315"/>
                      </a:lnTo>
                      <a:lnTo>
                        <a:pt x="33743" y="109552"/>
                      </a:lnTo>
                      <a:lnTo>
                        <a:pt x="50774" y="109552"/>
                      </a:lnTo>
                      <a:lnTo>
                        <a:pt x="51863" y="122262"/>
                      </a:lnTo>
                      <a:lnTo>
                        <a:pt x="39889" y="126616"/>
                      </a:lnTo>
                      <a:lnTo>
                        <a:pt x="38801" y="137853"/>
                      </a:lnTo>
                      <a:lnTo>
                        <a:pt x="30093" y="151651"/>
                      </a:lnTo>
                      <a:lnTo>
                        <a:pt x="30093" y="161799"/>
                      </a:lnTo>
                      <a:lnTo>
                        <a:pt x="40626" y="169771"/>
                      </a:lnTo>
                      <a:lnTo>
                        <a:pt x="33743" y="187539"/>
                      </a:lnTo>
                      <a:lnTo>
                        <a:pt x="26123" y="193717"/>
                      </a:lnTo>
                      <a:lnTo>
                        <a:pt x="20681" y="191188"/>
                      </a:lnTo>
                      <a:lnTo>
                        <a:pt x="15591" y="198071"/>
                      </a:lnTo>
                      <a:lnTo>
                        <a:pt x="20681" y="200600"/>
                      </a:lnTo>
                      <a:lnTo>
                        <a:pt x="16327" y="214398"/>
                      </a:lnTo>
                      <a:lnTo>
                        <a:pt x="18120" y="228196"/>
                      </a:lnTo>
                      <a:lnTo>
                        <a:pt x="8708" y="240874"/>
                      </a:lnTo>
                      <a:lnTo>
                        <a:pt x="0" y="247757"/>
                      </a:lnTo>
                      <a:lnTo>
                        <a:pt x="4354" y="255761"/>
                      </a:lnTo>
                      <a:lnTo>
                        <a:pt x="8708" y="254672"/>
                      </a:lnTo>
                      <a:lnTo>
                        <a:pt x="9412" y="272088"/>
                      </a:lnTo>
                      <a:lnTo>
                        <a:pt x="19945" y="264084"/>
                      </a:lnTo>
                      <a:lnTo>
                        <a:pt x="34447" y="264084"/>
                      </a:lnTo>
                      <a:lnTo>
                        <a:pt x="22474" y="272792"/>
                      </a:lnTo>
                      <a:lnTo>
                        <a:pt x="26828" y="280411"/>
                      </a:lnTo>
                      <a:lnTo>
                        <a:pt x="18120" y="309064"/>
                      </a:lnTo>
                      <a:lnTo>
                        <a:pt x="5442" y="320333"/>
                      </a:lnTo>
                      <a:lnTo>
                        <a:pt x="1088" y="331218"/>
                      </a:lnTo>
                      <a:lnTo>
                        <a:pt x="4354" y="339926"/>
                      </a:lnTo>
                      <a:lnTo>
                        <a:pt x="25035" y="342455"/>
                      </a:lnTo>
                      <a:lnTo>
                        <a:pt x="39889" y="373636"/>
                      </a:lnTo>
                      <a:lnTo>
                        <a:pt x="44980" y="371107"/>
                      </a:lnTo>
                      <a:lnTo>
                        <a:pt x="49334" y="372548"/>
                      </a:lnTo>
                      <a:lnTo>
                        <a:pt x="48245" y="395790"/>
                      </a:lnTo>
                      <a:lnTo>
                        <a:pt x="53303" y="400144"/>
                      </a:lnTo>
                      <a:lnTo>
                        <a:pt x="70719" y="401937"/>
                      </a:lnTo>
                      <a:lnTo>
                        <a:pt x="75073" y="395054"/>
                      </a:lnTo>
                      <a:lnTo>
                        <a:pt x="71455" y="389964"/>
                      </a:lnTo>
                      <a:lnTo>
                        <a:pt x="82692" y="391436"/>
                      </a:lnTo>
                      <a:lnTo>
                        <a:pt x="91400" y="379463"/>
                      </a:lnTo>
                      <a:lnTo>
                        <a:pt x="107727" y="385610"/>
                      </a:lnTo>
                      <a:lnTo>
                        <a:pt x="112818" y="379463"/>
                      </a:lnTo>
                      <a:lnTo>
                        <a:pt x="129145" y="384521"/>
                      </a:lnTo>
                      <a:lnTo>
                        <a:pt x="132762" y="390700"/>
                      </a:lnTo>
                      <a:lnTo>
                        <a:pt x="130233" y="398319"/>
                      </a:lnTo>
                      <a:lnTo>
                        <a:pt x="144736" y="411381"/>
                      </a:lnTo>
                      <a:lnTo>
                        <a:pt x="163592" y="364929"/>
                      </a:lnTo>
                      <a:lnTo>
                        <a:pt x="175565" y="333011"/>
                      </a:lnTo>
                      <a:lnTo>
                        <a:pt x="181744" y="383817"/>
                      </a:lnTo>
                      <a:lnTo>
                        <a:pt x="198775" y="395054"/>
                      </a:lnTo>
                      <a:lnTo>
                        <a:pt x="212573" y="392525"/>
                      </a:lnTo>
                      <a:lnTo>
                        <a:pt x="214398" y="401201"/>
                      </a:lnTo>
                      <a:lnTo>
                        <a:pt x="262644" y="383081"/>
                      </a:lnTo>
                      <a:lnTo>
                        <a:pt x="306535" y="365665"/>
                      </a:lnTo>
                      <a:lnTo>
                        <a:pt x="321037" y="297091"/>
                      </a:lnTo>
                      <a:lnTo>
                        <a:pt x="322126" y="296002"/>
                      </a:lnTo>
                      <a:lnTo>
                        <a:pt x="334803" y="222018"/>
                      </a:lnTo>
                      <a:lnTo>
                        <a:pt x="326480" y="211869"/>
                      </a:lnTo>
                      <a:lnTo>
                        <a:pt x="323567" y="198808"/>
                      </a:lnTo>
                      <a:lnTo>
                        <a:pt x="322126" y="166153"/>
                      </a:lnTo>
                      <a:lnTo>
                        <a:pt x="316683" y="137853"/>
                      </a:lnTo>
                      <a:lnTo>
                        <a:pt x="313418" y="129881"/>
                      </a:lnTo>
                      <a:lnTo>
                        <a:pt x="306535" y="133499"/>
                      </a:lnTo>
                      <a:lnTo>
                        <a:pt x="299620" y="129881"/>
                      </a:lnTo>
                      <a:lnTo>
                        <a:pt x="297827" y="135324"/>
                      </a:lnTo>
                      <a:lnTo>
                        <a:pt x="293473" y="124055"/>
                      </a:lnTo>
                      <a:lnTo>
                        <a:pt x="286558" y="120437"/>
                      </a:lnTo>
                      <a:lnTo>
                        <a:pt x="278939" y="127320"/>
                      </a:lnTo>
                      <a:lnTo>
                        <a:pt x="277146" y="117172"/>
                      </a:lnTo>
                      <a:lnTo>
                        <a:pt x="264436" y="117172"/>
                      </a:lnTo>
                      <a:lnTo>
                        <a:pt x="266997" y="112113"/>
                      </a:lnTo>
                      <a:lnTo>
                        <a:pt x="262644" y="110288"/>
                      </a:lnTo>
                      <a:lnTo>
                        <a:pt x="259378" y="107759"/>
                      </a:lnTo>
                      <a:lnTo>
                        <a:pt x="264436" y="103406"/>
                      </a:lnTo>
                      <a:lnTo>
                        <a:pt x="259378" y="98315"/>
                      </a:lnTo>
                      <a:lnTo>
                        <a:pt x="261907" y="91432"/>
                      </a:lnTo>
                      <a:lnTo>
                        <a:pt x="253199" y="87783"/>
                      </a:lnTo>
                      <a:lnTo>
                        <a:pt x="257553" y="78370"/>
                      </a:lnTo>
                      <a:lnTo>
                        <a:pt x="260082" y="70751"/>
                      </a:lnTo>
                      <a:lnTo>
                        <a:pt x="253936" y="68926"/>
                      </a:lnTo>
                      <a:lnTo>
                        <a:pt x="241226" y="50806"/>
                      </a:lnTo>
                      <a:lnTo>
                        <a:pt x="243755" y="43891"/>
                      </a:lnTo>
                      <a:lnTo>
                        <a:pt x="228901" y="43187"/>
                      </a:lnTo>
                      <a:lnTo>
                        <a:pt x="227428" y="31918"/>
                      </a:lnTo>
                      <a:lnTo>
                        <a:pt x="222018" y="26860"/>
                      </a:lnTo>
                      <a:lnTo>
                        <a:pt x="196246" y="16327"/>
                      </a:lnTo>
                      <a:lnTo>
                        <a:pt x="197335" y="11237"/>
                      </a:lnTo>
                      <a:lnTo>
                        <a:pt x="193717" y="11237"/>
                      </a:lnTo>
                      <a:lnTo>
                        <a:pt x="172300" y="22506"/>
                      </a:lnTo>
                      <a:lnTo>
                        <a:pt x="150915" y="18856"/>
                      </a:lnTo>
                      <a:lnTo>
                        <a:pt x="144736" y="12325"/>
                      </a:lnTo>
                      <a:lnTo>
                        <a:pt x="130233" y="16327"/>
                      </a:lnTo>
                      <a:lnTo>
                        <a:pt x="121525" y="14887"/>
                      </a:lnTo>
                      <a:lnTo>
                        <a:pt x="113906" y="23210"/>
                      </a:lnTo>
                      <a:lnTo>
                        <a:pt x="109552" y="1994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6" name="Forma Livre: Forma 365">
                  <a:extLst>
                    <a:ext uri="{FF2B5EF4-FFF2-40B4-BE49-F238E27FC236}">
                      <a16:creationId xmlns:a16="http://schemas.microsoft.com/office/drawing/2014/main" id="{41157FA3-A5AF-53C7-DB58-77B5D12AF470}"/>
                    </a:ext>
                  </a:extLst>
                </p:cNvPr>
                <p:cNvSpPr/>
                <p:nvPr/>
              </p:nvSpPr>
              <p:spPr>
                <a:xfrm>
                  <a:off x="3480168" y="3592081"/>
                  <a:ext cx="334803" cy="411380"/>
                </a:xfrm>
                <a:custGeom>
                  <a:avLst/>
                  <a:gdLst>
                    <a:gd name="csX0" fmla="*/ 109552 w 334803"/>
                    <a:gd name="csY0" fmla="*/ 19945 h 411380"/>
                    <a:gd name="csX1" fmla="*/ 109552 w 334803"/>
                    <a:gd name="csY1" fmla="*/ 9444 h 411380"/>
                    <a:gd name="csX2" fmla="*/ 93225 w 334803"/>
                    <a:gd name="csY2" fmla="*/ 0 h 411380"/>
                    <a:gd name="csX3" fmla="*/ 79427 w 334803"/>
                    <a:gd name="csY3" fmla="*/ 18152 h 411380"/>
                    <a:gd name="csX4" fmla="*/ 79427 w 334803"/>
                    <a:gd name="csY4" fmla="*/ 18856 h 411380"/>
                    <a:gd name="csX5" fmla="*/ 89607 w 334803"/>
                    <a:gd name="csY5" fmla="*/ 24299 h 411380"/>
                    <a:gd name="csX6" fmla="*/ 93929 w 334803"/>
                    <a:gd name="csY6" fmla="*/ 38097 h 411380"/>
                    <a:gd name="csX7" fmla="*/ 63100 w 334803"/>
                    <a:gd name="csY7" fmla="*/ 62780 h 411380"/>
                    <a:gd name="csX8" fmla="*/ 44980 w 334803"/>
                    <a:gd name="csY8" fmla="*/ 91432 h 411380"/>
                    <a:gd name="csX9" fmla="*/ 28653 w 334803"/>
                    <a:gd name="csY9" fmla="*/ 98315 h 411380"/>
                    <a:gd name="csX10" fmla="*/ 33743 w 334803"/>
                    <a:gd name="csY10" fmla="*/ 109552 h 411380"/>
                    <a:gd name="csX11" fmla="*/ 50774 w 334803"/>
                    <a:gd name="csY11" fmla="*/ 109552 h 411380"/>
                    <a:gd name="csX12" fmla="*/ 51863 w 334803"/>
                    <a:gd name="csY12" fmla="*/ 122262 h 411380"/>
                    <a:gd name="csX13" fmla="*/ 39889 w 334803"/>
                    <a:gd name="csY13" fmla="*/ 126616 h 411380"/>
                    <a:gd name="csX14" fmla="*/ 38801 w 334803"/>
                    <a:gd name="csY14" fmla="*/ 137853 h 411380"/>
                    <a:gd name="csX15" fmla="*/ 30093 w 334803"/>
                    <a:gd name="csY15" fmla="*/ 151651 h 411380"/>
                    <a:gd name="csX16" fmla="*/ 30093 w 334803"/>
                    <a:gd name="csY16" fmla="*/ 161799 h 411380"/>
                    <a:gd name="csX17" fmla="*/ 40626 w 334803"/>
                    <a:gd name="csY17" fmla="*/ 169771 h 411380"/>
                    <a:gd name="csX18" fmla="*/ 33743 w 334803"/>
                    <a:gd name="csY18" fmla="*/ 187539 h 411380"/>
                    <a:gd name="csX19" fmla="*/ 26123 w 334803"/>
                    <a:gd name="csY19" fmla="*/ 193717 h 411380"/>
                    <a:gd name="csX20" fmla="*/ 20681 w 334803"/>
                    <a:gd name="csY20" fmla="*/ 191188 h 411380"/>
                    <a:gd name="csX21" fmla="*/ 15591 w 334803"/>
                    <a:gd name="csY21" fmla="*/ 198071 h 411380"/>
                    <a:gd name="csX22" fmla="*/ 20681 w 334803"/>
                    <a:gd name="csY22" fmla="*/ 200600 h 411380"/>
                    <a:gd name="csX23" fmla="*/ 16327 w 334803"/>
                    <a:gd name="csY23" fmla="*/ 214398 h 411380"/>
                    <a:gd name="csX24" fmla="*/ 18120 w 334803"/>
                    <a:gd name="csY24" fmla="*/ 228196 h 411380"/>
                    <a:gd name="csX25" fmla="*/ 8708 w 334803"/>
                    <a:gd name="csY25" fmla="*/ 240874 h 411380"/>
                    <a:gd name="csX26" fmla="*/ 0 w 334803"/>
                    <a:gd name="csY26" fmla="*/ 247757 h 411380"/>
                    <a:gd name="csX27" fmla="*/ 4354 w 334803"/>
                    <a:gd name="csY27" fmla="*/ 255761 h 411380"/>
                    <a:gd name="csX28" fmla="*/ 8708 w 334803"/>
                    <a:gd name="csY28" fmla="*/ 254672 h 411380"/>
                    <a:gd name="csX29" fmla="*/ 9412 w 334803"/>
                    <a:gd name="csY29" fmla="*/ 272088 h 411380"/>
                    <a:gd name="csX30" fmla="*/ 19945 w 334803"/>
                    <a:gd name="csY30" fmla="*/ 264084 h 411380"/>
                    <a:gd name="csX31" fmla="*/ 34447 w 334803"/>
                    <a:gd name="csY31" fmla="*/ 264084 h 411380"/>
                    <a:gd name="csX32" fmla="*/ 22474 w 334803"/>
                    <a:gd name="csY32" fmla="*/ 272792 h 411380"/>
                    <a:gd name="csX33" fmla="*/ 26828 w 334803"/>
                    <a:gd name="csY33" fmla="*/ 280411 h 411380"/>
                    <a:gd name="csX34" fmla="*/ 18120 w 334803"/>
                    <a:gd name="csY34" fmla="*/ 309064 h 411380"/>
                    <a:gd name="csX35" fmla="*/ 5442 w 334803"/>
                    <a:gd name="csY35" fmla="*/ 320333 h 411380"/>
                    <a:gd name="csX36" fmla="*/ 1088 w 334803"/>
                    <a:gd name="csY36" fmla="*/ 331218 h 411380"/>
                    <a:gd name="csX37" fmla="*/ 4354 w 334803"/>
                    <a:gd name="csY37" fmla="*/ 339926 h 411380"/>
                    <a:gd name="csX38" fmla="*/ 25035 w 334803"/>
                    <a:gd name="csY38" fmla="*/ 342455 h 411380"/>
                    <a:gd name="csX39" fmla="*/ 39889 w 334803"/>
                    <a:gd name="csY39" fmla="*/ 373636 h 411380"/>
                    <a:gd name="csX40" fmla="*/ 44980 w 334803"/>
                    <a:gd name="csY40" fmla="*/ 371107 h 411380"/>
                    <a:gd name="csX41" fmla="*/ 49334 w 334803"/>
                    <a:gd name="csY41" fmla="*/ 372548 h 411380"/>
                    <a:gd name="csX42" fmla="*/ 48245 w 334803"/>
                    <a:gd name="csY42" fmla="*/ 395790 h 411380"/>
                    <a:gd name="csX43" fmla="*/ 53303 w 334803"/>
                    <a:gd name="csY43" fmla="*/ 400144 h 411380"/>
                    <a:gd name="csX44" fmla="*/ 70719 w 334803"/>
                    <a:gd name="csY44" fmla="*/ 401937 h 411380"/>
                    <a:gd name="csX45" fmla="*/ 75073 w 334803"/>
                    <a:gd name="csY45" fmla="*/ 395054 h 411380"/>
                    <a:gd name="csX46" fmla="*/ 71455 w 334803"/>
                    <a:gd name="csY46" fmla="*/ 389964 h 411380"/>
                    <a:gd name="csX47" fmla="*/ 82692 w 334803"/>
                    <a:gd name="csY47" fmla="*/ 391436 h 411380"/>
                    <a:gd name="csX48" fmla="*/ 91400 w 334803"/>
                    <a:gd name="csY48" fmla="*/ 379463 h 411380"/>
                    <a:gd name="csX49" fmla="*/ 107727 w 334803"/>
                    <a:gd name="csY49" fmla="*/ 385610 h 411380"/>
                    <a:gd name="csX50" fmla="*/ 112818 w 334803"/>
                    <a:gd name="csY50" fmla="*/ 379463 h 411380"/>
                    <a:gd name="csX51" fmla="*/ 129145 w 334803"/>
                    <a:gd name="csY51" fmla="*/ 384521 h 411380"/>
                    <a:gd name="csX52" fmla="*/ 132762 w 334803"/>
                    <a:gd name="csY52" fmla="*/ 390700 h 411380"/>
                    <a:gd name="csX53" fmla="*/ 130233 w 334803"/>
                    <a:gd name="csY53" fmla="*/ 398319 h 411380"/>
                    <a:gd name="csX54" fmla="*/ 144736 w 334803"/>
                    <a:gd name="csY54" fmla="*/ 411381 h 411380"/>
                    <a:gd name="csX55" fmla="*/ 163592 w 334803"/>
                    <a:gd name="csY55" fmla="*/ 364929 h 411380"/>
                    <a:gd name="csX56" fmla="*/ 175565 w 334803"/>
                    <a:gd name="csY56" fmla="*/ 333011 h 411380"/>
                    <a:gd name="csX57" fmla="*/ 181744 w 334803"/>
                    <a:gd name="csY57" fmla="*/ 383817 h 411380"/>
                    <a:gd name="csX58" fmla="*/ 198775 w 334803"/>
                    <a:gd name="csY58" fmla="*/ 395054 h 411380"/>
                    <a:gd name="csX59" fmla="*/ 212573 w 334803"/>
                    <a:gd name="csY59" fmla="*/ 392525 h 411380"/>
                    <a:gd name="csX60" fmla="*/ 214398 w 334803"/>
                    <a:gd name="csY60" fmla="*/ 401201 h 411380"/>
                    <a:gd name="csX61" fmla="*/ 262644 w 334803"/>
                    <a:gd name="csY61" fmla="*/ 383081 h 411380"/>
                    <a:gd name="csX62" fmla="*/ 306535 w 334803"/>
                    <a:gd name="csY62" fmla="*/ 365665 h 411380"/>
                    <a:gd name="csX63" fmla="*/ 321037 w 334803"/>
                    <a:gd name="csY63" fmla="*/ 297091 h 411380"/>
                    <a:gd name="csX64" fmla="*/ 322126 w 334803"/>
                    <a:gd name="csY64" fmla="*/ 296002 h 411380"/>
                    <a:gd name="csX65" fmla="*/ 334803 w 334803"/>
                    <a:gd name="csY65" fmla="*/ 222018 h 411380"/>
                    <a:gd name="csX66" fmla="*/ 326480 w 334803"/>
                    <a:gd name="csY66" fmla="*/ 211869 h 411380"/>
                    <a:gd name="csX67" fmla="*/ 323567 w 334803"/>
                    <a:gd name="csY67" fmla="*/ 198808 h 411380"/>
                    <a:gd name="csX68" fmla="*/ 322126 w 334803"/>
                    <a:gd name="csY68" fmla="*/ 166153 h 411380"/>
                    <a:gd name="csX69" fmla="*/ 316683 w 334803"/>
                    <a:gd name="csY69" fmla="*/ 137853 h 411380"/>
                    <a:gd name="csX70" fmla="*/ 313418 w 334803"/>
                    <a:gd name="csY70" fmla="*/ 129881 h 411380"/>
                    <a:gd name="csX71" fmla="*/ 306535 w 334803"/>
                    <a:gd name="csY71" fmla="*/ 133499 h 411380"/>
                    <a:gd name="csX72" fmla="*/ 299620 w 334803"/>
                    <a:gd name="csY72" fmla="*/ 129881 h 411380"/>
                    <a:gd name="csX73" fmla="*/ 297827 w 334803"/>
                    <a:gd name="csY73" fmla="*/ 135324 h 411380"/>
                    <a:gd name="csX74" fmla="*/ 293473 w 334803"/>
                    <a:gd name="csY74" fmla="*/ 124055 h 411380"/>
                    <a:gd name="csX75" fmla="*/ 286558 w 334803"/>
                    <a:gd name="csY75" fmla="*/ 120437 h 411380"/>
                    <a:gd name="csX76" fmla="*/ 278939 w 334803"/>
                    <a:gd name="csY76" fmla="*/ 127320 h 411380"/>
                    <a:gd name="csX77" fmla="*/ 277146 w 334803"/>
                    <a:gd name="csY77" fmla="*/ 117172 h 411380"/>
                    <a:gd name="csX78" fmla="*/ 264436 w 334803"/>
                    <a:gd name="csY78" fmla="*/ 117172 h 411380"/>
                    <a:gd name="csX79" fmla="*/ 266997 w 334803"/>
                    <a:gd name="csY79" fmla="*/ 112113 h 411380"/>
                    <a:gd name="csX80" fmla="*/ 262644 w 334803"/>
                    <a:gd name="csY80" fmla="*/ 110288 h 411380"/>
                    <a:gd name="csX81" fmla="*/ 259378 w 334803"/>
                    <a:gd name="csY81" fmla="*/ 107759 h 411380"/>
                    <a:gd name="csX82" fmla="*/ 264436 w 334803"/>
                    <a:gd name="csY82" fmla="*/ 103406 h 411380"/>
                    <a:gd name="csX83" fmla="*/ 259378 w 334803"/>
                    <a:gd name="csY83" fmla="*/ 98315 h 411380"/>
                    <a:gd name="csX84" fmla="*/ 261907 w 334803"/>
                    <a:gd name="csY84" fmla="*/ 91432 h 411380"/>
                    <a:gd name="csX85" fmla="*/ 253199 w 334803"/>
                    <a:gd name="csY85" fmla="*/ 87783 h 411380"/>
                    <a:gd name="csX86" fmla="*/ 257553 w 334803"/>
                    <a:gd name="csY86" fmla="*/ 78370 h 411380"/>
                    <a:gd name="csX87" fmla="*/ 260082 w 334803"/>
                    <a:gd name="csY87" fmla="*/ 70751 h 411380"/>
                    <a:gd name="csX88" fmla="*/ 253936 w 334803"/>
                    <a:gd name="csY88" fmla="*/ 68926 h 411380"/>
                    <a:gd name="csX89" fmla="*/ 241226 w 334803"/>
                    <a:gd name="csY89" fmla="*/ 50806 h 411380"/>
                    <a:gd name="csX90" fmla="*/ 243755 w 334803"/>
                    <a:gd name="csY90" fmla="*/ 43891 h 411380"/>
                    <a:gd name="csX91" fmla="*/ 228901 w 334803"/>
                    <a:gd name="csY91" fmla="*/ 43187 h 411380"/>
                    <a:gd name="csX92" fmla="*/ 227428 w 334803"/>
                    <a:gd name="csY92" fmla="*/ 31918 h 411380"/>
                    <a:gd name="csX93" fmla="*/ 222018 w 334803"/>
                    <a:gd name="csY93" fmla="*/ 26860 h 411380"/>
                    <a:gd name="csX94" fmla="*/ 196246 w 334803"/>
                    <a:gd name="csY94" fmla="*/ 16327 h 411380"/>
                    <a:gd name="csX95" fmla="*/ 197335 w 334803"/>
                    <a:gd name="csY95" fmla="*/ 11237 h 411380"/>
                    <a:gd name="csX96" fmla="*/ 193717 w 334803"/>
                    <a:gd name="csY96" fmla="*/ 11237 h 411380"/>
                    <a:gd name="csX97" fmla="*/ 172300 w 334803"/>
                    <a:gd name="csY97" fmla="*/ 22506 h 411380"/>
                    <a:gd name="csX98" fmla="*/ 150915 w 334803"/>
                    <a:gd name="csY98" fmla="*/ 18856 h 411380"/>
                    <a:gd name="csX99" fmla="*/ 144736 w 334803"/>
                    <a:gd name="csY99" fmla="*/ 12325 h 411380"/>
                    <a:gd name="csX100" fmla="*/ 130233 w 334803"/>
                    <a:gd name="csY100" fmla="*/ 16327 h 411380"/>
                    <a:gd name="csX101" fmla="*/ 121525 w 334803"/>
                    <a:gd name="csY101" fmla="*/ 14887 h 411380"/>
                    <a:gd name="csX102" fmla="*/ 113906 w 334803"/>
                    <a:gd name="csY102" fmla="*/ 23210 h 411380"/>
                    <a:gd name="csX103" fmla="*/ 109552 w 334803"/>
                    <a:gd name="csY103" fmla="*/ 19945 h 4113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</a:cxnLst>
                  <a:rect l="l" t="t" r="r" b="b"/>
                  <a:pathLst>
                    <a:path w="334803" h="411380">
                      <a:moveTo>
                        <a:pt x="109552" y="19945"/>
                      </a:moveTo>
                      <a:lnTo>
                        <a:pt x="109552" y="9444"/>
                      </a:lnTo>
                      <a:lnTo>
                        <a:pt x="93225" y="0"/>
                      </a:lnTo>
                      <a:lnTo>
                        <a:pt x="79427" y="18152"/>
                      </a:lnTo>
                      <a:lnTo>
                        <a:pt x="79427" y="18856"/>
                      </a:lnTo>
                      <a:lnTo>
                        <a:pt x="89607" y="24299"/>
                      </a:lnTo>
                      <a:lnTo>
                        <a:pt x="93929" y="38097"/>
                      </a:lnTo>
                      <a:lnTo>
                        <a:pt x="63100" y="62780"/>
                      </a:lnTo>
                      <a:lnTo>
                        <a:pt x="44980" y="91432"/>
                      </a:lnTo>
                      <a:lnTo>
                        <a:pt x="28653" y="98315"/>
                      </a:lnTo>
                      <a:lnTo>
                        <a:pt x="33743" y="109552"/>
                      </a:lnTo>
                      <a:lnTo>
                        <a:pt x="50774" y="109552"/>
                      </a:lnTo>
                      <a:lnTo>
                        <a:pt x="51863" y="122262"/>
                      </a:lnTo>
                      <a:lnTo>
                        <a:pt x="39889" y="126616"/>
                      </a:lnTo>
                      <a:lnTo>
                        <a:pt x="38801" y="137853"/>
                      </a:lnTo>
                      <a:lnTo>
                        <a:pt x="30093" y="151651"/>
                      </a:lnTo>
                      <a:lnTo>
                        <a:pt x="30093" y="161799"/>
                      </a:lnTo>
                      <a:lnTo>
                        <a:pt x="40626" y="169771"/>
                      </a:lnTo>
                      <a:lnTo>
                        <a:pt x="33743" y="187539"/>
                      </a:lnTo>
                      <a:lnTo>
                        <a:pt x="26123" y="193717"/>
                      </a:lnTo>
                      <a:lnTo>
                        <a:pt x="20681" y="191188"/>
                      </a:lnTo>
                      <a:lnTo>
                        <a:pt x="15591" y="198071"/>
                      </a:lnTo>
                      <a:lnTo>
                        <a:pt x="20681" y="200600"/>
                      </a:lnTo>
                      <a:lnTo>
                        <a:pt x="16327" y="214398"/>
                      </a:lnTo>
                      <a:lnTo>
                        <a:pt x="18120" y="228196"/>
                      </a:lnTo>
                      <a:lnTo>
                        <a:pt x="8708" y="240874"/>
                      </a:lnTo>
                      <a:lnTo>
                        <a:pt x="0" y="247757"/>
                      </a:lnTo>
                      <a:lnTo>
                        <a:pt x="4354" y="255761"/>
                      </a:lnTo>
                      <a:lnTo>
                        <a:pt x="8708" y="254672"/>
                      </a:lnTo>
                      <a:lnTo>
                        <a:pt x="9412" y="272088"/>
                      </a:lnTo>
                      <a:lnTo>
                        <a:pt x="19945" y="264084"/>
                      </a:lnTo>
                      <a:lnTo>
                        <a:pt x="34447" y="264084"/>
                      </a:lnTo>
                      <a:lnTo>
                        <a:pt x="22474" y="272792"/>
                      </a:lnTo>
                      <a:lnTo>
                        <a:pt x="26828" y="280411"/>
                      </a:lnTo>
                      <a:lnTo>
                        <a:pt x="18120" y="309064"/>
                      </a:lnTo>
                      <a:lnTo>
                        <a:pt x="5442" y="320333"/>
                      </a:lnTo>
                      <a:lnTo>
                        <a:pt x="1088" y="331218"/>
                      </a:lnTo>
                      <a:lnTo>
                        <a:pt x="4354" y="339926"/>
                      </a:lnTo>
                      <a:lnTo>
                        <a:pt x="25035" y="342455"/>
                      </a:lnTo>
                      <a:lnTo>
                        <a:pt x="39889" y="373636"/>
                      </a:lnTo>
                      <a:lnTo>
                        <a:pt x="44980" y="371107"/>
                      </a:lnTo>
                      <a:lnTo>
                        <a:pt x="49334" y="372548"/>
                      </a:lnTo>
                      <a:lnTo>
                        <a:pt x="48245" y="395790"/>
                      </a:lnTo>
                      <a:lnTo>
                        <a:pt x="53303" y="400144"/>
                      </a:lnTo>
                      <a:lnTo>
                        <a:pt x="70719" y="401937"/>
                      </a:lnTo>
                      <a:lnTo>
                        <a:pt x="75073" y="395054"/>
                      </a:lnTo>
                      <a:lnTo>
                        <a:pt x="71455" y="389964"/>
                      </a:lnTo>
                      <a:lnTo>
                        <a:pt x="82692" y="391436"/>
                      </a:lnTo>
                      <a:lnTo>
                        <a:pt x="91400" y="379463"/>
                      </a:lnTo>
                      <a:lnTo>
                        <a:pt x="107727" y="385610"/>
                      </a:lnTo>
                      <a:lnTo>
                        <a:pt x="112818" y="379463"/>
                      </a:lnTo>
                      <a:lnTo>
                        <a:pt x="129145" y="384521"/>
                      </a:lnTo>
                      <a:lnTo>
                        <a:pt x="132762" y="390700"/>
                      </a:lnTo>
                      <a:lnTo>
                        <a:pt x="130233" y="398319"/>
                      </a:lnTo>
                      <a:lnTo>
                        <a:pt x="144736" y="411381"/>
                      </a:lnTo>
                      <a:lnTo>
                        <a:pt x="163592" y="364929"/>
                      </a:lnTo>
                      <a:lnTo>
                        <a:pt x="175565" y="333011"/>
                      </a:lnTo>
                      <a:lnTo>
                        <a:pt x="181744" y="383817"/>
                      </a:lnTo>
                      <a:lnTo>
                        <a:pt x="198775" y="395054"/>
                      </a:lnTo>
                      <a:lnTo>
                        <a:pt x="212573" y="392525"/>
                      </a:lnTo>
                      <a:lnTo>
                        <a:pt x="214398" y="401201"/>
                      </a:lnTo>
                      <a:lnTo>
                        <a:pt x="262644" y="383081"/>
                      </a:lnTo>
                      <a:lnTo>
                        <a:pt x="306535" y="365665"/>
                      </a:lnTo>
                      <a:lnTo>
                        <a:pt x="321037" y="297091"/>
                      </a:lnTo>
                      <a:lnTo>
                        <a:pt x="322126" y="296002"/>
                      </a:lnTo>
                      <a:lnTo>
                        <a:pt x="334803" y="222018"/>
                      </a:lnTo>
                      <a:lnTo>
                        <a:pt x="326480" y="211869"/>
                      </a:lnTo>
                      <a:lnTo>
                        <a:pt x="323567" y="198808"/>
                      </a:lnTo>
                      <a:lnTo>
                        <a:pt x="322126" y="166153"/>
                      </a:lnTo>
                      <a:lnTo>
                        <a:pt x="316683" y="137853"/>
                      </a:lnTo>
                      <a:lnTo>
                        <a:pt x="313418" y="129881"/>
                      </a:lnTo>
                      <a:lnTo>
                        <a:pt x="306535" y="133499"/>
                      </a:lnTo>
                      <a:lnTo>
                        <a:pt x="299620" y="129881"/>
                      </a:lnTo>
                      <a:lnTo>
                        <a:pt x="297827" y="135324"/>
                      </a:lnTo>
                      <a:lnTo>
                        <a:pt x="293473" y="124055"/>
                      </a:lnTo>
                      <a:lnTo>
                        <a:pt x="286558" y="120437"/>
                      </a:lnTo>
                      <a:lnTo>
                        <a:pt x="278939" y="127320"/>
                      </a:lnTo>
                      <a:lnTo>
                        <a:pt x="277146" y="117172"/>
                      </a:lnTo>
                      <a:lnTo>
                        <a:pt x="264436" y="117172"/>
                      </a:lnTo>
                      <a:lnTo>
                        <a:pt x="266997" y="112113"/>
                      </a:lnTo>
                      <a:lnTo>
                        <a:pt x="262644" y="110288"/>
                      </a:lnTo>
                      <a:lnTo>
                        <a:pt x="259378" y="107759"/>
                      </a:lnTo>
                      <a:lnTo>
                        <a:pt x="264436" y="103406"/>
                      </a:lnTo>
                      <a:lnTo>
                        <a:pt x="259378" y="98315"/>
                      </a:lnTo>
                      <a:lnTo>
                        <a:pt x="261907" y="91432"/>
                      </a:lnTo>
                      <a:lnTo>
                        <a:pt x="253199" y="87783"/>
                      </a:lnTo>
                      <a:lnTo>
                        <a:pt x="257553" y="78370"/>
                      </a:lnTo>
                      <a:lnTo>
                        <a:pt x="260082" y="70751"/>
                      </a:lnTo>
                      <a:lnTo>
                        <a:pt x="253936" y="68926"/>
                      </a:lnTo>
                      <a:lnTo>
                        <a:pt x="241226" y="50806"/>
                      </a:lnTo>
                      <a:lnTo>
                        <a:pt x="243755" y="43891"/>
                      </a:lnTo>
                      <a:lnTo>
                        <a:pt x="228901" y="43187"/>
                      </a:lnTo>
                      <a:lnTo>
                        <a:pt x="227428" y="31918"/>
                      </a:lnTo>
                      <a:lnTo>
                        <a:pt x="222018" y="26860"/>
                      </a:lnTo>
                      <a:lnTo>
                        <a:pt x="196246" y="16327"/>
                      </a:lnTo>
                      <a:lnTo>
                        <a:pt x="197335" y="11237"/>
                      </a:lnTo>
                      <a:lnTo>
                        <a:pt x="193717" y="11237"/>
                      </a:lnTo>
                      <a:lnTo>
                        <a:pt x="172300" y="22506"/>
                      </a:lnTo>
                      <a:lnTo>
                        <a:pt x="150915" y="18856"/>
                      </a:lnTo>
                      <a:lnTo>
                        <a:pt x="144736" y="12325"/>
                      </a:lnTo>
                      <a:lnTo>
                        <a:pt x="130233" y="16327"/>
                      </a:lnTo>
                      <a:lnTo>
                        <a:pt x="121525" y="14887"/>
                      </a:lnTo>
                      <a:lnTo>
                        <a:pt x="113906" y="23210"/>
                      </a:lnTo>
                      <a:lnTo>
                        <a:pt x="109552" y="1994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7" name="Forma Livre: Forma 366">
                  <a:extLst>
                    <a:ext uri="{FF2B5EF4-FFF2-40B4-BE49-F238E27FC236}">
                      <a16:creationId xmlns:a16="http://schemas.microsoft.com/office/drawing/2014/main" id="{E11FF7D6-1D1B-7F2C-F336-30736ED5F900}"/>
                    </a:ext>
                  </a:extLst>
                </p:cNvPr>
                <p:cNvSpPr/>
                <p:nvPr/>
              </p:nvSpPr>
              <p:spPr>
                <a:xfrm>
                  <a:off x="3480168" y="3592081"/>
                  <a:ext cx="334803" cy="411380"/>
                </a:xfrm>
                <a:custGeom>
                  <a:avLst/>
                  <a:gdLst>
                    <a:gd name="csX0" fmla="*/ 109552 w 334803"/>
                    <a:gd name="csY0" fmla="*/ 19945 h 411380"/>
                    <a:gd name="csX1" fmla="*/ 109552 w 334803"/>
                    <a:gd name="csY1" fmla="*/ 9444 h 411380"/>
                    <a:gd name="csX2" fmla="*/ 93225 w 334803"/>
                    <a:gd name="csY2" fmla="*/ 0 h 411380"/>
                    <a:gd name="csX3" fmla="*/ 79427 w 334803"/>
                    <a:gd name="csY3" fmla="*/ 18152 h 411380"/>
                    <a:gd name="csX4" fmla="*/ 79427 w 334803"/>
                    <a:gd name="csY4" fmla="*/ 18856 h 411380"/>
                    <a:gd name="csX5" fmla="*/ 89607 w 334803"/>
                    <a:gd name="csY5" fmla="*/ 24299 h 411380"/>
                    <a:gd name="csX6" fmla="*/ 93929 w 334803"/>
                    <a:gd name="csY6" fmla="*/ 38097 h 411380"/>
                    <a:gd name="csX7" fmla="*/ 63100 w 334803"/>
                    <a:gd name="csY7" fmla="*/ 62780 h 411380"/>
                    <a:gd name="csX8" fmla="*/ 44980 w 334803"/>
                    <a:gd name="csY8" fmla="*/ 91432 h 411380"/>
                    <a:gd name="csX9" fmla="*/ 28653 w 334803"/>
                    <a:gd name="csY9" fmla="*/ 98315 h 411380"/>
                    <a:gd name="csX10" fmla="*/ 33743 w 334803"/>
                    <a:gd name="csY10" fmla="*/ 109552 h 411380"/>
                    <a:gd name="csX11" fmla="*/ 50774 w 334803"/>
                    <a:gd name="csY11" fmla="*/ 109552 h 411380"/>
                    <a:gd name="csX12" fmla="*/ 51863 w 334803"/>
                    <a:gd name="csY12" fmla="*/ 122262 h 411380"/>
                    <a:gd name="csX13" fmla="*/ 39889 w 334803"/>
                    <a:gd name="csY13" fmla="*/ 126616 h 411380"/>
                    <a:gd name="csX14" fmla="*/ 38801 w 334803"/>
                    <a:gd name="csY14" fmla="*/ 137853 h 411380"/>
                    <a:gd name="csX15" fmla="*/ 30093 w 334803"/>
                    <a:gd name="csY15" fmla="*/ 151651 h 411380"/>
                    <a:gd name="csX16" fmla="*/ 30093 w 334803"/>
                    <a:gd name="csY16" fmla="*/ 161799 h 411380"/>
                    <a:gd name="csX17" fmla="*/ 40626 w 334803"/>
                    <a:gd name="csY17" fmla="*/ 169771 h 411380"/>
                    <a:gd name="csX18" fmla="*/ 33743 w 334803"/>
                    <a:gd name="csY18" fmla="*/ 187539 h 411380"/>
                    <a:gd name="csX19" fmla="*/ 26123 w 334803"/>
                    <a:gd name="csY19" fmla="*/ 193717 h 411380"/>
                    <a:gd name="csX20" fmla="*/ 20681 w 334803"/>
                    <a:gd name="csY20" fmla="*/ 191188 h 411380"/>
                    <a:gd name="csX21" fmla="*/ 15591 w 334803"/>
                    <a:gd name="csY21" fmla="*/ 198071 h 411380"/>
                    <a:gd name="csX22" fmla="*/ 20681 w 334803"/>
                    <a:gd name="csY22" fmla="*/ 200600 h 411380"/>
                    <a:gd name="csX23" fmla="*/ 16327 w 334803"/>
                    <a:gd name="csY23" fmla="*/ 214398 h 411380"/>
                    <a:gd name="csX24" fmla="*/ 18120 w 334803"/>
                    <a:gd name="csY24" fmla="*/ 228196 h 411380"/>
                    <a:gd name="csX25" fmla="*/ 8708 w 334803"/>
                    <a:gd name="csY25" fmla="*/ 240874 h 411380"/>
                    <a:gd name="csX26" fmla="*/ 0 w 334803"/>
                    <a:gd name="csY26" fmla="*/ 247757 h 411380"/>
                    <a:gd name="csX27" fmla="*/ 4354 w 334803"/>
                    <a:gd name="csY27" fmla="*/ 255761 h 411380"/>
                    <a:gd name="csX28" fmla="*/ 8708 w 334803"/>
                    <a:gd name="csY28" fmla="*/ 254672 h 411380"/>
                    <a:gd name="csX29" fmla="*/ 9412 w 334803"/>
                    <a:gd name="csY29" fmla="*/ 272088 h 411380"/>
                    <a:gd name="csX30" fmla="*/ 19945 w 334803"/>
                    <a:gd name="csY30" fmla="*/ 264084 h 411380"/>
                    <a:gd name="csX31" fmla="*/ 34447 w 334803"/>
                    <a:gd name="csY31" fmla="*/ 264084 h 411380"/>
                    <a:gd name="csX32" fmla="*/ 22474 w 334803"/>
                    <a:gd name="csY32" fmla="*/ 272792 h 411380"/>
                    <a:gd name="csX33" fmla="*/ 26828 w 334803"/>
                    <a:gd name="csY33" fmla="*/ 280411 h 411380"/>
                    <a:gd name="csX34" fmla="*/ 18120 w 334803"/>
                    <a:gd name="csY34" fmla="*/ 309064 h 411380"/>
                    <a:gd name="csX35" fmla="*/ 5442 w 334803"/>
                    <a:gd name="csY35" fmla="*/ 320333 h 411380"/>
                    <a:gd name="csX36" fmla="*/ 1088 w 334803"/>
                    <a:gd name="csY36" fmla="*/ 331218 h 411380"/>
                    <a:gd name="csX37" fmla="*/ 4354 w 334803"/>
                    <a:gd name="csY37" fmla="*/ 339926 h 411380"/>
                    <a:gd name="csX38" fmla="*/ 25035 w 334803"/>
                    <a:gd name="csY38" fmla="*/ 342455 h 411380"/>
                    <a:gd name="csX39" fmla="*/ 39889 w 334803"/>
                    <a:gd name="csY39" fmla="*/ 373636 h 411380"/>
                    <a:gd name="csX40" fmla="*/ 44980 w 334803"/>
                    <a:gd name="csY40" fmla="*/ 371107 h 411380"/>
                    <a:gd name="csX41" fmla="*/ 49334 w 334803"/>
                    <a:gd name="csY41" fmla="*/ 372548 h 411380"/>
                    <a:gd name="csX42" fmla="*/ 48245 w 334803"/>
                    <a:gd name="csY42" fmla="*/ 395790 h 411380"/>
                    <a:gd name="csX43" fmla="*/ 53303 w 334803"/>
                    <a:gd name="csY43" fmla="*/ 400144 h 411380"/>
                    <a:gd name="csX44" fmla="*/ 70719 w 334803"/>
                    <a:gd name="csY44" fmla="*/ 401937 h 411380"/>
                    <a:gd name="csX45" fmla="*/ 75073 w 334803"/>
                    <a:gd name="csY45" fmla="*/ 395054 h 411380"/>
                    <a:gd name="csX46" fmla="*/ 71455 w 334803"/>
                    <a:gd name="csY46" fmla="*/ 389964 h 411380"/>
                    <a:gd name="csX47" fmla="*/ 82692 w 334803"/>
                    <a:gd name="csY47" fmla="*/ 391436 h 411380"/>
                    <a:gd name="csX48" fmla="*/ 91400 w 334803"/>
                    <a:gd name="csY48" fmla="*/ 379463 h 411380"/>
                    <a:gd name="csX49" fmla="*/ 107727 w 334803"/>
                    <a:gd name="csY49" fmla="*/ 385610 h 411380"/>
                    <a:gd name="csX50" fmla="*/ 112818 w 334803"/>
                    <a:gd name="csY50" fmla="*/ 379463 h 411380"/>
                    <a:gd name="csX51" fmla="*/ 129145 w 334803"/>
                    <a:gd name="csY51" fmla="*/ 384521 h 411380"/>
                    <a:gd name="csX52" fmla="*/ 132762 w 334803"/>
                    <a:gd name="csY52" fmla="*/ 390700 h 411380"/>
                    <a:gd name="csX53" fmla="*/ 130233 w 334803"/>
                    <a:gd name="csY53" fmla="*/ 398319 h 411380"/>
                    <a:gd name="csX54" fmla="*/ 144736 w 334803"/>
                    <a:gd name="csY54" fmla="*/ 411381 h 411380"/>
                    <a:gd name="csX55" fmla="*/ 163592 w 334803"/>
                    <a:gd name="csY55" fmla="*/ 364929 h 411380"/>
                    <a:gd name="csX56" fmla="*/ 175565 w 334803"/>
                    <a:gd name="csY56" fmla="*/ 333011 h 411380"/>
                    <a:gd name="csX57" fmla="*/ 181744 w 334803"/>
                    <a:gd name="csY57" fmla="*/ 383817 h 411380"/>
                    <a:gd name="csX58" fmla="*/ 198775 w 334803"/>
                    <a:gd name="csY58" fmla="*/ 395054 h 411380"/>
                    <a:gd name="csX59" fmla="*/ 212573 w 334803"/>
                    <a:gd name="csY59" fmla="*/ 392525 h 411380"/>
                    <a:gd name="csX60" fmla="*/ 214398 w 334803"/>
                    <a:gd name="csY60" fmla="*/ 401201 h 411380"/>
                    <a:gd name="csX61" fmla="*/ 262644 w 334803"/>
                    <a:gd name="csY61" fmla="*/ 383081 h 411380"/>
                    <a:gd name="csX62" fmla="*/ 306535 w 334803"/>
                    <a:gd name="csY62" fmla="*/ 365665 h 411380"/>
                    <a:gd name="csX63" fmla="*/ 321037 w 334803"/>
                    <a:gd name="csY63" fmla="*/ 297091 h 411380"/>
                    <a:gd name="csX64" fmla="*/ 322126 w 334803"/>
                    <a:gd name="csY64" fmla="*/ 296002 h 411380"/>
                    <a:gd name="csX65" fmla="*/ 334803 w 334803"/>
                    <a:gd name="csY65" fmla="*/ 222018 h 411380"/>
                    <a:gd name="csX66" fmla="*/ 326480 w 334803"/>
                    <a:gd name="csY66" fmla="*/ 211869 h 411380"/>
                    <a:gd name="csX67" fmla="*/ 323567 w 334803"/>
                    <a:gd name="csY67" fmla="*/ 198808 h 411380"/>
                    <a:gd name="csX68" fmla="*/ 322126 w 334803"/>
                    <a:gd name="csY68" fmla="*/ 166153 h 411380"/>
                    <a:gd name="csX69" fmla="*/ 316683 w 334803"/>
                    <a:gd name="csY69" fmla="*/ 137853 h 411380"/>
                    <a:gd name="csX70" fmla="*/ 313418 w 334803"/>
                    <a:gd name="csY70" fmla="*/ 129881 h 411380"/>
                    <a:gd name="csX71" fmla="*/ 306535 w 334803"/>
                    <a:gd name="csY71" fmla="*/ 133499 h 411380"/>
                    <a:gd name="csX72" fmla="*/ 299620 w 334803"/>
                    <a:gd name="csY72" fmla="*/ 129881 h 411380"/>
                    <a:gd name="csX73" fmla="*/ 297827 w 334803"/>
                    <a:gd name="csY73" fmla="*/ 135324 h 411380"/>
                    <a:gd name="csX74" fmla="*/ 293473 w 334803"/>
                    <a:gd name="csY74" fmla="*/ 124055 h 411380"/>
                    <a:gd name="csX75" fmla="*/ 286558 w 334803"/>
                    <a:gd name="csY75" fmla="*/ 120437 h 411380"/>
                    <a:gd name="csX76" fmla="*/ 278939 w 334803"/>
                    <a:gd name="csY76" fmla="*/ 127320 h 411380"/>
                    <a:gd name="csX77" fmla="*/ 277146 w 334803"/>
                    <a:gd name="csY77" fmla="*/ 117172 h 411380"/>
                    <a:gd name="csX78" fmla="*/ 264436 w 334803"/>
                    <a:gd name="csY78" fmla="*/ 117172 h 411380"/>
                    <a:gd name="csX79" fmla="*/ 266997 w 334803"/>
                    <a:gd name="csY79" fmla="*/ 112113 h 411380"/>
                    <a:gd name="csX80" fmla="*/ 262644 w 334803"/>
                    <a:gd name="csY80" fmla="*/ 110288 h 411380"/>
                    <a:gd name="csX81" fmla="*/ 259378 w 334803"/>
                    <a:gd name="csY81" fmla="*/ 107759 h 411380"/>
                    <a:gd name="csX82" fmla="*/ 264436 w 334803"/>
                    <a:gd name="csY82" fmla="*/ 103406 h 411380"/>
                    <a:gd name="csX83" fmla="*/ 259378 w 334803"/>
                    <a:gd name="csY83" fmla="*/ 98315 h 411380"/>
                    <a:gd name="csX84" fmla="*/ 261907 w 334803"/>
                    <a:gd name="csY84" fmla="*/ 91432 h 411380"/>
                    <a:gd name="csX85" fmla="*/ 253199 w 334803"/>
                    <a:gd name="csY85" fmla="*/ 87783 h 411380"/>
                    <a:gd name="csX86" fmla="*/ 257553 w 334803"/>
                    <a:gd name="csY86" fmla="*/ 78370 h 411380"/>
                    <a:gd name="csX87" fmla="*/ 260082 w 334803"/>
                    <a:gd name="csY87" fmla="*/ 70751 h 411380"/>
                    <a:gd name="csX88" fmla="*/ 253936 w 334803"/>
                    <a:gd name="csY88" fmla="*/ 68926 h 411380"/>
                    <a:gd name="csX89" fmla="*/ 241226 w 334803"/>
                    <a:gd name="csY89" fmla="*/ 50806 h 411380"/>
                    <a:gd name="csX90" fmla="*/ 243755 w 334803"/>
                    <a:gd name="csY90" fmla="*/ 43891 h 411380"/>
                    <a:gd name="csX91" fmla="*/ 228901 w 334803"/>
                    <a:gd name="csY91" fmla="*/ 43187 h 411380"/>
                    <a:gd name="csX92" fmla="*/ 227428 w 334803"/>
                    <a:gd name="csY92" fmla="*/ 31918 h 411380"/>
                    <a:gd name="csX93" fmla="*/ 222018 w 334803"/>
                    <a:gd name="csY93" fmla="*/ 26860 h 411380"/>
                    <a:gd name="csX94" fmla="*/ 196246 w 334803"/>
                    <a:gd name="csY94" fmla="*/ 16327 h 411380"/>
                    <a:gd name="csX95" fmla="*/ 197335 w 334803"/>
                    <a:gd name="csY95" fmla="*/ 11237 h 411380"/>
                    <a:gd name="csX96" fmla="*/ 193717 w 334803"/>
                    <a:gd name="csY96" fmla="*/ 11237 h 411380"/>
                    <a:gd name="csX97" fmla="*/ 172300 w 334803"/>
                    <a:gd name="csY97" fmla="*/ 22506 h 411380"/>
                    <a:gd name="csX98" fmla="*/ 150915 w 334803"/>
                    <a:gd name="csY98" fmla="*/ 18856 h 411380"/>
                    <a:gd name="csX99" fmla="*/ 144736 w 334803"/>
                    <a:gd name="csY99" fmla="*/ 12325 h 411380"/>
                    <a:gd name="csX100" fmla="*/ 130233 w 334803"/>
                    <a:gd name="csY100" fmla="*/ 16327 h 411380"/>
                    <a:gd name="csX101" fmla="*/ 121525 w 334803"/>
                    <a:gd name="csY101" fmla="*/ 14887 h 411380"/>
                    <a:gd name="csX102" fmla="*/ 113906 w 334803"/>
                    <a:gd name="csY102" fmla="*/ 23210 h 411380"/>
                    <a:gd name="csX103" fmla="*/ 109552 w 334803"/>
                    <a:gd name="csY103" fmla="*/ 19945 h 4113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</a:cxnLst>
                  <a:rect l="l" t="t" r="r" b="b"/>
                  <a:pathLst>
                    <a:path w="334803" h="411380">
                      <a:moveTo>
                        <a:pt x="109552" y="19945"/>
                      </a:moveTo>
                      <a:lnTo>
                        <a:pt x="109552" y="9444"/>
                      </a:lnTo>
                      <a:lnTo>
                        <a:pt x="93225" y="0"/>
                      </a:lnTo>
                      <a:lnTo>
                        <a:pt x="79427" y="18152"/>
                      </a:lnTo>
                      <a:lnTo>
                        <a:pt x="79427" y="18856"/>
                      </a:lnTo>
                      <a:lnTo>
                        <a:pt x="89607" y="24299"/>
                      </a:lnTo>
                      <a:lnTo>
                        <a:pt x="93929" y="38097"/>
                      </a:lnTo>
                      <a:lnTo>
                        <a:pt x="63100" y="62780"/>
                      </a:lnTo>
                      <a:lnTo>
                        <a:pt x="44980" y="91432"/>
                      </a:lnTo>
                      <a:lnTo>
                        <a:pt x="28653" y="98315"/>
                      </a:lnTo>
                      <a:lnTo>
                        <a:pt x="33743" y="109552"/>
                      </a:lnTo>
                      <a:lnTo>
                        <a:pt x="50774" y="109552"/>
                      </a:lnTo>
                      <a:lnTo>
                        <a:pt x="51863" y="122262"/>
                      </a:lnTo>
                      <a:lnTo>
                        <a:pt x="39889" y="126616"/>
                      </a:lnTo>
                      <a:lnTo>
                        <a:pt x="38801" y="137853"/>
                      </a:lnTo>
                      <a:lnTo>
                        <a:pt x="30093" y="151651"/>
                      </a:lnTo>
                      <a:lnTo>
                        <a:pt x="30093" y="161799"/>
                      </a:lnTo>
                      <a:lnTo>
                        <a:pt x="40626" y="169771"/>
                      </a:lnTo>
                      <a:lnTo>
                        <a:pt x="33743" y="187539"/>
                      </a:lnTo>
                      <a:lnTo>
                        <a:pt x="26123" y="193717"/>
                      </a:lnTo>
                      <a:lnTo>
                        <a:pt x="20681" y="191188"/>
                      </a:lnTo>
                      <a:lnTo>
                        <a:pt x="15591" y="198071"/>
                      </a:lnTo>
                      <a:lnTo>
                        <a:pt x="20681" y="200600"/>
                      </a:lnTo>
                      <a:lnTo>
                        <a:pt x="16327" y="214398"/>
                      </a:lnTo>
                      <a:lnTo>
                        <a:pt x="18120" y="228196"/>
                      </a:lnTo>
                      <a:lnTo>
                        <a:pt x="8708" y="240874"/>
                      </a:lnTo>
                      <a:lnTo>
                        <a:pt x="0" y="247757"/>
                      </a:lnTo>
                      <a:lnTo>
                        <a:pt x="4354" y="255761"/>
                      </a:lnTo>
                      <a:lnTo>
                        <a:pt x="8708" y="254672"/>
                      </a:lnTo>
                      <a:lnTo>
                        <a:pt x="9412" y="272088"/>
                      </a:lnTo>
                      <a:lnTo>
                        <a:pt x="19945" y="264084"/>
                      </a:lnTo>
                      <a:lnTo>
                        <a:pt x="34447" y="264084"/>
                      </a:lnTo>
                      <a:lnTo>
                        <a:pt x="22474" y="272792"/>
                      </a:lnTo>
                      <a:lnTo>
                        <a:pt x="26828" y="280411"/>
                      </a:lnTo>
                      <a:lnTo>
                        <a:pt x="18120" y="309064"/>
                      </a:lnTo>
                      <a:lnTo>
                        <a:pt x="5442" y="320333"/>
                      </a:lnTo>
                      <a:lnTo>
                        <a:pt x="1088" y="331218"/>
                      </a:lnTo>
                      <a:lnTo>
                        <a:pt x="4354" y="339926"/>
                      </a:lnTo>
                      <a:lnTo>
                        <a:pt x="25035" y="342455"/>
                      </a:lnTo>
                      <a:lnTo>
                        <a:pt x="39889" y="373636"/>
                      </a:lnTo>
                      <a:lnTo>
                        <a:pt x="44980" y="371107"/>
                      </a:lnTo>
                      <a:lnTo>
                        <a:pt x="49334" y="372548"/>
                      </a:lnTo>
                      <a:lnTo>
                        <a:pt x="48245" y="395790"/>
                      </a:lnTo>
                      <a:lnTo>
                        <a:pt x="53303" y="400144"/>
                      </a:lnTo>
                      <a:lnTo>
                        <a:pt x="70719" y="401937"/>
                      </a:lnTo>
                      <a:lnTo>
                        <a:pt x="75073" y="395054"/>
                      </a:lnTo>
                      <a:lnTo>
                        <a:pt x="71455" y="389964"/>
                      </a:lnTo>
                      <a:lnTo>
                        <a:pt x="82692" y="391436"/>
                      </a:lnTo>
                      <a:lnTo>
                        <a:pt x="91400" y="379463"/>
                      </a:lnTo>
                      <a:lnTo>
                        <a:pt x="107727" y="385610"/>
                      </a:lnTo>
                      <a:lnTo>
                        <a:pt x="112818" y="379463"/>
                      </a:lnTo>
                      <a:lnTo>
                        <a:pt x="129145" y="384521"/>
                      </a:lnTo>
                      <a:lnTo>
                        <a:pt x="132762" y="390700"/>
                      </a:lnTo>
                      <a:lnTo>
                        <a:pt x="130233" y="398319"/>
                      </a:lnTo>
                      <a:lnTo>
                        <a:pt x="144736" y="411381"/>
                      </a:lnTo>
                      <a:lnTo>
                        <a:pt x="163592" y="364929"/>
                      </a:lnTo>
                      <a:lnTo>
                        <a:pt x="175565" y="333011"/>
                      </a:lnTo>
                      <a:lnTo>
                        <a:pt x="181744" y="383817"/>
                      </a:lnTo>
                      <a:lnTo>
                        <a:pt x="198775" y="395054"/>
                      </a:lnTo>
                      <a:lnTo>
                        <a:pt x="212573" y="392525"/>
                      </a:lnTo>
                      <a:lnTo>
                        <a:pt x="214398" y="401201"/>
                      </a:lnTo>
                      <a:lnTo>
                        <a:pt x="262644" y="383081"/>
                      </a:lnTo>
                      <a:lnTo>
                        <a:pt x="306535" y="365665"/>
                      </a:lnTo>
                      <a:lnTo>
                        <a:pt x="321037" y="297091"/>
                      </a:lnTo>
                      <a:lnTo>
                        <a:pt x="322126" y="296002"/>
                      </a:lnTo>
                      <a:lnTo>
                        <a:pt x="334803" y="222018"/>
                      </a:lnTo>
                      <a:lnTo>
                        <a:pt x="326480" y="211869"/>
                      </a:lnTo>
                      <a:lnTo>
                        <a:pt x="323567" y="198808"/>
                      </a:lnTo>
                      <a:lnTo>
                        <a:pt x="322126" y="166153"/>
                      </a:lnTo>
                      <a:lnTo>
                        <a:pt x="316683" y="137853"/>
                      </a:lnTo>
                      <a:lnTo>
                        <a:pt x="313418" y="129881"/>
                      </a:lnTo>
                      <a:lnTo>
                        <a:pt x="306535" y="133499"/>
                      </a:lnTo>
                      <a:lnTo>
                        <a:pt x="299620" y="129881"/>
                      </a:lnTo>
                      <a:lnTo>
                        <a:pt x="297827" y="135324"/>
                      </a:lnTo>
                      <a:lnTo>
                        <a:pt x="293473" y="124055"/>
                      </a:lnTo>
                      <a:lnTo>
                        <a:pt x="286558" y="120437"/>
                      </a:lnTo>
                      <a:lnTo>
                        <a:pt x="278939" y="127320"/>
                      </a:lnTo>
                      <a:lnTo>
                        <a:pt x="277146" y="117172"/>
                      </a:lnTo>
                      <a:lnTo>
                        <a:pt x="264436" y="117172"/>
                      </a:lnTo>
                      <a:lnTo>
                        <a:pt x="266997" y="112113"/>
                      </a:lnTo>
                      <a:lnTo>
                        <a:pt x="262644" y="110288"/>
                      </a:lnTo>
                      <a:lnTo>
                        <a:pt x="259378" y="107759"/>
                      </a:lnTo>
                      <a:lnTo>
                        <a:pt x="264436" y="103406"/>
                      </a:lnTo>
                      <a:lnTo>
                        <a:pt x="259378" y="98315"/>
                      </a:lnTo>
                      <a:lnTo>
                        <a:pt x="261907" y="91432"/>
                      </a:lnTo>
                      <a:lnTo>
                        <a:pt x="253199" y="87783"/>
                      </a:lnTo>
                      <a:lnTo>
                        <a:pt x="257553" y="78370"/>
                      </a:lnTo>
                      <a:lnTo>
                        <a:pt x="260082" y="70751"/>
                      </a:lnTo>
                      <a:lnTo>
                        <a:pt x="253936" y="68926"/>
                      </a:lnTo>
                      <a:lnTo>
                        <a:pt x="241226" y="50806"/>
                      </a:lnTo>
                      <a:lnTo>
                        <a:pt x="243755" y="43891"/>
                      </a:lnTo>
                      <a:lnTo>
                        <a:pt x="228901" y="43187"/>
                      </a:lnTo>
                      <a:lnTo>
                        <a:pt x="227428" y="31918"/>
                      </a:lnTo>
                      <a:lnTo>
                        <a:pt x="222018" y="26860"/>
                      </a:lnTo>
                      <a:lnTo>
                        <a:pt x="196246" y="16327"/>
                      </a:lnTo>
                      <a:lnTo>
                        <a:pt x="197335" y="11237"/>
                      </a:lnTo>
                      <a:lnTo>
                        <a:pt x="193717" y="11237"/>
                      </a:lnTo>
                      <a:lnTo>
                        <a:pt x="172300" y="22506"/>
                      </a:lnTo>
                      <a:lnTo>
                        <a:pt x="150915" y="18856"/>
                      </a:lnTo>
                      <a:lnTo>
                        <a:pt x="144736" y="12325"/>
                      </a:lnTo>
                      <a:lnTo>
                        <a:pt x="130233" y="16327"/>
                      </a:lnTo>
                      <a:lnTo>
                        <a:pt x="121525" y="14887"/>
                      </a:lnTo>
                      <a:lnTo>
                        <a:pt x="113906" y="23210"/>
                      </a:lnTo>
                      <a:lnTo>
                        <a:pt x="109552" y="1994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8" name="Forma Livre: Forma 367">
                  <a:extLst>
                    <a:ext uri="{FF2B5EF4-FFF2-40B4-BE49-F238E27FC236}">
                      <a16:creationId xmlns:a16="http://schemas.microsoft.com/office/drawing/2014/main" id="{543BA559-A541-B20E-88E5-9AF62C407228}"/>
                    </a:ext>
                  </a:extLst>
                </p:cNvPr>
                <p:cNvSpPr/>
                <p:nvPr/>
              </p:nvSpPr>
              <p:spPr>
                <a:xfrm>
                  <a:off x="3480168" y="3592081"/>
                  <a:ext cx="334803" cy="411380"/>
                </a:xfrm>
                <a:custGeom>
                  <a:avLst/>
                  <a:gdLst>
                    <a:gd name="csX0" fmla="*/ 109552 w 334803"/>
                    <a:gd name="csY0" fmla="*/ 19945 h 411380"/>
                    <a:gd name="csX1" fmla="*/ 109552 w 334803"/>
                    <a:gd name="csY1" fmla="*/ 9444 h 411380"/>
                    <a:gd name="csX2" fmla="*/ 93225 w 334803"/>
                    <a:gd name="csY2" fmla="*/ 0 h 411380"/>
                    <a:gd name="csX3" fmla="*/ 79427 w 334803"/>
                    <a:gd name="csY3" fmla="*/ 18152 h 411380"/>
                    <a:gd name="csX4" fmla="*/ 79427 w 334803"/>
                    <a:gd name="csY4" fmla="*/ 18856 h 411380"/>
                    <a:gd name="csX5" fmla="*/ 89607 w 334803"/>
                    <a:gd name="csY5" fmla="*/ 24299 h 411380"/>
                    <a:gd name="csX6" fmla="*/ 93929 w 334803"/>
                    <a:gd name="csY6" fmla="*/ 38097 h 411380"/>
                    <a:gd name="csX7" fmla="*/ 63100 w 334803"/>
                    <a:gd name="csY7" fmla="*/ 62780 h 411380"/>
                    <a:gd name="csX8" fmla="*/ 44980 w 334803"/>
                    <a:gd name="csY8" fmla="*/ 91432 h 411380"/>
                    <a:gd name="csX9" fmla="*/ 28653 w 334803"/>
                    <a:gd name="csY9" fmla="*/ 98315 h 411380"/>
                    <a:gd name="csX10" fmla="*/ 33743 w 334803"/>
                    <a:gd name="csY10" fmla="*/ 109552 h 411380"/>
                    <a:gd name="csX11" fmla="*/ 50774 w 334803"/>
                    <a:gd name="csY11" fmla="*/ 109552 h 411380"/>
                    <a:gd name="csX12" fmla="*/ 51863 w 334803"/>
                    <a:gd name="csY12" fmla="*/ 122262 h 411380"/>
                    <a:gd name="csX13" fmla="*/ 39889 w 334803"/>
                    <a:gd name="csY13" fmla="*/ 126616 h 411380"/>
                    <a:gd name="csX14" fmla="*/ 38801 w 334803"/>
                    <a:gd name="csY14" fmla="*/ 137853 h 411380"/>
                    <a:gd name="csX15" fmla="*/ 30093 w 334803"/>
                    <a:gd name="csY15" fmla="*/ 151651 h 411380"/>
                    <a:gd name="csX16" fmla="*/ 30093 w 334803"/>
                    <a:gd name="csY16" fmla="*/ 161799 h 411380"/>
                    <a:gd name="csX17" fmla="*/ 40626 w 334803"/>
                    <a:gd name="csY17" fmla="*/ 169771 h 411380"/>
                    <a:gd name="csX18" fmla="*/ 33743 w 334803"/>
                    <a:gd name="csY18" fmla="*/ 187539 h 411380"/>
                    <a:gd name="csX19" fmla="*/ 26123 w 334803"/>
                    <a:gd name="csY19" fmla="*/ 193717 h 411380"/>
                    <a:gd name="csX20" fmla="*/ 20681 w 334803"/>
                    <a:gd name="csY20" fmla="*/ 191188 h 411380"/>
                    <a:gd name="csX21" fmla="*/ 15591 w 334803"/>
                    <a:gd name="csY21" fmla="*/ 198071 h 411380"/>
                    <a:gd name="csX22" fmla="*/ 20681 w 334803"/>
                    <a:gd name="csY22" fmla="*/ 200600 h 411380"/>
                    <a:gd name="csX23" fmla="*/ 16327 w 334803"/>
                    <a:gd name="csY23" fmla="*/ 214398 h 411380"/>
                    <a:gd name="csX24" fmla="*/ 18120 w 334803"/>
                    <a:gd name="csY24" fmla="*/ 228196 h 411380"/>
                    <a:gd name="csX25" fmla="*/ 8708 w 334803"/>
                    <a:gd name="csY25" fmla="*/ 240874 h 411380"/>
                    <a:gd name="csX26" fmla="*/ 0 w 334803"/>
                    <a:gd name="csY26" fmla="*/ 247757 h 411380"/>
                    <a:gd name="csX27" fmla="*/ 4354 w 334803"/>
                    <a:gd name="csY27" fmla="*/ 255761 h 411380"/>
                    <a:gd name="csX28" fmla="*/ 8708 w 334803"/>
                    <a:gd name="csY28" fmla="*/ 254672 h 411380"/>
                    <a:gd name="csX29" fmla="*/ 9412 w 334803"/>
                    <a:gd name="csY29" fmla="*/ 272088 h 411380"/>
                    <a:gd name="csX30" fmla="*/ 19945 w 334803"/>
                    <a:gd name="csY30" fmla="*/ 264084 h 411380"/>
                    <a:gd name="csX31" fmla="*/ 34447 w 334803"/>
                    <a:gd name="csY31" fmla="*/ 264084 h 411380"/>
                    <a:gd name="csX32" fmla="*/ 22474 w 334803"/>
                    <a:gd name="csY32" fmla="*/ 272792 h 411380"/>
                    <a:gd name="csX33" fmla="*/ 26828 w 334803"/>
                    <a:gd name="csY33" fmla="*/ 280411 h 411380"/>
                    <a:gd name="csX34" fmla="*/ 18120 w 334803"/>
                    <a:gd name="csY34" fmla="*/ 309064 h 411380"/>
                    <a:gd name="csX35" fmla="*/ 5442 w 334803"/>
                    <a:gd name="csY35" fmla="*/ 320333 h 411380"/>
                    <a:gd name="csX36" fmla="*/ 1088 w 334803"/>
                    <a:gd name="csY36" fmla="*/ 331218 h 411380"/>
                    <a:gd name="csX37" fmla="*/ 4354 w 334803"/>
                    <a:gd name="csY37" fmla="*/ 339926 h 411380"/>
                    <a:gd name="csX38" fmla="*/ 25035 w 334803"/>
                    <a:gd name="csY38" fmla="*/ 342455 h 411380"/>
                    <a:gd name="csX39" fmla="*/ 39889 w 334803"/>
                    <a:gd name="csY39" fmla="*/ 373636 h 411380"/>
                    <a:gd name="csX40" fmla="*/ 44980 w 334803"/>
                    <a:gd name="csY40" fmla="*/ 371107 h 411380"/>
                    <a:gd name="csX41" fmla="*/ 49334 w 334803"/>
                    <a:gd name="csY41" fmla="*/ 372548 h 411380"/>
                    <a:gd name="csX42" fmla="*/ 48245 w 334803"/>
                    <a:gd name="csY42" fmla="*/ 395790 h 411380"/>
                    <a:gd name="csX43" fmla="*/ 53303 w 334803"/>
                    <a:gd name="csY43" fmla="*/ 400144 h 411380"/>
                    <a:gd name="csX44" fmla="*/ 70719 w 334803"/>
                    <a:gd name="csY44" fmla="*/ 401937 h 411380"/>
                    <a:gd name="csX45" fmla="*/ 75073 w 334803"/>
                    <a:gd name="csY45" fmla="*/ 395054 h 411380"/>
                    <a:gd name="csX46" fmla="*/ 71455 w 334803"/>
                    <a:gd name="csY46" fmla="*/ 389964 h 411380"/>
                    <a:gd name="csX47" fmla="*/ 82692 w 334803"/>
                    <a:gd name="csY47" fmla="*/ 391436 h 411380"/>
                    <a:gd name="csX48" fmla="*/ 91400 w 334803"/>
                    <a:gd name="csY48" fmla="*/ 379463 h 411380"/>
                    <a:gd name="csX49" fmla="*/ 107727 w 334803"/>
                    <a:gd name="csY49" fmla="*/ 385610 h 411380"/>
                    <a:gd name="csX50" fmla="*/ 112818 w 334803"/>
                    <a:gd name="csY50" fmla="*/ 379463 h 411380"/>
                    <a:gd name="csX51" fmla="*/ 129145 w 334803"/>
                    <a:gd name="csY51" fmla="*/ 384521 h 411380"/>
                    <a:gd name="csX52" fmla="*/ 132762 w 334803"/>
                    <a:gd name="csY52" fmla="*/ 390700 h 411380"/>
                    <a:gd name="csX53" fmla="*/ 130233 w 334803"/>
                    <a:gd name="csY53" fmla="*/ 398319 h 411380"/>
                    <a:gd name="csX54" fmla="*/ 144736 w 334803"/>
                    <a:gd name="csY54" fmla="*/ 411381 h 411380"/>
                    <a:gd name="csX55" fmla="*/ 163592 w 334803"/>
                    <a:gd name="csY55" fmla="*/ 364929 h 411380"/>
                    <a:gd name="csX56" fmla="*/ 175565 w 334803"/>
                    <a:gd name="csY56" fmla="*/ 333011 h 411380"/>
                    <a:gd name="csX57" fmla="*/ 181744 w 334803"/>
                    <a:gd name="csY57" fmla="*/ 383817 h 411380"/>
                    <a:gd name="csX58" fmla="*/ 198775 w 334803"/>
                    <a:gd name="csY58" fmla="*/ 395054 h 411380"/>
                    <a:gd name="csX59" fmla="*/ 212573 w 334803"/>
                    <a:gd name="csY59" fmla="*/ 392525 h 411380"/>
                    <a:gd name="csX60" fmla="*/ 214398 w 334803"/>
                    <a:gd name="csY60" fmla="*/ 401201 h 411380"/>
                    <a:gd name="csX61" fmla="*/ 262644 w 334803"/>
                    <a:gd name="csY61" fmla="*/ 383081 h 411380"/>
                    <a:gd name="csX62" fmla="*/ 306535 w 334803"/>
                    <a:gd name="csY62" fmla="*/ 365665 h 411380"/>
                    <a:gd name="csX63" fmla="*/ 321037 w 334803"/>
                    <a:gd name="csY63" fmla="*/ 297091 h 411380"/>
                    <a:gd name="csX64" fmla="*/ 322126 w 334803"/>
                    <a:gd name="csY64" fmla="*/ 296002 h 411380"/>
                    <a:gd name="csX65" fmla="*/ 334803 w 334803"/>
                    <a:gd name="csY65" fmla="*/ 222018 h 411380"/>
                    <a:gd name="csX66" fmla="*/ 326480 w 334803"/>
                    <a:gd name="csY66" fmla="*/ 211869 h 411380"/>
                    <a:gd name="csX67" fmla="*/ 323567 w 334803"/>
                    <a:gd name="csY67" fmla="*/ 198808 h 411380"/>
                    <a:gd name="csX68" fmla="*/ 322126 w 334803"/>
                    <a:gd name="csY68" fmla="*/ 166153 h 411380"/>
                    <a:gd name="csX69" fmla="*/ 316683 w 334803"/>
                    <a:gd name="csY69" fmla="*/ 137853 h 411380"/>
                    <a:gd name="csX70" fmla="*/ 313418 w 334803"/>
                    <a:gd name="csY70" fmla="*/ 129881 h 411380"/>
                    <a:gd name="csX71" fmla="*/ 306535 w 334803"/>
                    <a:gd name="csY71" fmla="*/ 133499 h 411380"/>
                    <a:gd name="csX72" fmla="*/ 299620 w 334803"/>
                    <a:gd name="csY72" fmla="*/ 129881 h 411380"/>
                    <a:gd name="csX73" fmla="*/ 297827 w 334803"/>
                    <a:gd name="csY73" fmla="*/ 135324 h 411380"/>
                    <a:gd name="csX74" fmla="*/ 293473 w 334803"/>
                    <a:gd name="csY74" fmla="*/ 124055 h 411380"/>
                    <a:gd name="csX75" fmla="*/ 286558 w 334803"/>
                    <a:gd name="csY75" fmla="*/ 120437 h 411380"/>
                    <a:gd name="csX76" fmla="*/ 278939 w 334803"/>
                    <a:gd name="csY76" fmla="*/ 127320 h 411380"/>
                    <a:gd name="csX77" fmla="*/ 277146 w 334803"/>
                    <a:gd name="csY77" fmla="*/ 117172 h 411380"/>
                    <a:gd name="csX78" fmla="*/ 264436 w 334803"/>
                    <a:gd name="csY78" fmla="*/ 117172 h 411380"/>
                    <a:gd name="csX79" fmla="*/ 266997 w 334803"/>
                    <a:gd name="csY79" fmla="*/ 112113 h 411380"/>
                    <a:gd name="csX80" fmla="*/ 262644 w 334803"/>
                    <a:gd name="csY80" fmla="*/ 110288 h 411380"/>
                    <a:gd name="csX81" fmla="*/ 259378 w 334803"/>
                    <a:gd name="csY81" fmla="*/ 107759 h 411380"/>
                    <a:gd name="csX82" fmla="*/ 264436 w 334803"/>
                    <a:gd name="csY82" fmla="*/ 103406 h 411380"/>
                    <a:gd name="csX83" fmla="*/ 259378 w 334803"/>
                    <a:gd name="csY83" fmla="*/ 98315 h 411380"/>
                    <a:gd name="csX84" fmla="*/ 261907 w 334803"/>
                    <a:gd name="csY84" fmla="*/ 91432 h 411380"/>
                    <a:gd name="csX85" fmla="*/ 253199 w 334803"/>
                    <a:gd name="csY85" fmla="*/ 87783 h 411380"/>
                    <a:gd name="csX86" fmla="*/ 257553 w 334803"/>
                    <a:gd name="csY86" fmla="*/ 78370 h 411380"/>
                    <a:gd name="csX87" fmla="*/ 260082 w 334803"/>
                    <a:gd name="csY87" fmla="*/ 70751 h 411380"/>
                    <a:gd name="csX88" fmla="*/ 253936 w 334803"/>
                    <a:gd name="csY88" fmla="*/ 68926 h 411380"/>
                    <a:gd name="csX89" fmla="*/ 241226 w 334803"/>
                    <a:gd name="csY89" fmla="*/ 50806 h 411380"/>
                    <a:gd name="csX90" fmla="*/ 243755 w 334803"/>
                    <a:gd name="csY90" fmla="*/ 43891 h 411380"/>
                    <a:gd name="csX91" fmla="*/ 228901 w 334803"/>
                    <a:gd name="csY91" fmla="*/ 43187 h 411380"/>
                    <a:gd name="csX92" fmla="*/ 227428 w 334803"/>
                    <a:gd name="csY92" fmla="*/ 31918 h 411380"/>
                    <a:gd name="csX93" fmla="*/ 222018 w 334803"/>
                    <a:gd name="csY93" fmla="*/ 26860 h 411380"/>
                    <a:gd name="csX94" fmla="*/ 196246 w 334803"/>
                    <a:gd name="csY94" fmla="*/ 16327 h 411380"/>
                    <a:gd name="csX95" fmla="*/ 197335 w 334803"/>
                    <a:gd name="csY95" fmla="*/ 11237 h 411380"/>
                    <a:gd name="csX96" fmla="*/ 193717 w 334803"/>
                    <a:gd name="csY96" fmla="*/ 11237 h 411380"/>
                    <a:gd name="csX97" fmla="*/ 172300 w 334803"/>
                    <a:gd name="csY97" fmla="*/ 22506 h 411380"/>
                    <a:gd name="csX98" fmla="*/ 150915 w 334803"/>
                    <a:gd name="csY98" fmla="*/ 18856 h 411380"/>
                    <a:gd name="csX99" fmla="*/ 144736 w 334803"/>
                    <a:gd name="csY99" fmla="*/ 12325 h 411380"/>
                    <a:gd name="csX100" fmla="*/ 130233 w 334803"/>
                    <a:gd name="csY100" fmla="*/ 16327 h 411380"/>
                    <a:gd name="csX101" fmla="*/ 121525 w 334803"/>
                    <a:gd name="csY101" fmla="*/ 14887 h 411380"/>
                    <a:gd name="csX102" fmla="*/ 113906 w 334803"/>
                    <a:gd name="csY102" fmla="*/ 23210 h 411380"/>
                    <a:gd name="csX103" fmla="*/ 109552 w 334803"/>
                    <a:gd name="csY103" fmla="*/ 19945 h 4113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</a:cxnLst>
                  <a:rect l="l" t="t" r="r" b="b"/>
                  <a:pathLst>
                    <a:path w="334803" h="411380">
                      <a:moveTo>
                        <a:pt x="109552" y="19945"/>
                      </a:moveTo>
                      <a:lnTo>
                        <a:pt x="109552" y="9444"/>
                      </a:lnTo>
                      <a:lnTo>
                        <a:pt x="93225" y="0"/>
                      </a:lnTo>
                      <a:lnTo>
                        <a:pt x="79427" y="18152"/>
                      </a:lnTo>
                      <a:lnTo>
                        <a:pt x="79427" y="18856"/>
                      </a:lnTo>
                      <a:lnTo>
                        <a:pt x="89607" y="24299"/>
                      </a:lnTo>
                      <a:lnTo>
                        <a:pt x="93929" y="38097"/>
                      </a:lnTo>
                      <a:lnTo>
                        <a:pt x="63100" y="62780"/>
                      </a:lnTo>
                      <a:lnTo>
                        <a:pt x="44980" y="91432"/>
                      </a:lnTo>
                      <a:lnTo>
                        <a:pt x="28653" y="98315"/>
                      </a:lnTo>
                      <a:lnTo>
                        <a:pt x="33743" y="109552"/>
                      </a:lnTo>
                      <a:lnTo>
                        <a:pt x="50774" y="109552"/>
                      </a:lnTo>
                      <a:lnTo>
                        <a:pt x="51863" y="122262"/>
                      </a:lnTo>
                      <a:lnTo>
                        <a:pt x="39889" y="126616"/>
                      </a:lnTo>
                      <a:lnTo>
                        <a:pt x="38801" y="137853"/>
                      </a:lnTo>
                      <a:lnTo>
                        <a:pt x="30093" y="151651"/>
                      </a:lnTo>
                      <a:lnTo>
                        <a:pt x="30093" y="161799"/>
                      </a:lnTo>
                      <a:lnTo>
                        <a:pt x="40626" y="169771"/>
                      </a:lnTo>
                      <a:lnTo>
                        <a:pt x="33743" y="187539"/>
                      </a:lnTo>
                      <a:lnTo>
                        <a:pt x="26123" y="193717"/>
                      </a:lnTo>
                      <a:lnTo>
                        <a:pt x="20681" y="191188"/>
                      </a:lnTo>
                      <a:lnTo>
                        <a:pt x="15591" y="198071"/>
                      </a:lnTo>
                      <a:lnTo>
                        <a:pt x="20681" y="200600"/>
                      </a:lnTo>
                      <a:lnTo>
                        <a:pt x="16327" y="214398"/>
                      </a:lnTo>
                      <a:lnTo>
                        <a:pt x="18120" y="228196"/>
                      </a:lnTo>
                      <a:lnTo>
                        <a:pt x="8708" y="240874"/>
                      </a:lnTo>
                      <a:lnTo>
                        <a:pt x="0" y="247757"/>
                      </a:lnTo>
                      <a:lnTo>
                        <a:pt x="4354" y="255761"/>
                      </a:lnTo>
                      <a:lnTo>
                        <a:pt x="8708" y="254672"/>
                      </a:lnTo>
                      <a:lnTo>
                        <a:pt x="9412" y="272088"/>
                      </a:lnTo>
                      <a:lnTo>
                        <a:pt x="19945" y="264084"/>
                      </a:lnTo>
                      <a:lnTo>
                        <a:pt x="34447" y="264084"/>
                      </a:lnTo>
                      <a:lnTo>
                        <a:pt x="22474" y="272792"/>
                      </a:lnTo>
                      <a:lnTo>
                        <a:pt x="26828" y="280411"/>
                      </a:lnTo>
                      <a:lnTo>
                        <a:pt x="18120" y="309064"/>
                      </a:lnTo>
                      <a:lnTo>
                        <a:pt x="5442" y="320333"/>
                      </a:lnTo>
                      <a:lnTo>
                        <a:pt x="1088" y="331218"/>
                      </a:lnTo>
                      <a:lnTo>
                        <a:pt x="4354" y="339926"/>
                      </a:lnTo>
                      <a:lnTo>
                        <a:pt x="25035" y="342455"/>
                      </a:lnTo>
                      <a:lnTo>
                        <a:pt x="39889" y="373636"/>
                      </a:lnTo>
                      <a:lnTo>
                        <a:pt x="44980" y="371107"/>
                      </a:lnTo>
                      <a:lnTo>
                        <a:pt x="49334" y="372548"/>
                      </a:lnTo>
                      <a:lnTo>
                        <a:pt x="48245" y="395790"/>
                      </a:lnTo>
                      <a:lnTo>
                        <a:pt x="53303" y="400144"/>
                      </a:lnTo>
                      <a:lnTo>
                        <a:pt x="70719" y="401937"/>
                      </a:lnTo>
                      <a:lnTo>
                        <a:pt x="75073" y="395054"/>
                      </a:lnTo>
                      <a:lnTo>
                        <a:pt x="71455" y="389964"/>
                      </a:lnTo>
                      <a:lnTo>
                        <a:pt x="82692" y="391436"/>
                      </a:lnTo>
                      <a:lnTo>
                        <a:pt x="91400" y="379463"/>
                      </a:lnTo>
                      <a:lnTo>
                        <a:pt x="107727" y="385610"/>
                      </a:lnTo>
                      <a:lnTo>
                        <a:pt x="112818" y="379463"/>
                      </a:lnTo>
                      <a:lnTo>
                        <a:pt x="129145" y="384521"/>
                      </a:lnTo>
                      <a:lnTo>
                        <a:pt x="132762" y="390700"/>
                      </a:lnTo>
                      <a:lnTo>
                        <a:pt x="130233" y="398319"/>
                      </a:lnTo>
                      <a:lnTo>
                        <a:pt x="144736" y="411381"/>
                      </a:lnTo>
                      <a:lnTo>
                        <a:pt x="163592" y="364929"/>
                      </a:lnTo>
                      <a:lnTo>
                        <a:pt x="175565" y="333011"/>
                      </a:lnTo>
                      <a:lnTo>
                        <a:pt x="181744" y="383817"/>
                      </a:lnTo>
                      <a:lnTo>
                        <a:pt x="198775" y="395054"/>
                      </a:lnTo>
                      <a:lnTo>
                        <a:pt x="212573" y="392525"/>
                      </a:lnTo>
                      <a:lnTo>
                        <a:pt x="214398" y="401201"/>
                      </a:lnTo>
                      <a:lnTo>
                        <a:pt x="262644" y="383081"/>
                      </a:lnTo>
                      <a:lnTo>
                        <a:pt x="306535" y="365665"/>
                      </a:lnTo>
                      <a:lnTo>
                        <a:pt x="321037" y="297091"/>
                      </a:lnTo>
                      <a:lnTo>
                        <a:pt x="322126" y="296002"/>
                      </a:lnTo>
                      <a:lnTo>
                        <a:pt x="334803" y="222018"/>
                      </a:lnTo>
                      <a:lnTo>
                        <a:pt x="326480" y="211869"/>
                      </a:lnTo>
                      <a:lnTo>
                        <a:pt x="323567" y="198808"/>
                      </a:lnTo>
                      <a:lnTo>
                        <a:pt x="322126" y="166153"/>
                      </a:lnTo>
                      <a:lnTo>
                        <a:pt x="316683" y="137853"/>
                      </a:lnTo>
                      <a:lnTo>
                        <a:pt x="313418" y="129881"/>
                      </a:lnTo>
                      <a:lnTo>
                        <a:pt x="306535" y="133499"/>
                      </a:lnTo>
                      <a:lnTo>
                        <a:pt x="299620" y="129881"/>
                      </a:lnTo>
                      <a:lnTo>
                        <a:pt x="297827" y="135324"/>
                      </a:lnTo>
                      <a:lnTo>
                        <a:pt x="293473" y="124055"/>
                      </a:lnTo>
                      <a:lnTo>
                        <a:pt x="286558" y="120437"/>
                      </a:lnTo>
                      <a:lnTo>
                        <a:pt x="278939" y="127320"/>
                      </a:lnTo>
                      <a:lnTo>
                        <a:pt x="277146" y="117172"/>
                      </a:lnTo>
                      <a:lnTo>
                        <a:pt x="264436" y="117172"/>
                      </a:lnTo>
                      <a:lnTo>
                        <a:pt x="266997" y="112113"/>
                      </a:lnTo>
                      <a:lnTo>
                        <a:pt x="262644" y="110288"/>
                      </a:lnTo>
                      <a:lnTo>
                        <a:pt x="259378" y="107759"/>
                      </a:lnTo>
                      <a:lnTo>
                        <a:pt x="264436" y="103406"/>
                      </a:lnTo>
                      <a:lnTo>
                        <a:pt x="259378" y="98315"/>
                      </a:lnTo>
                      <a:lnTo>
                        <a:pt x="261907" y="91432"/>
                      </a:lnTo>
                      <a:lnTo>
                        <a:pt x="253199" y="87783"/>
                      </a:lnTo>
                      <a:lnTo>
                        <a:pt x="257553" y="78370"/>
                      </a:lnTo>
                      <a:lnTo>
                        <a:pt x="260082" y="70751"/>
                      </a:lnTo>
                      <a:lnTo>
                        <a:pt x="253936" y="68926"/>
                      </a:lnTo>
                      <a:lnTo>
                        <a:pt x="241226" y="50806"/>
                      </a:lnTo>
                      <a:lnTo>
                        <a:pt x="243755" y="43891"/>
                      </a:lnTo>
                      <a:lnTo>
                        <a:pt x="228901" y="43187"/>
                      </a:lnTo>
                      <a:lnTo>
                        <a:pt x="227428" y="31918"/>
                      </a:lnTo>
                      <a:lnTo>
                        <a:pt x="222018" y="26860"/>
                      </a:lnTo>
                      <a:lnTo>
                        <a:pt x="196246" y="16327"/>
                      </a:lnTo>
                      <a:lnTo>
                        <a:pt x="197335" y="11237"/>
                      </a:lnTo>
                      <a:lnTo>
                        <a:pt x="193717" y="11237"/>
                      </a:lnTo>
                      <a:lnTo>
                        <a:pt x="172300" y="22506"/>
                      </a:lnTo>
                      <a:lnTo>
                        <a:pt x="150915" y="18856"/>
                      </a:lnTo>
                      <a:lnTo>
                        <a:pt x="144736" y="12325"/>
                      </a:lnTo>
                      <a:lnTo>
                        <a:pt x="130233" y="16327"/>
                      </a:lnTo>
                      <a:lnTo>
                        <a:pt x="121525" y="14887"/>
                      </a:lnTo>
                      <a:lnTo>
                        <a:pt x="113906" y="23210"/>
                      </a:lnTo>
                      <a:lnTo>
                        <a:pt x="109552" y="1994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9" name="Forma Livre: Forma 368">
                  <a:extLst>
                    <a:ext uri="{FF2B5EF4-FFF2-40B4-BE49-F238E27FC236}">
                      <a16:creationId xmlns:a16="http://schemas.microsoft.com/office/drawing/2014/main" id="{88942170-B180-4FA0-6CA5-E8BBB20790F4}"/>
                    </a:ext>
                  </a:extLst>
                </p:cNvPr>
                <p:cNvSpPr/>
                <p:nvPr/>
              </p:nvSpPr>
              <p:spPr>
                <a:xfrm>
                  <a:off x="2735776" y="5730174"/>
                  <a:ext cx="223106" cy="284028"/>
                </a:xfrm>
                <a:custGeom>
                  <a:avLst/>
                  <a:gdLst>
                    <a:gd name="csX0" fmla="*/ 117908 w 223106"/>
                    <a:gd name="csY0" fmla="*/ 11237 h 284028"/>
                    <a:gd name="csX1" fmla="*/ 87783 w 223106"/>
                    <a:gd name="csY1" fmla="*/ 0 h 284028"/>
                    <a:gd name="csX2" fmla="*/ 84517 w 223106"/>
                    <a:gd name="csY2" fmla="*/ 8708 h 284028"/>
                    <a:gd name="csX3" fmla="*/ 67102 w 223106"/>
                    <a:gd name="csY3" fmla="*/ 13062 h 284028"/>
                    <a:gd name="csX4" fmla="*/ 64572 w 223106"/>
                    <a:gd name="csY4" fmla="*/ 20681 h 284028"/>
                    <a:gd name="csX5" fmla="*/ 58394 w 223106"/>
                    <a:gd name="csY5" fmla="*/ 23210 h 284028"/>
                    <a:gd name="csX6" fmla="*/ 52599 w 223106"/>
                    <a:gd name="csY6" fmla="*/ 17415 h 284028"/>
                    <a:gd name="csX7" fmla="*/ 43891 w 223106"/>
                    <a:gd name="csY7" fmla="*/ 42099 h 284028"/>
                    <a:gd name="csX8" fmla="*/ 51511 w 223106"/>
                    <a:gd name="csY8" fmla="*/ 47509 h 284028"/>
                    <a:gd name="csX9" fmla="*/ 52599 w 223106"/>
                    <a:gd name="csY9" fmla="*/ 53336 h 284028"/>
                    <a:gd name="csX10" fmla="*/ 41362 w 223106"/>
                    <a:gd name="csY10" fmla="*/ 67838 h 284028"/>
                    <a:gd name="csX11" fmla="*/ 39537 w 223106"/>
                    <a:gd name="csY11" fmla="*/ 92137 h 284028"/>
                    <a:gd name="csX12" fmla="*/ 26860 w 223106"/>
                    <a:gd name="csY12" fmla="*/ 112818 h 284028"/>
                    <a:gd name="csX13" fmla="*/ 19945 w 223106"/>
                    <a:gd name="csY13" fmla="*/ 115347 h 284028"/>
                    <a:gd name="csX14" fmla="*/ 21417 w 223106"/>
                    <a:gd name="csY14" fmla="*/ 117908 h 284028"/>
                    <a:gd name="csX15" fmla="*/ 2561 w 223106"/>
                    <a:gd name="csY15" fmla="*/ 133499 h 284028"/>
                    <a:gd name="csX16" fmla="*/ 6179 w 223106"/>
                    <a:gd name="csY16" fmla="*/ 141118 h 284028"/>
                    <a:gd name="csX17" fmla="*/ 6915 w 223106"/>
                    <a:gd name="csY17" fmla="*/ 145472 h 284028"/>
                    <a:gd name="csX18" fmla="*/ 0 w 223106"/>
                    <a:gd name="csY18" fmla="*/ 151651 h 284028"/>
                    <a:gd name="csX19" fmla="*/ 14502 w 223106"/>
                    <a:gd name="csY19" fmla="*/ 162536 h 284028"/>
                    <a:gd name="csX20" fmla="*/ 11973 w 223106"/>
                    <a:gd name="csY20" fmla="*/ 171948 h 284028"/>
                    <a:gd name="csX21" fmla="*/ 24299 w 223106"/>
                    <a:gd name="csY21" fmla="*/ 191188 h 284028"/>
                    <a:gd name="csX22" fmla="*/ 19945 w 223106"/>
                    <a:gd name="csY22" fmla="*/ 199512 h 284028"/>
                    <a:gd name="csX23" fmla="*/ 11269 w 223106"/>
                    <a:gd name="csY23" fmla="*/ 202073 h 284028"/>
                    <a:gd name="csX24" fmla="*/ 6179 w 223106"/>
                    <a:gd name="csY24" fmla="*/ 210044 h 284028"/>
                    <a:gd name="csX25" fmla="*/ 13798 w 223106"/>
                    <a:gd name="csY25" fmla="*/ 221281 h 284028"/>
                    <a:gd name="csX26" fmla="*/ 11973 w 223106"/>
                    <a:gd name="csY26" fmla="*/ 242699 h 284028"/>
                    <a:gd name="csX27" fmla="*/ 23210 w 223106"/>
                    <a:gd name="csY27" fmla="*/ 247757 h 284028"/>
                    <a:gd name="csX28" fmla="*/ 21417 w 223106"/>
                    <a:gd name="csY28" fmla="*/ 252847 h 284028"/>
                    <a:gd name="csX29" fmla="*/ 43187 w 223106"/>
                    <a:gd name="csY29" fmla="*/ 261555 h 284028"/>
                    <a:gd name="csX30" fmla="*/ 67102 w 223106"/>
                    <a:gd name="csY30" fmla="*/ 275353 h 284028"/>
                    <a:gd name="csX31" fmla="*/ 93961 w 223106"/>
                    <a:gd name="csY31" fmla="*/ 282236 h 284028"/>
                    <a:gd name="csX32" fmla="*/ 125879 w 223106"/>
                    <a:gd name="csY32" fmla="*/ 280411 h 284028"/>
                    <a:gd name="csX33" fmla="*/ 126616 w 223106"/>
                    <a:gd name="csY33" fmla="*/ 280411 h 284028"/>
                    <a:gd name="csX34" fmla="*/ 163624 w 223106"/>
                    <a:gd name="csY34" fmla="*/ 282973 h 284028"/>
                    <a:gd name="csX35" fmla="*/ 173036 w 223106"/>
                    <a:gd name="csY35" fmla="*/ 284029 h 284028"/>
                    <a:gd name="csX36" fmla="*/ 191893 w 223106"/>
                    <a:gd name="csY36" fmla="*/ 275353 h 284028"/>
                    <a:gd name="csX37" fmla="*/ 222018 w 223106"/>
                    <a:gd name="csY37" fmla="*/ 281500 h 284028"/>
                    <a:gd name="csX38" fmla="*/ 223106 w 223106"/>
                    <a:gd name="csY38" fmla="*/ 230725 h 284028"/>
                    <a:gd name="csX39" fmla="*/ 223106 w 223106"/>
                    <a:gd name="csY39" fmla="*/ 171948 h 284028"/>
                    <a:gd name="csX40" fmla="*/ 216928 w 223106"/>
                    <a:gd name="csY40" fmla="*/ 170507 h 284028"/>
                    <a:gd name="csX41" fmla="*/ 205691 w 223106"/>
                    <a:gd name="csY41" fmla="*/ 178831 h 284028"/>
                    <a:gd name="csX42" fmla="*/ 203866 w 223106"/>
                    <a:gd name="csY42" fmla="*/ 171948 h 284028"/>
                    <a:gd name="csX43" fmla="*/ 190100 w 223106"/>
                    <a:gd name="csY43" fmla="*/ 174861 h 284028"/>
                    <a:gd name="csX44" fmla="*/ 185009 w 223106"/>
                    <a:gd name="csY44" fmla="*/ 180655 h 284028"/>
                    <a:gd name="csX45" fmla="*/ 173036 w 223106"/>
                    <a:gd name="csY45" fmla="*/ 168682 h 284028"/>
                    <a:gd name="csX46" fmla="*/ 156709 w 223106"/>
                    <a:gd name="csY46" fmla="*/ 181744 h 284028"/>
                    <a:gd name="csX47" fmla="*/ 142207 w 223106"/>
                    <a:gd name="csY47" fmla="*/ 185009 h 284028"/>
                    <a:gd name="csX48" fmla="*/ 131674 w 223106"/>
                    <a:gd name="csY48" fmla="*/ 181744 h 284028"/>
                    <a:gd name="csX49" fmla="*/ 132762 w 223106"/>
                    <a:gd name="csY49" fmla="*/ 177390 h 284028"/>
                    <a:gd name="csX50" fmla="*/ 132762 w 223106"/>
                    <a:gd name="csY50" fmla="*/ 176301 h 284028"/>
                    <a:gd name="csX51" fmla="*/ 117908 w 223106"/>
                    <a:gd name="csY51" fmla="*/ 169418 h 284028"/>
                    <a:gd name="csX52" fmla="*/ 96491 w 223106"/>
                    <a:gd name="csY52" fmla="*/ 143647 h 284028"/>
                    <a:gd name="csX53" fmla="*/ 80900 w 223106"/>
                    <a:gd name="csY53" fmla="*/ 129145 h 284028"/>
                    <a:gd name="csX54" fmla="*/ 75809 w 223106"/>
                    <a:gd name="csY54" fmla="*/ 130970 h 284028"/>
                    <a:gd name="csX55" fmla="*/ 64572 w 223106"/>
                    <a:gd name="csY55" fmla="*/ 124055 h 284028"/>
                    <a:gd name="csX56" fmla="*/ 68190 w 223106"/>
                    <a:gd name="csY56" fmla="*/ 115347 h 284028"/>
                    <a:gd name="csX57" fmla="*/ 85254 w 223106"/>
                    <a:gd name="csY57" fmla="*/ 99756 h 284028"/>
                    <a:gd name="csX58" fmla="*/ 85254 w 223106"/>
                    <a:gd name="csY58" fmla="*/ 91048 h 284028"/>
                    <a:gd name="csX59" fmla="*/ 91432 w 223106"/>
                    <a:gd name="csY59" fmla="*/ 88519 h 284028"/>
                    <a:gd name="csX60" fmla="*/ 96491 w 223106"/>
                    <a:gd name="csY60" fmla="*/ 92873 h 284028"/>
                    <a:gd name="csX61" fmla="*/ 101581 w 223106"/>
                    <a:gd name="csY61" fmla="*/ 92137 h 284028"/>
                    <a:gd name="csX62" fmla="*/ 97227 w 223106"/>
                    <a:gd name="csY62" fmla="*/ 91048 h 284028"/>
                    <a:gd name="csX63" fmla="*/ 84517 w 223106"/>
                    <a:gd name="csY63" fmla="*/ 70751 h 284028"/>
                    <a:gd name="csX64" fmla="*/ 91432 w 223106"/>
                    <a:gd name="csY64" fmla="*/ 60955 h 284028"/>
                    <a:gd name="csX65" fmla="*/ 92137 w 223106"/>
                    <a:gd name="csY65" fmla="*/ 48981 h 284028"/>
                    <a:gd name="csX66" fmla="*/ 102317 w 223106"/>
                    <a:gd name="csY66" fmla="*/ 40626 h 284028"/>
                    <a:gd name="csX67" fmla="*/ 106671 w 223106"/>
                    <a:gd name="csY67" fmla="*/ 20681 h 284028"/>
                    <a:gd name="csX68" fmla="*/ 117908 w 223106"/>
                    <a:gd name="csY68" fmla="*/ 11237 h 2840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223106" h="284028">
                      <a:moveTo>
                        <a:pt x="117908" y="11237"/>
                      </a:moveTo>
                      <a:lnTo>
                        <a:pt x="87783" y="0"/>
                      </a:lnTo>
                      <a:lnTo>
                        <a:pt x="84517" y="8708"/>
                      </a:lnTo>
                      <a:lnTo>
                        <a:pt x="67102" y="13062"/>
                      </a:lnTo>
                      <a:lnTo>
                        <a:pt x="64572" y="20681"/>
                      </a:lnTo>
                      <a:lnTo>
                        <a:pt x="58394" y="23210"/>
                      </a:lnTo>
                      <a:lnTo>
                        <a:pt x="52599" y="17415"/>
                      </a:lnTo>
                      <a:lnTo>
                        <a:pt x="43891" y="42099"/>
                      </a:lnTo>
                      <a:lnTo>
                        <a:pt x="51511" y="47509"/>
                      </a:lnTo>
                      <a:lnTo>
                        <a:pt x="52599" y="53336"/>
                      </a:lnTo>
                      <a:lnTo>
                        <a:pt x="41362" y="67838"/>
                      </a:lnTo>
                      <a:lnTo>
                        <a:pt x="39537" y="92137"/>
                      </a:lnTo>
                      <a:lnTo>
                        <a:pt x="26860" y="112818"/>
                      </a:lnTo>
                      <a:lnTo>
                        <a:pt x="19945" y="115347"/>
                      </a:lnTo>
                      <a:lnTo>
                        <a:pt x="21417" y="117908"/>
                      </a:lnTo>
                      <a:lnTo>
                        <a:pt x="2561" y="133499"/>
                      </a:lnTo>
                      <a:lnTo>
                        <a:pt x="6179" y="141118"/>
                      </a:lnTo>
                      <a:lnTo>
                        <a:pt x="6915" y="145472"/>
                      </a:lnTo>
                      <a:lnTo>
                        <a:pt x="0" y="151651"/>
                      </a:lnTo>
                      <a:lnTo>
                        <a:pt x="14502" y="162536"/>
                      </a:lnTo>
                      <a:lnTo>
                        <a:pt x="11973" y="171948"/>
                      </a:lnTo>
                      <a:lnTo>
                        <a:pt x="24299" y="191188"/>
                      </a:lnTo>
                      <a:lnTo>
                        <a:pt x="19945" y="199512"/>
                      </a:lnTo>
                      <a:lnTo>
                        <a:pt x="11269" y="202073"/>
                      </a:lnTo>
                      <a:lnTo>
                        <a:pt x="6179" y="210044"/>
                      </a:lnTo>
                      <a:lnTo>
                        <a:pt x="13798" y="221281"/>
                      </a:lnTo>
                      <a:lnTo>
                        <a:pt x="11973" y="242699"/>
                      </a:lnTo>
                      <a:lnTo>
                        <a:pt x="23210" y="247757"/>
                      </a:lnTo>
                      <a:lnTo>
                        <a:pt x="21417" y="252847"/>
                      </a:lnTo>
                      <a:lnTo>
                        <a:pt x="43187" y="261555"/>
                      </a:lnTo>
                      <a:lnTo>
                        <a:pt x="67102" y="275353"/>
                      </a:lnTo>
                      <a:lnTo>
                        <a:pt x="93961" y="282236"/>
                      </a:lnTo>
                      <a:lnTo>
                        <a:pt x="125879" y="280411"/>
                      </a:lnTo>
                      <a:lnTo>
                        <a:pt x="126616" y="280411"/>
                      </a:lnTo>
                      <a:lnTo>
                        <a:pt x="163624" y="282973"/>
                      </a:lnTo>
                      <a:lnTo>
                        <a:pt x="173036" y="284029"/>
                      </a:lnTo>
                      <a:lnTo>
                        <a:pt x="191893" y="275353"/>
                      </a:lnTo>
                      <a:lnTo>
                        <a:pt x="222018" y="281500"/>
                      </a:lnTo>
                      <a:lnTo>
                        <a:pt x="223106" y="230725"/>
                      </a:lnTo>
                      <a:lnTo>
                        <a:pt x="223106" y="171948"/>
                      </a:lnTo>
                      <a:lnTo>
                        <a:pt x="216928" y="170507"/>
                      </a:lnTo>
                      <a:lnTo>
                        <a:pt x="205691" y="178831"/>
                      </a:lnTo>
                      <a:lnTo>
                        <a:pt x="203866" y="171948"/>
                      </a:lnTo>
                      <a:lnTo>
                        <a:pt x="190100" y="174861"/>
                      </a:lnTo>
                      <a:lnTo>
                        <a:pt x="185009" y="180655"/>
                      </a:lnTo>
                      <a:lnTo>
                        <a:pt x="173036" y="168682"/>
                      </a:lnTo>
                      <a:lnTo>
                        <a:pt x="156709" y="181744"/>
                      </a:lnTo>
                      <a:lnTo>
                        <a:pt x="142207" y="185009"/>
                      </a:lnTo>
                      <a:lnTo>
                        <a:pt x="131674" y="181744"/>
                      </a:lnTo>
                      <a:lnTo>
                        <a:pt x="132762" y="177390"/>
                      </a:lnTo>
                      <a:lnTo>
                        <a:pt x="132762" y="176301"/>
                      </a:lnTo>
                      <a:lnTo>
                        <a:pt x="117908" y="169418"/>
                      </a:lnTo>
                      <a:lnTo>
                        <a:pt x="96491" y="143647"/>
                      </a:lnTo>
                      <a:lnTo>
                        <a:pt x="80900" y="129145"/>
                      </a:lnTo>
                      <a:lnTo>
                        <a:pt x="75809" y="130970"/>
                      </a:lnTo>
                      <a:lnTo>
                        <a:pt x="64572" y="124055"/>
                      </a:lnTo>
                      <a:lnTo>
                        <a:pt x="68190" y="115347"/>
                      </a:lnTo>
                      <a:lnTo>
                        <a:pt x="85254" y="99756"/>
                      </a:lnTo>
                      <a:lnTo>
                        <a:pt x="85254" y="91048"/>
                      </a:lnTo>
                      <a:lnTo>
                        <a:pt x="91432" y="88519"/>
                      </a:lnTo>
                      <a:lnTo>
                        <a:pt x="96491" y="92873"/>
                      </a:lnTo>
                      <a:lnTo>
                        <a:pt x="101581" y="92137"/>
                      </a:lnTo>
                      <a:lnTo>
                        <a:pt x="97227" y="91048"/>
                      </a:lnTo>
                      <a:lnTo>
                        <a:pt x="84517" y="70751"/>
                      </a:lnTo>
                      <a:lnTo>
                        <a:pt x="91432" y="60955"/>
                      </a:lnTo>
                      <a:lnTo>
                        <a:pt x="92137" y="48981"/>
                      </a:lnTo>
                      <a:lnTo>
                        <a:pt x="102317" y="40626"/>
                      </a:lnTo>
                      <a:lnTo>
                        <a:pt x="106671" y="20681"/>
                      </a:lnTo>
                      <a:lnTo>
                        <a:pt x="117908" y="1123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0" name="Forma Livre: Forma 369">
                  <a:extLst>
                    <a:ext uri="{FF2B5EF4-FFF2-40B4-BE49-F238E27FC236}">
                      <a16:creationId xmlns:a16="http://schemas.microsoft.com/office/drawing/2014/main" id="{23BB84ED-5F15-2750-9D9A-9CD8EE4F014E}"/>
                    </a:ext>
                  </a:extLst>
                </p:cNvPr>
                <p:cNvSpPr/>
                <p:nvPr/>
              </p:nvSpPr>
              <p:spPr>
                <a:xfrm>
                  <a:off x="2735776" y="5730174"/>
                  <a:ext cx="223106" cy="284028"/>
                </a:xfrm>
                <a:custGeom>
                  <a:avLst/>
                  <a:gdLst>
                    <a:gd name="csX0" fmla="*/ 117908 w 223106"/>
                    <a:gd name="csY0" fmla="*/ 11237 h 284028"/>
                    <a:gd name="csX1" fmla="*/ 87783 w 223106"/>
                    <a:gd name="csY1" fmla="*/ 0 h 284028"/>
                    <a:gd name="csX2" fmla="*/ 84517 w 223106"/>
                    <a:gd name="csY2" fmla="*/ 8708 h 284028"/>
                    <a:gd name="csX3" fmla="*/ 67102 w 223106"/>
                    <a:gd name="csY3" fmla="*/ 13062 h 284028"/>
                    <a:gd name="csX4" fmla="*/ 64572 w 223106"/>
                    <a:gd name="csY4" fmla="*/ 20681 h 284028"/>
                    <a:gd name="csX5" fmla="*/ 58394 w 223106"/>
                    <a:gd name="csY5" fmla="*/ 23210 h 284028"/>
                    <a:gd name="csX6" fmla="*/ 52599 w 223106"/>
                    <a:gd name="csY6" fmla="*/ 17415 h 284028"/>
                    <a:gd name="csX7" fmla="*/ 43891 w 223106"/>
                    <a:gd name="csY7" fmla="*/ 42099 h 284028"/>
                    <a:gd name="csX8" fmla="*/ 51511 w 223106"/>
                    <a:gd name="csY8" fmla="*/ 47509 h 284028"/>
                    <a:gd name="csX9" fmla="*/ 52599 w 223106"/>
                    <a:gd name="csY9" fmla="*/ 53336 h 284028"/>
                    <a:gd name="csX10" fmla="*/ 41362 w 223106"/>
                    <a:gd name="csY10" fmla="*/ 67838 h 284028"/>
                    <a:gd name="csX11" fmla="*/ 39537 w 223106"/>
                    <a:gd name="csY11" fmla="*/ 92137 h 284028"/>
                    <a:gd name="csX12" fmla="*/ 26860 w 223106"/>
                    <a:gd name="csY12" fmla="*/ 112818 h 284028"/>
                    <a:gd name="csX13" fmla="*/ 19945 w 223106"/>
                    <a:gd name="csY13" fmla="*/ 115347 h 284028"/>
                    <a:gd name="csX14" fmla="*/ 21417 w 223106"/>
                    <a:gd name="csY14" fmla="*/ 117908 h 284028"/>
                    <a:gd name="csX15" fmla="*/ 2561 w 223106"/>
                    <a:gd name="csY15" fmla="*/ 133499 h 284028"/>
                    <a:gd name="csX16" fmla="*/ 6179 w 223106"/>
                    <a:gd name="csY16" fmla="*/ 141118 h 284028"/>
                    <a:gd name="csX17" fmla="*/ 6915 w 223106"/>
                    <a:gd name="csY17" fmla="*/ 145472 h 284028"/>
                    <a:gd name="csX18" fmla="*/ 0 w 223106"/>
                    <a:gd name="csY18" fmla="*/ 151651 h 284028"/>
                    <a:gd name="csX19" fmla="*/ 14502 w 223106"/>
                    <a:gd name="csY19" fmla="*/ 162536 h 284028"/>
                    <a:gd name="csX20" fmla="*/ 11973 w 223106"/>
                    <a:gd name="csY20" fmla="*/ 171948 h 284028"/>
                    <a:gd name="csX21" fmla="*/ 24299 w 223106"/>
                    <a:gd name="csY21" fmla="*/ 191188 h 284028"/>
                    <a:gd name="csX22" fmla="*/ 19945 w 223106"/>
                    <a:gd name="csY22" fmla="*/ 199512 h 284028"/>
                    <a:gd name="csX23" fmla="*/ 11269 w 223106"/>
                    <a:gd name="csY23" fmla="*/ 202073 h 284028"/>
                    <a:gd name="csX24" fmla="*/ 6179 w 223106"/>
                    <a:gd name="csY24" fmla="*/ 210044 h 284028"/>
                    <a:gd name="csX25" fmla="*/ 13798 w 223106"/>
                    <a:gd name="csY25" fmla="*/ 221281 h 284028"/>
                    <a:gd name="csX26" fmla="*/ 11973 w 223106"/>
                    <a:gd name="csY26" fmla="*/ 242699 h 284028"/>
                    <a:gd name="csX27" fmla="*/ 23210 w 223106"/>
                    <a:gd name="csY27" fmla="*/ 247757 h 284028"/>
                    <a:gd name="csX28" fmla="*/ 21417 w 223106"/>
                    <a:gd name="csY28" fmla="*/ 252847 h 284028"/>
                    <a:gd name="csX29" fmla="*/ 43187 w 223106"/>
                    <a:gd name="csY29" fmla="*/ 261555 h 284028"/>
                    <a:gd name="csX30" fmla="*/ 67102 w 223106"/>
                    <a:gd name="csY30" fmla="*/ 275353 h 284028"/>
                    <a:gd name="csX31" fmla="*/ 93961 w 223106"/>
                    <a:gd name="csY31" fmla="*/ 282236 h 284028"/>
                    <a:gd name="csX32" fmla="*/ 125879 w 223106"/>
                    <a:gd name="csY32" fmla="*/ 280411 h 284028"/>
                    <a:gd name="csX33" fmla="*/ 126616 w 223106"/>
                    <a:gd name="csY33" fmla="*/ 280411 h 284028"/>
                    <a:gd name="csX34" fmla="*/ 163624 w 223106"/>
                    <a:gd name="csY34" fmla="*/ 282973 h 284028"/>
                    <a:gd name="csX35" fmla="*/ 173036 w 223106"/>
                    <a:gd name="csY35" fmla="*/ 284029 h 284028"/>
                    <a:gd name="csX36" fmla="*/ 191893 w 223106"/>
                    <a:gd name="csY36" fmla="*/ 275353 h 284028"/>
                    <a:gd name="csX37" fmla="*/ 222018 w 223106"/>
                    <a:gd name="csY37" fmla="*/ 281500 h 284028"/>
                    <a:gd name="csX38" fmla="*/ 223106 w 223106"/>
                    <a:gd name="csY38" fmla="*/ 230725 h 284028"/>
                    <a:gd name="csX39" fmla="*/ 223106 w 223106"/>
                    <a:gd name="csY39" fmla="*/ 171948 h 284028"/>
                    <a:gd name="csX40" fmla="*/ 216928 w 223106"/>
                    <a:gd name="csY40" fmla="*/ 170507 h 284028"/>
                    <a:gd name="csX41" fmla="*/ 205691 w 223106"/>
                    <a:gd name="csY41" fmla="*/ 178831 h 284028"/>
                    <a:gd name="csX42" fmla="*/ 203866 w 223106"/>
                    <a:gd name="csY42" fmla="*/ 171948 h 284028"/>
                    <a:gd name="csX43" fmla="*/ 190100 w 223106"/>
                    <a:gd name="csY43" fmla="*/ 174861 h 284028"/>
                    <a:gd name="csX44" fmla="*/ 185009 w 223106"/>
                    <a:gd name="csY44" fmla="*/ 180655 h 284028"/>
                    <a:gd name="csX45" fmla="*/ 173036 w 223106"/>
                    <a:gd name="csY45" fmla="*/ 168682 h 284028"/>
                    <a:gd name="csX46" fmla="*/ 156709 w 223106"/>
                    <a:gd name="csY46" fmla="*/ 181744 h 284028"/>
                    <a:gd name="csX47" fmla="*/ 142207 w 223106"/>
                    <a:gd name="csY47" fmla="*/ 185009 h 284028"/>
                    <a:gd name="csX48" fmla="*/ 131674 w 223106"/>
                    <a:gd name="csY48" fmla="*/ 181744 h 284028"/>
                    <a:gd name="csX49" fmla="*/ 132762 w 223106"/>
                    <a:gd name="csY49" fmla="*/ 177390 h 284028"/>
                    <a:gd name="csX50" fmla="*/ 132762 w 223106"/>
                    <a:gd name="csY50" fmla="*/ 176301 h 284028"/>
                    <a:gd name="csX51" fmla="*/ 117908 w 223106"/>
                    <a:gd name="csY51" fmla="*/ 169418 h 284028"/>
                    <a:gd name="csX52" fmla="*/ 96491 w 223106"/>
                    <a:gd name="csY52" fmla="*/ 143647 h 284028"/>
                    <a:gd name="csX53" fmla="*/ 80900 w 223106"/>
                    <a:gd name="csY53" fmla="*/ 129145 h 284028"/>
                    <a:gd name="csX54" fmla="*/ 75809 w 223106"/>
                    <a:gd name="csY54" fmla="*/ 130970 h 284028"/>
                    <a:gd name="csX55" fmla="*/ 64572 w 223106"/>
                    <a:gd name="csY55" fmla="*/ 124055 h 284028"/>
                    <a:gd name="csX56" fmla="*/ 68190 w 223106"/>
                    <a:gd name="csY56" fmla="*/ 115347 h 284028"/>
                    <a:gd name="csX57" fmla="*/ 85254 w 223106"/>
                    <a:gd name="csY57" fmla="*/ 99756 h 284028"/>
                    <a:gd name="csX58" fmla="*/ 85254 w 223106"/>
                    <a:gd name="csY58" fmla="*/ 91048 h 284028"/>
                    <a:gd name="csX59" fmla="*/ 91432 w 223106"/>
                    <a:gd name="csY59" fmla="*/ 88519 h 284028"/>
                    <a:gd name="csX60" fmla="*/ 96491 w 223106"/>
                    <a:gd name="csY60" fmla="*/ 92873 h 284028"/>
                    <a:gd name="csX61" fmla="*/ 101581 w 223106"/>
                    <a:gd name="csY61" fmla="*/ 92137 h 284028"/>
                    <a:gd name="csX62" fmla="*/ 97227 w 223106"/>
                    <a:gd name="csY62" fmla="*/ 91048 h 284028"/>
                    <a:gd name="csX63" fmla="*/ 84517 w 223106"/>
                    <a:gd name="csY63" fmla="*/ 70751 h 284028"/>
                    <a:gd name="csX64" fmla="*/ 91432 w 223106"/>
                    <a:gd name="csY64" fmla="*/ 60955 h 284028"/>
                    <a:gd name="csX65" fmla="*/ 92137 w 223106"/>
                    <a:gd name="csY65" fmla="*/ 48981 h 284028"/>
                    <a:gd name="csX66" fmla="*/ 102317 w 223106"/>
                    <a:gd name="csY66" fmla="*/ 40626 h 284028"/>
                    <a:gd name="csX67" fmla="*/ 106671 w 223106"/>
                    <a:gd name="csY67" fmla="*/ 20681 h 284028"/>
                    <a:gd name="csX68" fmla="*/ 117908 w 223106"/>
                    <a:gd name="csY68" fmla="*/ 11237 h 2840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223106" h="284028">
                      <a:moveTo>
                        <a:pt x="117908" y="11237"/>
                      </a:moveTo>
                      <a:lnTo>
                        <a:pt x="87783" y="0"/>
                      </a:lnTo>
                      <a:lnTo>
                        <a:pt x="84517" y="8708"/>
                      </a:lnTo>
                      <a:lnTo>
                        <a:pt x="67102" y="13062"/>
                      </a:lnTo>
                      <a:lnTo>
                        <a:pt x="64572" y="20681"/>
                      </a:lnTo>
                      <a:lnTo>
                        <a:pt x="58394" y="23210"/>
                      </a:lnTo>
                      <a:lnTo>
                        <a:pt x="52599" y="17415"/>
                      </a:lnTo>
                      <a:lnTo>
                        <a:pt x="43891" y="42099"/>
                      </a:lnTo>
                      <a:lnTo>
                        <a:pt x="51511" y="47509"/>
                      </a:lnTo>
                      <a:lnTo>
                        <a:pt x="52599" y="53336"/>
                      </a:lnTo>
                      <a:lnTo>
                        <a:pt x="41362" y="67838"/>
                      </a:lnTo>
                      <a:lnTo>
                        <a:pt x="39537" y="92137"/>
                      </a:lnTo>
                      <a:lnTo>
                        <a:pt x="26860" y="112818"/>
                      </a:lnTo>
                      <a:lnTo>
                        <a:pt x="19945" y="115347"/>
                      </a:lnTo>
                      <a:lnTo>
                        <a:pt x="21417" y="117908"/>
                      </a:lnTo>
                      <a:lnTo>
                        <a:pt x="2561" y="133499"/>
                      </a:lnTo>
                      <a:lnTo>
                        <a:pt x="6179" y="141118"/>
                      </a:lnTo>
                      <a:lnTo>
                        <a:pt x="6915" y="145472"/>
                      </a:lnTo>
                      <a:lnTo>
                        <a:pt x="0" y="151651"/>
                      </a:lnTo>
                      <a:lnTo>
                        <a:pt x="14502" y="162536"/>
                      </a:lnTo>
                      <a:lnTo>
                        <a:pt x="11973" y="171948"/>
                      </a:lnTo>
                      <a:lnTo>
                        <a:pt x="24299" y="191188"/>
                      </a:lnTo>
                      <a:lnTo>
                        <a:pt x="19945" y="199512"/>
                      </a:lnTo>
                      <a:lnTo>
                        <a:pt x="11269" y="202073"/>
                      </a:lnTo>
                      <a:lnTo>
                        <a:pt x="6179" y="210044"/>
                      </a:lnTo>
                      <a:lnTo>
                        <a:pt x="13798" y="221281"/>
                      </a:lnTo>
                      <a:lnTo>
                        <a:pt x="11973" y="242699"/>
                      </a:lnTo>
                      <a:lnTo>
                        <a:pt x="23210" y="247757"/>
                      </a:lnTo>
                      <a:lnTo>
                        <a:pt x="21417" y="252847"/>
                      </a:lnTo>
                      <a:lnTo>
                        <a:pt x="43187" y="261555"/>
                      </a:lnTo>
                      <a:lnTo>
                        <a:pt x="67102" y="275353"/>
                      </a:lnTo>
                      <a:lnTo>
                        <a:pt x="93961" y="282236"/>
                      </a:lnTo>
                      <a:lnTo>
                        <a:pt x="125879" y="280411"/>
                      </a:lnTo>
                      <a:lnTo>
                        <a:pt x="126616" y="280411"/>
                      </a:lnTo>
                      <a:lnTo>
                        <a:pt x="163624" y="282973"/>
                      </a:lnTo>
                      <a:lnTo>
                        <a:pt x="173036" y="284029"/>
                      </a:lnTo>
                      <a:lnTo>
                        <a:pt x="191893" y="275353"/>
                      </a:lnTo>
                      <a:lnTo>
                        <a:pt x="222018" y="281500"/>
                      </a:lnTo>
                      <a:lnTo>
                        <a:pt x="223106" y="230725"/>
                      </a:lnTo>
                      <a:lnTo>
                        <a:pt x="223106" y="171948"/>
                      </a:lnTo>
                      <a:lnTo>
                        <a:pt x="216928" y="170507"/>
                      </a:lnTo>
                      <a:lnTo>
                        <a:pt x="205691" y="178831"/>
                      </a:lnTo>
                      <a:lnTo>
                        <a:pt x="203866" y="171948"/>
                      </a:lnTo>
                      <a:lnTo>
                        <a:pt x="190100" y="174861"/>
                      </a:lnTo>
                      <a:lnTo>
                        <a:pt x="185009" y="180655"/>
                      </a:lnTo>
                      <a:lnTo>
                        <a:pt x="173036" y="168682"/>
                      </a:lnTo>
                      <a:lnTo>
                        <a:pt x="156709" y="181744"/>
                      </a:lnTo>
                      <a:lnTo>
                        <a:pt x="142207" y="185009"/>
                      </a:lnTo>
                      <a:lnTo>
                        <a:pt x="131674" y="181744"/>
                      </a:lnTo>
                      <a:lnTo>
                        <a:pt x="132762" y="177390"/>
                      </a:lnTo>
                      <a:lnTo>
                        <a:pt x="132762" y="176301"/>
                      </a:lnTo>
                      <a:lnTo>
                        <a:pt x="117908" y="169418"/>
                      </a:lnTo>
                      <a:lnTo>
                        <a:pt x="96491" y="143647"/>
                      </a:lnTo>
                      <a:lnTo>
                        <a:pt x="80900" y="129145"/>
                      </a:lnTo>
                      <a:lnTo>
                        <a:pt x="75809" y="130970"/>
                      </a:lnTo>
                      <a:lnTo>
                        <a:pt x="64572" y="124055"/>
                      </a:lnTo>
                      <a:lnTo>
                        <a:pt x="68190" y="115347"/>
                      </a:lnTo>
                      <a:lnTo>
                        <a:pt x="85254" y="99756"/>
                      </a:lnTo>
                      <a:lnTo>
                        <a:pt x="85254" y="91048"/>
                      </a:lnTo>
                      <a:lnTo>
                        <a:pt x="91432" y="88519"/>
                      </a:lnTo>
                      <a:lnTo>
                        <a:pt x="96491" y="92873"/>
                      </a:lnTo>
                      <a:lnTo>
                        <a:pt x="101581" y="92137"/>
                      </a:lnTo>
                      <a:lnTo>
                        <a:pt x="97227" y="91048"/>
                      </a:lnTo>
                      <a:lnTo>
                        <a:pt x="84517" y="70751"/>
                      </a:lnTo>
                      <a:lnTo>
                        <a:pt x="91432" y="60955"/>
                      </a:lnTo>
                      <a:lnTo>
                        <a:pt x="92137" y="48981"/>
                      </a:lnTo>
                      <a:lnTo>
                        <a:pt x="102317" y="40626"/>
                      </a:lnTo>
                      <a:lnTo>
                        <a:pt x="106671" y="20681"/>
                      </a:lnTo>
                      <a:lnTo>
                        <a:pt x="117908" y="1123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1" name="Forma Livre: Forma 370">
                  <a:extLst>
                    <a:ext uri="{FF2B5EF4-FFF2-40B4-BE49-F238E27FC236}">
                      <a16:creationId xmlns:a16="http://schemas.microsoft.com/office/drawing/2014/main" id="{F392673E-5C08-4872-6B12-D410470B00F2}"/>
                    </a:ext>
                  </a:extLst>
                </p:cNvPr>
                <p:cNvSpPr/>
                <p:nvPr/>
              </p:nvSpPr>
              <p:spPr>
                <a:xfrm>
                  <a:off x="2735776" y="5730174"/>
                  <a:ext cx="223106" cy="284028"/>
                </a:xfrm>
                <a:custGeom>
                  <a:avLst/>
                  <a:gdLst>
                    <a:gd name="csX0" fmla="*/ 117908 w 223106"/>
                    <a:gd name="csY0" fmla="*/ 11237 h 284028"/>
                    <a:gd name="csX1" fmla="*/ 87783 w 223106"/>
                    <a:gd name="csY1" fmla="*/ 0 h 284028"/>
                    <a:gd name="csX2" fmla="*/ 84517 w 223106"/>
                    <a:gd name="csY2" fmla="*/ 8708 h 284028"/>
                    <a:gd name="csX3" fmla="*/ 67102 w 223106"/>
                    <a:gd name="csY3" fmla="*/ 13062 h 284028"/>
                    <a:gd name="csX4" fmla="*/ 64572 w 223106"/>
                    <a:gd name="csY4" fmla="*/ 20681 h 284028"/>
                    <a:gd name="csX5" fmla="*/ 58394 w 223106"/>
                    <a:gd name="csY5" fmla="*/ 23210 h 284028"/>
                    <a:gd name="csX6" fmla="*/ 52599 w 223106"/>
                    <a:gd name="csY6" fmla="*/ 17415 h 284028"/>
                    <a:gd name="csX7" fmla="*/ 43891 w 223106"/>
                    <a:gd name="csY7" fmla="*/ 42099 h 284028"/>
                    <a:gd name="csX8" fmla="*/ 51511 w 223106"/>
                    <a:gd name="csY8" fmla="*/ 47509 h 284028"/>
                    <a:gd name="csX9" fmla="*/ 52599 w 223106"/>
                    <a:gd name="csY9" fmla="*/ 53336 h 284028"/>
                    <a:gd name="csX10" fmla="*/ 41362 w 223106"/>
                    <a:gd name="csY10" fmla="*/ 67838 h 284028"/>
                    <a:gd name="csX11" fmla="*/ 39537 w 223106"/>
                    <a:gd name="csY11" fmla="*/ 92137 h 284028"/>
                    <a:gd name="csX12" fmla="*/ 26860 w 223106"/>
                    <a:gd name="csY12" fmla="*/ 112818 h 284028"/>
                    <a:gd name="csX13" fmla="*/ 19945 w 223106"/>
                    <a:gd name="csY13" fmla="*/ 115347 h 284028"/>
                    <a:gd name="csX14" fmla="*/ 21417 w 223106"/>
                    <a:gd name="csY14" fmla="*/ 117908 h 284028"/>
                    <a:gd name="csX15" fmla="*/ 2561 w 223106"/>
                    <a:gd name="csY15" fmla="*/ 133499 h 284028"/>
                    <a:gd name="csX16" fmla="*/ 6179 w 223106"/>
                    <a:gd name="csY16" fmla="*/ 141118 h 284028"/>
                    <a:gd name="csX17" fmla="*/ 6915 w 223106"/>
                    <a:gd name="csY17" fmla="*/ 145472 h 284028"/>
                    <a:gd name="csX18" fmla="*/ 0 w 223106"/>
                    <a:gd name="csY18" fmla="*/ 151651 h 284028"/>
                    <a:gd name="csX19" fmla="*/ 14502 w 223106"/>
                    <a:gd name="csY19" fmla="*/ 162536 h 284028"/>
                    <a:gd name="csX20" fmla="*/ 11973 w 223106"/>
                    <a:gd name="csY20" fmla="*/ 171948 h 284028"/>
                    <a:gd name="csX21" fmla="*/ 24299 w 223106"/>
                    <a:gd name="csY21" fmla="*/ 191188 h 284028"/>
                    <a:gd name="csX22" fmla="*/ 19945 w 223106"/>
                    <a:gd name="csY22" fmla="*/ 199512 h 284028"/>
                    <a:gd name="csX23" fmla="*/ 11269 w 223106"/>
                    <a:gd name="csY23" fmla="*/ 202073 h 284028"/>
                    <a:gd name="csX24" fmla="*/ 6179 w 223106"/>
                    <a:gd name="csY24" fmla="*/ 210044 h 284028"/>
                    <a:gd name="csX25" fmla="*/ 13798 w 223106"/>
                    <a:gd name="csY25" fmla="*/ 221281 h 284028"/>
                    <a:gd name="csX26" fmla="*/ 11973 w 223106"/>
                    <a:gd name="csY26" fmla="*/ 242699 h 284028"/>
                    <a:gd name="csX27" fmla="*/ 23210 w 223106"/>
                    <a:gd name="csY27" fmla="*/ 247757 h 284028"/>
                    <a:gd name="csX28" fmla="*/ 21417 w 223106"/>
                    <a:gd name="csY28" fmla="*/ 252847 h 284028"/>
                    <a:gd name="csX29" fmla="*/ 43187 w 223106"/>
                    <a:gd name="csY29" fmla="*/ 261555 h 284028"/>
                    <a:gd name="csX30" fmla="*/ 67102 w 223106"/>
                    <a:gd name="csY30" fmla="*/ 275353 h 284028"/>
                    <a:gd name="csX31" fmla="*/ 93961 w 223106"/>
                    <a:gd name="csY31" fmla="*/ 282236 h 284028"/>
                    <a:gd name="csX32" fmla="*/ 125879 w 223106"/>
                    <a:gd name="csY32" fmla="*/ 280411 h 284028"/>
                    <a:gd name="csX33" fmla="*/ 126616 w 223106"/>
                    <a:gd name="csY33" fmla="*/ 280411 h 284028"/>
                    <a:gd name="csX34" fmla="*/ 163624 w 223106"/>
                    <a:gd name="csY34" fmla="*/ 282973 h 284028"/>
                    <a:gd name="csX35" fmla="*/ 173036 w 223106"/>
                    <a:gd name="csY35" fmla="*/ 284029 h 284028"/>
                    <a:gd name="csX36" fmla="*/ 191893 w 223106"/>
                    <a:gd name="csY36" fmla="*/ 275353 h 284028"/>
                    <a:gd name="csX37" fmla="*/ 222018 w 223106"/>
                    <a:gd name="csY37" fmla="*/ 281500 h 284028"/>
                    <a:gd name="csX38" fmla="*/ 223106 w 223106"/>
                    <a:gd name="csY38" fmla="*/ 230725 h 284028"/>
                    <a:gd name="csX39" fmla="*/ 223106 w 223106"/>
                    <a:gd name="csY39" fmla="*/ 171948 h 284028"/>
                    <a:gd name="csX40" fmla="*/ 216928 w 223106"/>
                    <a:gd name="csY40" fmla="*/ 170507 h 284028"/>
                    <a:gd name="csX41" fmla="*/ 205691 w 223106"/>
                    <a:gd name="csY41" fmla="*/ 178831 h 284028"/>
                    <a:gd name="csX42" fmla="*/ 203866 w 223106"/>
                    <a:gd name="csY42" fmla="*/ 171948 h 284028"/>
                    <a:gd name="csX43" fmla="*/ 190100 w 223106"/>
                    <a:gd name="csY43" fmla="*/ 174861 h 284028"/>
                    <a:gd name="csX44" fmla="*/ 185009 w 223106"/>
                    <a:gd name="csY44" fmla="*/ 180655 h 284028"/>
                    <a:gd name="csX45" fmla="*/ 173036 w 223106"/>
                    <a:gd name="csY45" fmla="*/ 168682 h 284028"/>
                    <a:gd name="csX46" fmla="*/ 156709 w 223106"/>
                    <a:gd name="csY46" fmla="*/ 181744 h 284028"/>
                    <a:gd name="csX47" fmla="*/ 142207 w 223106"/>
                    <a:gd name="csY47" fmla="*/ 185009 h 284028"/>
                    <a:gd name="csX48" fmla="*/ 131674 w 223106"/>
                    <a:gd name="csY48" fmla="*/ 181744 h 284028"/>
                    <a:gd name="csX49" fmla="*/ 132762 w 223106"/>
                    <a:gd name="csY49" fmla="*/ 177390 h 284028"/>
                    <a:gd name="csX50" fmla="*/ 132762 w 223106"/>
                    <a:gd name="csY50" fmla="*/ 176301 h 284028"/>
                    <a:gd name="csX51" fmla="*/ 117908 w 223106"/>
                    <a:gd name="csY51" fmla="*/ 169418 h 284028"/>
                    <a:gd name="csX52" fmla="*/ 96491 w 223106"/>
                    <a:gd name="csY52" fmla="*/ 143647 h 284028"/>
                    <a:gd name="csX53" fmla="*/ 80900 w 223106"/>
                    <a:gd name="csY53" fmla="*/ 129145 h 284028"/>
                    <a:gd name="csX54" fmla="*/ 75809 w 223106"/>
                    <a:gd name="csY54" fmla="*/ 130970 h 284028"/>
                    <a:gd name="csX55" fmla="*/ 64572 w 223106"/>
                    <a:gd name="csY55" fmla="*/ 124055 h 284028"/>
                    <a:gd name="csX56" fmla="*/ 68190 w 223106"/>
                    <a:gd name="csY56" fmla="*/ 115347 h 284028"/>
                    <a:gd name="csX57" fmla="*/ 85254 w 223106"/>
                    <a:gd name="csY57" fmla="*/ 99756 h 284028"/>
                    <a:gd name="csX58" fmla="*/ 85254 w 223106"/>
                    <a:gd name="csY58" fmla="*/ 91048 h 284028"/>
                    <a:gd name="csX59" fmla="*/ 91432 w 223106"/>
                    <a:gd name="csY59" fmla="*/ 88519 h 284028"/>
                    <a:gd name="csX60" fmla="*/ 96491 w 223106"/>
                    <a:gd name="csY60" fmla="*/ 92873 h 284028"/>
                    <a:gd name="csX61" fmla="*/ 101581 w 223106"/>
                    <a:gd name="csY61" fmla="*/ 92137 h 284028"/>
                    <a:gd name="csX62" fmla="*/ 97227 w 223106"/>
                    <a:gd name="csY62" fmla="*/ 91048 h 284028"/>
                    <a:gd name="csX63" fmla="*/ 84517 w 223106"/>
                    <a:gd name="csY63" fmla="*/ 70751 h 284028"/>
                    <a:gd name="csX64" fmla="*/ 91432 w 223106"/>
                    <a:gd name="csY64" fmla="*/ 60955 h 284028"/>
                    <a:gd name="csX65" fmla="*/ 92137 w 223106"/>
                    <a:gd name="csY65" fmla="*/ 48981 h 284028"/>
                    <a:gd name="csX66" fmla="*/ 102317 w 223106"/>
                    <a:gd name="csY66" fmla="*/ 40626 h 284028"/>
                    <a:gd name="csX67" fmla="*/ 106671 w 223106"/>
                    <a:gd name="csY67" fmla="*/ 20681 h 284028"/>
                    <a:gd name="csX68" fmla="*/ 117908 w 223106"/>
                    <a:gd name="csY68" fmla="*/ 11237 h 2840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223106" h="284028">
                      <a:moveTo>
                        <a:pt x="117908" y="11237"/>
                      </a:moveTo>
                      <a:lnTo>
                        <a:pt x="87783" y="0"/>
                      </a:lnTo>
                      <a:lnTo>
                        <a:pt x="84517" y="8708"/>
                      </a:lnTo>
                      <a:lnTo>
                        <a:pt x="67102" y="13062"/>
                      </a:lnTo>
                      <a:lnTo>
                        <a:pt x="64572" y="20681"/>
                      </a:lnTo>
                      <a:lnTo>
                        <a:pt x="58394" y="23210"/>
                      </a:lnTo>
                      <a:lnTo>
                        <a:pt x="52599" y="17415"/>
                      </a:lnTo>
                      <a:lnTo>
                        <a:pt x="43891" y="42099"/>
                      </a:lnTo>
                      <a:lnTo>
                        <a:pt x="51511" y="47509"/>
                      </a:lnTo>
                      <a:lnTo>
                        <a:pt x="52599" y="53336"/>
                      </a:lnTo>
                      <a:lnTo>
                        <a:pt x="41362" y="67838"/>
                      </a:lnTo>
                      <a:lnTo>
                        <a:pt x="39537" y="92137"/>
                      </a:lnTo>
                      <a:lnTo>
                        <a:pt x="26860" y="112818"/>
                      </a:lnTo>
                      <a:lnTo>
                        <a:pt x="19945" y="115347"/>
                      </a:lnTo>
                      <a:lnTo>
                        <a:pt x="21417" y="117908"/>
                      </a:lnTo>
                      <a:lnTo>
                        <a:pt x="2561" y="133499"/>
                      </a:lnTo>
                      <a:lnTo>
                        <a:pt x="6179" y="141118"/>
                      </a:lnTo>
                      <a:lnTo>
                        <a:pt x="6915" y="145472"/>
                      </a:lnTo>
                      <a:lnTo>
                        <a:pt x="0" y="151651"/>
                      </a:lnTo>
                      <a:lnTo>
                        <a:pt x="14502" y="162536"/>
                      </a:lnTo>
                      <a:lnTo>
                        <a:pt x="11973" y="171948"/>
                      </a:lnTo>
                      <a:lnTo>
                        <a:pt x="24299" y="191188"/>
                      </a:lnTo>
                      <a:lnTo>
                        <a:pt x="19945" y="199512"/>
                      </a:lnTo>
                      <a:lnTo>
                        <a:pt x="11269" y="202073"/>
                      </a:lnTo>
                      <a:lnTo>
                        <a:pt x="6179" y="210044"/>
                      </a:lnTo>
                      <a:lnTo>
                        <a:pt x="13798" y="221281"/>
                      </a:lnTo>
                      <a:lnTo>
                        <a:pt x="11973" y="242699"/>
                      </a:lnTo>
                      <a:lnTo>
                        <a:pt x="23210" y="247757"/>
                      </a:lnTo>
                      <a:lnTo>
                        <a:pt x="21417" y="252847"/>
                      </a:lnTo>
                      <a:lnTo>
                        <a:pt x="43187" y="261555"/>
                      </a:lnTo>
                      <a:lnTo>
                        <a:pt x="67102" y="275353"/>
                      </a:lnTo>
                      <a:lnTo>
                        <a:pt x="93961" y="282236"/>
                      </a:lnTo>
                      <a:lnTo>
                        <a:pt x="125879" y="280411"/>
                      </a:lnTo>
                      <a:lnTo>
                        <a:pt x="126616" y="280411"/>
                      </a:lnTo>
                      <a:lnTo>
                        <a:pt x="163624" y="282973"/>
                      </a:lnTo>
                      <a:lnTo>
                        <a:pt x="173036" y="284029"/>
                      </a:lnTo>
                      <a:lnTo>
                        <a:pt x="191893" y="275353"/>
                      </a:lnTo>
                      <a:lnTo>
                        <a:pt x="222018" y="281500"/>
                      </a:lnTo>
                      <a:lnTo>
                        <a:pt x="223106" y="230725"/>
                      </a:lnTo>
                      <a:lnTo>
                        <a:pt x="223106" y="171948"/>
                      </a:lnTo>
                      <a:lnTo>
                        <a:pt x="216928" y="170507"/>
                      </a:lnTo>
                      <a:lnTo>
                        <a:pt x="205691" y="178831"/>
                      </a:lnTo>
                      <a:lnTo>
                        <a:pt x="203866" y="171948"/>
                      </a:lnTo>
                      <a:lnTo>
                        <a:pt x="190100" y="174861"/>
                      </a:lnTo>
                      <a:lnTo>
                        <a:pt x="185009" y="180655"/>
                      </a:lnTo>
                      <a:lnTo>
                        <a:pt x="173036" y="168682"/>
                      </a:lnTo>
                      <a:lnTo>
                        <a:pt x="156709" y="181744"/>
                      </a:lnTo>
                      <a:lnTo>
                        <a:pt x="142207" y="185009"/>
                      </a:lnTo>
                      <a:lnTo>
                        <a:pt x="131674" y="181744"/>
                      </a:lnTo>
                      <a:lnTo>
                        <a:pt x="132762" y="177390"/>
                      </a:lnTo>
                      <a:lnTo>
                        <a:pt x="132762" y="176301"/>
                      </a:lnTo>
                      <a:lnTo>
                        <a:pt x="117908" y="169418"/>
                      </a:lnTo>
                      <a:lnTo>
                        <a:pt x="96491" y="143647"/>
                      </a:lnTo>
                      <a:lnTo>
                        <a:pt x="80900" y="129145"/>
                      </a:lnTo>
                      <a:lnTo>
                        <a:pt x="75809" y="130970"/>
                      </a:lnTo>
                      <a:lnTo>
                        <a:pt x="64572" y="124055"/>
                      </a:lnTo>
                      <a:lnTo>
                        <a:pt x="68190" y="115347"/>
                      </a:lnTo>
                      <a:lnTo>
                        <a:pt x="85254" y="99756"/>
                      </a:lnTo>
                      <a:lnTo>
                        <a:pt x="85254" y="91048"/>
                      </a:lnTo>
                      <a:lnTo>
                        <a:pt x="91432" y="88519"/>
                      </a:lnTo>
                      <a:lnTo>
                        <a:pt x="96491" y="92873"/>
                      </a:lnTo>
                      <a:lnTo>
                        <a:pt x="101581" y="92137"/>
                      </a:lnTo>
                      <a:lnTo>
                        <a:pt x="97227" y="91048"/>
                      </a:lnTo>
                      <a:lnTo>
                        <a:pt x="84517" y="70751"/>
                      </a:lnTo>
                      <a:lnTo>
                        <a:pt x="91432" y="60955"/>
                      </a:lnTo>
                      <a:lnTo>
                        <a:pt x="92137" y="48981"/>
                      </a:lnTo>
                      <a:lnTo>
                        <a:pt x="102317" y="40626"/>
                      </a:lnTo>
                      <a:lnTo>
                        <a:pt x="106671" y="20681"/>
                      </a:lnTo>
                      <a:lnTo>
                        <a:pt x="117908" y="11237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2" name="Forma Livre: Forma 371">
                  <a:extLst>
                    <a:ext uri="{FF2B5EF4-FFF2-40B4-BE49-F238E27FC236}">
                      <a16:creationId xmlns:a16="http://schemas.microsoft.com/office/drawing/2014/main" id="{36D7F323-8BBC-0F55-C41C-B62C15C6F4C7}"/>
                    </a:ext>
                  </a:extLst>
                </p:cNvPr>
                <p:cNvSpPr/>
                <p:nvPr/>
              </p:nvSpPr>
              <p:spPr>
                <a:xfrm>
                  <a:off x="2735776" y="5730174"/>
                  <a:ext cx="223106" cy="284028"/>
                </a:xfrm>
                <a:custGeom>
                  <a:avLst/>
                  <a:gdLst>
                    <a:gd name="csX0" fmla="*/ 117908 w 223106"/>
                    <a:gd name="csY0" fmla="*/ 11237 h 284028"/>
                    <a:gd name="csX1" fmla="*/ 87783 w 223106"/>
                    <a:gd name="csY1" fmla="*/ 0 h 284028"/>
                    <a:gd name="csX2" fmla="*/ 84517 w 223106"/>
                    <a:gd name="csY2" fmla="*/ 8708 h 284028"/>
                    <a:gd name="csX3" fmla="*/ 67102 w 223106"/>
                    <a:gd name="csY3" fmla="*/ 13062 h 284028"/>
                    <a:gd name="csX4" fmla="*/ 64572 w 223106"/>
                    <a:gd name="csY4" fmla="*/ 20681 h 284028"/>
                    <a:gd name="csX5" fmla="*/ 58394 w 223106"/>
                    <a:gd name="csY5" fmla="*/ 23210 h 284028"/>
                    <a:gd name="csX6" fmla="*/ 52599 w 223106"/>
                    <a:gd name="csY6" fmla="*/ 17415 h 284028"/>
                    <a:gd name="csX7" fmla="*/ 43891 w 223106"/>
                    <a:gd name="csY7" fmla="*/ 42099 h 284028"/>
                    <a:gd name="csX8" fmla="*/ 51511 w 223106"/>
                    <a:gd name="csY8" fmla="*/ 47509 h 284028"/>
                    <a:gd name="csX9" fmla="*/ 52599 w 223106"/>
                    <a:gd name="csY9" fmla="*/ 53336 h 284028"/>
                    <a:gd name="csX10" fmla="*/ 41362 w 223106"/>
                    <a:gd name="csY10" fmla="*/ 67838 h 284028"/>
                    <a:gd name="csX11" fmla="*/ 39537 w 223106"/>
                    <a:gd name="csY11" fmla="*/ 92137 h 284028"/>
                    <a:gd name="csX12" fmla="*/ 26860 w 223106"/>
                    <a:gd name="csY12" fmla="*/ 112818 h 284028"/>
                    <a:gd name="csX13" fmla="*/ 19945 w 223106"/>
                    <a:gd name="csY13" fmla="*/ 115347 h 284028"/>
                    <a:gd name="csX14" fmla="*/ 21417 w 223106"/>
                    <a:gd name="csY14" fmla="*/ 117908 h 284028"/>
                    <a:gd name="csX15" fmla="*/ 2561 w 223106"/>
                    <a:gd name="csY15" fmla="*/ 133499 h 284028"/>
                    <a:gd name="csX16" fmla="*/ 6179 w 223106"/>
                    <a:gd name="csY16" fmla="*/ 141118 h 284028"/>
                    <a:gd name="csX17" fmla="*/ 6915 w 223106"/>
                    <a:gd name="csY17" fmla="*/ 145472 h 284028"/>
                    <a:gd name="csX18" fmla="*/ 0 w 223106"/>
                    <a:gd name="csY18" fmla="*/ 151651 h 284028"/>
                    <a:gd name="csX19" fmla="*/ 14502 w 223106"/>
                    <a:gd name="csY19" fmla="*/ 162536 h 284028"/>
                    <a:gd name="csX20" fmla="*/ 11973 w 223106"/>
                    <a:gd name="csY20" fmla="*/ 171948 h 284028"/>
                    <a:gd name="csX21" fmla="*/ 24299 w 223106"/>
                    <a:gd name="csY21" fmla="*/ 191188 h 284028"/>
                    <a:gd name="csX22" fmla="*/ 19945 w 223106"/>
                    <a:gd name="csY22" fmla="*/ 199512 h 284028"/>
                    <a:gd name="csX23" fmla="*/ 11269 w 223106"/>
                    <a:gd name="csY23" fmla="*/ 202073 h 284028"/>
                    <a:gd name="csX24" fmla="*/ 6179 w 223106"/>
                    <a:gd name="csY24" fmla="*/ 210044 h 284028"/>
                    <a:gd name="csX25" fmla="*/ 13798 w 223106"/>
                    <a:gd name="csY25" fmla="*/ 221281 h 284028"/>
                    <a:gd name="csX26" fmla="*/ 11973 w 223106"/>
                    <a:gd name="csY26" fmla="*/ 242699 h 284028"/>
                    <a:gd name="csX27" fmla="*/ 23210 w 223106"/>
                    <a:gd name="csY27" fmla="*/ 247757 h 284028"/>
                    <a:gd name="csX28" fmla="*/ 21417 w 223106"/>
                    <a:gd name="csY28" fmla="*/ 252847 h 284028"/>
                    <a:gd name="csX29" fmla="*/ 43187 w 223106"/>
                    <a:gd name="csY29" fmla="*/ 261555 h 284028"/>
                    <a:gd name="csX30" fmla="*/ 67102 w 223106"/>
                    <a:gd name="csY30" fmla="*/ 275353 h 284028"/>
                    <a:gd name="csX31" fmla="*/ 93961 w 223106"/>
                    <a:gd name="csY31" fmla="*/ 282236 h 284028"/>
                    <a:gd name="csX32" fmla="*/ 125879 w 223106"/>
                    <a:gd name="csY32" fmla="*/ 280411 h 284028"/>
                    <a:gd name="csX33" fmla="*/ 126616 w 223106"/>
                    <a:gd name="csY33" fmla="*/ 280411 h 284028"/>
                    <a:gd name="csX34" fmla="*/ 163624 w 223106"/>
                    <a:gd name="csY34" fmla="*/ 282973 h 284028"/>
                    <a:gd name="csX35" fmla="*/ 173036 w 223106"/>
                    <a:gd name="csY35" fmla="*/ 284029 h 284028"/>
                    <a:gd name="csX36" fmla="*/ 191893 w 223106"/>
                    <a:gd name="csY36" fmla="*/ 275353 h 284028"/>
                    <a:gd name="csX37" fmla="*/ 222018 w 223106"/>
                    <a:gd name="csY37" fmla="*/ 281500 h 284028"/>
                    <a:gd name="csX38" fmla="*/ 223106 w 223106"/>
                    <a:gd name="csY38" fmla="*/ 230725 h 284028"/>
                    <a:gd name="csX39" fmla="*/ 223106 w 223106"/>
                    <a:gd name="csY39" fmla="*/ 171948 h 284028"/>
                    <a:gd name="csX40" fmla="*/ 216928 w 223106"/>
                    <a:gd name="csY40" fmla="*/ 170507 h 284028"/>
                    <a:gd name="csX41" fmla="*/ 205691 w 223106"/>
                    <a:gd name="csY41" fmla="*/ 178831 h 284028"/>
                    <a:gd name="csX42" fmla="*/ 203866 w 223106"/>
                    <a:gd name="csY42" fmla="*/ 171948 h 284028"/>
                    <a:gd name="csX43" fmla="*/ 190100 w 223106"/>
                    <a:gd name="csY43" fmla="*/ 174861 h 284028"/>
                    <a:gd name="csX44" fmla="*/ 185009 w 223106"/>
                    <a:gd name="csY44" fmla="*/ 180655 h 284028"/>
                    <a:gd name="csX45" fmla="*/ 173036 w 223106"/>
                    <a:gd name="csY45" fmla="*/ 168682 h 284028"/>
                    <a:gd name="csX46" fmla="*/ 156709 w 223106"/>
                    <a:gd name="csY46" fmla="*/ 181744 h 284028"/>
                    <a:gd name="csX47" fmla="*/ 142207 w 223106"/>
                    <a:gd name="csY47" fmla="*/ 185009 h 284028"/>
                    <a:gd name="csX48" fmla="*/ 131674 w 223106"/>
                    <a:gd name="csY48" fmla="*/ 181744 h 284028"/>
                    <a:gd name="csX49" fmla="*/ 132762 w 223106"/>
                    <a:gd name="csY49" fmla="*/ 177390 h 284028"/>
                    <a:gd name="csX50" fmla="*/ 132762 w 223106"/>
                    <a:gd name="csY50" fmla="*/ 176301 h 284028"/>
                    <a:gd name="csX51" fmla="*/ 117908 w 223106"/>
                    <a:gd name="csY51" fmla="*/ 169418 h 284028"/>
                    <a:gd name="csX52" fmla="*/ 96491 w 223106"/>
                    <a:gd name="csY52" fmla="*/ 143647 h 284028"/>
                    <a:gd name="csX53" fmla="*/ 80900 w 223106"/>
                    <a:gd name="csY53" fmla="*/ 129145 h 284028"/>
                    <a:gd name="csX54" fmla="*/ 75809 w 223106"/>
                    <a:gd name="csY54" fmla="*/ 130970 h 284028"/>
                    <a:gd name="csX55" fmla="*/ 64572 w 223106"/>
                    <a:gd name="csY55" fmla="*/ 124055 h 284028"/>
                    <a:gd name="csX56" fmla="*/ 68190 w 223106"/>
                    <a:gd name="csY56" fmla="*/ 115347 h 284028"/>
                    <a:gd name="csX57" fmla="*/ 85254 w 223106"/>
                    <a:gd name="csY57" fmla="*/ 99756 h 284028"/>
                    <a:gd name="csX58" fmla="*/ 85254 w 223106"/>
                    <a:gd name="csY58" fmla="*/ 91048 h 284028"/>
                    <a:gd name="csX59" fmla="*/ 91432 w 223106"/>
                    <a:gd name="csY59" fmla="*/ 88519 h 284028"/>
                    <a:gd name="csX60" fmla="*/ 96491 w 223106"/>
                    <a:gd name="csY60" fmla="*/ 92873 h 284028"/>
                    <a:gd name="csX61" fmla="*/ 101581 w 223106"/>
                    <a:gd name="csY61" fmla="*/ 92137 h 284028"/>
                    <a:gd name="csX62" fmla="*/ 97227 w 223106"/>
                    <a:gd name="csY62" fmla="*/ 91048 h 284028"/>
                    <a:gd name="csX63" fmla="*/ 84517 w 223106"/>
                    <a:gd name="csY63" fmla="*/ 70751 h 284028"/>
                    <a:gd name="csX64" fmla="*/ 91432 w 223106"/>
                    <a:gd name="csY64" fmla="*/ 60955 h 284028"/>
                    <a:gd name="csX65" fmla="*/ 92137 w 223106"/>
                    <a:gd name="csY65" fmla="*/ 48981 h 284028"/>
                    <a:gd name="csX66" fmla="*/ 102317 w 223106"/>
                    <a:gd name="csY66" fmla="*/ 40626 h 284028"/>
                    <a:gd name="csX67" fmla="*/ 106671 w 223106"/>
                    <a:gd name="csY67" fmla="*/ 20681 h 284028"/>
                    <a:gd name="csX68" fmla="*/ 117908 w 223106"/>
                    <a:gd name="csY68" fmla="*/ 11237 h 2840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</a:cxnLst>
                  <a:rect l="l" t="t" r="r" b="b"/>
                  <a:pathLst>
                    <a:path w="223106" h="284028">
                      <a:moveTo>
                        <a:pt x="117908" y="11237"/>
                      </a:moveTo>
                      <a:lnTo>
                        <a:pt x="87783" y="0"/>
                      </a:lnTo>
                      <a:lnTo>
                        <a:pt x="84517" y="8708"/>
                      </a:lnTo>
                      <a:lnTo>
                        <a:pt x="67102" y="13062"/>
                      </a:lnTo>
                      <a:lnTo>
                        <a:pt x="64572" y="20681"/>
                      </a:lnTo>
                      <a:lnTo>
                        <a:pt x="58394" y="23210"/>
                      </a:lnTo>
                      <a:lnTo>
                        <a:pt x="52599" y="17415"/>
                      </a:lnTo>
                      <a:lnTo>
                        <a:pt x="43891" y="42099"/>
                      </a:lnTo>
                      <a:lnTo>
                        <a:pt x="51511" y="47509"/>
                      </a:lnTo>
                      <a:lnTo>
                        <a:pt x="52599" y="53336"/>
                      </a:lnTo>
                      <a:lnTo>
                        <a:pt x="41362" y="67838"/>
                      </a:lnTo>
                      <a:lnTo>
                        <a:pt x="39537" y="92137"/>
                      </a:lnTo>
                      <a:lnTo>
                        <a:pt x="26860" y="112818"/>
                      </a:lnTo>
                      <a:lnTo>
                        <a:pt x="19945" y="115347"/>
                      </a:lnTo>
                      <a:lnTo>
                        <a:pt x="21417" y="117908"/>
                      </a:lnTo>
                      <a:lnTo>
                        <a:pt x="2561" y="133499"/>
                      </a:lnTo>
                      <a:lnTo>
                        <a:pt x="6179" y="141118"/>
                      </a:lnTo>
                      <a:lnTo>
                        <a:pt x="6915" y="145472"/>
                      </a:lnTo>
                      <a:lnTo>
                        <a:pt x="0" y="151651"/>
                      </a:lnTo>
                      <a:lnTo>
                        <a:pt x="14502" y="162536"/>
                      </a:lnTo>
                      <a:lnTo>
                        <a:pt x="11973" y="171948"/>
                      </a:lnTo>
                      <a:lnTo>
                        <a:pt x="24299" y="191188"/>
                      </a:lnTo>
                      <a:lnTo>
                        <a:pt x="19945" y="199512"/>
                      </a:lnTo>
                      <a:lnTo>
                        <a:pt x="11269" y="202073"/>
                      </a:lnTo>
                      <a:lnTo>
                        <a:pt x="6179" y="210044"/>
                      </a:lnTo>
                      <a:lnTo>
                        <a:pt x="13798" y="221281"/>
                      </a:lnTo>
                      <a:lnTo>
                        <a:pt x="11973" y="242699"/>
                      </a:lnTo>
                      <a:lnTo>
                        <a:pt x="23210" y="247757"/>
                      </a:lnTo>
                      <a:lnTo>
                        <a:pt x="21417" y="252847"/>
                      </a:lnTo>
                      <a:lnTo>
                        <a:pt x="43187" y="261555"/>
                      </a:lnTo>
                      <a:lnTo>
                        <a:pt x="67102" y="275353"/>
                      </a:lnTo>
                      <a:lnTo>
                        <a:pt x="93961" y="282236"/>
                      </a:lnTo>
                      <a:lnTo>
                        <a:pt x="125879" y="280411"/>
                      </a:lnTo>
                      <a:lnTo>
                        <a:pt x="126616" y="280411"/>
                      </a:lnTo>
                      <a:lnTo>
                        <a:pt x="163624" y="282973"/>
                      </a:lnTo>
                      <a:lnTo>
                        <a:pt x="173036" y="284029"/>
                      </a:lnTo>
                      <a:lnTo>
                        <a:pt x="191893" y="275353"/>
                      </a:lnTo>
                      <a:lnTo>
                        <a:pt x="222018" y="281500"/>
                      </a:lnTo>
                      <a:lnTo>
                        <a:pt x="223106" y="230725"/>
                      </a:lnTo>
                      <a:lnTo>
                        <a:pt x="223106" y="171948"/>
                      </a:lnTo>
                      <a:lnTo>
                        <a:pt x="216928" y="170507"/>
                      </a:lnTo>
                      <a:lnTo>
                        <a:pt x="205691" y="178831"/>
                      </a:lnTo>
                      <a:lnTo>
                        <a:pt x="203866" y="171948"/>
                      </a:lnTo>
                      <a:lnTo>
                        <a:pt x="190100" y="174861"/>
                      </a:lnTo>
                      <a:lnTo>
                        <a:pt x="185009" y="180655"/>
                      </a:lnTo>
                      <a:lnTo>
                        <a:pt x="173036" y="168682"/>
                      </a:lnTo>
                      <a:lnTo>
                        <a:pt x="156709" y="181744"/>
                      </a:lnTo>
                      <a:lnTo>
                        <a:pt x="142207" y="185009"/>
                      </a:lnTo>
                      <a:lnTo>
                        <a:pt x="131674" y="181744"/>
                      </a:lnTo>
                      <a:lnTo>
                        <a:pt x="132762" y="177390"/>
                      </a:lnTo>
                      <a:lnTo>
                        <a:pt x="132762" y="176301"/>
                      </a:lnTo>
                      <a:lnTo>
                        <a:pt x="117908" y="169418"/>
                      </a:lnTo>
                      <a:lnTo>
                        <a:pt x="96491" y="143647"/>
                      </a:lnTo>
                      <a:lnTo>
                        <a:pt x="80900" y="129145"/>
                      </a:lnTo>
                      <a:lnTo>
                        <a:pt x="75809" y="130970"/>
                      </a:lnTo>
                      <a:lnTo>
                        <a:pt x="64572" y="124055"/>
                      </a:lnTo>
                      <a:lnTo>
                        <a:pt x="68190" y="115347"/>
                      </a:lnTo>
                      <a:lnTo>
                        <a:pt x="85254" y="99756"/>
                      </a:lnTo>
                      <a:lnTo>
                        <a:pt x="85254" y="91048"/>
                      </a:lnTo>
                      <a:lnTo>
                        <a:pt x="91432" y="88519"/>
                      </a:lnTo>
                      <a:lnTo>
                        <a:pt x="96491" y="92873"/>
                      </a:lnTo>
                      <a:lnTo>
                        <a:pt x="101581" y="92137"/>
                      </a:lnTo>
                      <a:lnTo>
                        <a:pt x="97227" y="91048"/>
                      </a:lnTo>
                      <a:lnTo>
                        <a:pt x="84517" y="70751"/>
                      </a:lnTo>
                      <a:lnTo>
                        <a:pt x="91432" y="60955"/>
                      </a:lnTo>
                      <a:lnTo>
                        <a:pt x="92137" y="48981"/>
                      </a:lnTo>
                      <a:lnTo>
                        <a:pt x="102317" y="40626"/>
                      </a:lnTo>
                      <a:lnTo>
                        <a:pt x="106671" y="20681"/>
                      </a:lnTo>
                      <a:lnTo>
                        <a:pt x="117908" y="11237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3" name="Forma Livre: Forma 372">
                  <a:extLst>
                    <a:ext uri="{FF2B5EF4-FFF2-40B4-BE49-F238E27FC236}">
                      <a16:creationId xmlns:a16="http://schemas.microsoft.com/office/drawing/2014/main" id="{47D4F944-CED8-D5DA-584D-1C6A14FDF214}"/>
                    </a:ext>
                  </a:extLst>
                </p:cNvPr>
                <p:cNvSpPr/>
                <p:nvPr/>
              </p:nvSpPr>
              <p:spPr>
                <a:xfrm>
                  <a:off x="3056813" y="4757266"/>
                  <a:ext cx="503517" cy="433502"/>
                </a:xfrm>
                <a:custGeom>
                  <a:avLst/>
                  <a:gdLst>
                    <a:gd name="csX0" fmla="*/ 404498 w 503517"/>
                    <a:gd name="csY0" fmla="*/ 12710 h 433502"/>
                    <a:gd name="csX1" fmla="*/ 400144 w 503517"/>
                    <a:gd name="csY1" fmla="*/ 736 h 433502"/>
                    <a:gd name="csX2" fmla="*/ 383817 w 503517"/>
                    <a:gd name="csY2" fmla="*/ 0 h 433502"/>
                    <a:gd name="csX3" fmla="*/ 383817 w 503517"/>
                    <a:gd name="csY3" fmla="*/ 9444 h 433502"/>
                    <a:gd name="csX4" fmla="*/ 361663 w 503517"/>
                    <a:gd name="csY4" fmla="*/ 22122 h 433502"/>
                    <a:gd name="csX5" fmla="*/ 355517 w 503517"/>
                    <a:gd name="csY5" fmla="*/ 23210 h 433502"/>
                    <a:gd name="csX6" fmla="*/ 349338 w 503517"/>
                    <a:gd name="csY6" fmla="*/ 13798 h 433502"/>
                    <a:gd name="csX7" fmla="*/ 321774 w 503517"/>
                    <a:gd name="csY7" fmla="*/ 20681 h 433502"/>
                    <a:gd name="csX8" fmla="*/ 316683 w 503517"/>
                    <a:gd name="csY8" fmla="*/ 56601 h 433502"/>
                    <a:gd name="csX9" fmla="*/ 293473 w 503517"/>
                    <a:gd name="csY9" fmla="*/ 47157 h 433502"/>
                    <a:gd name="csX10" fmla="*/ 294210 w 503517"/>
                    <a:gd name="csY10" fmla="*/ 54776 h 433502"/>
                    <a:gd name="csX11" fmla="*/ 287679 w 503517"/>
                    <a:gd name="csY11" fmla="*/ 62748 h 433502"/>
                    <a:gd name="csX12" fmla="*/ 290944 w 503517"/>
                    <a:gd name="csY12" fmla="*/ 68574 h 433502"/>
                    <a:gd name="csX13" fmla="*/ 285854 w 503517"/>
                    <a:gd name="csY13" fmla="*/ 69663 h 433502"/>
                    <a:gd name="csX14" fmla="*/ 277146 w 503517"/>
                    <a:gd name="csY14" fmla="*/ 60218 h 433502"/>
                    <a:gd name="csX15" fmla="*/ 264084 w 503517"/>
                    <a:gd name="csY15" fmla="*/ 56601 h 433502"/>
                    <a:gd name="csX16" fmla="*/ 258290 w 503517"/>
                    <a:gd name="csY16" fmla="*/ 60955 h 433502"/>
                    <a:gd name="csX17" fmla="*/ 246317 w 503517"/>
                    <a:gd name="csY17" fmla="*/ 54040 h 433502"/>
                    <a:gd name="csX18" fmla="*/ 238345 w 503517"/>
                    <a:gd name="csY18" fmla="*/ 58394 h 433502"/>
                    <a:gd name="csX19" fmla="*/ 230726 w 503517"/>
                    <a:gd name="csY19" fmla="*/ 56601 h 433502"/>
                    <a:gd name="csX20" fmla="*/ 222018 w 503517"/>
                    <a:gd name="csY20" fmla="*/ 49686 h 433502"/>
                    <a:gd name="csX21" fmla="*/ 205691 w 503517"/>
                    <a:gd name="csY21" fmla="*/ 32654 h 433502"/>
                    <a:gd name="csX22" fmla="*/ 206427 w 503517"/>
                    <a:gd name="csY22" fmla="*/ 19593 h 433502"/>
                    <a:gd name="csX23" fmla="*/ 196246 w 503517"/>
                    <a:gd name="csY23" fmla="*/ 28301 h 433502"/>
                    <a:gd name="csX24" fmla="*/ 207515 w 503517"/>
                    <a:gd name="csY24" fmla="*/ 62748 h 433502"/>
                    <a:gd name="csX25" fmla="*/ 196246 w 503517"/>
                    <a:gd name="csY25" fmla="*/ 76546 h 433502"/>
                    <a:gd name="csX26" fmla="*/ 203866 w 503517"/>
                    <a:gd name="csY26" fmla="*/ 84901 h 433502"/>
                    <a:gd name="csX27" fmla="*/ 190100 w 503517"/>
                    <a:gd name="csY27" fmla="*/ 111729 h 433502"/>
                    <a:gd name="csX28" fmla="*/ 179951 w 503517"/>
                    <a:gd name="csY28" fmla="*/ 117908 h 433502"/>
                    <a:gd name="csX29" fmla="*/ 175597 w 503517"/>
                    <a:gd name="csY29" fmla="*/ 128793 h 433502"/>
                    <a:gd name="csX30" fmla="*/ 169419 w 503517"/>
                    <a:gd name="csY30" fmla="*/ 136764 h 433502"/>
                    <a:gd name="csX31" fmla="*/ 177390 w 503517"/>
                    <a:gd name="csY31" fmla="*/ 139293 h 433502"/>
                    <a:gd name="csX32" fmla="*/ 184305 w 503517"/>
                    <a:gd name="csY32" fmla="*/ 161799 h 433502"/>
                    <a:gd name="csX33" fmla="*/ 198808 w 503517"/>
                    <a:gd name="csY33" fmla="*/ 166857 h 433502"/>
                    <a:gd name="csX34" fmla="*/ 198808 w 503517"/>
                    <a:gd name="csY34" fmla="*/ 180655 h 433502"/>
                    <a:gd name="csX35" fmla="*/ 210045 w 503517"/>
                    <a:gd name="csY35" fmla="*/ 185009 h 433502"/>
                    <a:gd name="csX36" fmla="*/ 196246 w 503517"/>
                    <a:gd name="csY36" fmla="*/ 197687 h 433502"/>
                    <a:gd name="csX37" fmla="*/ 191188 w 503517"/>
                    <a:gd name="csY37" fmla="*/ 195158 h 433502"/>
                    <a:gd name="csX38" fmla="*/ 182480 w 503517"/>
                    <a:gd name="csY38" fmla="*/ 207131 h 433502"/>
                    <a:gd name="csX39" fmla="*/ 171243 w 503517"/>
                    <a:gd name="csY39" fmla="*/ 214014 h 433502"/>
                    <a:gd name="csX40" fmla="*/ 162536 w 503517"/>
                    <a:gd name="csY40" fmla="*/ 207131 h 433502"/>
                    <a:gd name="csX41" fmla="*/ 161063 w 503517"/>
                    <a:gd name="csY41" fmla="*/ 218368 h 433502"/>
                    <a:gd name="csX42" fmla="*/ 154180 w 503517"/>
                    <a:gd name="csY42" fmla="*/ 218368 h 433502"/>
                    <a:gd name="csX43" fmla="*/ 146208 w 503517"/>
                    <a:gd name="csY43" fmla="*/ 195158 h 433502"/>
                    <a:gd name="csX44" fmla="*/ 138589 w 503517"/>
                    <a:gd name="csY44" fmla="*/ 192629 h 433502"/>
                    <a:gd name="csX45" fmla="*/ 128441 w 503517"/>
                    <a:gd name="csY45" fmla="*/ 193365 h 433502"/>
                    <a:gd name="csX46" fmla="*/ 120437 w 503517"/>
                    <a:gd name="csY46" fmla="*/ 187539 h 433502"/>
                    <a:gd name="csX47" fmla="*/ 105935 w 503517"/>
                    <a:gd name="csY47" fmla="*/ 196983 h 433502"/>
                    <a:gd name="csX48" fmla="*/ 104110 w 503517"/>
                    <a:gd name="csY48" fmla="*/ 203866 h 433502"/>
                    <a:gd name="csX49" fmla="*/ 105935 w 503517"/>
                    <a:gd name="csY49" fmla="*/ 208956 h 433502"/>
                    <a:gd name="csX50" fmla="*/ 99756 w 503517"/>
                    <a:gd name="csY50" fmla="*/ 214014 h 433502"/>
                    <a:gd name="csX51" fmla="*/ 105198 w 503517"/>
                    <a:gd name="csY51" fmla="*/ 228901 h 433502"/>
                    <a:gd name="csX52" fmla="*/ 98315 w 503517"/>
                    <a:gd name="csY52" fmla="*/ 231430 h 433502"/>
                    <a:gd name="csX53" fmla="*/ 99756 w 503517"/>
                    <a:gd name="csY53" fmla="*/ 239786 h 433502"/>
                    <a:gd name="csX54" fmla="*/ 92873 w 503517"/>
                    <a:gd name="csY54" fmla="*/ 246669 h 433502"/>
                    <a:gd name="csX55" fmla="*/ 92873 w 503517"/>
                    <a:gd name="csY55" fmla="*/ 256113 h 433502"/>
                    <a:gd name="csX56" fmla="*/ 77634 w 503517"/>
                    <a:gd name="csY56" fmla="*/ 264820 h 433502"/>
                    <a:gd name="csX57" fmla="*/ 61307 w 503517"/>
                    <a:gd name="csY57" fmla="*/ 262259 h 433502"/>
                    <a:gd name="csX58" fmla="*/ 58426 w 503517"/>
                    <a:gd name="csY58" fmla="*/ 267350 h 433502"/>
                    <a:gd name="csX59" fmla="*/ 54424 w 503517"/>
                    <a:gd name="csY59" fmla="*/ 265909 h 433502"/>
                    <a:gd name="csX60" fmla="*/ 48245 w 503517"/>
                    <a:gd name="csY60" fmla="*/ 279323 h 433502"/>
                    <a:gd name="csX61" fmla="*/ 34479 w 503517"/>
                    <a:gd name="csY61" fmla="*/ 286206 h 433502"/>
                    <a:gd name="csX62" fmla="*/ 11269 w 503517"/>
                    <a:gd name="csY62" fmla="*/ 308712 h 433502"/>
                    <a:gd name="csX63" fmla="*/ 0 w 503517"/>
                    <a:gd name="csY63" fmla="*/ 306151 h 433502"/>
                    <a:gd name="csX64" fmla="*/ 3650 w 503517"/>
                    <a:gd name="csY64" fmla="*/ 311241 h 433502"/>
                    <a:gd name="csX65" fmla="*/ 15623 w 503517"/>
                    <a:gd name="csY65" fmla="*/ 324303 h 433502"/>
                    <a:gd name="csX66" fmla="*/ 41362 w 503517"/>
                    <a:gd name="csY66" fmla="*/ 315595 h 433502"/>
                    <a:gd name="csX67" fmla="*/ 81636 w 503517"/>
                    <a:gd name="csY67" fmla="*/ 323214 h 433502"/>
                    <a:gd name="csX68" fmla="*/ 96491 w 503517"/>
                    <a:gd name="csY68" fmla="*/ 323214 h 433502"/>
                    <a:gd name="csX69" fmla="*/ 110289 w 503517"/>
                    <a:gd name="csY69" fmla="*/ 341366 h 433502"/>
                    <a:gd name="csX70" fmla="*/ 124087 w 503517"/>
                    <a:gd name="csY70" fmla="*/ 346425 h 433502"/>
                    <a:gd name="csX71" fmla="*/ 119733 w 503517"/>
                    <a:gd name="csY71" fmla="*/ 352603 h 433502"/>
                    <a:gd name="csX72" fmla="*/ 120437 w 503517"/>
                    <a:gd name="csY72" fmla="*/ 363136 h 433502"/>
                    <a:gd name="csX73" fmla="*/ 127352 w 503517"/>
                    <a:gd name="csY73" fmla="*/ 360223 h 433502"/>
                    <a:gd name="csX74" fmla="*/ 129881 w 503517"/>
                    <a:gd name="csY74" fmla="*/ 364576 h 433502"/>
                    <a:gd name="csX75" fmla="*/ 135324 w 503517"/>
                    <a:gd name="csY75" fmla="*/ 357693 h 433502"/>
                    <a:gd name="csX76" fmla="*/ 154916 w 503517"/>
                    <a:gd name="csY76" fmla="*/ 363840 h 433502"/>
                    <a:gd name="csX77" fmla="*/ 159270 w 503517"/>
                    <a:gd name="csY77" fmla="*/ 361311 h 433502"/>
                    <a:gd name="csX78" fmla="*/ 158534 w 503517"/>
                    <a:gd name="csY78" fmla="*/ 368930 h 433502"/>
                    <a:gd name="csX79" fmla="*/ 171243 w 503517"/>
                    <a:gd name="csY79" fmla="*/ 376550 h 433502"/>
                    <a:gd name="csX80" fmla="*/ 168682 w 503517"/>
                    <a:gd name="csY80" fmla="*/ 386346 h 433502"/>
                    <a:gd name="csX81" fmla="*/ 183217 w 503517"/>
                    <a:gd name="csY81" fmla="*/ 393965 h 433502"/>
                    <a:gd name="csX82" fmla="*/ 183217 w 503517"/>
                    <a:gd name="csY82" fmla="*/ 399760 h 433502"/>
                    <a:gd name="csX83" fmla="*/ 190100 w 503517"/>
                    <a:gd name="csY83" fmla="*/ 408468 h 433502"/>
                    <a:gd name="csX84" fmla="*/ 209308 w 503517"/>
                    <a:gd name="csY84" fmla="*/ 395758 h 433502"/>
                    <a:gd name="csX85" fmla="*/ 210781 w 503517"/>
                    <a:gd name="csY85" fmla="*/ 398319 h 433502"/>
                    <a:gd name="csX86" fmla="*/ 215135 w 503517"/>
                    <a:gd name="csY86" fmla="*/ 406643 h 433502"/>
                    <a:gd name="csX87" fmla="*/ 209308 w 503517"/>
                    <a:gd name="csY87" fmla="*/ 420441 h 433502"/>
                    <a:gd name="csX88" fmla="*/ 212574 w 503517"/>
                    <a:gd name="csY88" fmla="*/ 433503 h 433502"/>
                    <a:gd name="csX89" fmla="*/ 224547 w 503517"/>
                    <a:gd name="csY89" fmla="*/ 429149 h 433502"/>
                    <a:gd name="csX90" fmla="*/ 259026 w 503517"/>
                    <a:gd name="csY90" fmla="*/ 430942 h 433502"/>
                    <a:gd name="csX91" fmla="*/ 295298 w 503517"/>
                    <a:gd name="csY91" fmla="*/ 409556 h 433502"/>
                    <a:gd name="csX92" fmla="*/ 301093 w 503517"/>
                    <a:gd name="csY92" fmla="*/ 399024 h 433502"/>
                    <a:gd name="csX93" fmla="*/ 336660 w 503517"/>
                    <a:gd name="csY93" fmla="*/ 375077 h 433502"/>
                    <a:gd name="csX94" fmla="*/ 341014 w 503517"/>
                    <a:gd name="csY94" fmla="*/ 387050 h 433502"/>
                    <a:gd name="csX95" fmla="*/ 342455 w 503517"/>
                    <a:gd name="csY95" fmla="*/ 388875 h 433502"/>
                    <a:gd name="csX96" fmla="*/ 346809 w 503517"/>
                    <a:gd name="csY96" fmla="*/ 390316 h 433502"/>
                    <a:gd name="csX97" fmla="*/ 351867 w 503517"/>
                    <a:gd name="csY97" fmla="*/ 381992 h 433502"/>
                    <a:gd name="csX98" fmla="*/ 361663 w 503517"/>
                    <a:gd name="csY98" fmla="*/ 382696 h 433502"/>
                    <a:gd name="csX99" fmla="*/ 383081 w 503517"/>
                    <a:gd name="csY99" fmla="*/ 363136 h 433502"/>
                    <a:gd name="csX100" fmla="*/ 387435 w 503517"/>
                    <a:gd name="csY100" fmla="*/ 367106 h 433502"/>
                    <a:gd name="csX101" fmla="*/ 415735 w 503517"/>
                    <a:gd name="csY101" fmla="*/ 371460 h 433502"/>
                    <a:gd name="csX102" fmla="*/ 422618 w 503517"/>
                    <a:gd name="csY102" fmla="*/ 376550 h 433502"/>
                    <a:gd name="csX103" fmla="*/ 429501 w 503517"/>
                    <a:gd name="csY103" fmla="*/ 373989 h 433502"/>
                    <a:gd name="csX104" fmla="*/ 452007 w 503517"/>
                    <a:gd name="csY104" fmla="*/ 375813 h 433502"/>
                    <a:gd name="csX105" fmla="*/ 457802 w 503517"/>
                    <a:gd name="csY105" fmla="*/ 379431 h 433502"/>
                    <a:gd name="csX106" fmla="*/ 489015 w 503517"/>
                    <a:gd name="csY106" fmla="*/ 368930 h 433502"/>
                    <a:gd name="csX107" fmla="*/ 503518 w 503517"/>
                    <a:gd name="csY107" fmla="*/ 357693 h 433502"/>
                    <a:gd name="csX108" fmla="*/ 497339 w 503517"/>
                    <a:gd name="csY108" fmla="*/ 350778 h 433502"/>
                    <a:gd name="csX109" fmla="*/ 490456 w 503517"/>
                    <a:gd name="csY109" fmla="*/ 336276 h 433502"/>
                    <a:gd name="csX110" fmla="*/ 493369 w 503517"/>
                    <a:gd name="csY110" fmla="*/ 326832 h 433502"/>
                    <a:gd name="csX111" fmla="*/ 478483 w 503517"/>
                    <a:gd name="csY111" fmla="*/ 301829 h 433502"/>
                    <a:gd name="csX112" fmla="*/ 469775 w 503517"/>
                    <a:gd name="csY112" fmla="*/ 301092 h 433502"/>
                    <a:gd name="csX113" fmla="*/ 467246 w 503517"/>
                    <a:gd name="csY113" fmla="*/ 294914 h 433502"/>
                    <a:gd name="csX114" fmla="*/ 454536 w 503517"/>
                    <a:gd name="csY114" fmla="*/ 298563 h 433502"/>
                    <a:gd name="csX115" fmla="*/ 449478 w 503517"/>
                    <a:gd name="csY115" fmla="*/ 288031 h 433502"/>
                    <a:gd name="csX116" fmla="*/ 437121 w 503517"/>
                    <a:gd name="csY116" fmla="*/ 284765 h 433502"/>
                    <a:gd name="csX117" fmla="*/ 438209 w 503517"/>
                    <a:gd name="csY117" fmla="*/ 278587 h 433502"/>
                    <a:gd name="csX118" fmla="*/ 430237 w 503517"/>
                    <a:gd name="csY118" fmla="*/ 273528 h 433502"/>
                    <a:gd name="csX119" fmla="*/ 421882 w 503517"/>
                    <a:gd name="csY119" fmla="*/ 253552 h 433502"/>
                    <a:gd name="csX120" fmla="*/ 422618 w 503517"/>
                    <a:gd name="csY120" fmla="*/ 202041 h 433502"/>
                    <a:gd name="csX121" fmla="*/ 439682 w 503517"/>
                    <a:gd name="csY121" fmla="*/ 130585 h 433502"/>
                    <a:gd name="csX122" fmla="*/ 447653 w 503517"/>
                    <a:gd name="csY122" fmla="*/ 95402 h 433502"/>
                    <a:gd name="csX123" fmla="*/ 445828 w 503517"/>
                    <a:gd name="csY123" fmla="*/ 90312 h 433502"/>
                    <a:gd name="csX124" fmla="*/ 435680 w 503517"/>
                    <a:gd name="csY124" fmla="*/ 85990 h 433502"/>
                    <a:gd name="csX125" fmla="*/ 407027 w 503517"/>
                    <a:gd name="csY125" fmla="*/ 65309 h 433502"/>
                    <a:gd name="csX126" fmla="*/ 401937 w 503517"/>
                    <a:gd name="csY126" fmla="*/ 34447 h 433502"/>
                    <a:gd name="csX127" fmla="*/ 404498 w 503517"/>
                    <a:gd name="csY127" fmla="*/ 12710 h 4335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</a:cxnLst>
                  <a:rect l="l" t="t" r="r" b="b"/>
                  <a:pathLst>
                    <a:path w="503517" h="433502">
                      <a:moveTo>
                        <a:pt x="404498" y="12710"/>
                      </a:moveTo>
                      <a:lnTo>
                        <a:pt x="400144" y="736"/>
                      </a:lnTo>
                      <a:lnTo>
                        <a:pt x="383817" y="0"/>
                      </a:lnTo>
                      <a:lnTo>
                        <a:pt x="383817" y="9444"/>
                      </a:lnTo>
                      <a:lnTo>
                        <a:pt x="361663" y="22122"/>
                      </a:lnTo>
                      <a:lnTo>
                        <a:pt x="355517" y="23210"/>
                      </a:lnTo>
                      <a:lnTo>
                        <a:pt x="349338" y="13798"/>
                      </a:lnTo>
                      <a:lnTo>
                        <a:pt x="321774" y="20681"/>
                      </a:lnTo>
                      <a:lnTo>
                        <a:pt x="316683" y="56601"/>
                      </a:lnTo>
                      <a:lnTo>
                        <a:pt x="293473" y="47157"/>
                      </a:lnTo>
                      <a:lnTo>
                        <a:pt x="294210" y="54776"/>
                      </a:lnTo>
                      <a:lnTo>
                        <a:pt x="287679" y="62748"/>
                      </a:lnTo>
                      <a:lnTo>
                        <a:pt x="290944" y="68574"/>
                      </a:lnTo>
                      <a:lnTo>
                        <a:pt x="285854" y="69663"/>
                      </a:lnTo>
                      <a:lnTo>
                        <a:pt x="277146" y="60218"/>
                      </a:lnTo>
                      <a:lnTo>
                        <a:pt x="264084" y="56601"/>
                      </a:lnTo>
                      <a:lnTo>
                        <a:pt x="258290" y="60955"/>
                      </a:lnTo>
                      <a:lnTo>
                        <a:pt x="246317" y="54040"/>
                      </a:lnTo>
                      <a:lnTo>
                        <a:pt x="238345" y="58394"/>
                      </a:lnTo>
                      <a:lnTo>
                        <a:pt x="230726" y="56601"/>
                      </a:lnTo>
                      <a:lnTo>
                        <a:pt x="222018" y="49686"/>
                      </a:lnTo>
                      <a:lnTo>
                        <a:pt x="205691" y="32654"/>
                      </a:lnTo>
                      <a:lnTo>
                        <a:pt x="206427" y="19593"/>
                      </a:lnTo>
                      <a:lnTo>
                        <a:pt x="196246" y="28301"/>
                      </a:lnTo>
                      <a:lnTo>
                        <a:pt x="207515" y="62748"/>
                      </a:lnTo>
                      <a:lnTo>
                        <a:pt x="196246" y="76546"/>
                      </a:lnTo>
                      <a:lnTo>
                        <a:pt x="203866" y="84901"/>
                      </a:lnTo>
                      <a:lnTo>
                        <a:pt x="190100" y="111729"/>
                      </a:lnTo>
                      <a:lnTo>
                        <a:pt x="179951" y="117908"/>
                      </a:lnTo>
                      <a:lnTo>
                        <a:pt x="175597" y="128793"/>
                      </a:lnTo>
                      <a:lnTo>
                        <a:pt x="169419" y="136764"/>
                      </a:lnTo>
                      <a:lnTo>
                        <a:pt x="177390" y="139293"/>
                      </a:lnTo>
                      <a:lnTo>
                        <a:pt x="184305" y="161799"/>
                      </a:lnTo>
                      <a:lnTo>
                        <a:pt x="198808" y="166857"/>
                      </a:lnTo>
                      <a:lnTo>
                        <a:pt x="198808" y="180655"/>
                      </a:lnTo>
                      <a:lnTo>
                        <a:pt x="210045" y="185009"/>
                      </a:lnTo>
                      <a:lnTo>
                        <a:pt x="196246" y="197687"/>
                      </a:lnTo>
                      <a:lnTo>
                        <a:pt x="191188" y="195158"/>
                      </a:lnTo>
                      <a:lnTo>
                        <a:pt x="182480" y="207131"/>
                      </a:lnTo>
                      <a:lnTo>
                        <a:pt x="171243" y="214014"/>
                      </a:lnTo>
                      <a:lnTo>
                        <a:pt x="162536" y="207131"/>
                      </a:lnTo>
                      <a:lnTo>
                        <a:pt x="161063" y="218368"/>
                      </a:lnTo>
                      <a:lnTo>
                        <a:pt x="154180" y="218368"/>
                      </a:lnTo>
                      <a:lnTo>
                        <a:pt x="146208" y="195158"/>
                      </a:lnTo>
                      <a:lnTo>
                        <a:pt x="138589" y="192629"/>
                      </a:lnTo>
                      <a:lnTo>
                        <a:pt x="128441" y="193365"/>
                      </a:lnTo>
                      <a:lnTo>
                        <a:pt x="120437" y="187539"/>
                      </a:lnTo>
                      <a:lnTo>
                        <a:pt x="105935" y="196983"/>
                      </a:lnTo>
                      <a:lnTo>
                        <a:pt x="104110" y="203866"/>
                      </a:lnTo>
                      <a:lnTo>
                        <a:pt x="105935" y="208956"/>
                      </a:lnTo>
                      <a:lnTo>
                        <a:pt x="99756" y="214014"/>
                      </a:lnTo>
                      <a:lnTo>
                        <a:pt x="105198" y="228901"/>
                      </a:lnTo>
                      <a:lnTo>
                        <a:pt x="98315" y="231430"/>
                      </a:lnTo>
                      <a:lnTo>
                        <a:pt x="99756" y="239786"/>
                      </a:lnTo>
                      <a:lnTo>
                        <a:pt x="92873" y="246669"/>
                      </a:lnTo>
                      <a:lnTo>
                        <a:pt x="92873" y="256113"/>
                      </a:lnTo>
                      <a:lnTo>
                        <a:pt x="77634" y="264820"/>
                      </a:lnTo>
                      <a:lnTo>
                        <a:pt x="61307" y="262259"/>
                      </a:lnTo>
                      <a:lnTo>
                        <a:pt x="58426" y="267350"/>
                      </a:lnTo>
                      <a:lnTo>
                        <a:pt x="54424" y="265909"/>
                      </a:lnTo>
                      <a:lnTo>
                        <a:pt x="48245" y="279323"/>
                      </a:lnTo>
                      <a:lnTo>
                        <a:pt x="34479" y="286206"/>
                      </a:lnTo>
                      <a:lnTo>
                        <a:pt x="11269" y="308712"/>
                      </a:lnTo>
                      <a:lnTo>
                        <a:pt x="0" y="306151"/>
                      </a:lnTo>
                      <a:lnTo>
                        <a:pt x="3650" y="311241"/>
                      </a:lnTo>
                      <a:lnTo>
                        <a:pt x="15623" y="324303"/>
                      </a:lnTo>
                      <a:lnTo>
                        <a:pt x="41362" y="315595"/>
                      </a:lnTo>
                      <a:lnTo>
                        <a:pt x="81636" y="323214"/>
                      </a:lnTo>
                      <a:lnTo>
                        <a:pt x="96491" y="323214"/>
                      </a:lnTo>
                      <a:lnTo>
                        <a:pt x="110289" y="341366"/>
                      </a:lnTo>
                      <a:lnTo>
                        <a:pt x="124087" y="346425"/>
                      </a:lnTo>
                      <a:lnTo>
                        <a:pt x="119733" y="352603"/>
                      </a:lnTo>
                      <a:lnTo>
                        <a:pt x="120437" y="363136"/>
                      </a:lnTo>
                      <a:lnTo>
                        <a:pt x="127352" y="360223"/>
                      </a:lnTo>
                      <a:lnTo>
                        <a:pt x="129881" y="364576"/>
                      </a:lnTo>
                      <a:lnTo>
                        <a:pt x="135324" y="357693"/>
                      </a:lnTo>
                      <a:lnTo>
                        <a:pt x="154916" y="363840"/>
                      </a:lnTo>
                      <a:lnTo>
                        <a:pt x="159270" y="361311"/>
                      </a:lnTo>
                      <a:lnTo>
                        <a:pt x="158534" y="368930"/>
                      </a:lnTo>
                      <a:lnTo>
                        <a:pt x="171243" y="376550"/>
                      </a:lnTo>
                      <a:lnTo>
                        <a:pt x="168682" y="386346"/>
                      </a:lnTo>
                      <a:lnTo>
                        <a:pt x="183217" y="393965"/>
                      </a:lnTo>
                      <a:lnTo>
                        <a:pt x="183217" y="399760"/>
                      </a:lnTo>
                      <a:lnTo>
                        <a:pt x="190100" y="408468"/>
                      </a:lnTo>
                      <a:lnTo>
                        <a:pt x="209308" y="395758"/>
                      </a:lnTo>
                      <a:lnTo>
                        <a:pt x="210781" y="398319"/>
                      </a:lnTo>
                      <a:lnTo>
                        <a:pt x="215135" y="406643"/>
                      </a:lnTo>
                      <a:lnTo>
                        <a:pt x="209308" y="420441"/>
                      </a:lnTo>
                      <a:lnTo>
                        <a:pt x="212574" y="433503"/>
                      </a:lnTo>
                      <a:lnTo>
                        <a:pt x="224547" y="429149"/>
                      </a:lnTo>
                      <a:lnTo>
                        <a:pt x="259026" y="430942"/>
                      </a:lnTo>
                      <a:lnTo>
                        <a:pt x="295298" y="409556"/>
                      </a:lnTo>
                      <a:lnTo>
                        <a:pt x="301093" y="399024"/>
                      </a:lnTo>
                      <a:lnTo>
                        <a:pt x="336660" y="375077"/>
                      </a:lnTo>
                      <a:lnTo>
                        <a:pt x="341014" y="387050"/>
                      </a:lnTo>
                      <a:lnTo>
                        <a:pt x="342455" y="388875"/>
                      </a:lnTo>
                      <a:lnTo>
                        <a:pt x="346809" y="390316"/>
                      </a:lnTo>
                      <a:lnTo>
                        <a:pt x="351867" y="381992"/>
                      </a:lnTo>
                      <a:lnTo>
                        <a:pt x="361663" y="382696"/>
                      </a:lnTo>
                      <a:lnTo>
                        <a:pt x="383081" y="363136"/>
                      </a:lnTo>
                      <a:lnTo>
                        <a:pt x="387435" y="367106"/>
                      </a:lnTo>
                      <a:lnTo>
                        <a:pt x="415735" y="371460"/>
                      </a:lnTo>
                      <a:lnTo>
                        <a:pt x="422618" y="376550"/>
                      </a:lnTo>
                      <a:lnTo>
                        <a:pt x="429501" y="373989"/>
                      </a:lnTo>
                      <a:lnTo>
                        <a:pt x="452007" y="375813"/>
                      </a:lnTo>
                      <a:lnTo>
                        <a:pt x="457802" y="379431"/>
                      </a:lnTo>
                      <a:lnTo>
                        <a:pt x="489015" y="368930"/>
                      </a:lnTo>
                      <a:lnTo>
                        <a:pt x="503518" y="357693"/>
                      </a:lnTo>
                      <a:lnTo>
                        <a:pt x="497339" y="350778"/>
                      </a:lnTo>
                      <a:lnTo>
                        <a:pt x="490456" y="336276"/>
                      </a:lnTo>
                      <a:lnTo>
                        <a:pt x="493369" y="326832"/>
                      </a:lnTo>
                      <a:lnTo>
                        <a:pt x="478483" y="301829"/>
                      </a:lnTo>
                      <a:lnTo>
                        <a:pt x="469775" y="301092"/>
                      </a:lnTo>
                      <a:lnTo>
                        <a:pt x="467246" y="294914"/>
                      </a:lnTo>
                      <a:lnTo>
                        <a:pt x="454536" y="298563"/>
                      </a:lnTo>
                      <a:lnTo>
                        <a:pt x="449478" y="288031"/>
                      </a:lnTo>
                      <a:lnTo>
                        <a:pt x="437121" y="284765"/>
                      </a:lnTo>
                      <a:lnTo>
                        <a:pt x="438209" y="278587"/>
                      </a:lnTo>
                      <a:lnTo>
                        <a:pt x="430237" y="273528"/>
                      </a:lnTo>
                      <a:lnTo>
                        <a:pt x="421882" y="253552"/>
                      </a:lnTo>
                      <a:lnTo>
                        <a:pt x="422618" y="202041"/>
                      </a:lnTo>
                      <a:lnTo>
                        <a:pt x="439682" y="130585"/>
                      </a:lnTo>
                      <a:lnTo>
                        <a:pt x="447653" y="95402"/>
                      </a:lnTo>
                      <a:lnTo>
                        <a:pt x="445828" y="90312"/>
                      </a:lnTo>
                      <a:lnTo>
                        <a:pt x="435680" y="85990"/>
                      </a:lnTo>
                      <a:lnTo>
                        <a:pt x="407027" y="65309"/>
                      </a:lnTo>
                      <a:lnTo>
                        <a:pt x="401937" y="34447"/>
                      </a:lnTo>
                      <a:lnTo>
                        <a:pt x="404498" y="1271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4" name="Forma Livre: Forma 373">
                  <a:extLst>
                    <a:ext uri="{FF2B5EF4-FFF2-40B4-BE49-F238E27FC236}">
                      <a16:creationId xmlns:a16="http://schemas.microsoft.com/office/drawing/2014/main" id="{9DE6EBB7-4BDE-A75C-0E03-04DA7855B188}"/>
                    </a:ext>
                  </a:extLst>
                </p:cNvPr>
                <p:cNvSpPr/>
                <p:nvPr/>
              </p:nvSpPr>
              <p:spPr>
                <a:xfrm>
                  <a:off x="3056813" y="4757266"/>
                  <a:ext cx="503517" cy="433502"/>
                </a:xfrm>
                <a:custGeom>
                  <a:avLst/>
                  <a:gdLst>
                    <a:gd name="csX0" fmla="*/ 404498 w 503517"/>
                    <a:gd name="csY0" fmla="*/ 12710 h 433502"/>
                    <a:gd name="csX1" fmla="*/ 400144 w 503517"/>
                    <a:gd name="csY1" fmla="*/ 736 h 433502"/>
                    <a:gd name="csX2" fmla="*/ 383817 w 503517"/>
                    <a:gd name="csY2" fmla="*/ 0 h 433502"/>
                    <a:gd name="csX3" fmla="*/ 383817 w 503517"/>
                    <a:gd name="csY3" fmla="*/ 9444 h 433502"/>
                    <a:gd name="csX4" fmla="*/ 361663 w 503517"/>
                    <a:gd name="csY4" fmla="*/ 22122 h 433502"/>
                    <a:gd name="csX5" fmla="*/ 355517 w 503517"/>
                    <a:gd name="csY5" fmla="*/ 23210 h 433502"/>
                    <a:gd name="csX6" fmla="*/ 349338 w 503517"/>
                    <a:gd name="csY6" fmla="*/ 13798 h 433502"/>
                    <a:gd name="csX7" fmla="*/ 321774 w 503517"/>
                    <a:gd name="csY7" fmla="*/ 20681 h 433502"/>
                    <a:gd name="csX8" fmla="*/ 316683 w 503517"/>
                    <a:gd name="csY8" fmla="*/ 56601 h 433502"/>
                    <a:gd name="csX9" fmla="*/ 293473 w 503517"/>
                    <a:gd name="csY9" fmla="*/ 47157 h 433502"/>
                    <a:gd name="csX10" fmla="*/ 294210 w 503517"/>
                    <a:gd name="csY10" fmla="*/ 54776 h 433502"/>
                    <a:gd name="csX11" fmla="*/ 287679 w 503517"/>
                    <a:gd name="csY11" fmla="*/ 62748 h 433502"/>
                    <a:gd name="csX12" fmla="*/ 290944 w 503517"/>
                    <a:gd name="csY12" fmla="*/ 68574 h 433502"/>
                    <a:gd name="csX13" fmla="*/ 285854 w 503517"/>
                    <a:gd name="csY13" fmla="*/ 69663 h 433502"/>
                    <a:gd name="csX14" fmla="*/ 277146 w 503517"/>
                    <a:gd name="csY14" fmla="*/ 60218 h 433502"/>
                    <a:gd name="csX15" fmla="*/ 264084 w 503517"/>
                    <a:gd name="csY15" fmla="*/ 56601 h 433502"/>
                    <a:gd name="csX16" fmla="*/ 258290 w 503517"/>
                    <a:gd name="csY16" fmla="*/ 60955 h 433502"/>
                    <a:gd name="csX17" fmla="*/ 246317 w 503517"/>
                    <a:gd name="csY17" fmla="*/ 54040 h 433502"/>
                    <a:gd name="csX18" fmla="*/ 238345 w 503517"/>
                    <a:gd name="csY18" fmla="*/ 58394 h 433502"/>
                    <a:gd name="csX19" fmla="*/ 230726 w 503517"/>
                    <a:gd name="csY19" fmla="*/ 56601 h 433502"/>
                    <a:gd name="csX20" fmla="*/ 222018 w 503517"/>
                    <a:gd name="csY20" fmla="*/ 49686 h 433502"/>
                    <a:gd name="csX21" fmla="*/ 205691 w 503517"/>
                    <a:gd name="csY21" fmla="*/ 32654 h 433502"/>
                    <a:gd name="csX22" fmla="*/ 206427 w 503517"/>
                    <a:gd name="csY22" fmla="*/ 19593 h 433502"/>
                    <a:gd name="csX23" fmla="*/ 196246 w 503517"/>
                    <a:gd name="csY23" fmla="*/ 28301 h 433502"/>
                    <a:gd name="csX24" fmla="*/ 207515 w 503517"/>
                    <a:gd name="csY24" fmla="*/ 62748 h 433502"/>
                    <a:gd name="csX25" fmla="*/ 196246 w 503517"/>
                    <a:gd name="csY25" fmla="*/ 76546 h 433502"/>
                    <a:gd name="csX26" fmla="*/ 203866 w 503517"/>
                    <a:gd name="csY26" fmla="*/ 84901 h 433502"/>
                    <a:gd name="csX27" fmla="*/ 190100 w 503517"/>
                    <a:gd name="csY27" fmla="*/ 111729 h 433502"/>
                    <a:gd name="csX28" fmla="*/ 179951 w 503517"/>
                    <a:gd name="csY28" fmla="*/ 117908 h 433502"/>
                    <a:gd name="csX29" fmla="*/ 175597 w 503517"/>
                    <a:gd name="csY29" fmla="*/ 128793 h 433502"/>
                    <a:gd name="csX30" fmla="*/ 169419 w 503517"/>
                    <a:gd name="csY30" fmla="*/ 136764 h 433502"/>
                    <a:gd name="csX31" fmla="*/ 177390 w 503517"/>
                    <a:gd name="csY31" fmla="*/ 139293 h 433502"/>
                    <a:gd name="csX32" fmla="*/ 184305 w 503517"/>
                    <a:gd name="csY32" fmla="*/ 161799 h 433502"/>
                    <a:gd name="csX33" fmla="*/ 198808 w 503517"/>
                    <a:gd name="csY33" fmla="*/ 166857 h 433502"/>
                    <a:gd name="csX34" fmla="*/ 198808 w 503517"/>
                    <a:gd name="csY34" fmla="*/ 180655 h 433502"/>
                    <a:gd name="csX35" fmla="*/ 210045 w 503517"/>
                    <a:gd name="csY35" fmla="*/ 185009 h 433502"/>
                    <a:gd name="csX36" fmla="*/ 196246 w 503517"/>
                    <a:gd name="csY36" fmla="*/ 197687 h 433502"/>
                    <a:gd name="csX37" fmla="*/ 191188 w 503517"/>
                    <a:gd name="csY37" fmla="*/ 195158 h 433502"/>
                    <a:gd name="csX38" fmla="*/ 182480 w 503517"/>
                    <a:gd name="csY38" fmla="*/ 207131 h 433502"/>
                    <a:gd name="csX39" fmla="*/ 171243 w 503517"/>
                    <a:gd name="csY39" fmla="*/ 214014 h 433502"/>
                    <a:gd name="csX40" fmla="*/ 162536 w 503517"/>
                    <a:gd name="csY40" fmla="*/ 207131 h 433502"/>
                    <a:gd name="csX41" fmla="*/ 161063 w 503517"/>
                    <a:gd name="csY41" fmla="*/ 218368 h 433502"/>
                    <a:gd name="csX42" fmla="*/ 154180 w 503517"/>
                    <a:gd name="csY42" fmla="*/ 218368 h 433502"/>
                    <a:gd name="csX43" fmla="*/ 146208 w 503517"/>
                    <a:gd name="csY43" fmla="*/ 195158 h 433502"/>
                    <a:gd name="csX44" fmla="*/ 138589 w 503517"/>
                    <a:gd name="csY44" fmla="*/ 192629 h 433502"/>
                    <a:gd name="csX45" fmla="*/ 128441 w 503517"/>
                    <a:gd name="csY45" fmla="*/ 193365 h 433502"/>
                    <a:gd name="csX46" fmla="*/ 120437 w 503517"/>
                    <a:gd name="csY46" fmla="*/ 187539 h 433502"/>
                    <a:gd name="csX47" fmla="*/ 105935 w 503517"/>
                    <a:gd name="csY47" fmla="*/ 196983 h 433502"/>
                    <a:gd name="csX48" fmla="*/ 104110 w 503517"/>
                    <a:gd name="csY48" fmla="*/ 203866 h 433502"/>
                    <a:gd name="csX49" fmla="*/ 105935 w 503517"/>
                    <a:gd name="csY49" fmla="*/ 208956 h 433502"/>
                    <a:gd name="csX50" fmla="*/ 99756 w 503517"/>
                    <a:gd name="csY50" fmla="*/ 214014 h 433502"/>
                    <a:gd name="csX51" fmla="*/ 105198 w 503517"/>
                    <a:gd name="csY51" fmla="*/ 228901 h 433502"/>
                    <a:gd name="csX52" fmla="*/ 98315 w 503517"/>
                    <a:gd name="csY52" fmla="*/ 231430 h 433502"/>
                    <a:gd name="csX53" fmla="*/ 99756 w 503517"/>
                    <a:gd name="csY53" fmla="*/ 239786 h 433502"/>
                    <a:gd name="csX54" fmla="*/ 92873 w 503517"/>
                    <a:gd name="csY54" fmla="*/ 246669 h 433502"/>
                    <a:gd name="csX55" fmla="*/ 92873 w 503517"/>
                    <a:gd name="csY55" fmla="*/ 256113 h 433502"/>
                    <a:gd name="csX56" fmla="*/ 77634 w 503517"/>
                    <a:gd name="csY56" fmla="*/ 264820 h 433502"/>
                    <a:gd name="csX57" fmla="*/ 61307 w 503517"/>
                    <a:gd name="csY57" fmla="*/ 262259 h 433502"/>
                    <a:gd name="csX58" fmla="*/ 58426 w 503517"/>
                    <a:gd name="csY58" fmla="*/ 267350 h 433502"/>
                    <a:gd name="csX59" fmla="*/ 54424 w 503517"/>
                    <a:gd name="csY59" fmla="*/ 265909 h 433502"/>
                    <a:gd name="csX60" fmla="*/ 48245 w 503517"/>
                    <a:gd name="csY60" fmla="*/ 279323 h 433502"/>
                    <a:gd name="csX61" fmla="*/ 34479 w 503517"/>
                    <a:gd name="csY61" fmla="*/ 286206 h 433502"/>
                    <a:gd name="csX62" fmla="*/ 11269 w 503517"/>
                    <a:gd name="csY62" fmla="*/ 308712 h 433502"/>
                    <a:gd name="csX63" fmla="*/ 0 w 503517"/>
                    <a:gd name="csY63" fmla="*/ 306151 h 433502"/>
                    <a:gd name="csX64" fmla="*/ 3650 w 503517"/>
                    <a:gd name="csY64" fmla="*/ 311241 h 433502"/>
                    <a:gd name="csX65" fmla="*/ 15623 w 503517"/>
                    <a:gd name="csY65" fmla="*/ 324303 h 433502"/>
                    <a:gd name="csX66" fmla="*/ 41362 w 503517"/>
                    <a:gd name="csY66" fmla="*/ 315595 h 433502"/>
                    <a:gd name="csX67" fmla="*/ 81636 w 503517"/>
                    <a:gd name="csY67" fmla="*/ 323214 h 433502"/>
                    <a:gd name="csX68" fmla="*/ 96491 w 503517"/>
                    <a:gd name="csY68" fmla="*/ 323214 h 433502"/>
                    <a:gd name="csX69" fmla="*/ 110289 w 503517"/>
                    <a:gd name="csY69" fmla="*/ 341366 h 433502"/>
                    <a:gd name="csX70" fmla="*/ 124087 w 503517"/>
                    <a:gd name="csY70" fmla="*/ 346425 h 433502"/>
                    <a:gd name="csX71" fmla="*/ 119733 w 503517"/>
                    <a:gd name="csY71" fmla="*/ 352603 h 433502"/>
                    <a:gd name="csX72" fmla="*/ 120437 w 503517"/>
                    <a:gd name="csY72" fmla="*/ 363136 h 433502"/>
                    <a:gd name="csX73" fmla="*/ 127352 w 503517"/>
                    <a:gd name="csY73" fmla="*/ 360223 h 433502"/>
                    <a:gd name="csX74" fmla="*/ 129881 w 503517"/>
                    <a:gd name="csY74" fmla="*/ 364576 h 433502"/>
                    <a:gd name="csX75" fmla="*/ 135324 w 503517"/>
                    <a:gd name="csY75" fmla="*/ 357693 h 433502"/>
                    <a:gd name="csX76" fmla="*/ 154916 w 503517"/>
                    <a:gd name="csY76" fmla="*/ 363840 h 433502"/>
                    <a:gd name="csX77" fmla="*/ 159270 w 503517"/>
                    <a:gd name="csY77" fmla="*/ 361311 h 433502"/>
                    <a:gd name="csX78" fmla="*/ 158534 w 503517"/>
                    <a:gd name="csY78" fmla="*/ 368930 h 433502"/>
                    <a:gd name="csX79" fmla="*/ 171243 w 503517"/>
                    <a:gd name="csY79" fmla="*/ 376550 h 433502"/>
                    <a:gd name="csX80" fmla="*/ 168682 w 503517"/>
                    <a:gd name="csY80" fmla="*/ 386346 h 433502"/>
                    <a:gd name="csX81" fmla="*/ 183217 w 503517"/>
                    <a:gd name="csY81" fmla="*/ 393965 h 433502"/>
                    <a:gd name="csX82" fmla="*/ 183217 w 503517"/>
                    <a:gd name="csY82" fmla="*/ 399760 h 433502"/>
                    <a:gd name="csX83" fmla="*/ 190100 w 503517"/>
                    <a:gd name="csY83" fmla="*/ 408468 h 433502"/>
                    <a:gd name="csX84" fmla="*/ 209308 w 503517"/>
                    <a:gd name="csY84" fmla="*/ 395758 h 433502"/>
                    <a:gd name="csX85" fmla="*/ 210781 w 503517"/>
                    <a:gd name="csY85" fmla="*/ 398319 h 433502"/>
                    <a:gd name="csX86" fmla="*/ 215135 w 503517"/>
                    <a:gd name="csY86" fmla="*/ 406643 h 433502"/>
                    <a:gd name="csX87" fmla="*/ 209308 w 503517"/>
                    <a:gd name="csY87" fmla="*/ 420441 h 433502"/>
                    <a:gd name="csX88" fmla="*/ 212574 w 503517"/>
                    <a:gd name="csY88" fmla="*/ 433503 h 433502"/>
                    <a:gd name="csX89" fmla="*/ 224547 w 503517"/>
                    <a:gd name="csY89" fmla="*/ 429149 h 433502"/>
                    <a:gd name="csX90" fmla="*/ 259026 w 503517"/>
                    <a:gd name="csY90" fmla="*/ 430942 h 433502"/>
                    <a:gd name="csX91" fmla="*/ 295298 w 503517"/>
                    <a:gd name="csY91" fmla="*/ 409556 h 433502"/>
                    <a:gd name="csX92" fmla="*/ 301093 w 503517"/>
                    <a:gd name="csY92" fmla="*/ 399024 h 433502"/>
                    <a:gd name="csX93" fmla="*/ 336660 w 503517"/>
                    <a:gd name="csY93" fmla="*/ 375077 h 433502"/>
                    <a:gd name="csX94" fmla="*/ 341014 w 503517"/>
                    <a:gd name="csY94" fmla="*/ 387050 h 433502"/>
                    <a:gd name="csX95" fmla="*/ 342455 w 503517"/>
                    <a:gd name="csY95" fmla="*/ 388875 h 433502"/>
                    <a:gd name="csX96" fmla="*/ 346809 w 503517"/>
                    <a:gd name="csY96" fmla="*/ 390316 h 433502"/>
                    <a:gd name="csX97" fmla="*/ 351867 w 503517"/>
                    <a:gd name="csY97" fmla="*/ 381992 h 433502"/>
                    <a:gd name="csX98" fmla="*/ 361663 w 503517"/>
                    <a:gd name="csY98" fmla="*/ 382696 h 433502"/>
                    <a:gd name="csX99" fmla="*/ 383081 w 503517"/>
                    <a:gd name="csY99" fmla="*/ 363136 h 433502"/>
                    <a:gd name="csX100" fmla="*/ 387435 w 503517"/>
                    <a:gd name="csY100" fmla="*/ 367106 h 433502"/>
                    <a:gd name="csX101" fmla="*/ 415735 w 503517"/>
                    <a:gd name="csY101" fmla="*/ 371460 h 433502"/>
                    <a:gd name="csX102" fmla="*/ 422618 w 503517"/>
                    <a:gd name="csY102" fmla="*/ 376550 h 433502"/>
                    <a:gd name="csX103" fmla="*/ 429501 w 503517"/>
                    <a:gd name="csY103" fmla="*/ 373989 h 433502"/>
                    <a:gd name="csX104" fmla="*/ 452007 w 503517"/>
                    <a:gd name="csY104" fmla="*/ 375813 h 433502"/>
                    <a:gd name="csX105" fmla="*/ 457802 w 503517"/>
                    <a:gd name="csY105" fmla="*/ 379431 h 433502"/>
                    <a:gd name="csX106" fmla="*/ 489015 w 503517"/>
                    <a:gd name="csY106" fmla="*/ 368930 h 433502"/>
                    <a:gd name="csX107" fmla="*/ 503518 w 503517"/>
                    <a:gd name="csY107" fmla="*/ 357693 h 433502"/>
                    <a:gd name="csX108" fmla="*/ 497339 w 503517"/>
                    <a:gd name="csY108" fmla="*/ 350778 h 433502"/>
                    <a:gd name="csX109" fmla="*/ 490456 w 503517"/>
                    <a:gd name="csY109" fmla="*/ 336276 h 433502"/>
                    <a:gd name="csX110" fmla="*/ 493369 w 503517"/>
                    <a:gd name="csY110" fmla="*/ 326832 h 433502"/>
                    <a:gd name="csX111" fmla="*/ 478483 w 503517"/>
                    <a:gd name="csY111" fmla="*/ 301829 h 433502"/>
                    <a:gd name="csX112" fmla="*/ 469775 w 503517"/>
                    <a:gd name="csY112" fmla="*/ 301092 h 433502"/>
                    <a:gd name="csX113" fmla="*/ 467246 w 503517"/>
                    <a:gd name="csY113" fmla="*/ 294914 h 433502"/>
                    <a:gd name="csX114" fmla="*/ 454536 w 503517"/>
                    <a:gd name="csY114" fmla="*/ 298563 h 433502"/>
                    <a:gd name="csX115" fmla="*/ 449478 w 503517"/>
                    <a:gd name="csY115" fmla="*/ 288031 h 433502"/>
                    <a:gd name="csX116" fmla="*/ 437121 w 503517"/>
                    <a:gd name="csY116" fmla="*/ 284765 h 433502"/>
                    <a:gd name="csX117" fmla="*/ 438209 w 503517"/>
                    <a:gd name="csY117" fmla="*/ 278587 h 433502"/>
                    <a:gd name="csX118" fmla="*/ 430237 w 503517"/>
                    <a:gd name="csY118" fmla="*/ 273528 h 433502"/>
                    <a:gd name="csX119" fmla="*/ 421882 w 503517"/>
                    <a:gd name="csY119" fmla="*/ 253552 h 433502"/>
                    <a:gd name="csX120" fmla="*/ 422618 w 503517"/>
                    <a:gd name="csY120" fmla="*/ 202041 h 433502"/>
                    <a:gd name="csX121" fmla="*/ 439682 w 503517"/>
                    <a:gd name="csY121" fmla="*/ 130585 h 433502"/>
                    <a:gd name="csX122" fmla="*/ 447653 w 503517"/>
                    <a:gd name="csY122" fmla="*/ 95402 h 433502"/>
                    <a:gd name="csX123" fmla="*/ 445828 w 503517"/>
                    <a:gd name="csY123" fmla="*/ 90312 h 433502"/>
                    <a:gd name="csX124" fmla="*/ 435680 w 503517"/>
                    <a:gd name="csY124" fmla="*/ 85990 h 433502"/>
                    <a:gd name="csX125" fmla="*/ 407027 w 503517"/>
                    <a:gd name="csY125" fmla="*/ 65309 h 433502"/>
                    <a:gd name="csX126" fmla="*/ 401937 w 503517"/>
                    <a:gd name="csY126" fmla="*/ 34447 h 433502"/>
                    <a:gd name="csX127" fmla="*/ 404498 w 503517"/>
                    <a:gd name="csY127" fmla="*/ 12710 h 4335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</a:cxnLst>
                  <a:rect l="l" t="t" r="r" b="b"/>
                  <a:pathLst>
                    <a:path w="503517" h="433502">
                      <a:moveTo>
                        <a:pt x="404498" y="12710"/>
                      </a:moveTo>
                      <a:lnTo>
                        <a:pt x="400144" y="736"/>
                      </a:lnTo>
                      <a:lnTo>
                        <a:pt x="383817" y="0"/>
                      </a:lnTo>
                      <a:lnTo>
                        <a:pt x="383817" y="9444"/>
                      </a:lnTo>
                      <a:lnTo>
                        <a:pt x="361663" y="22122"/>
                      </a:lnTo>
                      <a:lnTo>
                        <a:pt x="355517" y="23210"/>
                      </a:lnTo>
                      <a:lnTo>
                        <a:pt x="349338" y="13798"/>
                      </a:lnTo>
                      <a:lnTo>
                        <a:pt x="321774" y="20681"/>
                      </a:lnTo>
                      <a:lnTo>
                        <a:pt x="316683" y="56601"/>
                      </a:lnTo>
                      <a:lnTo>
                        <a:pt x="293473" y="47157"/>
                      </a:lnTo>
                      <a:lnTo>
                        <a:pt x="294210" y="54776"/>
                      </a:lnTo>
                      <a:lnTo>
                        <a:pt x="287679" y="62748"/>
                      </a:lnTo>
                      <a:lnTo>
                        <a:pt x="290944" y="68574"/>
                      </a:lnTo>
                      <a:lnTo>
                        <a:pt x="285854" y="69663"/>
                      </a:lnTo>
                      <a:lnTo>
                        <a:pt x="277146" y="60218"/>
                      </a:lnTo>
                      <a:lnTo>
                        <a:pt x="264084" y="56601"/>
                      </a:lnTo>
                      <a:lnTo>
                        <a:pt x="258290" y="60955"/>
                      </a:lnTo>
                      <a:lnTo>
                        <a:pt x="246317" y="54040"/>
                      </a:lnTo>
                      <a:lnTo>
                        <a:pt x="238345" y="58394"/>
                      </a:lnTo>
                      <a:lnTo>
                        <a:pt x="230726" y="56601"/>
                      </a:lnTo>
                      <a:lnTo>
                        <a:pt x="222018" y="49686"/>
                      </a:lnTo>
                      <a:lnTo>
                        <a:pt x="205691" y="32654"/>
                      </a:lnTo>
                      <a:lnTo>
                        <a:pt x="206427" y="19593"/>
                      </a:lnTo>
                      <a:lnTo>
                        <a:pt x="196246" y="28301"/>
                      </a:lnTo>
                      <a:lnTo>
                        <a:pt x="207515" y="62748"/>
                      </a:lnTo>
                      <a:lnTo>
                        <a:pt x="196246" y="76546"/>
                      </a:lnTo>
                      <a:lnTo>
                        <a:pt x="203866" y="84901"/>
                      </a:lnTo>
                      <a:lnTo>
                        <a:pt x="190100" y="111729"/>
                      </a:lnTo>
                      <a:lnTo>
                        <a:pt x="179951" y="117908"/>
                      </a:lnTo>
                      <a:lnTo>
                        <a:pt x="175597" y="128793"/>
                      </a:lnTo>
                      <a:lnTo>
                        <a:pt x="169419" y="136764"/>
                      </a:lnTo>
                      <a:lnTo>
                        <a:pt x="177390" y="139293"/>
                      </a:lnTo>
                      <a:lnTo>
                        <a:pt x="184305" y="161799"/>
                      </a:lnTo>
                      <a:lnTo>
                        <a:pt x="198808" y="166857"/>
                      </a:lnTo>
                      <a:lnTo>
                        <a:pt x="198808" y="180655"/>
                      </a:lnTo>
                      <a:lnTo>
                        <a:pt x="210045" y="185009"/>
                      </a:lnTo>
                      <a:lnTo>
                        <a:pt x="196246" y="197687"/>
                      </a:lnTo>
                      <a:lnTo>
                        <a:pt x="191188" y="195158"/>
                      </a:lnTo>
                      <a:lnTo>
                        <a:pt x="182480" y="207131"/>
                      </a:lnTo>
                      <a:lnTo>
                        <a:pt x="171243" y="214014"/>
                      </a:lnTo>
                      <a:lnTo>
                        <a:pt x="162536" y="207131"/>
                      </a:lnTo>
                      <a:lnTo>
                        <a:pt x="161063" y="218368"/>
                      </a:lnTo>
                      <a:lnTo>
                        <a:pt x="154180" y="218368"/>
                      </a:lnTo>
                      <a:lnTo>
                        <a:pt x="146208" y="195158"/>
                      </a:lnTo>
                      <a:lnTo>
                        <a:pt x="138589" y="192629"/>
                      </a:lnTo>
                      <a:lnTo>
                        <a:pt x="128441" y="193365"/>
                      </a:lnTo>
                      <a:lnTo>
                        <a:pt x="120437" y="187539"/>
                      </a:lnTo>
                      <a:lnTo>
                        <a:pt x="105935" y="196983"/>
                      </a:lnTo>
                      <a:lnTo>
                        <a:pt x="104110" y="203866"/>
                      </a:lnTo>
                      <a:lnTo>
                        <a:pt x="105935" y="208956"/>
                      </a:lnTo>
                      <a:lnTo>
                        <a:pt x="99756" y="214014"/>
                      </a:lnTo>
                      <a:lnTo>
                        <a:pt x="105198" y="228901"/>
                      </a:lnTo>
                      <a:lnTo>
                        <a:pt x="98315" y="231430"/>
                      </a:lnTo>
                      <a:lnTo>
                        <a:pt x="99756" y="239786"/>
                      </a:lnTo>
                      <a:lnTo>
                        <a:pt x="92873" y="246669"/>
                      </a:lnTo>
                      <a:lnTo>
                        <a:pt x="92873" y="256113"/>
                      </a:lnTo>
                      <a:lnTo>
                        <a:pt x="77634" y="264820"/>
                      </a:lnTo>
                      <a:lnTo>
                        <a:pt x="61307" y="262259"/>
                      </a:lnTo>
                      <a:lnTo>
                        <a:pt x="58426" y="267350"/>
                      </a:lnTo>
                      <a:lnTo>
                        <a:pt x="54424" y="265909"/>
                      </a:lnTo>
                      <a:lnTo>
                        <a:pt x="48245" y="279323"/>
                      </a:lnTo>
                      <a:lnTo>
                        <a:pt x="34479" y="286206"/>
                      </a:lnTo>
                      <a:lnTo>
                        <a:pt x="11269" y="308712"/>
                      </a:lnTo>
                      <a:lnTo>
                        <a:pt x="0" y="306151"/>
                      </a:lnTo>
                      <a:lnTo>
                        <a:pt x="3650" y="311241"/>
                      </a:lnTo>
                      <a:lnTo>
                        <a:pt x="15623" y="324303"/>
                      </a:lnTo>
                      <a:lnTo>
                        <a:pt x="41362" y="315595"/>
                      </a:lnTo>
                      <a:lnTo>
                        <a:pt x="81636" y="323214"/>
                      </a:lnTo>
                      <a:lnTo>
                        <a:pt x="96491" y="323214"/>
                      </a:lnTo>
                      <a:lnTo>
                        <a:pt x="110289" y="341366"/>
                      </a:lnTo>
                      <a:lnTo>
                        <a:pt x="124087" y="346425"/>
                      </a:lnTo>
                      <a:lnTo>
                        <a:pt x="119733" y="352603"/>
                      </a:lnTo>
                      <a:lnTo>
                        <a:pt x="120437" y="363136"/>
                      </a:lnTo>
                      <a:lnTo>
                        <a:pt x="127352" y="360223"/>
                      </a:lnTo>
                      <a:lnTo>
                        <a:pt x="129881" y="364576"/>
                      </a:lnTo>
                      <a:lnTo>
                        <a:pt x="135324" y="357693"/>
                      </a:lnTo>
                      <a:lnTo>
                        <a:pt x="154916" y="363840"/>
                      </a:lnTo>
                      <a:lnTo>
                        <a:pt x="159270" y="361311"/>
                      </a:lnTo>
                      <a:lnTo>
                        <a:pt x="158534" y="368930"/>
                      </a:lnTo>
                      <a:lnTo>
                        <a:pt x="171243" y="376550"/>
                      </a:lnTo>
                      <a:lnTo>
                        <a:pt x="168682" y="386346"/>
                      </a:lnTo>
                      <a:lnTo>
                        <a:pt x="183217" y="393965"/>
                      </a:lnTo>
                      <a:lnTo>
                        <a:pt x="183217" y="399760"/>
                      </a:lnTo>
                      <a:lnTo>
                        <a:pt x="190100" y="408468"/>
                      </a:lnTo>
                      <a:lnTo>
                        <a:pt x="209308" y="395758"/>
                      </a:lnTo>
                      <a:lnTo>
                        <a:pt x="210781" y="398319"/>
                      </a:lnTo>
                      <a:lnTo>
                        <a:pt x="215135" y="406643"/>
                      </a:lnTo>
                      <a:lnTo>
                        <a:pt x="209308" y="420441"/>
                      </a:lnTo>
                      <a:lnTo>
                        <a:pt x="212574" y="433503"/>
                      </a:lnTo>
                      <a:lnTo>
                        <a:pt x="224547" y="429149"/>
                      </a:lnTo>
                      <a:lnTo>
                        <a:pt x="259026" y="430942"/>
                      </a:lnTo>
                      <a:lnTo>
                        <a:pt x="295298" y="409556"/>
                      </a:lnTo>
                      <a:lnTo>
                        <a:pt x="301093" y="399024"/>
                      </a:lnTo>
                      <a:lnTo>
                        <a:pt x="336660" y="375077"/>
                      </a:lnTo>
                      <a:lnTo>
                        <a:pt x="341014" y="387050"/>
                      </a:lnTo>
                      <a:lnTo>
                        <a:pt x="342455" y="388875"/>
                      </a:lnTo>
                      <a:lnTo>
                        <a:pt x="346809" y="390316"/>
                      </a:lnTo>
                      <a:lnTo>
                        <a:pt x="351867" y="381992"/>
                      </a:lnTo>
                      <a:lnTo>
                        <a:pt x="361663" y="382696"/>
                      </a:lnTo>
                      <a:lnTo>
                        <a:pt x="383081" y="363136"/>
                      </a:lnTo>
                      <a:lnTo>
                        <a:pt x="387435" y="367106"/>
                      </a:lnTo>
                      <a:lnTo>
                        <a:pt x="415735" y="371460"/>
                      </a:lnTo>
                      <a:lnTo>
                        <a:pt x="422618" y="376550"/>
                      </a:lnTo>
                      <a:lnTo>
                        <a:pt x="429501" y="373989"/>
                      </a:lnTo>
                      <a:lnTo>
                        <a:pt x="452007" y="375813"/>
                      </a:lnTo>
                      <a:lnTo>
                        <a:pt x="457802" y="379431"/>
                      </a:lnTo>
                      <a:lnTo>
                        <a:pt x="489015" y="368930"/>
                      </a:lnTo>
                      <a:lnTo>
                        <a:pt x="503518" y="357693"/>
                      </a:lnTo>
                      <a:lnTo>
                        <a:pt x="497339" y="350778"/>
                      </a:lnTo>
                      <a:lnTo>
                        <a:pt x="490456" y="336276"/>
                      </a:lnTo>
                      <a:lnTo>
                        <a:pt x="493369" y="326832"/>
                      </a:lnTo>
                      <a:lnTo>
                        <a:pt x="478483" y="301829"/>
                      </a:lnTo>
                      <a:lnTo>
                        <a:pt x="469775" y="301092"/>
                      </a:lnTo>
                      <a:lnTo>
                        <a:pt x="467246" y="294914"/>
                      </a:lnTo>
                      <a:lnTo>
                        <a:pt x="454536" y="298563"/>
                      </a:lnTo>
                      <a:lnTo>
                        <a:pt x="449478" y="288031"/>
                      </a:lnTo>
                      <a:lnTo>
                        <a:pt x="437121" y="284765"/>
                      </a:lnTo>
                      <a:lnTo>
                        <a:pt x="438209" y="278587"/>
                      </a:lnTo>
                      <a:lnTo>
                        <a:pt x="430237" y="273528"/>
                      </a:lnTo>
                      <a:lnTo>
                        <a:pt x="421882" y="253552"/>
                      </a:lnTo>
                      <a:lnTo>
                        <a:pt x="422618" y="202041"/>
                      </a:lnTo>
                      <a:lnTo>
                        <a:pt x="439682" y="130585"/>
                      </a:lnTo>
                      <a:lnTo>
                        <a:pt x="447653" y="95402"/>
                      </a:lnTo>
                      <a:lnTo>
                        <a:pt x="445828" y="90312"/>
                      </a:lnTo>
                      <a:lnTo>
                        <a:pt x="435680" y="85990"/>
                      </a:lnTo>
                      <a:lnTo>
                        <a:pt x="407027" y="65309"/>
                      </a:lnTo>
                      <a:lnTo>
                        <a:pt x="401937" y="34447"/>
                      </a:lnTo>
                      <a:lnTo>
                        <a:pt x="404498" y="1271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831B973E-8458-3FBC-8E50-2092C4817A6C}"/>
                    </a:ext>
                  </a:extLst>
                </p:cNvPr>
                <p:cNvSpPr/>
                <p:nvPr/>
              </p:nvSpPr>
              <p:spPr>
                <a:xfrm>
                  <a:off x="3056813" y="4757266"/>
                  <a:ext cx="503517" cy="433502"/>
                </a:xfrm>
                <a:custGeom>
                  <a:avLst/>
                  <a:gdLst>
                    <a:gd name="csX0" fmla="*/ 404498 w 503517"/>
                    <a:gd name="csY0" fmla="*/ 12710 h 433502"/>
                    <a:gd name="csX1" fmla="*/ 400144 w 503517"/>
                    <a:gd name="csY1" fmla="*/ 736 h 433502"/>
                    <a:gd name="csX2" fmla="*/ 383817 w 503517"/>
                    <a:gd name="csY2" fmla="*/ 0 h 433502"/>
                    <a:gd name="csX3" fmla="*/ 383817 w 503517"/>
                    <a:gd name="csY3" fmla="*/ 9444 h 433502"/>
                    <a:gd name="csX4" fmla="*/ 361663 w 503517"/>
                    <a:gd name="csY4" fmla="*/ 22122 h 433502"/>
                    <a:gd name="csX5" fmla="*/ 355517 w 503517"/>
                    <a:gd name="csY5" fmla="*/ 23210 h 433502"/>
                    <a:gd name="csX6" fmla="*/ 349338 w 503517"/>
                    <a:gd name="csY6" fmla="*/ 13798 h 433502"/>
                    <a:gd name="csX7" fmla="*/ 321774 w 503517"/>
                    <a:gd name="csY7" fmla="*/ 20681 h 433502"/>
                    <a:gd name="csX8" fmla="*/ 316683 w 503517"/>
                    <a:gd name="csY8" fmla="*/ 56601 h 433502"/>
                    <a:gd name="csX9" fmla="*/ 293473 w 503517"/>
                    <a:gd name="csY9" fmla="*/ 47157 h 433502"/>
                    <a:gd name="csX10" fmla="*/ 294210 w 503517"/>
                    <a:gd name="csY10" fmla="*/ 54776 h 433502"/>
                    <a:gd name="csX11" fmla="*/ 287679 w 503517"/>
                    <a:gd name="csY11" fmla="*/ 62748 h 433502"/>
                    <a:gd name="csX12" fmla="*/ 290944 w 503517"/>
                    <a:gd name="csY12" fmla="*/ 68574 h 433502"/>
                    <a:gd name="csX13" fmla="*/ 285854 w 503517"/>
                    <a:gd name="csY13" fmla="*/ 69663 h 433502"/>
                    <a:gd name="csX14" fmla="*/ 277146 w 503517"/>
                    <a:gd name="csY14" fmla="*/ 60218 h 433502"/>
                    <a:gd name="csX15" fmla="*/ 264084 w 503517"/>
                    <a:gd name="csY15" fmla="*/ 56601 h 433502"/>
                    <a:gd name="csX16" fmla="*/ 258290 w 503517"/>
                    <a:gd name="csY16" fmla="*/ 60955 h 433502"/>
                    <a:gd name="csX17" fmla="*/ 246317 w 503517"/>
                    <a:gd name="csY17" fmla="*/ 54040 h 433502"/>
                    <a:gd name="csX18" fmla="*/ 238345 w 503517"/>
                    <a:gd name="csY18" fmla="*/ 58394 h 433502"/>
                    <a:gd name="csX19" fmla="*/ 230726 w 503517"/>
                    <a:gd name="csY19" fmla="*/ 56601 h 433502"/>
                    <a:gd name="csX20" fmla="*/ 222018 w 503517"/>
                    <a:gd name="csY20" fmla="*/ 49686 h 433502"/>
                    <a:gd name="csX21" fmla="*/ 205691 w 503517"/>
                    <a:gd name="csY21" fmla="*/ 32654 h 433502"/>
                    <a:gd name="csX22" fmla="*/ 206427 w 503517"/>
                    <a:gd name="csY22" fmla="*/ 19593 h 433502"/>
                    <a:gd name="csX23" fmla="*/ 196246 w 503517"/>
                    <a:gd name="csY23" fmla="*/ 28301 h 433502"/>
                    <a:gd name="csX24" fmla="*/ 207515 w 503517"/>
                    <a:gd name="csY24" fmla="*/ 62748 h 433502"/>
                    <a:gd name="csX25" fmla="*/ 196246 w 503517"/>
                    <a:gd name="csY25" fmla="*/ 76546 h 433502"/>
                    <a:gd name="csX26" fmla="*/ 203866 w 503517"/>
                    <a:gd name="csY26" fmla="*/ 84901 h 433502"/>
                    <a:gd name="csX27" fmla="*/ 190100 w 503517"/>
                    <a:gd name="csY27" fmla="*/ 111729 h 433502"/>
                    <a:gd name="csX28" fmla="*/ 179951 w 503517"/>
                    <a:gd name="csY28" fmla="*/ 117908 h 433502"/>
                    <a:gd name="csX29" fmla="*/ 175597 w 503517"/>
                    <a:gd name="csY29" fmla="*/ 128793 h 433502"/>
                    <a:gd name="csX30" fmla="*/ 169419 w 503517"/>
                    <a:gd name="csY30" fmla="*/ 136764 h 433502"/>
                    <a:gd name="csX31" fmla="*/ 177390 w 503517"/>
                    <a:gd name="csY31" fmla="*/ 139293 h 433502"/>
                    <a:gd name="csX32" fmla="*/ 184305 w 503517"/>
                    <a:gd name="csY32" fmla="*/ 161799 h 433502"/>
                    <a:gd name="csX33" fmla="*/ 198808 w 503517"/>
                    <a:gd name="csY33" fmla="*/ 166857 h 433502"/>
                    <a:gd name="csX34" fmla="*/ 198808 w 503517"/>
                    <a:gd name="csY34" fmla="*/ 180655 h 433502"/>
                    <a:gd name="csX35" fmla="*/ 210045 w 503517"/>
                    <a:gd name="csY35" fmla="*/ 185009 h 433502"/>
                    <a:gd name="csX36" fmla="*/ 196246 w 503517"/>
                    <a:gd name="csY36" fmla="*/ 197687 h 433502"/>
                    <a:gd name="csX37" fmla="*/ 191188 w 503517"/>
                    <a:gd name="csY37" fmla="*/ 195158 h 433502"/>
                    <a:gd name="csX38" fmla="*/ 182480 w 503517"/>
                    <a:gd name="csY38" fmla="*/ 207131 h 433502"/>
                    <a:gd name="csX39" fmla="*/ 171243 w 503517"/>
                    <a:gd name="csY39" fmla="*/ 214014 h 433502"/>
                    <a:gd name="csX40" fmla="*/ 162536 w 503517"/>
                    <a:gd name="csY40" fmla="*/ 207131 h 433502"/>
                    <a:gd name="csX41" fmla="*/ 161063 w 503517"/>
                    <a:gd name="csY41" fmla="*/ 218368 h 433502"/>
                    <a:gd name="csX42" fmla="*/ 154180 w 503517"/>
                    <a:gd name="csY42" fmla="*/ 218368 h 433502"/>
                    <a:gd name="csX43" fmla="*/ 146208 w 503517"/>
                    <a:gd name="csY43" fmla="*/ 195158 h 433502"/>
                    <a:gd name="csX44" fmla="*/ 138589 w 503517"/>
                    <a:gd name="csY44" fmla="*/ 192629 h 433502"/>
                    <a:gd name="csX45" fmla="*/ 128441 w 503517"/>
                    <a:gd name="csY45" fmla="*/ 193365 h 433502"/>
                    <a:gd name="csX46" fmla="*/ 120437 w 503517"/>
                    <a:gd name="csY46" fmla="*/ 187539 h 433502"/>
                    <a:gd name="csX47" fmla="*/ 105935 w 503517"/>
                    <a:gd name="csY47" fmla="*/ 196983 h 433502"/>
                    <a:gd name="csX48" fmla="*/ 104110 w 503517"/>
                    <a:gd name="csY48" fmla="*/ 203866 h 433502"/>
                    <a:gd name="csX49" fmla="*/ 105935 w 503517"/>
                    <a:gd name="csY49" fmla="*/ 208956 h 433502"/>
                    <a:gd name="csX50" fmla="*/ 99756 w 503517"/>
                    <a:gd name="csY50" fmla="*/ 214014 h 433502"/>
                    <a:gd name="csX51" fmla="*/ 105198 w 503517"/>
                    <a:gd name="csY51" fmla="*/ 228901 h 433502"/>
                    <a:gd name="csX52" fmla="*/ 98315 w 503517"/>
                    <a:gd name="csY52" fmla="*/ 231430 h 433502"/>
                    <a:gd name="csX53" fmla="*/ 99756 w 503517"/>
                    <a:gd name="csY53" fmla="*/ 239786 h 433502"/>
                    <a:gd name="csX54" fmla="*/ 92873 w 503517"/>
                    <a:gd name="csY54" fmla="*/ 246669 h 433502"/>
                    <a:gd name="csX55" fmla="*/ 92873 w 503517"/>
                    <a:gd name="csY55" fmla="*/ 256113 h 433502"/>
                    <a:gd name="csX56" fmla="*/ 77634 w 503517"/>
                    <a:gd name="csY56" fmla="*/ 264820 h 433502"/>
                    <a:gd name="csX57" fmla="*/ 61307 w 503517"/>
                    <a:gd name="csY57" fmla="*/ 262259 h 433502"/>
                    <a:gd name="csX58" fmla="*/ 58426 w 503517"/>
                    <a:gd name="csY58" fmla="*/ 267350 h 433502"/>
                    <a:gd name="csX59" fmla="*/ 54424 w 503517"/>
                    <a:gd name="csY59" fmla="*/ 265909 h 433502"/>
                    <a:gd name="csX60" fmla="*/ 48245 w 503517"/>
                    <a:gd name="csY60" fmla="*/ 279323 h 433502"/>
                    <a:gd name="csX61" fmla="*/ 34479 w 503517"/>
                    <a:gd name="csY61" fmla="*/ 286206 h 433502"/>
                    <a:gd name="csX62" fmla="*/ 11269 w 503517"/>
                    <a:gd name="csY62" fmla="*/ 308712 h 433502"/>
                    <a:gd name="csX63" fmla="*/ 0 w 503517"/>
                    <a:gd name="csY63" fmla="*/ 306151 h 433502"/>
                    <a:gd name="csX64" fmla="*/ 3650 w 503517"/>
                    <a:gd name="csY64" fmla="*/ 311241 h 433502"/>
                    <a:gd name="csX65" fmla="*/ 15623 w 503517"/>
                    <a:gd name="csY65" fmla="*/ 324303 h 433502"/>
                    <a:gd name="csX66" fmla="*/ 41362 w 503517"/>
                    <a:gd name="csY66" fmla="*/ 315595 h 433502"/>
                    <a:gd name="csX67" fmla="*/ 81636 w 503517"/>
                    <a:gd name="csY67" fmla="*/ 323214 h 433502"/>
                    <a:gd name="csX68" fmla="*/ 96491 w 503517"/>
                    <a:gd name="csY68" fmla="*/ 323214 h 433502"/>
                    <a:gd name="csX69" fmla="*/ 110289 w 503517"/>
                    <a:gd name="csY69" fmla="*/ 341366 h 433502"/>
                    <a:gd name="csX70" fmla="*/ 124087 w 503517"/>
                    <a:gd name="csY70" fmla="*/ 346425 h 433502"/>
                    <a:gd name="csX71" fmla="*/ 119733 w 503517"/>
                    <a:gd name="csY71" fmla="*/ 352603 h 433502"/>
                    <a:gd name="csX72" fmla="*/ 120437 w 503517"/>
                    <a:gd name="csY72" fmla="*/ 363136 h 433502"/>
                    <a:gd name="csX73" fmla="*/ 127352 w 503517"/>
                    <a:gd name="csY73" fmla="*/ 360223 h 433502"/>
                    <a:gd name="csX74" fmla="*/ 129881 w 503517"/>
                    <a:gd name="csY74" fmla="*/ 364576 h 433502"/>
                    <a:gd name="csX75" fmla="*/ 135324 w 503517"/>
                    <a:gd name="csY75" fmla="*/ 357693 h 433502"/>
                    <a:gd name="csX76" fmla="*/ 154916 w 503517"/>
                    <a:gd name="csY76" fmla="*/ 363840 h 433502"/>
                    <a:gd name="csX77" fmla="*/ 159270 w 503517"/>
                    <a:gd name="csY77" fmla="*/ 361311 h 433502"/>
                    <a:gd name="csX78" fmla="*/ 158534 w 503517"/>
                    <a:gd name="csY78" fmla="*/ 368930 h 433502"/>
                    <a:gd name="csX79" fmla="*/ 171243 w 503517"/>
                    <a:gd name="csY79" fmla="*/ 376550 h 433502"/>
                    <a:gd name="csX80" fmla="*/ 168682 w 503517"/>
                    <a:gd name="csY80" fmla="*/ 386346 h 433502"/>
                    <a:gd name="csX81" fmla="*/ 183217 w 503517"/>
                    <a:gd name="csY81" fmla="*/ 393965 h 433502"/>
                    <a:gd name="csX82" fmla="*/ 183217 w 503517"/>
                    <a:gd name="csY82" fmla="*/ 399760 h 433502"/>
                    <a:gd name="csX83" fmla="*/ 190100 w 503517"/>
                    <a:gd name="csY83" fmla="*/ 408468 h 433502"/>
                    <a:gd name="csX84" fmla="*/ 209308 w 503517"/>
                    <a:gd name="csY84" fmla="*/ 395758 h 433502"/>
                    <a:gd name="csX85" fmla="*/ 210781 w 503517"/>
                    <a:gd name="csY85" fmla="*/ 398319 h 433502"/>
                    <a:gd name="csX86" fmla="*/ 215135 w 503517"/>
                    <a:gd name="csY86" fmla="*/ 406643 h 433502"/>
                    <a:gd name="csX87" fmla="*/ 209308 w 503517"/>
                    <a:gd name="csY87" fmla="*/ 420441 h 433502"/>
                    <a:gd name="csX88" fmla="*/ 212574 w 503517"/>
                    <a:gd name="csY88" fmla="*/ 433503 h 433502"/>
                    <a:gd name="csX89" fmla="*/ 224547 w 503517"/>
                    <a:gd name="csY89" fmla="*/ 429149 h 433502"/>
                    <a:gd name="csX90" fmla="*/ 259026 w 503517"/>
                    <a:gd name="csY90" fmla="*/ 430942 h 433502"/>
                    <a:gd name="csX91" fmla="*/ 295298 w 503517"/>
                    <a:gd name="csY91" fmla="*/ 409556 h 433502"/>
                    <a:gd name="csX92" fmla="*/ 301093 w 503517"/>
                    <a:gd name="csY92" fmla="*/ 399024 h 433502"/>
                    <a:gd name="csX93" fmla="*/ 336660 w 503517"/>
                    <a:gd name="csY93" fmla="*/ 375077 h 433502"/>
                    <a:gd name="csX94" fmla="*/ 341014 w 503517"/>
                    <a:gd name="csY94" fmla="*/ 387050 h 433502"/>
                    <a:gd name="csX95" fmla="*/ 342455 w 503517"/>
                    <a:gd name="csY95" fmla="*/ 388875 h 433502"/>
                    <a:gd name="csX96" fmla="*/ 346809 w 503517"/>
                    <a:gd name="csY96" fmla="*/ 390316 h 433502"/>
                    <a:gd name="csX97" fmla="*/ 351867 w 503517"/>
                    <a:gd name="csY97" fmla="*/ 381992 h 433502"/>
                    <a:gd name="csX98" fmla="*/ 361663 w 503517"/>
                    <a:gd name="csY98" fmla="*/ 382696 h 433502"/>
                    <a:gd name="csX99" fmla="*/ 383081 w 503517"/>
                    <a:gd name="csY99" fmla="*/ 363136 h 433502"/>
                    <a:gd name="csX100" fmla="*/ 387435 w 503517"/>
                    <a:gd name="csY100" fmla="*/ 367106 h 433502"/>
                    <a:gd name="csX101" fmla="*/ 415735 w 503517"/>
                    <a:gd name="csY101" fmla="*/ 371460 h 433502"/>
                    <a:gd name="csX102" fmla="*/ 422618 w 503517"/>
                    <a:gd name="csY102" fmla="*/ 376550 h 433502"/>
                    <a:gd name="csX103" fmla="*/ 429501 w 503517"/>
                    <a:gd name="csY103" fmla="*/ 373989 h 433502"/>
                    <a:gd name="csX104" fmla="*/ 452007 w 503517"/>
                    <a:gd name="csY104" fmla="*/ 375813 h 433502"/>
                    <a:gd name="csX105" fmla="*/ 457802 w 503517"/>
                    <a:gd name="csY105" fmla="*/ 379431 h 433502"/>
                    <a:gd name="csX106" fmla="*/ 489015 w 503517"/>
                    <a:gd name="csY106" fmla="*/ 368930 h 433502"/>
                    <a:gd name="csX107" fmla="*/ 503518 w 503517"/>
                    <a:gd name="csY107" fmla="*/ 357693 h 433502"/>
                    <a:gd name="csX108" fmla="*/ 497339 w 503517"/>
                    <a:gd name="csY108" fmla="*/ 350778 h 433502"/>
                    <a:gd name="csX109" fmla="*/ 490456 w 503517"/>
                    <a:gd name="csY109" fmla="*/ 336276 h 433502"/>
                    <a:gd name="csX110" fmla="*/ 493369 w 503517"/>
                    <a:gd name="csY110" fmla="*/ 326832 h 433502"/>
                    <a:gd name="csX111" fmla="*/ 478483 w 503517"/>
                    <a:gd name="csY111" fmla="*/ 301829 h 433502"/>
                    <a:gd name="csX112" fmla="*/ 469775 w 503517"/>
                    <a:gd name="csY112" fmla="*/ 301092 h 433502"/>
                    <a:gd name="csX113" fmla="*/ 467246 w 503517"/>
                    <a:gd name="csY113" fmla="*/ 294914 h 433502"/>
                    <a:gd name="csX114" fmla="*/ 454536 w 503517"/>
                    <a:gd name="csY114" fmla="*/ 298563 h 433502"/>
                    <a:gd name="csX115" fmla="*/ 449478 w 503517"/>
                    <a:gd name="csY115" fmla="*/ 288031 h 433502"/>
                    <a:gd name="csX116" fmla="*/ 437121 w 503517"/>
                    <a:gd name="csY116" fmla="*/ 284765 h 433502"/>
                    <a:gd name="csX117" fmla="*/ 438209 w 503517"/>
                    <a:gd name="csY117" fmla="*/ 278587 h 433502"/>
                    <a:gd name="csX118" fmla="*/ 430237 w 503517"/>
                    <a:gd name="csY118" fmla="*/ 273528 h 433502"/>
                    <a:gd name="csX119" fmla="*/ 421882 w 503517"/>
                    <a:gd name="csY119" fmla="*/ 253552 h 433502"/>
                    <a:gd name="csX120" fmla="*/ 422618 w 503517"/>
                    <a:gd name="csY120" fmla="*/ 202041 h 433502"/>
                    <a:gd name="csX121" fmla="*/ 439682 w 503517"/>
                    <a:gd name="csY121" fmla="*/ 130585 h 433502"/>
                    <a:gd name="csX122" fmla="*/ 447653 w 503517"/>
                    <a:gd name="csY122" fmla="*/ 95402 h 433502"/>
                    <a:gd name="csX123" fmla="*/ 445828 w 503517"/>
                    <a:gd name="csY123" fmla="*/ 90312 h 433502"/>
                    <a:gd name="csX124" fmla="*/ 435680 w 503517"/>
                    <a:gd name="csY124" fmla="*/ 85990 h 433502"/>
                    <a:gd name="csX125" fmla="*/ 407027 w 503517"/>
                    <a:gd name="csY125" fmla="*/ 65309 h 433502"/>
                    <a:gd name="csX126" fmla="*/ 401937 w 503517"/>
                    <a:gd name="csY126" fmla="*/ 34447 h 433502"/>
                    <a:gd name="csX127" fmla="*/ 404498 w 503517"/>
                    <a:gd name="csY127" fmla="*/ 12710 h 4335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</a:cxnLst>
                  <a:rect l="l" t="t" r="r" b="b"/>
                  <a:pathLst>
                    <a:path w="503517" h="433502">
                      <a:moveTo>
                        <a:pt x="404498" y="12710"/>
                      </a:moveTo>
                      <a:lnTo>
                        <a:pt x="400144" y="736"/>
                      </a:lnTo>
                      <a:lnTo>
                        <a:pt x="383817" y="0"/>
                      </a:lnTo>
                      <a:lnTo>
                        <a:pt x="383817" y="9444"/>
                      </a:lnTo>
                      <a:lnTo>
                        <a:pt x="361663" y="22122"/>
                      </a:lnTo>
                      <a:lnTo>
                        <a:pt x="355517" y="23210"/>
                      </a:lnTo>
                      <a:lnTo>
                        <a:pt x="349338" y="13798"/>
                      </a:lnTo>
                      <a:lnTo>
                        <a:pt x="321774" y="20681"/>
                      </a:lnTo>
                      <a:lnTo>
                        <a:pt x="316683" y="56601"/>
                      </a:lnTo>
                      <a:lnTo>
                        <a:pt x="293473" y="47157"/>
                      </a:lnTo>
                      <a:lnTo>
                        <a:pt x="294210" y="54776"/>
                      </a:lnTo>
                      <a:lnTo>
                        <a:pt x="287679" y="62748"/>
                      </a:lnTo>
                      <a:lnTo>
                        <a:pt x="290944" y="68574"/>
                      </a:lnTo>
                      <a:lnTo>
                        <a:pt x="285854" y="69663"/>
                      </a:lnTo>
                      <a:lnTo>
                        <a:pt x="277146" y="60218"/>
                      </a:lnTo>
                      <a:lnTo>
                        <a:pt x="264084" y="56601"/>
                      </a:lnTo>
                      <a:lnTo>
                        <a:pt x="258290" y="60955"/>
                      </a:lnTo>
                      <a:lnTo>
                        <a:pt x="246317" y="54040"/>
                      </a:lnTo>
                      <a:lnTo>
                        <a:pt x="238345" y="58394"/>
                      </a:lnTo>
                      <a:lnTo>
                        <a:pt x="230726" y="56601"/>
                      </a:lnTo>
                      <a:lnTo>
                        <a:pt x="222018" y="49686"/>
                      </a:lnTo>
                      <a:lnTo>
                        <a:pt x="205691" y="32654"/>
                      </a:lnTo>
                      <a:lnTo>
                        <a:pt x="206427" y="19593"/>
                      </a:lnTo>
                      <a:lnTo>
                        <a:pt x="196246" y="28301"/>
                      </a:lnTo>
                      <a:lnTo>
                        <a:pt x="207515" y="62748"/>
                      </a:lnTo>
                      <a:lnTo>
                        <a:pt x="196246" y="76546"/>
                      </a:lnTo>
                      <a:lnTo>
                        <a:pt x="203866" y="84901"/>
                      </a:lnTo>
                      <a:lnTo>
                        <a:pt x="190100" y="111729"/>
                      </a:lnTo>
                      <a:lnTo>
                        <a:pt x="179951" y="117908"/>
                      </a:lnTo>
                      <a:lnTo>
                        <a:pt x="175597" y="128793"/>
                      </a:lnTo>
                      <a:lnTo>
                        <a:pt x="169419" y="136764"/>
                      </a:lnTo>
                      <a:lnTo>
                        <a:pt x="177390" y="139293"/>
                      </a:lnTo>
                      <a:lnTo>
                        <a:pt x="184305" y="161799"/>
                      </a:lnTo>
                      <a:lnTo>
                        <a:pt x="198808" y="166857"/>
                      </a:lnTo>
                      <a:lnTo>
                        <a:pt x="198808" y="180655"/>
                      </a:lnTo>
                      <a:lnTo>
                        <a:pt x="210045" y="185009"/>
                      </a:lnTo>
                      <a:lnTo>
                        <a:pt x="196246" y="197687"/>
                      </a:lnTo>
                      <a:lnTo>
                        <a:pt x="191188" y="195158"/>
                      </a:lnTo>
                      <a:lnTo>
                        <a:pt x="182480" y="207131"/>
                      </a:lnTo>
                      <a:lnTo>
                        <a:pt x="171243" y="214014"/>
                      </a:lnTo>
                      <a:lnTo>
                        <a:pt x="162536" y="207131"/>
                      </a:lnTo>
                      <a:lnTo>
                        <a:pt x="161063" y="218368"/>
                      </a:lnTo>
                      <a:lnTo>
                        <a:pt x="154180" y="218368"/>
                      </a:lnTo>
                      <a:lnTo>
                        <a:pt x="146208" y="195158"/>
                      </a:lnTo>
                      <a:lnTo>
                        <a:pt x="138589" y="192629"/>
                      </a:lnTo>
                      <a:lnTo>
                        <a:pt x="128441" y="193365"/>
                      </a:lnTo>
                      <a:lnTo>
                        <a:pt x="120437" y="187539"/>
                      </a:lnTo>
                      <a:lnTo>
                        <a:pt x="105935" y="196983"/>
                      </a:lnTo>
                      <a:lnTo>
                        <a:pt x="104110" y="203866"/>
                      </a:lnTo>
                      <a:lnTo>
                        <a:pt x="105935" y="208956"/>
                      </a:lnTo>
                      <a:lnTo>
                        <a:pt x="99756" y="214014"/>
                      </a:lnTo>
                      <a:lnTo>
                        <a:pt x="105198" y="228901"/>
                      </a:lnTo>
                      <a:lnTo>
                        <a:pt x="98315" y="231430"/>
                      </a:lnTo>
                      <a:lnTo>
                        <a:pt x="99756" y="239786"/>
                      </a:lnTo>
                      <a:lnTo>
                        <a:pt x="92873" y="246669"/>
                      </a:lnTo>
                      <a:lnTo>
                        <a:pt x="92873" y="256113"/>
                      </a:lnTo>
                      <a:lnTo>
                        <a:pt x="77634" y="264820"/>
                      </a:lnTo>
                      <a:lnTo>
                        <a:pt x="61307" y="262259"/>
                      </a:lnTo>
                      <a:lnTo>
                        <a:pt x="58426" y="267350"/>
                      </a:lnTo>
                      <a:lnTo>
                        <a:pt x="54424" y="265909"/>
                      </a:lnTo>
                      <a:lnTo>
                        <a:pt x="48245" y="279323"/>
                      </a:lnTo>
                      <a:lnTo>
                        <a:pt x="34479" y="286206"/>
                      </a:lnTo>
                      <a:lnTo>
                        <a:pt x="11269" y="308712"/>
                      </a:lnTo>
                      <a:lnTo>
                        <a:pt x="0" y="306151"/>
                      </a:lnTo>
                      <a:lnTo>
                        <a:pt x="3650" y="311241"/>
                      </a:lnTo>
                      <a:lnTo>
                        <a:pt x="15623" y="324303"/>
                      </a:lnTo>
                      <a:lnTo>
                        <a:pt x="41362" y="315595"/>
                      </a:lnTo>
                      <a:lnTo>
                        <a:pt x="81636" y="323214"/>
                      </a:lnTo>
                      <a:lnTo>
                        <a:pt x="96491" y="323214"/>
                      </a:lnTo>
                      <a:lnTo>
                        <a:pt x="110289" y="341366"/>
                      </a:lnTo>
                      <a:lnTo>
                        <a:pt x="124087" y="346425"/>
                      </a:lnTo>
                      <a:lnTo>
                        <a:pt x="119733" y="352603"/>
                      </a:lnTo>
                      <a:lnTo>
                        <a:pt x="120437" y="363136"/>
                      </a:lnTo>
                      <a:lnTo>
                        <a:pt x="127352" y="360223"/>
                      </a:lnTo>
                      <a:lnTo>
                        <a:pt x="129881" y="364576"/>
                      </a:lnTo>
                      <a:lnTo>
                        <a:pt x="135324" y="357693"/>
                      </a:lnTo>
                      <a:lnTo>
                        <a:pt x="154916" y="363840"/>
                      </a:lnTo>
                      <a:lnTo>
                        <a:pt x="159270" y="361311"/>
                      </a:lnTo>
                      <a:lnTo>
                        <a:pt x="158534" y="368930"/>
                      </a:lnTo>
                      <a:lnTo>
                        <a:pt x="171243" y="376550"/>
                      </a:lnTo>
                      <a:lnTo>
                        <a:pt x="168682" y="386346"/>
                      </a:lnTo>
                      <a:lnTo>
                        <a:pt x="183217" y="393965"/>
                      </a:lnTo>
                      <a:lnTo>
                        <a:pt x="183217" y="399760"/>
                      </a:lnTo>
                      <a:lnTo>
                        <a:pt x="190100" y="408468"/>
                      </a:lnTo>
                      <a:lnTo>
                        <a:pt x="209308" y="395758"/>
                      </a:lnTo>
                      <a:lnTo>
                        <a:pt x="210781" y="398319"/>
                      </a:lnTo>
                      <a:lnTo>
                        <a:pt x="215135" y="406643"/>
                      </a:lnTo>
                      <a:lnTo>
                        <a:pt x="209308" y="420441"/>
                      </a:lnTo>
                      <a:lnTo>
                        <a:pt x="212574" y="433503"/>
                      </a:lnTo>
                      <a:lnTo>
                        <a:pt x="224547" y="429149"/>
                      </a:lnTo>
                      <a:lnTo>
                        <a:pt x="259026" y="430942"/>
                      </a:lnTo>
                      <a:lnTo>
                        <a:pt x="295298" y="409556"/>
                      </a:lnTo>
                      <a:lnTo>
                        <a:pt x="301093" y="399024"/>
                      </a:lnTo>
                      <a:lnTo>
                        <a:pt x="336660" y="375077"/>
                      </a:lnTo>
                      <a:lnTo>
                        <a:pt x="341014" y="387050"/>
                      </a:lnTo>
                      <a:lnTo>
                        <a:pt x="342455" y="388875"/>
                      </a:lnTo>
                      <a:lnTo>
                        <a:pt x="346809" y="390316"/>
                      </a:lnTo>
                      <a:lnTo>
                        <a:pt x="351867" y="381992"/>
                      </a:lnTo>
                      <a:lnTo>
                        <a:pt x="361663" y="382696"/>
                      </a:lnTo>
                      <a:lnTo>
                        <a:pt x="383081" y="363136"/>
                      </a:lnTo>
                      <a:lnTo>
                        <a:pt x="387435" y="367106"/>
                      </a:lnTo>
                      <a:lnTo>
                        <a:pt x="415735" y="371460"/>
                      </a:lnTo>
                      <a:lnTo>
                        <a:pt x="422618" y="376550"/>
                      </a:lnTo>
                      <a:lnTo>
                        <a:pt x="429501" y="373989"/>
                      </a:lnTo>
                      <a:lnTo>
                        <a:pt x="452007" y="375813"/>
                      </a:lnTo>
                      <a:lnTo>
                        <a:pt x="457802" y="379431"/>
                      </a:lnTo>
                      <a:lnTo>
                        <a:pt x="489015" y="368930"/>
                      </a:lnTo>
                      <a:lnTo>
                        <a:pt x="503518" y="357693"/>
                      </a:lnTo>
                      <a:lnTo>
                        <a:pt x="497339" y="350778"/>
                      </a:lnTo>
                      <a:lnTo>
                        <a:pt x="490456" y="336276"/>
                      </a:lnTo>
                      <a:lnTo>
                        <a:pt x="493369" y="326832"/>
                      </a:lnTo>
                      <a:lnTo>
                        <a:pt x="478483" y="301829"/>
                      </a:lnTo>
                      <a:lnTo>
                        <a:pt x="469775" y="301092"/>
                      </a:lnTo>
                      <a:lnTo>
                        <a:pt x="467246" y="294914"/>
                      </a:lnTo>
                      <a:lnTo>
                        <a:pt x="454536" y="298563"/>
                      </a:lnTo>
                      <a:lnTo>
                        <a:pt x="449478" y="288031"/>
                      </a:lnTo>
                      <a:lnTo>
                        <a:pt x="437121" y="284765"/>
                      </a:lnTo>
                      <a:lnTo>
                        <a:pt x="438209" y="278587"/>
                      </a:lnTo>
                      <a:lnTo>
                        <a:pt x="430237" y="273528"/>
                      </a:lnTo>
                      <a:lnTo>
                        <a:pt x="421882" y="253552"/>
                      </a:lnTo>
                      <a:lnTo>
                        <a:pt x="422618" y="202041"/>
                      </a:lnTo>
                      <a:lnTo>
                        <a:pt x="439682" y="130585"/>
                      </a:lnTo>
                      <a:lnTo>
                        <a:pt x="447653" y="95402"/>
                      </a:lnTo>
                      <a:lnTo>
                        <a:pt x="445828" y="90312"/>
                      </a:lnTo>
                      <a:lnTo>
                        <a:pt x="435680" y="85990"/>
                      </a:lnTo>
                      <a:lnTo>
                        <a:pt x="407027" y="65309"/>
                      </a:lnTo>
                      <a:lnTo>
                        <a:pt x="401937" y="34447"/>
                      </a:lnTo>
                      <a:lnTo>
                        <a:pt x="404498" y="1271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6" name="Forma Livre: Forma 375">
                  <a:extLst>
                    <a:ext uri="{FF2B5EF4-FFF2-40B4-BE49-F238E27FC236}">
                      <a16:creationId xmlns:a16="http://schemas.microsoft.com/office/drawing/2014/main" id="{23591FF4-8F88-E8A1-F177-BA061BEBA520}"/>
                    </a:ext>
                  </a:extLst>
                </p:cNvPr>
                <p:cNvSpPr/>
                <p:nvPr/>
              </p:nvSpPr>
              <p:spPr>
                <a:xfrm>
                  <a:off x="3056813" y="4757266"/>
                  <a:ext cx="503517" cy="433502"/>
                </a:xfrm>
                <a:custGeom>
                  <a:avLst/>
                  <a:gdLst>
                    <a:gd name="csX0" fmla="*/ 404498 w 503517"/>
                    <a:gd name="csY0" fmla="*/ 12710 h 433502"/>
                    <a:gd name="csX1" fmla="*/ 400144 w 503517"/>
                    <a:gd name="csY1" fmla="*/ 736 h 433502"/>
                    <a:gd name="csX2" fmla="*/ 383817 w 503517"/>
                    <a:gd name="csY2" fmla="*/ 0 h 433502"/>
                    <a:gd name="csX3" fmla="*/ 383817 w 503517"/>
                    <a:gd name="csY3" fmla="*/ 9444 h 433502"/>
                    <a:gd name="csX4" fmla="*/ 361663 w 503517"/>
                    <a:gd name="csY4" fmla="*/ 22122 h 433502"/>
                    <a:gd name="csX5" fmla="*/ 355517 w 503517"/>
                    <a:gd name="csY5" fmla="*/ 23210 h 433502"/>
                    <a:gd name="csX6" fmla="*/ 349338 w 503517"/>
                    <a:gd name="csY6" fmla="*/ 13798 h 433502"/>
                    <a:gd name="csX7" fmla="*/ 321774 w 503517"/>
                    <a:gd name="csY7" fmla="*/ 20681 h 433502"/>
                    <a:gd name="csX8" fmla="*/ 316683 w 503517"/>
                    <a:gd name="csY8" fmla="*/ 56601 h 433502"/>
                    <a:gd name="csX9" fmla="*/ 293473 w 503517"/>
                    <a:gd name="csY9" fmla="*/ 47157 h 433502"/>
                    <a:gd name="csX10" fmla="*/ 294210 w 503517"/>
                    <a:gd name="csY10" fmla="*/ 54776 h 433502"/>
                    <a:gd name="csX11" fmla="*/ 287679 w 503517"/>
                    <a:gd name="csY11" fmla="*/ 62748 h 433502"/>
                    <a:gd name="csX12" fmla="*/ 290944 w 503517"/>
                    <a:gd name="csY12" fmla="*/ 68574 h 433502"/>
                    <a:gd name="csX13" fmla="*/ 285854 w 503517"/>
                    <a:gd name="csY13" fmla="*/ 69663 h 433502"/>
                    <a:gd name="csX14" fmla="*/ 277146 w 503517"/>
                    <a:gd name="csY14" fmla="*/ 60218 h 433502"/>
                    <a:gd name="csX15" fmla="*/ 264084 w 503517"/>
                    <a:gd name="csY15" fmla="*/ 56601 h 433502"/>
                    <a:gd name="csX16" fmla="*/ 258290 w 503517"/>
                    <a:gd name="csY16" fmla="*/ 60955 h 433502"/>
                    <a:gd name="csX17" fmla="*/ 246317 w 503517"/>
                    <a:gd name="csY17" fmla="*/ 54040 h 433502"/>
                    <a:gd name="csX18" fmla="*/ 238345 w 503517"/>
                    <a:gd name="csY18" fmla="*/ 58394 h 433502"/>
                    <a:gd name="csX19" fmla="*/ 230726 w 503517"/>
                    <a:gd name="csY19" fmla="*/ 56601 h 433502"/>
                    <a:gd name="csX20" fmla="*/ 222018 w 503517"/>
                    <a:gd name="csY20" fmla="*/ 49686 h 433502"/>
                    <a:gd name="csX21" fmla="*/ 205691 w 503517"/>
                    <a:gd name="csY21" fmla="*/ 32654 h 433502"/>
                    <a:gd name="csX22" fmla="*/ 206427 w 503517"/>
                    <a:gd name="csY22" fmla="*/ 19593 h 433502"/>
                    <a:gd name="csX23" fmla="*/ 196246 w 503517"/>
                    <a:gd name="csY23" fmla="*/ 28301 h 433502"/>
                    <a:gd name="csX24" fmla="*/ 207515 w 503517"/>
                    <a:gd name="csY24" fmla="*/ 62748 h 433502"/>
                    <a:gd name="csX25" fmla="*/ 196246 w 503517"/>
                    <a:gd name="csY25" fmla="*/ 76546 h 433502"/>
                    <a:gd name="csX26" fmla="*/ 203866 w 503517"/>
                    <a:gd name="csY26" fmla="*/ 84901 h 433502"/>
                    <a:gd name="csX27" fmla="*/ 190100 w 503517"/>
                    <a:gd name="csY27" fmla="*/ 111729 h 433502"/>
                    <a:gd name="csX28" fmla="*/ 179951 w 503517"/>
                    <a:gd name="csY28" fmla="*/ 117908 h 433502"/>
                    <a:gd name="csX29" fmla="*/ 175597 w 503517"/>
                    <a:gd name="csY29" fmla="*/ 128793 h 433502"/>
                    <a:gd name="csX30" fmla="*/ 169419 w 503517"/>
                    <a:gd name="csY30" fmla="*/ 136764 h 433502"/>
                    <a:gd name="csX31" fmla="*/ 177390 w 503517"/>
                    <a:gd name="csY31" fmla="*/ 139293 h 433502"/>
                    <a:gd name="csX32" fmla="*/ 184305 w 503517"/>
                    <a:gd name="csY32" fmla="*/ 161799 h 433502"/>
                    <a:gd name="csX33" fmla="*/ 198808 w 503517"/>
                    <a:gd name="csY33" fmla="*/ 166857 h 433502"/>
                    <a:gd name="csX34" fmla="*/ 198808 w 503517"/>
                    <a:gd name="csY34" fmla="*/ 180655 h 433502"/>
                    <a:gd name="csX35" fmla="*/ 210045 w 503517"/>
                    <a:gd name="csY35" fmla="*/ 185009 h 433502"/>
                    <a:gd name="csX36" fmla="*/ 196246 w 503517"/>
                    <a:gd name="csY36" fmla="*/ 197687 h 433502"/>
                    <a:gd name="csX37" fmla="*/ 191188 w 503517"/>
                    <a:gd name="csY37" fmla="*/ 195158 h 433502"/>
                    <a:gd name="csX38" fmla="*/ 182480 w 503517"/>
                    <a:gd name="csY38" fmla="*/ 207131 h 433502"/>
                    <a:gd name="csX39" fmla="*/ 171243 w 503517"/>
                    <a:gd name="csY39" fmla="*/ 214014 h 433502"/>
                    <a:gd name="csX40" fmla="*/ 162536 w 503517"/>
                    <a:gd name="csY40" fmla="*/ 207131 h 433502"/>
                    <a:gd name="csX41" fmla="*/ 161063 w 503517"/>
                    <a:gd name="csY41" fmla="*/ 218368 h 433502"/>
                    <a:gd name="csX42" fmla="*/ 154180 w 503517"/>
                    <a:gd name="csY42" fmla="*/ 218368 h 433502"/>
                    <a:gd name="csX43" fmla="*/ 146208 w 503517"/>
                    <a:gd name="csY43" fmla="*/ 195158 h 433502"/>
                    <a:gd name="csX44" fmla="*/ 138589 w 503517"/>
                    <a:gd name="csY44" fmla="*/ 192629 h 433502"/>
                    <a:gd name="csX45" fmla="*/ 128441 w 503517"/>
                    <a:gd name="csY45" fmla="*/ 193365 h 433502"/>
                    <a:gd name="csX46" fmla="*/ 120437 w 503517"/>
                    <a:gd name="csY46" fmla="*/ 187539 h 433502"/>
                    <a:gd name="csX47" fmla="*/ 105935 w 503517"/>
                    <a:gd name="csY47" fmla="*/ 196983 h 433502"/>
                    <a:gd name="csX48" fmla="*/ 104110 w 503517"/>
                    <a:gd name="csY48" fmla="*/ 203866 h 433502"/>
                    <a:gd name="csX49" fmla="*/ 105935 w 503517"/>
                    <a:gd name="csY49" fmla="*/ 208956 h 433502"/>
                    <a:gd name="csX50" fmla="*/ 99756 w 503517"/>
                    <a:gd name="csY50" fmla="*/ 214014 h 433502"/>
                    <a:gd name="csX51" fmla="*/ 105198 w 503517"/>
                    <a:gd name="csY51" fmla="*/ 228901 h 433502"/>
                    <a:gd name="csX52" fmla="*/ 98315 w 503517"/>
                    <a:gd name="csY52" fmla="*/ 231430 h 433502"/>
                    <a:gd name="csX53" fmla="*/ 99756 w 503517"/>
                    <a:gd name="csY53" fmla="*/ 239786 h 433502"/>
                    <a:gd name="csX54" fmla="*/ 92873 w 503517"/>
                    <a:gd name="csY54" fmla="*/ 246669 h 433502"/>
                    <a:gd name="csX55" fmla="*/ 92873 w 503517"/>
                    <a:gd name="csY55" fmla="*/ 256113 h 433502"/>
                    <a:gd name="csX56" fmla="*/ 77634 w 503517"/>
                    <a:gd name="csY56" fmla="*/ 264820 h 433502"/>
                    <a:gd name="csX57" fmla="*/ 61307 w 503517"/>
                    <a:gd name="csY57" fmla="*/ 262259 h 433502"/>
                    <a:gd name="csX58" fmla="*/ 58426 w 503517"/>
                    <a:gd name="csY58" fmla="*/ 267350 h 433502"/>
                    <a:gd name="csX59" fmla="*/ 54424 w 503517"/>
                    <a:gd name="csY59" fmla="*/ 265909 h 433502"/>
                    <a:gd name="csX60" fmla="*/ 48245 w 503517"/>
                    <a:gd name="csY60" fmla="*/ 279323 h 433502"/>
                    <a:gd name="csX61" fmla="*/ 34479 w 503517"/>
                    <a:gd name="csY61" fmla="*/ 286206 h 433502"/>
                    <a:gd name="csX62" fmla="*/ 11269 w 503517"/>
                    <a:gd name="csY62" fmla="*/ 308712 h 433502"/>
                    <a:gd name="csX63" fmla="*/ 0 w 503517"/>
                    <a:gd name="csY63" fmla="*/ 306151 h 433502"/>
                    <a:gd name="csX64" fmla="*/ 3650 w 503517"/>
                    <a:gd name="csY64" fmla="*/ 311241 h 433502"/>
                    <a:gd name="csX65" fmla="*/ 15623 w 503517"/>
                    <a:gd name="csY65" fmla="*/ 324303 h 433502"/>
                    <a:gd name="csX66" fmla="*/ 41362 w 503517"/>
                    <a:gd name="csY66" fmla="*/ 315595 h 433502"/>
                    <a:gd name="csX67" fmla="*/ 81636 w 503517"/>
                    <a:gd name="csY67" fmla="*/ 323214 h 433502"/>
                    <a:gd name="csX68" fmla="*/ 96491 w 503517"/>
                    <a:gd name="csY68" fmla="*/ 323214 h 433502"/>
                    <a:gd name="csX69" fmla="*/ 110289 w 503517"/>
                    <a:gd name="csY69" fmla="*/ 341366 h 433502"/>
                    <a:gd name="csX70" fmla="*/ 124087 w 503517"/>
                    <a:gd name="csY70" fmla="*/ 346425 h 433502"/>
                    <a:gd name="csX71" fmla="*/ 119733 w 503517"/>
                    <a:gd name="csY71" fmla="*/ 352603 h 433502"/>
                    <a:gd name="csX72" fmla="*/ 120437 w 503517"/>
                    <a:gd name="csY72" fmla="*/ 363136 h 433502"/>
                    <a:gd name="csX73" fmla="*/ 127352 w 503517"/>
                    <a:gd name="csY73" fmla="*/ 360223 h 433502"/>
                    <a:gd name="csX74" fmla="*/ 129881 w 503517"/>
                    <a:gd name="csY74" fmla="*/ 364576 h 433502"/>
                    <a:gd name="csX75" fmla="*/ 135324 w 503517"/>
                    <a:gd name="csY75" fmla="*/ 357693 h 433502"/>
                    <a:gd name="csX76" fmla="*/ 154916 w 503517"/>
                    <a:gd name="csY76" fmla="*/ 363840 h 433502"/>
                    <a:gd name="csX77" fmla="*/ 159270 w 503517"/>
                    <a:gd name="csY77" fmla="*/ 361311 h 433502"/>
                    <a:gd name="csX78" fmla="*/ 158534 w 503517"/>
                    <a:gd name="csY78" fmla="*/ 368930 h 433502"/>
                    <a:gd name="csX79" fmla="*/ 171243 w 503517"/>
                    <a:gd name="csY79" fmla="*/ 376550 h 433502"/>
                    <a:gd name="csX80" fmla="*/ 168682 w 503517"/>
                    <a:gd name="csY80" fmla="*/ 386346 h 433502"/>
                    <a:gd name="csX81" fmla="*/ 183217 w 503517"/>
                    <a:gd name="csY81" fmla="*/ 393965 h 433502"/>
                    <a:gd name="csX82" fmla="*/ 183217 w 503517"/>
                    <a:gd name="csY82" fmla="*/ 399760 h 433502"/>
                    <a:gd name="csX83" fmla="*/ 190100 w 503517"/>
                    <a:gd name="csY83" fmla="*/ 408468 h 433502"/>
                    <a:gd name="csX84" fmla="*/ 209308 w 503517"/>
                    <a:gd name="csY84" fmla="*/ 395758 h 433502"/>
                    <a:gd name="csX85" fmla="*/ 210781 w 503517"/>
                    <a:gd name="csY85" fmla="*/ 398319 h 433502"/>
                    <a:gd name="csX86" fmla="*/ 215135 w 503517"/>
                    <a:gd name="csY86" fmla="*/ 406643 h 433502"/>
                    <a:gd name="csX87" fmla="*/ 209308 w 503517"/>
                    <a:gd name="csY87" fmla="*/ 420441 h 433502"/>
                    <a:gd name="csX88" fmla="*/ 212574 w 503517"/>
                    <a:gd name="csY88" fmla="*/ 433503 h 433502"/>
                    <a:gd name="csX89" fmla="*/ 224547 w 503517"/>
                    <a:gd name="csY89" fmla="*/ 429149 h 433502"/>
                    <a:gd name="csX90" fmla="*/ 259026 w 503517"/>
                    <a:gd name="csY90" fmla="*/ 430942 h 433502"/>
                    <a:gd name="csX91" fmla="*/ 295298 w 503517"/>
                    <a:gd name="csY91" fmla="*/ 409556 h 433502"/>
                    <a:gd name="csX92" fmla="*/ 301093 w 503517"/>
                    <a:gd name="csY92" fmla="*/ 399024 h 433502"/>
                    <a:gd name="csX93" fmla="*/ 336660 w 503517"/>
                    <a:gd name="csY93" fmla="*/ 375077 h 433502"/>
                    <a:gd name="csX94" fmla="*/ 341014 w 503517"/>
                    <a:gd name="csY94" fmla="*/ 387050 h 433502"/>
                    <a:gd name="csX95" fmla="*/ 342455 w 503517"/>
                    <a:gd name="csY95" fmla="*/ 388875 h 433502"/>
                    <a:gd name="csX96" fmla="*/ 346809 w 503517"/>
                    <a:gd name="csY96" fmla="*/ 390316 h 433502"/>
                    <a:gd name="csX97" fmla="*/ 351867 w 503517"/>
                    <a:gd name="csY97" fmla="*/ 381992 h 433502"/>
                    <a:gd name="csX98" fmla="*/ 361663 w 503517"/>
                    <a:gd name="csY98" fmla="*/ 382696 h 433502"/>
                    <a:gd name="csX99" fmla="*/ 383081 w 503517"/>
                    <a:gd name="csY99" fmla="*/ 363136 h 433502"/>
                    <a:gd name="csX100" fmla="*/ 387435 w 503517"/>
                    <a:gd name="csY100" fmla="*/ 367106 h 433502"/>
                    <a:gd name="csX101" fmla="*/ 415735 w 503517"/>
                    <a:gd name="csY101" fmla="*/ 371460 h 433502"/>
                    <a:gd name="csX102" fmla="*/ 422618 w 503517"/>
                    <a:gd name="csY102" fmla="*/ 376550 h 433502"/>
                    <a:gd name="csX103" fmla="*/ 429501 w 503517"/>
                    <a:gd name="csY103" fmla="*/ 373989 h 433502"/>
                    <a:gd name="csX104" fmla="*/ 452007 w 503517"/>
                    <a:gd name="csY104" fmla="*/ 375813 h 433502"/>
                    <a:gd name="csX105" fmla="*/ 457802 w 503517"/>
                    <a:gd name="csY105" fmla="*/ 379431 h 433502"/>
                    <a:gd name="csX106" fmla="*/ 489015 w 503517"/>
                    <a:gd name="csY106" fmla="*/ 368930 h 433502"/>
                    <a:gd name="csX107" fmla="*/ 503518 w 503517"/>
                    <a:gd name="csY107" fmla="*/ 357693 h 433502"/>
                    <a:gd name="csX108" fmla="*/ 497339 w 503517"/>
                    <a:gd name="csY108" fmla="*/ 350778 h 433502"/>
                    <a:gd name="csX109" fmla="*/ 490456 w 503517"/>
                    <a:gd name="csY109" fmla="*/ 336276 h 433502"/>
                    <a:gd name="csX110" fmla="*/ 493369 w 503517"/>
                    <a:gd name="csY110" fmla="*/ 326832 h 433502"/>
                    <a:gd name="csX111" fmla="*/ 478483 w 503517"/>
                    <a:gd name="csY111" fmla="*/ 301829 h 433502"/>
                    <a:gd name="csX112" fmla="*/ 469775 w 503517"/>
                    <a:gd name="csY112" fmla="*/ 301092 h 433502"/>
                    <a:gd name="csX113" fmla="*/ 467246 w 503517"/>
                    <a:gd name="csY113" fmla="*/ 294914 h 433502"/>
                    <a:gd name="csX114" fmla="*/ 454536 w 503517"/>
                    <a:gd name="csY114" fmla="*/ 298563 h 433502"/>
                    <a:gd name="csX115" fmla="*/ 449478 w 503517"/>
                    <a:gd name="csY115" fmla="*/ 288031 h 433502"/>
                    <a:gd name="csX116" fmla="*/ 437121 w 503517"/>
                    <a:gd name="csY116" fmla="*/ 284765 h 433502"/>
                    <a:gd name="csX117" fmla="*/ 438209 w 503517"/>
                    <a:gd name="csY117" fmla="*/ 278587 h 433502"/>
                    <a:gd name="csX118" fmla="*/ 430237 w 503517"/>
                    <a:gd name="csY118" fmla="*/ 273528 h 433502"/>
                    <a:gd name="csX119" fmla="*/ 421882 w 503517"/>
                    <a:gd name="csY119" fmla="*/ 253552 h 433502"/>
                    <a:gd name="csX120" fmla="*/ 422618 w 503517"/>
                    <a:gd name="csY120" fmla="*/ 202041 h 433502"/>
                    <a:gd name="csX121" fmla="*/ 439682 w 503517"/>
                    <a:gd name="csY121" fmla="*/ 130585 h 433502"/>
                    <a:gd name="csX122" fmla="*/ 447653 w 503517"/>
                    <a:gd name="csY122" fmla="*/ 95402 h 433502"/>
                    <a:gd name="csX123" fmla="*/ 445828 w 503517"/>
                    <a:gd name="csY123" fmla="*/ 90312 h 433502"/>
                    <a:gd name="csX124" fmla="*/ 435680 w 503517"/>
                    <a:gd name="csY124" fmla="*/ 85990 h 433502"/>
                    <a:gd name="csX125" fmla="*/ 407027 w 503517"/>
                    <a:gd name="csY125" fmla="*/ 65309 h 433502"/>
                    <a:gd name="csX126" fmla="*/ 401937 w 503517"/>
                    <a:gd name="csY126" fmla="*/ 34447 h 433502"/>
                    <a:gd name="csX127" fmla="*/ 404498 w 503517"/>
                    <a:gd name="csY127" fmla="*/ 12710 h 4335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</a:cxnLst>
                  <a:rect l="l" t="t" r="r" b="b"/>
                  <a:pathLst>
                    <a:path w="503517" h="433502">
                      <a:moveTo>
                        <a:pt x="404498" y="12710"/>
                      </a:moveTo>
                      <a:lnTo>
                        <a:pt x="400144" y="736"/>
                      </a:lnTo>
                      <a:lnTo>
                        <a:pt x="383817" y="0"/>
                      </a:lnTo>
                      <a:lnTo>
                        <a:pt x="383817" y="9444"/>
                      </a:lnTo>
                      <a:lnTo>
                        <a:pt x="361663" y="22122"/>
                      </a:lnTo>
                      <a:lnTo>
                        <a:pt x="355517" y="23210"/>
                      </a:lnTo>
                      <a:lnTo>
                        <a:pt x="349338" y="13798"/>
                      </a:lnTo>
                      <a:lnTo>
                        <a:pt x="321774" y="20681"/>
                      </a:lnTo>
                      <a:lnTo>
                        <a:pt x="316683" y="56601"/>
                      </a:lnTo>
                      <a:lnTo>
                        <a:pt x="293473" y="47157"/>
                      </a:lnTo>
                      <a:lnTo>
                        <a:pt x="294210" y="54776"/>
                      </a:lnTo>
                      <a:lnTo>
                        <a:pt x="287679" y="62748"/>
                      </a:lnTo>
                      <a:lnTo>
                        <a:pt x="290944" y="68574"/>
                      </a:lnTo>
                      <a:lnTo>
                        <a:pt x="285854" y="69663"/>
                      </a:lnTo>
                      <a:lnTo>
                        <a:pt x="277146" y="60218"/>
                      </a:lnTo>
                      <a:lnTo>
                        <a:pt x="264084" y="56601"/>
                      </a:lnTo>
                      <a:lnTo>
                        <a:pt x="258290" y="60955"/>
                      </a:lnTo>
                      <a:lnTo>
                        <a:pt x="246317" y="54040"/>
                      </a:lnTo>
                      <a:lnTo>
                        <a:pt x="238345" y="58394"/>
                      </a:lnTo>
                      <a:lnTo>
                        <a:pt x="230726" y="56601"/>
                      </a:lnTo>
                      <a:lnTo>
                        <a:pt x="222018" y="49686"/>
                      </a:lnTo>
                      <a:lnTo>
                        <a:pt x="205691" y="32654"/>
                      </a:lnTo>
                      <a:lnTo>
                        <a:pt x="206427" y="19593"/>
                      </a:lnTo>
                      <a:lnTo>
                        <a:pt x="196246" y="28301"/>
                      </a:lnTo>
                      <a:lnTo>
                        <a:pt x="207515" y="62748"/>
                      </a:lnTo>
                      <a:lnTo>
                        <a:pt x="196246" y="76546"/>
                      </a:lnTo>
                      <a:lnTo>
                        <a:pt x="203866" y="84901"/>
                      </a:lnTo>
                      <a:lnTo>
                        <a:pt x="190100" y="111729"/>
                      </a:lnTo>
                      <a:lnTo>
                        <a:pt x="179951" y="117908"/>
                      </a:lnTo>
                      <a:lnTo>
                        <a:pt x="175597" y="128793"/>
                      </a:lnTo>
                      <a:lnTo>
                        <a:pt x="169419" y="136764"/>
                      </a:lnTo>
                      <a:lnTo>
                        <a:pt x="177390" y="139293"/>
                      </a:lnTo>
                      <a:lnTo>
                        <a:pt x="184305" y="161799"/>
                      </a:lnTo>
                      <a:lnTo>
                        <a:pt x="198808" y="166857"/>
                      </a:lnTo>
                      <a:lnTo>
                        <a:pt x="198808" y="180655"/>
                      </a:lnTo>
                      <a:lnTo>
                        <a:pt x="210045" y="185009"/>
                      </a:lnTo>
                      <a:lnTo>
                        <a:pt x="196246" y="197687"/>
                      </a:lnTo>
                      <a:lnTo>
                        <a:pt x="191188" y="195158"/>
                      </a:lnTo>
                      <a:lnTo>
                        <a:pt x="182480" y="207131"/>
                      </a:lnTo>
                      <a:lnTo>
                        <a:pt x="171243" y="214014"/>
                      </a:lnTo>
                      <a:lnTo>
                        <a:pt x="162536" y="207131"/>
                      </a:lnTo>
                      <a:lnTo>
                        <a:pt x="161063" y="218368"/>
                      </a:lnTo>
                      <a:lnTo>
                        <a:pt x="154180" y="218368"/>
                      </a:lnTo>
                      <a:lnTo>
                        <a:pt x="146208" y="195158"/>
                      </a:lnTo>
                      <a:lnTo>
                        <a:pt x="138589" y="192629"/>
                      </a:lnTo>
                      <a:lnTo>
                        <a:pt x="128441" y="193365"/>
                      </a:lnTo>
                      <a:lnTo>
                        <a:pt x="120437" y="187539"/>
                      </a:lnTo>
                      <a:lnTo>
                        <a:pt x="105935" y="196983"/>
                      </a:lnTo>
                      <a:lnTo>
                        <a:pt x="104110" y="203866"/>
                      </a:lnTo>
                      <a:lnTo>
                        <a:pt x="105935" y="208956"/>
                      </a:lnTo>
                      <a:lnTo>
                        <a:pt x="99756" y="214014"/>
                      </a:lnTo>
                      <a:lnTo>
                        <a:pt x="105198" y="228901"/>
                      </a:lnTo>
                      <a:lnTo>
                        <a:pt x="98315" y="231430"/>
                      </a:lnTo>
                      <a:lnTo>
                        <a:pt x="99756" y="239786"/>
                      </a:lnTo>
                      <a:lnTo>
                        <a:pt x="92873" y="246669"/>
                      </a:lnTo>
                      <a:lnTo>
                        <a:pt x="92873" y="256113"/>
                      </a:lnTo>
                      <a:lnTo>
                        <a:pt x="77634" y="264820"/>
                      </a:lnTo>
                      <a:lnTo>
                        <a:pt x="61307" y="262259"/>
                      </a:lnTo>
                      <a:lnTo>
                        <a:pt x="58426" y="267350"/>
                      </a:lnTo>
                      <a:lnTo>
                        <a:pt x="54424" y="265909"/>
                      </a:lnTo>
                      <a:lnTo>
                        <a:pt x="48245" y="279323"/>
                      </a:lnTo>
                      <a:lnTo>
                        <a:pt x="34479" y="286206"/>
                      </a:lnTo>
                      <a:lnTo>
                        <a:pt x="11269" y="308712"/>
                      </a:lnTo>
                      <a:lnTo>
                        <a:pt x="0" y="306151"/>
                      </a:lnTo>
                      <a:lnTo>
                        <a:pt x="3650" y="311241"/>
                      </a:lnTo>
                      <a:lnTo>
                        <a:pt x="15623" y="324303"/>
                      </a:lnTo>
                      <a:lnTo>
                        <a:pt x="41362" y="315595"/>
                      </a:lnTo>
                      <a:lnTo>
                        <a:pt x="81636" y="323214"/>
                      </a:lnTo>
                      <a:lnTo>
                        <a:pt x="96491" y="323214"/>
                      </a:lnTo>
                      <a:lnTo>
                        <a:pt x="110289" y="341366"/>
                      </a:lnTo>
                      <a:lnTo>
                        <a:pt x="124087" y="346425"/>
                      </a:lnTo>
                      <a:lnTo>
                        <a:pt x="119733" y="352603"/>
                      </a:lnTo>
                      <a:lnTo>
                        <a:pt x="120437" y="363136"/>
                      </a:lnTo>
                      <a:lnTo>
                        <a:pt x="127352" y="360223"/>
                      </a:lnTo>
                      <a:lnTo>
                        <a:pt x="129881" y="364576"/>
                      </a:lnTo>
                      <a:lnTo>
                        <a:pt x="135324" y="357693"/>
                      </a:lnTo>
                      <a:lnTo>
                        <a:pt x="154916" y="363840"/>
                      </a:lnTo>
                      <a:lnTo>
                        <a:pt x="159270" y="361311"/>
                      </a:lnTo>
                      <a:lnTo>
                        <a:pt x="158534" y="368930"/>
                      </a:lnTo>
                      <a:lnTo>
                        <a:pt x="171243" y="376550"/>
                      </a:lnTo>
                      <a:lnTo>
                        <a:pt x="168682" y="386346"/>
                      </a:lnTo>
                      <a:lnTo>
                        <a:pt x="183217" y="393965"/>
                      </a:lnTo>
                      <a:lnTo>
                        <a:pt x="183217" y="399760"/>
                      </a:lnTo>
                      <a:lnTo>
                        <a:pt x="190100" y="408468"/>
                      </a:lnTo>
                      <a:lnTo>
                        <a:pt x="209308" y="395758"/>
                      </a:lnTo>
                      <a:lnTo>
                        <a:pt x="210781" y="398319"/>
                      </a:lnTo>
                      <a:lnTo>
                        <a:pt x="215135" y="406643"/>
                      </a:lnTo>
                      <a:lnTo>
                        <a:pt x="209308" y="420441"/>
                      </a:lnTo>
                      <a:lnTo>
                        <a:pt x="212574" y="433503"/>
                      </a:lnTo>
                      <a:lnTo>
                        <a:pt x="224547" y="429149"/>
                      </a:lnTo>
                      <a:lnTo>
                        <a:pt x="259026" y="430942"/>
                      </a:lnTo>
                      <a:lnTo>
                        <a:pt x="295298" y="409556"/>
                      </a:lnTo>
                      <a:lnTo>
                        <a:pt x="301093" y="399024"/>
                      </a:lnTo>
                      <a:lnTo>
                        <a:pt x="336660" y="375077"/>
                      </a:lnTo>
                      <a:lnTo>
                        <a:pt x="341014" y="387050"/>
                      </a:lnTo>
                      <a:lnTo>
                        <a:pt x="342455" y="388875"/>
                      </a:lnTo>
                      <a:lnTo>
                        <a:pt x="346809" y="390316"/>
                      </a:lnTo>
                      <a:lnTo>
                        <a:pt x="351867" y="381992"/>
                      </a:lnTo>
                      <a:lnTo>
                        <a:pt x="361663" y="382696"/>
                      </a:lnTo>
                      <a:lnTo>
                        <a:pt x="383081" y="363136"/>
                      </a:lnTo>
                      <a:lnTo>
                        <a:pt x="387435" y="367106"/>
                      </a:lnTo>
                      <a:lnTo>
                        <a:pt x="415735" y="371460"/>
                      </a:lnTo>
                      <a:lnTo>
                        <a:pt x="422618" y="376550"/>
                      </a:lnTo>
                      <a:lnTo>
                        <a:pt x="429501" y="373989"/>
                      </a:lnTo>
                      <a:lnTo>
                        <a:pt x="452007" y="375813"/>
                      </a:lnTo>
                      <a:lnTo>
                        <a:pt x="457802" y="379431"/>
                      </a:lnTo>
                      <a:lnTo>
                        <a:pt x="489015" y="368930"/>
                      </a:lnTo>
                      <a:lnTo>
                        <a:pt x="503518" y="357693"/>
                      </a:lnTo>
                      <a:lnTo>
                        <a:pt x="497339" y="350778"/>
                      </a:lnTo>
                      <a:lnTo>
                        <a:pt x="490456" y="336276"/>
                      </a:lnTo>
                      <a:lnTo>
                        <a:pt x="493369" y="326832"/>
                      </a:lnTo>
                      <a:lnTo>
                        <a:pt x="478483" y="301829"/>
                      </a:lnTo>
                      <a:lnTo>
                        <a:pt x="469775" y="301092"/>
                      </a:lnTo>
                      <a:lnTo>
                        <a:pt x="467246" y="294914"/>
                      </a:lnTo>
                      <a:lnTo>
                        <a:pt x="454536" y="298563"/>
                      </a:lnTo>
                      <a:lnTo>
                        <a:pt x="449478" y="288031"/>
                      </a:lnTo>
                      <a:lnTo>
                        <a:pt x="437121" y="284765"/>
                      </a:lnTo>
                      <a:lnTo>
                        <a:pt x="438209" y="278587"/>
                      </a:lnTo>
                      <a:lnTo>
                        <a:pt x="430237" y="273528"/>
                      </a:lnTo>
                      <a:lnTo>
                        <a:pt x="421882" y="253552"/>
                      </a:lnTo>
                      <a:lnTo>
                        <a:pt x="422618" y="202041"/>
                      </a:lnTo>
                      <a:lnTo>
                        <a:pt x="439682" y="130585"/>
                      </a:lnTo>
                      <a:lnTo>
                        <a:pt x="447653" y="95402"/>
                      </a:lnTo>
                      <a:lnTo>
                        <a:pt x="445828" y="90312"/>
                      </a:lnTo>
                      <a:lnTo>
                        <a:pt x="435680" y="85990"/>
                      </a:lnTo>
                      <a:lnTo>
                        <a:pt x="407027" y="65309"/>
                      </a:lnTo>
                      <a:lnTo>
                        <a:pt x="401937" y="34447"/>
                      </a:lnTo>
                      <a:lnTo>
                        <a:pt x="404498" y="1271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7" name="Forma Livre: Forma 376">
                  <a:extLst>
                    <a:ext uri="{FF2B5EF4-FFF2-40B4-BE49-F238E27FC236}">
                      <a16:creationId xmlns:a16="http://schemas.microsoft.com/office/drawing/2014/main" id="{05CF3709-5689-1634-7A54-FC1D77D80075}"/>
                    </a:ext>
                  </a:extLst>
                </p:cNvPr>
                <p:cNvSpPr/>
                <p:nvPr/>
              </p:nvSpPr>
              <p:spPr>
                <a:xfrm>
                  <a:off x="2681736" y="4758706"/>
                  <a:ext cx="585121" cy="372547"/>
                </a:xfrm>
                <a:custGeom>
                  <a:avLst/>
                  <a:gdLst>
                    <a:gd name="csX0" fmla="*/ 518020 w 585121"/>
                    <a:gd name="csY0" fmla="*/ 31214 h 372547"/>
                    <a:gd name="csX1" fmla="*/ 524167 w 585121"/>
                    <a:gd name="csY1" fmla="*/ 19945 h 372547"/>
                    <a:gd name="csX2" fmla="*/ 520549 w 585121"/>
                    <a:gd name="csY2" fmla="*/ 8708 h 372547"/>
                    <a:gd name="csX3" fmla="*/ 526728 w 585121"/>
                    <a:gd name="csY3" fmla="*/ 1825 h 372547"/>
                    <a:gd name="csX4" fmla="*/ 523078 w 585121"/>
                    <a:gd name="csY4" fmla="*/ 0 h 372547"/>
                    <a:gd name="csX5" fmla="*/ 519813 w 585121"/>
                    <a:gd name="csY5" fmla="*/ 0 h 372547"/>
                    <a:gd name="csX6" fmla="*/ 500605 w 585121"/>
                    <a:gd name="csY6" fmla="*/ 13798 h 372547"/>
                    <a:gd name="csX7" fmla="*/ 492985 w 585121"/>
                    <a:gd name="csY7" fmla="*/ 33007 h 372547"/>
                    <a:gd name="csX8" fmla="*/ 481748 w 585121"/>
                    <a:gd name="csY8" fmla="*/ 21770 h 372547"/>
                    <a:gd name="csX9" fmla="*/ 469775 w 585121"/>
                    <a:gd name="csY9" fmla="*/ 27564 h 372547"/>
                    <a:gd name="csX10" fmla="*/ 465421 w 585121"/>
                    <a:gd name="csY10" fmla="*/ 31918 h 372547"/>
                    <a:gd name="csX11" fmla="*/ 467950 w 585121"/>
                    <a:gd name="csY11" fmla="*/ 38097 h 372547"/>
                    <a:gd name="csX12" fmla="*/ 455977 w 585121"/>
                    <a:gd name="csY12" fmla="*/ 45716 h 372547"/>
                    <a:gd name="csX13" fmla="*/ 441474 w 585121"/>
                    <a:gd name="csY13" fmla="*/ 37008 h 372547"/>
                    <a:gd name="csX14" fmla="*/ 425884 w 585121"/>
                    <a:gd name="csY14" fmla="*/ 50070 h 372547"/>
                    <a:gd name="csX15" fmla="*/ 423322 w 585121"/>
                    <a:gd name="csY15" fmla="*/ 47541 h 372547"/>
                    <a:gd name="csX16" fmla="*/ 417176 w 585121"/>
                    <a:gd name="csY16" fmla="*/ 42451 h 372547"/>
                    <a:gd name="csX17" fmla="*/ 406995 w 585121"/>
                    <a:gd name="csY17" fmla="*/ 43891 h 372547"/>
                    <a:gd name="csX18" fmla="*/ 395758 w 585121"/>
                    <a:gd name="csY18" fmla="*/ 51895 h 372547"/>
                    <a:gd name="csX19" fmla="*/ 385610 w 585121"/>
                    <a:gd name="csY19" fmla="*/ 48245 h 372547"/>
                    <a:gd name="csX20" fmla="*/ 340630 w 585121"/>
                    <a:gd name="csY20" fmla="*/ 61307 h 372547"/>
                    <a:gd name="csX21" fmla="*/ 347513 w 585121"/>
                    <a:gd name="csY21" fmla="*/ 46452 h 372547"/>
                    <a:gd name="csX22" fmla="*/ 338805 w 585121"/>
                    <a:gd name="csY22" fmla="*/ 43187 h 372547"/>
                    <a:gd name="csX23" fmla="*/ 337365 w 585121"/>
                    <a:gd name="csY23" fmla="*/ 38097 h 372547"/>
                    <a:gd name="csX24" fmla="*/ 356221 w 585121"/>
                    <a:gd name="csY24" fmla="*/ 26860 h 372547"/>
                    <a:gd name="csX25" fmla="*/ 345720 w 585121"/>
                    <a:gd name="csY25" fmla="*/ 19945 h 372547"/>
                    <a:gd name="csX26" fmla="*/ 338805 w 585121"/>
                    <a:gd name="csY26" fmla="*/ 24299 h 372547"/>
                    <a:gd name="csX27" fmla="*/ 333715 w 585121"/>
                    <a:gd name="csY27" fmla="*/ 21770 h 372547"/>
                    <a:gd name="csX28" fmla="*/ 319213 w 585121"/>
                    <a:gd name="csY28" fmla="*/ 26860 h 372547"/>
                    <a:gd name="csX29" fmla="*/ 308712 w 585121"/>
                    <a:gd name="csY29" fmla="*/ 39537 h 372547"/>
                    <a:gd name="csX30" fmla="*/ 296739 w 585121"/>
                    <a:gd name="csY30" fmla="*/ 43891 h 372547"/>
                    <a:gd name="csX31" fmla="*/ 278587 w 585121"/>
                    <a:gd name="csY31" fmla="*/ 53335 h 372547"/>
                    <a:gd name="csX32" fmla="*/ 271704 w 585121"/>
                    <a:gd name="csY32" fmla="*/ 53335 h 372547"/>
                    <a:gd name="csX33" fmla="*/ 262260 w 585121"/>
                    <a:gd name="csY33" fmla="*/ 45716 h 372547"/>
                    <a:gd name="csX34" fmla="*/ 247021 w 585121"/>
                    <a:gd name="csY34" fmla="*/ 50806 h 372547"/>
                    <a:gd name="csX35" fmla="*/ 234695 w 585121"/>
                    <a:gd name="csY35" fmla="*/ 63132 h 372547"/>
                    <a:gd name="csX36" fmla="*/ 231430 w 585121"/>
                    <a:gd name="csY36" fmla="*/ 75105 h 372547"/>
                    <a:gd name="csX37" fmla="*/ 222722 w 585121"/>
                    <a:gd name="csY37" fmla="*/ 89607 h 372547"/>
                    <a:gd name="csX38" fmla="*/ 223811 w 585121"/>
                    <a:gd name="csY38" fmla="*/ 100844 h 372547"/>
                    <a:gd name="csX39" fmla="*/ 218368 w 585121"/>
                    <a:gd name="csY39" fmla="*/ 105198 h 372547"/>
                    <a:gd name="csX40" fmla="*/ 207131 w 585121"/>
                    <a:gd name="csY40" fmla="*/ 113554 h 372547"/>
                    <a:gd name="csX41" fmla="*/ 198776 w 585121"/>
                    <a:gd name="csY41" fmla="*/ 110289 h 372547"/>
                    <a:gd name="csX42" fmla="*/ 190068 w 585121"/>
                    <a:gd name="csY42" fmla="*/ 126616 h 372547"/>
                    <a:gd name="csX43" fmla="*/ 177006 w 585121"/>
                    <a:gd name="csY43" fmla="*/ 130970 h 372547"/>
                    <a:gd name="csX44" fmla="*/ 166153 w 585121"/>
                    <a:gd name="csY44" fmla="*/ 145472 h 372547"/>
                    <a:gd name="csX45" fmla="*/ 153091 w 585121"/>
                    <a:gd name="csY45" fmla="*/ 144736 h 372547"/>
                    <a:gd name="csX46" fmla="*/ 133115 w 585121"/>
                    <a:gd name="csY46" fmla="*/ 154916 h 372547"/>
                    <a:gd name="csX47" fmla="*/ 122230 w 585121"/>
                    <a:gd name="csY47" fmla="*/ 154180 h 372547"/>
                    <a:gd name="csX48" fmla="*/ 117876 w 585121"/>
                    <a:gd name="csY48" fmla="*/ 170507 h 372547"/>
                    <a:gd name="csX49" fmla="*/ 117876 w 585121"/>
                    <a:gd name="csY49" fmla="*/ 188627 h 372547"/>
                    <a:gd name="csX50" fmla="*/ 114258 w 585121"/>
                    <a:gd name="csY50" fmla="*/ 186098 h 372547"/>
                    <a:gd name="csX51" fmla="*/ 109200 w 585121"/>
                    <a:gd name="csY51" fmla="*/ 190452 h 372547"/>
                    <a:gd name="csX52" fmla="*/ 97931 w 585121"/>
                    <a:gd name="csY52" fmla="*/ 192981 h 372547"/>
                    <a:gd name="csX53" fmla="*/ 93577 w 585121"/>
                    <a:gd name="csY53" fmla="*/ 207515 h 372547"/>
                    <a:gd name="csX54" fmla="*/ 83429 w 585121"/>
                    <a:gd name="csY54" fmla="*/ 209308 h 372547"/>
                    <a:gd name="csX55" fmla="*/ 83429 w 585121"/>
                    <a:gd name="csY55" fmla="*/ 219489 h 372547"/>
                    <a:gd name="csX56" fmla="*/ 72896 w 585121"/>
                    <a:gd name="csY56" fmla="*/ 218752 h 372547"/>
                    <a:gd name="csX57" fmla="*/ 67102 w 585121"/>
                    <a:gd name="csY57" fmla="*/ 232550 h 372547"/>
                    <a:gd name="csX58" fmla="*/ 53335 w 585121"/>
                    <a:gd name="csY58" fmla="*/ 238345 h 372547"/>
                    <a:gd name="csX59" fmla="*/ 48982 w 585121"/>
                    <a:gd name="csY59" fmla="*/ 233991 h 372547"/>
                    <a:gd name="csX60" fmla="*/ 48245 w 585121"/>
                    <a:gd name="csY60" fmla="*/ 216928 h 372547"/>
                    <a:gd name="csX61" fmla="*/ 37008 w 585121"/>
                    <a:gd name="csY61" fmla="*/ 221281 h 372547"/>
                    <a:gd name="csX62" fmla="*/ 32654 w 585121"/>
                    <a:gd name="csY62" fmla="*/ 216928 h 372547"/>
                    <a:gd name="csX63" fmla="*/ 33359 w 585121"/>
                    <a:gd name="csY63" fmla="*/ 221281 h 372547"/>
                    <a:gd name="csX64" fmla="*/ 28301 w 585121"/>
                    <a:gd name="csY64" fmla="*/ 222018 h 372547"/>
                    <a:gd name="csX65" fmla="*/ 27564 w 585121"/>
                    <a:gd name="csY65" fmla="*/ 228196 h 372547"/>
                    <a:gd name="csX66" fmla="*/ 14502 w 585121"/>
                    <a:gd name="csY66" fmla="*/ 229989 h 372547"/>
                    <a:gd name="csX67" fmla="*/ 0 w 585121"/>
                    <a:gd name="csY67" fmla="*/ 247053 h 372547"/>
                    <a:gd name="csX68" fmla="*/ 0 w 585121"/>
                    <a:gd name="csY68" fmla="*/ 253199 h 372547"/>
                    <a:gd name="csX69" fmla="*/ 9412 w 585121"/>
                    <a:gd name="csY69" fmla="*/ 260114 h 372547"/>
                    <a:gd name="csX70" fmla="*/ 17768 w 585121"/>
                    <a:gd name="csY70" fmla="*/ 260819 h 372547"/>
                    <a:gd name="csX71" fmla="*/ 19593 w 585121"/>
                    <a:gd name="csY71" fmla="*/ 268438 h 372547"/>
                    <a:gd name="csX72" fmla="*/ 24651 w 585121"/>
                    <a:gd name="csY72" fmla="*/ 270263 h 372547"/>
                    <a:gd name="csX73" fmla="*/ 23947 w 585121"/>
                    <a:gd name="csY73" fmla="*/ 290944 h 372547"/>
                    <a:gd name="csX74" fmla="*/ 19593 w 585121"/>
                    <a:gd name="csY74" fmla="*/ 299652 h 372547"/>
                    <a:gd name="csX75" fmla="*/ 30093 w 585121"/>
                    <a:gd name="csY75" fmla="*/ 304006 h 372547"/>
                    <a:gd name="csX76" fmla="*/ 28301 w 585121"/>
                    <a:gd name="csY76" fmla="*/ 321037 h 372547"/>
                    <a:gd name="csX77" fmla="*/ 22122 w 585121"/>
                    <a:gd name="csY77" fmla="*/ 327216 h 372547"/>
                    <a:gd name="csX78" fmla="*/ 35920 w 585121"/>
                    <a:gd name="csY78" fmla="*/ 329745 h 372547"/>
                    <a:gd name="csX79" fmla="*/ 41362 w 585121"/>
                    <a:gd name="csY79" fmla="*/ 335572 h 372547"/>
                    <a:gd name="csX80" fmla="*/ 38449 w 585121"/>
                    <a:gd name="csY80" fmla="*/ 339926 h 372547"/>
                    <a:gd name="csX81" fmla="*/ 49686 w 585121"/>
                    <a:gd name="csY81" fmla="*/ 346072 h 372547"/>
                    <a:gd name="csX82" fmla="*/ 46420 w 585121"/>
                    <a:gd name="csY82" fmla="*/ 355516 h 372547"/>
                    <a:gd name="csX83" fmla="*/ 59130 w 585121"/>
                    <a:gd name="csY83" fmla="*/ 364929 h 372547"/>
                    <a:gd name="csX84" fmla="*/ 64572 w 585121"/>
                    <a:gd name="csY84" fmla="*/ 358045 h 372547"/>
                    <a:gd name="csX85" fmla="*/ 72896 w 585121"/>
                    <a:gd name="csY85" fmla="*/ 372548 h 372547"/>
                    <a:gd name="csX86" fmla="*/ 82340 w 585121"/>
                    <a:gd name="csY86" fmla="*/ 364224 h 372547"/>
                    <a:gd name="csX87" fmla="*/ 90312 w 585121"/>
                    <a:gd name="csY87" fmla="*/ 351899 h 372547"/>
                    <a:gd name="csX88" fmla="*/ 88519 w 585121"/>
                    <a:gd name="csY88" fmla="*/ 341718 h 372547"/>
                    <a:gd name="csX89" fmla="*/ 83429 w 585121"/>
                    <a:gd name="csY89" fmla="*/ 337365 h 372547"/>
                    <a:gd name="csX90" fmla="*/ 88519 w 585121"/>
                    <a:gd name="csY90" fmla="*/ 326128 h 372547"/>
                    <a:gd name="csX91" fmla="*/ 103021 w 585121"/>
                    <a:gd name="csY91" fmla="*/ 321774 h 372547"/>
                    <a:gd name="csX92" fmla="*/ 129145 w 585121"/>
                    <a:gd name="csY92" fmla="*/ 336660 h 372547"/>
                    <a:gd name="csX93" fmla="*/ 145472 w 585121"/>
                    <a:gd name="csY93" fmla="*/ 332306 h 372547"/>
                    <a:gd name="csX94" fmla="*/ 153091 w 585121"/>
                    <a:gd name="csY94" fmla="*/ 341718 h 372547"/>
                    <a:gd name="csX95" fmla="*/ 176302 w 585121"/>
                    <a:gd name="csY95" fmla="*/ 334099 h 372547"/>
                    <a:gd name="csX96" fmla="*/ 185714 w 585121"/>
                    <a:gd name="csY96" fmla="*/ 341014 h 372547"/>
                    <a:gd name="csX97" fmla="*/ 190068 w 585121"/>
                    <a:gd name="csY97" fmla="*/ 332306 h 372547"/>
                    <a:gd name="csX98" fmla="*/ 199512 w 585121"/>
                    <a:gd name="csY98" fmla="*/ 330481 h 372547"/>
                    <a:gd name="csX99" fmla="*/ 201337 w 585121"/>
                    <a:gd name="csY99" fmla="*/ 326128 h 372547"/>
                    <a:gd name="csX100" fmla="*/ 215839 w 585121"/>
                    <a:gd name="csY100" fmla="*/ 327952 h 372547"/>
                    <a:gd name="csX101" fmla="*/ 218368 w 585121"/>
                    <a:gd name="csY101" fmla="*/ 321037 h 372547"/>
                    <a:gd name="csX102" fmla="*/ 231430 w 585121"/>
                    <a:gd name="csY102" fmla="*/ 326128 h 372547"/>
                    <a:gd name="csX103" fmla="*/ 243403 w 585121"/>
                    <a:gd name="csY103" fmla="*/ 315979 h 372547"/>
                    <a:gd name="csX104" fmla="*/ 269175 w 585121"/>
                    <a:gd name="csY104" fmla="*/ 305446 h 372547"/>
                    <a:gd name="csX105" fmla="*/ 266613 w 585121"/>
                    <a:gd name="csY105" fmla="*/ 297827 h 372547"/>
                    <a:gd name="csX106" fmla="*/ 286558 w 585121"/>
                    <a:gd name="csY106" fmla="*/ 288415 h 372547"/>
                    <a:gd name="csX107" fmla="*/ 297827 w 585121"/>
                    <a:gd name="csY107" fmla="*/ 302181 h 372547"/>
                    <a:gd name="csX108" fmla="*/ 307239 w 585121"/>
                    <a:gd name="csY108" fmla="*/ 300356 h 372547"/>
                    <a:gd name="csX109" fmla="*/ 312330 w 585121"/>
                    <a:gd name="csY109" fmla="*/ 289119 h 372547"/>
                    <a:gd name="csX110" fmla="*/ 328657 w 585121"/>
                    <a:gd name="csY110" fmla="*/ 289119 h 372547"/>
                    <a:gd name="csX111" fmla="*/ 331186 w 585121"/>
                    <a:gd name="csY111" fmla="*/ 283325 h 372547"/>
                    <a:gd name="csX112" fmla="*/ 336276 w 585121"/>
                    <a:gd name="csY112" fmla="*/ 286590 h 372547"/>
                    <a:gd name="csX113" fmla="*/ 352603 w 585121"/>
                    <a:gd name="csY113" fmla="*/ 284061 h 372547"/>
                    <a:gd name="csX114" fmla="*/ 358750 w 585121"/>
                    <a:gd name="csY114" fmla="*/ 273881 h 372547"/>
                    <a:gd name="csX115" fmla="*/ 363104 w 585121"/>
                    <a:gd name="csY115" fmla="*/ 278971 h 372547"/>
                    <a:gd name="csX116" fmla="*/ 358046 w 585121"/>
                    <a:gd name="csY116" fmla="*/ 293473 h 372547"/>
                    <a:gd name="csX117" fmla="*/ 366369 w 585121"/>
                    <a:gd name="csY117" fmla="*/ 294562 h 372547"/>
                    <a:gd name="csX118" fmla="*/ 375077 w 585121"/>
                    <a:gd name="csY118" fmla="*/ 304710 h 372547"/>
                    <a:gd name="csX119" fmla="*/ 386346 w 585121"/>
                    <a:gd name="csY119" fmla="*/ 307271 h 372547"/>
                    <a:gd name="csX120" fmla="*/ 409556 w 585121"/>
                    <a:gd name="csY120" fmla="*/ 284765 h 372547"/>
                    <a:gd name="csX121" fmla="*/ 423322 w 585121"/>
                    <a:gd name="csY121" fmla="*/ 277882 h 372547"/>
                    <a:gd name="csX122" fmla="*/ 429501 w 585121"/>
                    <a:gd name="csY122" fmla="*/ 264468 h 372547"/>
                    <a:gd name="csX123" fmla="*/ 433503 w 585121"/>
                    <a:gd name="csY123" fmla="*/ 265909 h 372547"/>
                    <a:gd name="csX124" fmla="*/ 436384 w 585121"/>
                    <a:gd name="csY124" fmla="*/ 260819 h 372547"/>
                    <a:gd name="csX125" fmla="*/ 452711 w 585121"/>
                    <a:gd name="csY125" fmla="*/ 263380 h 372547"/>
                    <a:gd name="csX126" fmla="*/ 467950 w 585121"/>
                    <a:gd name="csY126" fmla="*/ 254672 h 372547"/>
                    <a:gd name="csX127" fmla="*/ 467950 w 585121"/>
                    <a:gd name="csY127" fmla="*/ 245228 h 372547"/>
                    <a:gd name="csX128" fmla="*/ 474833 w 585121"/>
                    <a:gd name="csY128" fmla="*/ 238345 h 372547"/>
                    <a:gd name="csX129" fmla="*/ 473393 w 585121"/>
                    <a:gd name="csY129" fmla="*/ 229989 h 372547"/>
                    <a:gd name="csX130" fmla="*/ 480276 w 585121"/>
                    <a:gd name="csY130" fmla="*/ 227460 h 372547"/>
                    <a:gd name="csX131" fmla="*/ 474833 w 585121"/>
                    <a:gd name="csY131" fmla="*/ 212573 h 372547"/>
                    <a:gd name="csX132" fmla="*/ 481012 w 585121"/>
                    <a:gd name="csY132" fmla="*/ 207515 h 372547"/>
                    <a:gd name="csX133" fmla="*/ 479187 w 585121"/>
                    <a:gd name="csY133" fmla="*/ 202425 h 372547"/>
                    <a:gd name="csX134" fmla="*/ 481012 w 585121"/>
                    <a:gd name="csY134" fmla="*/ 195542 h 372547"/>
                    <a:gd name="csX135" fmla="*/ 495514 w 585121"/>
                    <a:gd name="csY135" fmla="*/ 186098 h 372547"/>
                    <a:gd name="csX136" fmla="*/ 503486 w 585121"/>
                    <a:gd name="csY136" fmla="*/ 191892 h 372547"/>
                    <a:gd name="csX137" fmla="*/ 513666 w 585121"/>
                    <a:gd name="csY137" fmla="*/ 191188 h 372547"/>
                    <a:gd name="csX138" fmla="*/ 521286 w 585121"/>
                    <a:gd name="csY138" fmla="*/ 193717 h 372547"/>
                    <a:gd name="csX139" fmla="*/ 529257 w 585121"/>
                    <a:gd name="csY139" fmla="*/ 216928 h 372547"/>
                    <a:gd name="csX140" fmla="*/ 536140 w 585121"/>
                    <a:gd name="csY140" fmla="*/ 216928 h 372547"/>
                    <a:gd name="csX141" fmla="*/ 537613 w 585121"/>
                    <a:gd name="csY141" fmla="*/ 205691 h 372547"/>
                    <a:gd name="csX142" fmla="*/ 546321 w 585121"/>
                    <a:gd name="csY142" fmla="*/ 212573 h 372547"/>
                    <a:gd name="csX143" fmla="*/ 557558 w 585121"/>
                    <a:gd name="csY143" fmla="*/ 205691 h 372547"/>
                    <a:gd name="csX144" fmla="*/ 566265 w 585121"/>
                    <a:gd name="csY144" fmla="*/ 193717 h 372547"/>
                    <a:gd name="csX145" fmla="*/ 571324 w 585121"/>
                    <a:gd name="csY145" fmla="*/ 196246 h 372547"/>
                    <a:gd name="csX146" fmla="*/ 585122 w 585121"/>
                    <a:gd name="csY146" fmla="*/ 183569 h 372547"/>
                    <a:gd name="csX147" fmla="*/ 573885 w 585121"/>
                    <a:gd name="csY147" fmla="*/ 179215 h 372547"/>
                    <a:gd name="csX148" fmla="*/ 573885 w 585121"/>
                    <a:gd name="csY148" fmla="*/ 165417 h 372547"/>
                    <a:gd name="csX149" fmla="*/ 559382 w 585121"/>
                    <a:gd name="csY149" fmla="*/ 160358 h 372547"/>
                    <a:gd name="csX150" fmla="*/ 552467 w 585121"/>
                    <a:gd name="csY150" fmla="*/ 137853 h 372547"/>
                    <a:gd name="csX151" fmla="*/ 544496 w 585121"/>
                    <a:gd name="csY151" fmla="*/ 135323 h 372547"/>
                    <a:gd name="csX152" fmla="*/ 550675 w 585121"/>
                    <a:gd name="csY152" fmla="*/ 127320 h 372547"/>
                    <a:gd name="csX153" fmla="*/ 555028 w 585121"/>
                    <a:gd name="csY153" fmla="*/ 116467 h 372547"/>
                    <a:gd name="csX154" fmla="*/ 565177 w 585121"/>
                    <a:gd name="csY154" fmla="*/ 110289 h 372547"/>
                    <a:gd name="csX155" fmla="*/ 578943 w 585121"/>
                    <a:gd name="csY155" fmla="*/ 83429 h 372547"/>
                    <a:gd name="csX156" fmla="*/ 571324 w 585121"/>
                    <a:gd name="csY156" fmla="*/ 75105 h 372547"/>
                    <a:gd name="csX157" fmla="*/ 582593 w 585121"/>
                    <a:gd name="csY157" fmla="*/ 61307 h 372547"/>
                    <a:gd name="csX158" fmla="*/ 571324 w 585121"/>
                    <a:gd name="csY158" fmla="*/ 26860 h 372547"/>
                    <a:gd name="csX159" fmla="*/ 581504 w 585121"/>
                    <a:gd name="csY159" fmla="*/ 18152 h 372547"/>
                    <a:gd name="csX160" fmla="*/ 571324 w 585121"/>
                    <a:gd name="csY160" fmla="*/ 18152 h 372547"/>
                    <a:gd name="csX161" fmla="*/ 546321 w 585121"/>
                    <a:gd name="csY161" fmla="*/ 31918 h 372547"/>
                    <a:gd name="csX162" fmla="*/ 545584 w 585121"/>
                    <a:gd name="csY162" fmla="*/ 24299 h 372547"/>
                    <a:gd name="csX163" fmla="*/ 536140 w 585121"/>
                    <a:gd name="csY163" fmla="*/ 26123 h 372547"/>
                    <a:gd name="csX164" fmla="*/ 528169 w 585121"/>
                    <a:gd name="csY164" fmla="*/ 40626 h 372547"/>
                    <a:gd name="csX165" fmla="*/ 520549 w 585121"/>
                    <a:gd name="csY165" fmla="*/ 41362 h 372547"/>
                    <a:gd name="csX166" fmla="*/ 518020 w 585121"/>
                    <a:gd name="csY166" fmla="*/ 31214 h 3725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</a:cxnLst>
                  <a:rect l="l" t="t" r="r" b="b"/>
                  <a:pathLst>
                    <a:path w="585121" h="372547">
                      <a:moveTo>
                        <a:pt x="518020" y="31214"/>
                      </a:moveTo>
                      <a:lnTo>
                        <a:pt x="524167" y="19945"/>
                      </a:lnTo>
                      <a:lnTo>
                        <a:pt x="520549" y="8708"/>
                      </a:lnTo>
                      <a:lnTo>
                        <a:pt x="526728" y="1825"/>
                      </a:lnTo>
                      <a:lnTo>
                        <a:pt x="523078" y="0"/>
                      </a:lnTo>
                      <a:lnTo>
                        <a:pt x="519813" y="0"/>
                      </a:lnTo>
                      <a:lnTo>
                        <a:pt x="500605" y="13798"/>
                      </a:lnTo>
                      <a:lnTo>
                        <a:pt x="492985" y="33007"/>
                      </a:lnTo>
                      <a:lnTo>
                        <a:pt x="481748" y="21770"/>
                      </a:lnTo>
                      <a:lnTo>
                        <a:pt x="469775" y="27564"/>
                      </a:lnTo>
                      <a:lnTo>
                        <a:pt x="465421" y="31918"/>
                      </a:lnTo>
                      <a:lnTo>
                        <a:pt x="467950" y="38097"/>
                      </a:lnTo>
                      <a:lnTo>
                        <a:pt x="455977" y="45716"/>
                      </a:lnTo>
                      <a:lnTo>
                        <a:pt x="441474" y="37008"/>
                      </a:lnTo>
                      <a:lnTo>
                        <a:pt x="425884" y="50070"/>
                      </a:lnTo>
                      <a:lnTo>
                        <a:pt x="423322" y="47541"/>
                      </a:lnTo>
                      <a:lnTo>
                        <a:pt x="417176" y="42451"/>
                      </a:lnTo>
                      <a:lnTo>
                        <a:pt x="406995" y="43891"/>
                      </a:lnTo>
                      <a:lnTo>
                        <a:pt x="395758" y="51895"/>
                      </a:lnTo>
                      <a:lnTo>
                        <a:pt x="385610" y="48245"/>
                      </a:lnTo>
                      <a:lnTo>
                        <a:pt x="340630" y="61307"/>
                      </a:lnTo>
                      <a:lnTo>
                        <a:pt x="347513" y="46452"/>
                      </a:lnTo>
                      <a:lnTo>
                        <a:pt x="338805" y="43187"/>
                      </a:lnTo>
                      <a:lnTo>
                        <a:pt x="337365" y="38097"/>
                      </a:lnTo>
                      <a:lnTo>
                        <a:pt x="356221" y="26860"/>
                      </a:lnTo>
                      <a:lnTo>
                        <a:pt x="345720" y="19945"/>
                      </a:lnTo>
                      <a:lnTo>
                        <a:pt x="338805" y="24299"/>
                      </a:lnTo>
                      <a:lnTo>
                        <a:pt x="333715" y="21770"/>
                      </a:lnTo>
                      <a:lnTo>
                        <a:pt x="319213" y="26860"/>
                      </a:lnTo>
                      <a:lnTo>
                        <a:pt x="308712" y="39537"/>
                      </a:lnTo>
                      <a:lnTo>
                        <a:pt x="296739" y="43891"/>
                      </a:lnTo>
                      <a:lnTo>
                        <a:pt x="278587" y="53335"/>
                      </a:lnTo>
                      <a:lnTo>
                        <a:pt x="271704" y="53335"/>
                      </a:lnTo>
                      <a:lnTo>
                        <a:pt x="262260" y="45716"/>
                      </a:lnTo>
                      <a:lnTo>
                        <a:pt x="247021" y="50806"/>
                      </a:lnTo>
                      <a:lnTo>
                        <a:pt x="234695" y="63132"/>
                      </a:lnTo>
                      <a:lnTo>
                        <a:pt x="231430" y="75105"/>
                      </a:lnTo>
                      <a:lnTo>
                        <a:pt x="222722" y="89607"/>
                      </a:lnTo>
                      <a:lnTo>
                        <a:pt x="223811" y="100844"/>
                      </a:lnTo>
                      <a:lnTo>
                        <a:pt x="218368" y="105198"/>
                      </a:lnTo>
                      <a:lnTo>
                        <a:pt x="207131" y="113554"/>
                      </a:lnTo>
                      <a:lnTo>
                        <a:pt x="198776" y="110289"/>
                      </a:lnTo>
                      <a:lnTo>
                        <a:pt x="190068" y="126616"/>
                      </a:lnTo>
                      <a:lnTo>
                        <a:pt x="177006" y="130970"/>
                      </a:lnTo>
                      <a:lnTo>
                        <a:pt x="166153" y="145472"/>
                      </a:lnTo>
                      <a:lnTo>
                        <a:pt x="153091" y="144736"/>
                      </a:lnTo>
                      <a:lnTo>
                        <a:pt x="133115" y="154916"/>
                      </a:lnTo>
                      <a:lnTo>
                        <a:pt x="122230" y="154180"/>
                      </a:lnTo>
                      <a:lnTo>
                        <a:pt x="117876" y="170507"/>
                      </a:lnTo>
                      <a:lnTo>
                        <a:pt x="117876" y="188627"/>
                      </a:lnTo>
                      <a:lnTo>
                        <a:pt x="114258" y="186098"/>
                      </a:lnTo>
                      <a:lnTo>
                        <a:pt x="109200" y="190452"/>
                      </a:lnTo>
                      <a:lnTo>
                        <a:pt x="97931" y="192981"/>
                      </a:lnTo>
                      <a:lnTo>
                        <a:pt x="93577" y="207515"/>
                      </a:lnTo>
                      <a:lnTo>
                        <a:pt x="83429" y="209308"/>
                      </a:lnTo>
                      <a:lnTo>
                        <a:pt x="83429" y="219489"/>
                      </a:lnTo>
                      <a:lnTo>
                        <a:pt x="72896" y="218752"/>
                      </a:lnTo>
                      <a:lnTo>
                        <a:pt x="67102" y="232550"/>
                      </a:lnTo>
                      <a:lnTo>
                        <a:pt x="53335" y="238345"/>
                      </a:lnTo>
                      <a:lnTo>
                        <a:pt x="48982" y="233991"/>
                      </a:lnTo>
                      <a:lnTo>
                        <a:pt x="48245" y="216928"/>
                      </a:lnTo>
                      <a:lnTo>
                        <a:pt x="37008" y="221281"/>
                      </a:lnTo>
                      <a:lnTo>
                        <a:pt x="32654" y="216928"/>
                      </a:lnTo>
                      <a:lnTo>
                        <a:pt x="33359" y="221281"/>
                      </a:lnTo>
                      <a:lnTo>
                        <a:pt x="28301" y="222018"/>
                      </a:lnTo>
                      <a:lnTo>
                        <a:pt x="27564" y="228196"/>
                      </a:lnTo>
                      <a:lnTo>
                        <a:pt x="14502" y="229989"/>
                      </a:lnTo>
                      <a:lnTo>
                        <a:pt x="0" y="247053"/>
                      </a:lnTo>
                      <a:lnTo>
                        <a:pt x="0" y="253199"/>
                      </a:lnTo>
                      <a:lnTo>
                        <a:pt x="9412" y="260114"/>
                      </a:lnTo>
                      <a:lnTo>
                        <a:pt x="17768" y="260819"/>
                      </a:lnTo>
                      <a:lnTo>
                        <a:pt x="19593" y="268438"/>
                      </a:lnTo>
                      <a:lnTo>
                        <a:pt x="24651" y="270263"/>
                      </a:lnTo>
                      <a:lnTo>
                        <a:pt x="23947" y="290944"/>
                      </a:lnTo>
                      <a:lnTo>
                        <a:pt x="19593" y="299652"/>
                      </a:lnTo>
                      <a:lnTo>
                        <a:pt x="30093" y="304006"/>
                      </a:lnTo>
                      <a:lnTo>
                        <a:pt x="28301" y="321037"/>
                      </a:lnTo>
                      <a:lnTo>
                        <a:pt x="22122" y="327216"/>
                      </a:lnTo>
                      <a:lnTo>
                        <a:pt x="35920" y="329745"/>
                      </a:lnTo>
                      <a:lnTo>
                        <a:pt x="41362" y="335572"/>
                      </a:lnTo>
                      <a:lnTo>
                        <a:pt x="38449" y="339926"/>
                      </a:lnTo>
                      <a:lnTo>
                        <a:pt x="49686" y="346072"/>
                      </a:lnTo>
                      <a:lnTo>
                        <a:pt x="46420" y="355516"/>
                      </a:lnTo>
                      <a:lnTo>
                        <a:pt x="59130" y="364929"/>
                      </a:lnTo>
                      <a:lnTo>
                        <a:pt x="64572" y="358045"/>
                      </a:lnTo>
                      <a:lnTo>
                        <a:pt x="72896" y="372548"/>
                      </a:lnTo>
                      <a:lnTo>
                        <a:pt x="82340" y="364224"/>
                      </a:lnTo>
                      <a:lnTo>
                        <a:pt x="90312" y="351899"/>
                      </a:lnTo>
                      <a:lnTo>
                        <a:pt x="88519" y="341718"/>
                      </a:lnTo>
                      <a:lnTo>
                        <a:pt x="83429" y="337365"/>
                      </a:lnTo>
                      <a:lnTo>
                        <a:pt x="88519" y="326128"/>
                      </a:lnTo>
                      <a:lnTo>
                        <a:pt x="103021" y="321774"/>
                      </a:lnTo>
                      <a:lnTo>
                        <a:pt x="129145" y="336660"/>
                      </a:lnTo>
                      <a:lnTo>
                        <a:pt x="145472" y="332306"/>
                      </a:lnTo>
                      <a:lnTo>
                        <a:pt x="153091" y="341718"/>
                      </a:lnTo>
                      <a:lnTo>
                        <a:pt x="176302" y="334099"/>
                      </a:lnTo>
                      <a:lnTo>
                        <a:pt x="185714" y="341014"/>
                      </a:lnTo>
                      <a:lnTo>
                        <a:pt x="190068" y="332306"/>
                      </a:lnTo>
                      <a:lnTo>
                        <a:pt x="199512" y="330481"/>
                      </a:lnTo>
                      <a:lnTo>
                        <a:pt x="201337" y="326128"/>
                      </a:lnTo>
                      <a:lnTo>
                        <a:pt x="215839" y="327952"/>
                      </a:lnTo>
                      <a:lnTo>
                        <a:pt x="218368" y="321037"/>
                      </a:lnTo>
                      <a:lnTo>
                        <a:pt x="231430" y="326128"/>
                      </a:lnTo>
                      <a:lnTo>
                        <a:pt x="243403" y="315979"/>
                      </a:lnTo>
                      <a:lnTo>
                        <a:pt x="269175" y="305446"/>
                      </a:lnTo>
                      <a:lnTo>
                        <a:pt x="266613" y="297827"/>
                      </a:lnTo>
                      <a:lnTo>
                        <a:pt x="286558" y="288415"/>
                      </a:lnTo>
                      <a:lnTo>
                        <a:pt x="297827" y="302181"/>
                      </a:lnTo>
                      <a:lnTo>
                        <a:pt x="307239" y="300356"/>
                      </a:lnTo>
                      <a:lnTo>
                        <a:pt x="312330" y="289119"/>
                      </a:lnTo>
                      <a:lnTo>
                        <a:pt x="328657" y="289119"/>
                      </a:lnTo>
                      <a:lnTo>
                        <a:pt x="331186" y="283325"/>
                      </a:lnTo>
                      <a:lnTo>
                        <a:pt x="336276" y="286590"/>
                      </a:lnTo>
                      <a:lnTo>
                        <a:pt x="352603" y="284061"/>
                      </a:lnTo>
                      <a:lnTo>
                        <a:pt x="358750" y="273881"/>
                      </a:lnTo>
                      <a:lnTo>
                        <a:pt x="363104" y="278971"/>
                      </a:lnTo>
                      <a:lnTo>
                        <a:pt x="358046" y="293473"/>
                      </a:lnTo>
                      <a:lnTo>
                        <a:pt x="366369" y="294562"/>
                      </a:lnTo>
                      <a:lnTo>
                        <a:pt x="375077" y="304710"/>
                      </a:lnTo>
                      <a:lnTo>
                        <a:pt x="386346" y="307271"/>
                      </a:lnTo>
                      <a:lnTo>
                        <a:pt x="409556" y="284765"/>
                      </a:lnTo>
                      <a:lnTo>
                        <a:pt x="423322" y="277882"/>
                      </a:lnTo>
                      <a:lnTo>
                        <a:pt x="429501" y="264468"/>
                      </a:lnTo>
                      <a:lnTo>
                        <a:pt x="433503" y="265909"/>
                      </a:lnTo>
                      <a:lnTo>
                        <a:pt x="436384" y="260819"/>
                      </a:lnTo>
                      <a:lnTo>
                        <a:pt x="452711" y="263380"/>
                      </a:lnTo>
                      <a:lnTo>
                        <a:pt x="467950" y="254672"/>
                      </a:lnTo>
                      <a:lnTo>
                        <a:pt x="467950" y="245228"/>
                      </a:lnTo>
                      <a:lnTo>
                        <a:pt x="474833" y="238345"/>
                      </a:lnTo>
                      <a:lnTo>
                        <a:pt x="473393" y="229989"/>
                      </a:lnTo>
                      <a:lnTo>
                        <a:pt x="480276" y="227460"/>
                      </a:lnTo>
                      <a:lnTo>
                        <a:pt x="474833" y="212573"/>
                      </a:lnTo>
                      <a:lnTo>
                        <a:pt x="481012" y="207515"/>
                      </a:lnTo>
                      <a:lnTo>
                        <a:pt x="479187" y="202425"/>
                      </a:lnTo>
                      <a:lnTo>
                        <a:pt x="481012" y="195542"/>
                      </a:lnTo>
                      <a:lnTo>
                        <a:pt x="495514" y="186098"/>
                      </a:lnTo>
                      <a:lnTo>
                        <a:pt x="503486" y="191892"/>
                      </a:lnTo>
                      <a:lnTo>
                        <a:pt x="513666" y="191188"/>
                      </a:lnTo>
                      <a:lnTo>
                        <a:pt x="521286" y="193717"/>
                      </a:lnTo>
                      <a:lnTo>
                        <a:pt x="529257" y="216928"/>
                      </a:lnTo>
                      <a:lnTo>
                        <a:pt x="536140" y="216928"/>
                      </a:lnTo>
                      <a:lnTo>
                        <a:pt x="537613" y="205691"/>
                      </a:lnTo>
                      <a:lnTo>
                        <a:pt x="546321" y="212573"/>
                      </a:lnTo>
                      <a:lnTo>
                        <a:pt x="557558" y="205691"/>
                      </a:lnTo>
                      <a:lnTo>
                        <a:pt x="566265" y="193717"/>
                      </a:lnTo>
                      <a:lnTo>
                        <a:pt x="571324" y="196246"/>
                      </a:lnTo>
                      <a:lnTo>
                        <a:pt x="585122" y="183569"/>
                      </a:lnTo>
                      <a:lnTo>
                        <a:pt x="573885" y="179215"/>
                      </a:lnTo>
                      <a:lnTo>
                        <a:pt x="573885" y="165417"/>
                      </a:lnTo>
                      <a:lnTo>
                        <a:pt x="559382" y="160358"/>
                      </a:lnTo>
                      <a:lnTo>
                        <a:pt x="552467" y="137853"/>
                      </a:lnTo>
                      <a:lnTo>
                        <a:pt x="544496" y="135323"/>
                      </a:lnTo>
                      <a:lnTo>
                        <a:pt x="550675" y="127320"/>
                      </a:lnTo>
                      <a:lnTo>
                        <a:pt x="555028" y="116467"/>
                      </a:lnTo>
                      <a:lnTo>
                        <a:pt x="565177" y="110289"/>
                      </a:lnTo>
                      <a:lnTo>
                        <a:pt x="578943" y="83429"/>
                      </a:lnTo>
                      <a:lnTo>
                        <a:pt x="571324" y="75105"/>
                      </a:lnTo>
                      <a:lnTo>
                        <a:pt x="582593" y="61307"/>
                      </a:lnTo>
                      <a:lnTo>
                        <a:pt x="571324" y="26860"/>
                      </a:lnTo>
                      <a:lnTo>
                        <a:pt x="581504" y="18152"/>
                      </a:lnTo>
                      <a:lnTo>
                        <a:pt x="571324" y="18152"/>
                      </a:lnTo>
                      <a:lnTo>
                        <a:pt x="546321" y="31918"/>
                      </a:lnTo>
                      <a:lnTo>
                        <a:pt x="545584" y="24299"/>
                      </a:lnTo>
                      <a:lnTo>
                        <a:pt x="536140" y="26123"/>
                      </a:lnTo>
                      <a:lnTo>
                        <a:pt x="528169" y="40626"/>
                      </a:lnTo>
                      <a:lnTo>
                        <a:pt x="520549" y="41362"/>
                      </a:lnTo>
                      <a:lnTo>
                        <a:pt x="518020" y="3121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8" name="Forma Livre: Forma 377">
                  <a:extLst>
                    <a:ext uri="{FF2B5EF4-FFF2-40B4-BE49-F238E27FC236}">
                      <a16:creationId xmlns:a16="http://schemas.microsoft.com/office/drawing/2014/main" id="{3331BF9D-5ACA-E70E-88D1-6725D06C8B5D}"/>
                    </a:ext>
                  </a:extLst>
                </p:cNvPr>
                <p:cNvSpPr/>
                <p:nvPr/>
              </p:nvSpPr>
              <p:spPr>
                <a:xfrm>
                  <a:off x="2681736" y="4758706"/>
                  <a:ext cx="585121" cy="372547"/>
                </a:xfrm>
                <a:custGeom>
                  <a:avLst/>
                  <a:gdLst>
                    <a:gd name="csX0" fmla="*/ 518020 w 585121"/>
                    <a:gd name="csY0" fmla="*/ 31214 h 372547"/>
                    <a:gd name="csX1" fmla="*/ 524167 w 585121"/>
                    <a:gd name="csY1" fmla="*/ 19945 h 372547"/>
                    <a:gd name="csX2" fmla="*/ 520549 w 585121"/>
                    <a:gd name="csY2" fmla="*/ 8708 h 372547"/>
                    <a:gd name="csX3" fmla="*/ 526728 w 585121"/>
                    <a:gd name="csY3" fmla="*/ 1825 h 372547"/>
                    <a:gd name="csX4" fmla="*/ 523078 w 585121"/>
                    <a:gd name="csY4" fmla="*/ 0 h 372547"/>
                    <a:gd name="csX5" fmla="*/ 519813 w 585121"/>
                    <a:gd name="csY5" fmla="*/ 0 h 372547"/>
                    <a:gd name="csX6" fmla="*/ 500605 w 585121"/>
                    <a:gd name="csY6" fmla="*/ 13798 h 372547"/>
                    <a:gd name="csX7" fmla="*/ 492985 w 585121"/>
                    <a:gd name="csY7" fmla="*/ 33007 h 372547"/>
                    <a:gd name="csX8" fmla="*/ 481748 w 585121"/>
                    <a:gd name="csY8" fmla="*/ 21770 h 372547"/>
                    <a:gd name="csX9" fmla="*/ 469775 w 585121"/>
                    <a:gd name="csY9" fmla="*/ 27564 h 372547"/>
                    <a:gd name="csX10" fmla="*/ 465421 w 585121"/>
                    <a:gd name="csY10" fmla="*/ 31918 h 372547"/>
                    <a:gd name="csX11" fmla="*/ 467950 w 585121"/>
                    <a:gd name="csY11" fmla="*/ 38097 h 372547"/>
                    <a:gd name="csX12" fmla="*/ 455977 w 585121"/>
                    <a:gd name="csY12" fmla="*/ 45716 h 372547"/>
                    <a:gd name="csX13" fmla="*/ 441474 w 585121"/>
                    <a:gd name="csY13" fmla="*/ 37008 h 372547"/>
                    <a:gd name="csX14" fmla="*/ 425884 w 585121"/>
                    <a:gd name="csY14" fmla="*/ 50070 h 372547"/>
                    <a:gd name="csX15" fmla="*/ 423322 w 585121"/>
                    <a:gd name="csY15" fmla="*/ 47541 h 372547"/>
                    <a:gd name="csX16" fmla="*/ 417176 w 585121"/>
                    <a:gd name="csY16" fmla="*/ 42451 h 372547"/>
                    <a:gd name="csX17" fmla="*/ 406995 w 585121"/>
                    <a:gd name="csY17" fmla="*/ 43891 h 372547"/>
                    <a:gd name="csX18" fmla="*/ 395758 w 585121"/>
                    <a:gd name="csY18" fmla="*/ 51895 h 372547"/>
                    <a:gd name="csX19" fmla="*/ 385610 w 585121"/>
                    <a:gd name="csY19" fmla="*/ 48245 h 372547"/>
                    <a:gd name="csX20" fmla="*/ 340630 w 585121"/>
                    <a:gd name="csY20" fmla="*/ 61307 h 372547"/>
                    <a:gd name="csX21" fmla="*/ 347513 w 585121"/>
                    <a:gd name="csY21" fmla="*/ 46452 h 372547"/>
                    <a:gd name="csX22" fmla="*/ 338805 w 585121"/>
                    <a:gd name="csY22" fmla="*/ 43187 h 372547"/>
                    <a:gd name="csX23" fmla="*/ 337365 w 585121"/>
                    <a:gd name="csY23" fmla="*/ 38097 h 372547"/>
                    <a:gd name="csX24" fmla="*/ 356221 w 585121"/>
                    <a:gd name="csY24" fmla="*/ 26860 h 372547"/>
                    <a:gd name="csX25" fmla="*/ 345720 w 585121"/>
                    <a:gd name="csY25" fmla="*/ 19945 h 372547"/>
                    <a:gd name="csX26" fmla="*/ 338805 w 585121"/>
                    <a:gd name="csY26" fmla="*/ 24299 h 372547"/>
                    <a:gd name="csX27" fmla="*/ 333715 w 585121"/>
                    <a:gd name="csY27" fmla="*/ 21770 h 372547"/>
                    <a:gd name="csX28" fmla="*/ 319213 w 585121"/>
                    <a:gd name="csY28" fmla="*/ 26860 h 372547"/>
                    <a:gd name="csX29" fmla="*/ 308712 w 585121"/>
                    <a:gd name="csY29" fmla="*/ 39537 h 372547"/>
                    <a:gd name="csX30" fmla="*/ 296739 w 585121"/>
                    <a:gd name="csY30" fmla="*/ 43891 h 372547"/>
                    <a:gd name="csX31" fmla="*/ 278587 w 585121"/>
                    <a:gd name="csY31" fmla="*/ 53335 h 372547"/>
                    <a:gd name="csX32" fmla="*/ 271704 w 585121"/>
                    <a:gd name="csY32" fmla="*/ 53335 h 372547"/>
                    <a:gd name="csX33" fmla="*/ 262260 w 585121"/>
                    <a:gd name="csY33" fmla="*/ 45716 h 372547"/>
                    <a:gd name="csX34" fmla="*/ 247021 w 585121"/>
                    <a:gd name="csY34" fmla="*/ 50806 h 372547"/>
                    <a:gd name="csX35" fmla="*/ 234695 w 585121"/>
                    <a:gd name="csY35" fmla="*/ 63132 h 372547"/>
                    <a:gd name="csX36" fmla="*/ 231430 w 585121"/>
                    <a:gd name="csY36" fmla="*/ 75105 h 372547"/>
                    <a:gd name="csX37" fmla="*/ 222722 w 585121"/>
                    <a:gd name="csY37" fmla="*/ 89607 h 372547"/>
                    <a:gd name="csX38" fmla="*/ 223811 w 585121"/>
                    <a:gd name="csY38" fmla="*/ 100844 h 372547"/>
                    <a:gd name="csX39" fmla="*/ 218368 w 585121"/>
                    <a:gd name="csY39" fmla="*/ 105198 h 372547"/>
                    <a:gd name="csX40" fmla="*/ 207131 w 585121"/>
                    <a:gd name="csY40" fmla="*/ 113554 h 372547"/>
                    <a:gd name="csX41" fmla="*/ 198776 w 585121"/>
                    <a:gd name="csY41" fmla="*/ 110289 h 372547"/>
                    <a:gd name="csX42" fmla="*/ 190068 w 585121"/>
                    <a:gd name="csY42" fmla="*/ 126616 h 372547"/>
                    <a:gd name="csX43" fmla="*/ 177006 w 585121"/>
                    <a:gd name="csY43" fmla="*/ 130970 h 372547"/>
                    <a:gd name="csX44" fmla="*/ 166153 w 585121"/>
                    <a:gd name="csY44" fmla="*/ 145472 h 372547"/>
                    <a:gd name="csX45" fmla="*/ 153091 w 585121"/>
                    <a:gd name="csY45" fmla="*/ 144736 h 372547"/>
                    <a:gd name="csX46" fmla="*/ 133115 w 585121"/>
                    <a:gd name="csY46" fmla="*/ 154916 h 372547"/>
                    <a:gd name="csX47" fmla="*/ 122230 w 585121"/>
                    <a:gd name="csY47" fmla="*/ 154180 h 372547"/>
                    <a:gd name="csX48" fmla="*/ 117876 w 585121"/>
                    <a:gd name="csY48" fmla="*/ 170507 h 372547"/>
                    <a:gd name="csX49" fmla="*/ 117876 w 585121"/>
                    <a:gd name="csY49" fmla="*/ 188627 h 372547"/>
                    <a:gd name="csX50" fmla="*/ 114258 w 585121"/>
                    <a:gd name="csY50" fmla="*/ 186098 h 372547"/>
                    <a:gd name="csX51" fmla="*/ 109200 w 585121"/>
                    <a:gd name="csY51" fmla="*/ 190452 h 372547"/>
                    <a:gd name="csX52" fmla="*/ 97931 w 585121"/>
                    <a:gd name="csY52" fmla="*/ 192981 h 372547"/>
                    <a:gd name="csX53" fmla="*/ 93577 w 585121"/>
                    <a:gd name="csY53" fmla="*/ 207515 h 372547"/>
                    <a:gd name="csX54" fmla="*/ 83429 w 585121"/>
                    <a:gd name="csY54" fmla="*/ 209308 h 372547"/>
                    <a:gd name="csX55" fmla="*/ 83429 w 585121"/>
                    <a:gd name="csY55" fmla="*/ 219489 h 372547"/>
                    <a:gd name="csX56" fmla="*/ 72896 w 585121"/>
                    <a:gd name="csY56" fmla="*/ 218752 h 372547"/>
                    <a:gd name="csX57" fmla="*/ 67102 w 585121"/>
                    <a:gd name="csY57" fmla="*/ 232550 h 372547"/>
                    <a:gd name="csX58" fmla="*/ 53335 w 585121"/>
                    <a:gd name="csY58" fmla="*/ 238345 h 372547"/>
                    <a:gd name="csX59" fmla="*/ 48982 w 585121"/>
                    <a:gd name="csY59" fmla="*/ 233991 h 372547"/>
                    <a:gd name="csX60" fmla="*/ 48245 w 585121"/>
                    <a:gd name="csY60" fmla="*/ 216928 h 372547"/>
                    <a:gd name="csX61" fmla="*/ 37008 w 585121"/>
                    <a:gd name="csY61" fmla="*/ 221281 h 372547"/>
                    <a:gd name="csX62" fmla="*/ 32654 w 585121"/>
                    <a:gd name="csY62" fmla="*/ 216928 h 372547"/>
                    <a:gd name="csX63" fmla="*/ 33359 w 585121"/>
                    <a:gd name="csY63" fmla="*/ 221281 h 372547"/>
                    <a:gd name="csX64" fmla="*/ 28301 w 585121"/>
                    <a:gd name="csY64" fmla="*/ 222018 h 372547"/>
                    <a:gd name="csX65" fmla="*/ 27564 w 585121"/>
                    <a:gd name="csY65" fmla="*/ 228196 h 372547"/>
                    <a:gd name="csX66" fmla="*/ 14502 w 585121"/>
                    <a:gd name="csY66" fmla="*/ 229989 h 372547"/>
                    <a:gd name="csX67" fmla="*/ 0 w 585121"/>
                    <a:gd name="csY67" fmla="*/ 247053 h 372547"/>
                    <a:gd name="csX68" fmla="*/ 0 w 585121"/>
                    <a:gd name="csY68" fmla="*/ 253199 h 372547"/>
                    <a:gd name="csX69" fmla="*/ 9412 w 585121"/>
                    <a:gd name="csY69" fmla="*/ 260114 h 372547"/>
                    <a:gd name="csX70" fmla="*/ 17768 w 585121"/>
                    <a:gd name="csY70" fmla="*/ 260819 h 372547"/>
                    <a:gd name="csX71" fmla="*/ 19593 w 585121"/>
                    <a:gd name="csY71" fmla="*/ 268438 h 372547"/>
                    <a:gd name="csX72" fmla="*/ 24651 w 585121"/>
                    <a:gd name="csY72" fmla="*/ 270263 h 372547"/>
                    <a:gd name="csX73" fmla="*/ 23947 w 585121"/>
                    <a:gd name="csY73" fmla="*/ 290944 h 372547"/>
                    <a:gd name="csX74" fmla="*/ 19593 w 585121"/>
                    <a:gd name="csY74" fmla="*/ 299652 h 372547"/>
                    <a:gd name="csX75" fmla="*/ 30093 w 585121"/>
                    <a:gd name="csY75" fmla="*/ 304006 h 372547"/>
                    <a:gd name="csX76" fmla="*/ 28301 w 585121"/>
                    <a:gd name="csY76" fmla="*/ 321037 h 372547"/>
                    <a:gd name="csX77" fmla="*/ 22122 w 585121"/>
                    <a:gd name="csY77" fmla="*/ 327216 h 372547"/>
                    <a:gd name="csX78" fmla="*/ 35920 w 585121"/>
                    <a:gd name="csY78" fmla="*/ 329745 h 372547"/>
                    <a:gd name="csX79" fmla="*/ 41362 w 585121"/>
                    <a:gd name="csY79" fmla="*/ 335572 h 372547"/>
                    <a:gd name="csX80" fmla="*/ 38449 w 585121"/>
                    <a:gd name="csY80" fmla="*/ 339926 h 372547"/>
                    <a:gd name="csX81" fmla="*/ 49686 w 585121"/>
                    <a:gd name="csY81" fmla="*/ 346072 h 372547"/>
                    <a:gd name="csX82" fmla="*/ 46420 w 585121"/>
                    <a:gd name="csY82" fmla="*/ 355516 h 372547"/>
                    <a:gd name="csX83" fmla="*/ 59130 w 585121"/>
                    <a:gd name="csY83" fmla="*/ 364929 h 372547"/>
                    <a:gd name="csX84" fmla="*/ 64572 w 585121"/>
                    <a:gd name="csY84" fmla="*/ 358045 h 372547"/>
                    <a:gd name="csX85" fmla="*/ 72896 w 585121"/>
                    <a:gd name="csY85" fmla="*/ 372548 h 372547"/>
                    <a:gd name="csX86" fmla="*/ 82340 w 585121"/>
                    <a:gd name="csY86" fmla="*/ 364224 h 372547"/>
                    <a:gd name="csX87" fmla="*/ 90312 w 585121"/>
                    <a:gd name="csY87" fmla="*/ 351899 h 372547"/>
                    <a:gd name="csX88" fmla="*/ 88519 w 585121"/>
                    <a:gd name="csY88" fmla="*/ 341718 h 372547"/>
                    <a:gd name="csX89" fmla="*/ 83429 w 585121"/>
                    <a:gd name="csY89" fmla="*/ 337365 h 372547"/>
                    <a:gd name="csX90" fmla="*/ 88519 w 585121"/>
                    <a:gd name="csY90" fmla="*/ 326128 h 372547"/>
                    <a:gd name="csX91" fmla="*/ 103021 w 585121"/>
                    <a:gd name="csY91" fmla="*/ 321774 h 372547"/>
                    <a:gd name="csX92" fmla="*/ 129145 w 585121"/>
                    <a:gd name="csY92" fmla="*/ 336660 h 372547"/>
                    <a:gd name="csX93" fmla="*/ 145472 w 585121"/>
                    <a:gd name="csY93" fmla="*/ 332306 h 372547"/>
                    <a:gd name="csX94" fmla="*/ 153091 w 585121"/>
                    <a:gd name="csY94" fmla="*/ 341718 h 372547"/>
                    <a:gd name="csX95" fmla="*/ 176302 w 585121"/>
                    <a:gd name="csY95" fmla="*/ 334099 h 372547"/>
                    <a:gd name="csX96" fmla="*/ 185714 w 585121"/>
                    <a:gd name="csY96" fmla="*/ 341014 h 372547"/>
                    <a:gd name="csX97" fmla="*/ 190068 w 585121"/>
                    <a:gd name="csY97" fmla="*/ 332306 h 372547"/>
                    <a:gd name="csX98" fmla="*/ 199512 w 585121"/>
                    <a:gd name="csY98" fmla="*/ 330481 h 372547"/>
                    <a:gd name="csX99" fmla="*/ 201337 w 585121"/>
                    <a:gd name="csY99" fmla="*/ 326128 h 372547"/>
                    <a:gd name="csX100" fmla="*/ 215839 w 585121"/>
                    <a:gd name="csY100" fmla="*/ 327952 h 372547"/>
                    <a:gd name="csX101" fmla="*/ 218368 w 585121"/>
                    <a:gd name="csY101" fmla="*/ 321037 h 372547"/>
                    <a:gd name="csX102" fmla="*/ 231430 w 585121"/>
                    <a:gd name="csY102" fmla="*/ 326128 h 372547"/>
                    <a:gd name="csX103" fmla="*/ 243403 w 585121"/>
                    <a:gd name="csY103" fmla="*/ 315979 h 372547"/>
                    <a:gd name="csX104" fmla="*/ 269175 w 585121"/>
                    <a:gd name="csY104" fmla="*/ 305446 h 372547"/>
                    <a:gd name="csX105" fmla="*/ 266613 w 585121"/>
                    <a:gd name="csY105" fmla="*/ 297827 h 372547"/>
                    <a:gd name="csX106" fmla="*/ 286558 w 585121"/>
                    <a:gd name="csY106" fmla="*/ 288415 h 372547"/>
                    <a:gd name="csX107" fmla="*/ 297827 w 585121"/>
                    <a:gd name="csY107" fmla="*/ 302181 h 372547"/>
                    <a:gd name="csX108" fmla="*/ 307239 w 585121"/>
                    <a:gd name="csY108" fmla="*/ 300356 h 372547"/>
                    <a:gd name="csX109" fmla="*/ 312330 w 585121"/>
                    <a:gd name="csY109" fmla="*/ 289119 h 372547"/>
                    <a:gd name="csX110" fmla="*/ 328657 w 585121"/>
                    <a:gd name="csY110" fmla="*/ 289119 h 372547"/>
                    <a:gd name="csX111" fmla="*/ 331186 w 585121"/>
                    <a:gd name="csY111" fmla="*/ 283325 h 372547"/>
                    <a:gd name="csX112" fmla="*/ 336276 w 585121"/>
                    <a:gd name="csY112" fmla="*/ 286590 h 372547"/>
                    <a:gd name="csX113" fmla="*/ 352603 w 585121"/>
                    <a:gd name="csY113" fmla="*/ 284061 h 372547"/>
                    <a:gd name="csX114" fmla="*/ 358750 w 585121"/>
                    <a:gd name="csY114" fmla="*/ 273881 h 372547"/>
                    <a:gd name="csX115" fmla="*/ 363104 w 585121"/>
                    <a:gd name="csY115" fmla="*/ 278971 h 372547"/>
                    <a:gd name="csX116" fmla="*/ 358046 w 585121"/>
                    <a:gd name="csY116" fmla="*/ 293473 h 372547"/>
                    <a:gd name="csX117" fmla="*/ 366369 w 585121"/>
                    <a:gd name="csY117" fmla="*/ 294562 h 372547"/>
                    <a:gd name="csX118" fmla="*/ 375077 w 585121"/>
                    <a:gd name="csY118" fmla="*/ 304710 h 372547"/>
                    <a:gd name="csX119" fmla="*/ 386346 w 585121"/>
                    <a:gd name="csY119" fmla="*/ 307271 h 372547"/>
                    <a:gd name="csX120" fmla="*/ 409556 w 585121"/>
                    <a:gd name="csY120" fmla="*/ 284765 h 372547"/>
                    <a:gd name="csX121" fmla="*/ 423322 w 585121"/>
                    <a:gd name="csY121" fmla="*/ 277882 h 372547"/>
                    <a:gd name="csX122" fmla="*/ 429501 w 585121"/>
                    <a:gd name="csY122" fmla="*/ 264468 h 372547"/>
                    <a:gd name="csX123" fmla="*/ 433503 w 585121"/>
                    <a:gd name="csY123" fmla="*/ 265909 h 372547"/>
                    <a:gd name="csX124" fmla="*/ 436384 w 585121"/>
                    <a:gd name="csY124" fmla="*/ 260819 h 372547"/>
                    <a:gd name="csX125" fmla="*/ 452711 w 585121"/>
                    <a:gd name="csY125" fmla="*/ 263380 h 372547"/>
                    <a:gd name="csX126" fmla="*/ 467950 w 585121"/>
                    <a:gd name="csY126" fmla="*/ 254672 h 372547"/>
                    <a:gd name="csX127" fmla="*/ 467950 w 585121"/>
                    <a:gd name="csY127" fmla="*/ 245228 h 372547"/>
                    <a:gd name="csX128" fmla="*/ 474833 w 585121"/>
                    <a:gd name="csY128" fmla="*/ 238345 h 372547"/>
                    <a:gd name="csX129" fmla="*/ 473393 w 585121"/>
                    <a:gd name="csY129" fmla="*/ 229989 h 372547"/>
                    <a:gd name="csX130" fmla="*/ 480276 w 585121"/>
                    <a:gd name="csY130" fmla="*/ 227460 h 372547"/>
                    <a:gd name="csX131" fmla="*/ 474833 w 585121"/>
                    <a:gd name="csY131" fmla="*/ 212573 h 372547"/>
                    <a:gd name="csX132" fmla="*/ 481012 w 585121"/>
                    <a:gd name="csY132" fmla="*/ 207515 h 372547"/>
                    <a:gd name="csX133" fmla="*/ 479187 w 585121"/>
                    <a:gd name="csY133" fmla="*/ 202425 h 372547"/>
                    <a:gd name="csX134" fmla="*/ 481012 w 585121"/>
                    <a:gd name="csY134" fmla="*/ 195542 h 372547"/>
                    <a:gd name="csX135" fmla="*/ 495514 w 585121"/>
                    <a:gd name="csY135" fmla="*/ 186098 h 372547"/>
                    <a:gd name="csX136" fmla="*/ 503486 w 585121"/>
                    <a:gd name="csY136" fmla="*/ 191892 h 372547"/>
                    <a:gd name="csX137" fmla="*/ 513666 w 585121"/>
                    <a:gd name="csY137" fmla="*/ 191188 h 372547"/>
                    <a:gd name="csX138" fmla="*/ 521286 w 585121"/>
                    <a:gd name="csY138" fmla="*/ 193717 h 372547"/>
                    <a:gd name="csX139" fmla="*/ 529257 w 585121"/>
                    <a:gd name="csY139" fmla="*/ 216928 h 372547"/>
                    <a:gd name="csX140" fmla="*/ 536140 w 585121"/>
                    <a:gd name="csY140" fmla="*/ 216928 h 372547"/>
                    <a:gd name="csX141" fmla="*/ 537613 w 585121"/>
                    <a:gd name="csY141" fmla="*/ 205691 h 372547"/>
                    <a:gd name="csX142" fmla="*/ 546321 w 585121"/>
                    <a:gd name="csY142" fmla="*/ 212573 h 372547"/>
                    <a:gd name="csX143" fmla="*/ 557558 w 585121"/>
                    <a:gd name="csY143" fmla="*/ 205691 h 372547"/>
                    <a:gd name="csX144" fmla="*/ 566265 w 585121"/>
                    <a:gd name="csY144" fmla="*/ 193717 h 372547"/>
                    <a:gd name="csX145" fmla="*/ 571324 w 585121"/>
                    <a:gd name="csY145" fmla="*/ 196246 h 372547"/>
                    <a:gd name="csX146" fmla="*/ 585122 w 585121"/>
                    <a:gd name="csY146" fmla="*/ 183569 h 372547"/>
                    <a:gd name="csX147" fmla="*/ 573885 w 585121"/>
                    <a:gd name="csY147" fmla="*/ 179215 h 372547"/>
                    <a:gd name="csX148" fmla="*/ 573885 w 585121"/>
                    <a:gd name="csY148" fmla="*/ 165417 h 372547"/>
                    <a:gd name="csX149" fmla="*/ 559382 w 585121"/>
                    <a:gd name="csY149" fmla="*/ 160358 h 372547"/>
                    <a:gd name="csX150" fmla="*/ 552467 w 585121"/>
                    <a:gd name="csY150" fmla="*/ 137853 h 372547"/>
                    <a:gd name="csX151" fmla="*/ 544496 w 585121"/>
                    <a:gd name="csY151" fmla="*/ 135323 h 372547"/>
                    <a:gd name="csX152" fmla="*/ 550675 w 585121"/>
                    <a:gd name="csY152" fmla="*/ 127320 h 372547"/>
                    <a:gd name="csX153" fmla="*/ 555028 w 585121"/>
                    <a:gd name="csY153" fmla="*/ 116467 h 372547"/>
                    <a:gd name="csX154" fmla="*/ 565177 w 585121"/>
                    <a:gd name="csY154" fmla="*/ 110289 h 372547"/>
                    <a:gd name="csX155" fmla="*/ 578943 w 585121"/>
                    <a:gd name="csY155" fmla="*/ 83429 h 372547"/>
                    <a:gd name="csX156" fmla="*/ 571324 w 585121"/>
                    <a:gd name="csY156" fmla="*/ 75105 h 372547"/>
                    <a:gd name="csX157" fmla="*/ 582593 w 585121"/>
                    <a:gd name="csY157" fmla="*/ 61307 h 372547"/>
                    <a:gd name="csX158" fmla="*/ 571324 w 585121"/>
                    <a:gd name="csY158" fmla="*/ 26860 h 372547"/>
                    <a:gd name="csX159" fmla="*/ 581504 w 585121"/>
                    <a:gd name="csY159" fmla="*/ 18152 h 372547"/>
                    <a:gd name="csX160" fmla="*/ 571324 w 585121"/>
                    <a:gd name="csY160" fmla="*/ 18152 h 372547"/>
                    <a:gd name="csX161" fmla="*/ 546321 w 585121"/>
                    <a:gd name="csY161" fmla="*/ 31918 h 372547"/>
                    <a:gd name="csX162" fmla="*/ 545584 w 585121"/>
                    <a:gd name="csY162" fmla="*/ 24299 h 372547"/>
                    <a:gd name="csX163" fmla="*/ 536140 w 585121"/>
                    <a:gd name="csY163" fmla="*/ 26123 h 372547"/>
                    <a:gd name="csX164" fmla="*/ 528169 w 585121"/>
                    <a:gd name="csY164" fmla="*/ 40626 h 372547"/>
                    <a:gd name="csX165" fmla="*/ 520549 w 585121"/>
                    <a:gd name="csY165" fmla="*/ 41362 h 372547"/>
                    <a:gd name="csX166" fmla="*/ 518020 w 585121"/>
                    <a:gd name="csY166" fmla="*/ 31214 h 3725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</a:cxnLst>
                  <a:rect l="l" t="t" r="r" b="b"/>
                  <a:pathLst>
                    <a:path w="585121" h="372547">
                      <a:moveTo>
                        <a:pt x="518020" y="31214"/>
                      </a:moveTo>
                      <a:lnTo>
                        <a:pt x="524167" y="19945"/>
                      </a:lnTo>
                      <a:lnTo>
                        <a:pt x="520549" y="8708"/>
                      </a:lnTo>
                      <a:lnTo>
                        <a:pt x="526728" y="1825"/>
                      </a:lnTo>
                      <a:lnTo>
                        <a:pt x="523078" y="0"/>
                      </a:lnTo>
                      <a:lnTo>
                        <a:pt x="519813" y="0"/>
                      </a:lnTo>
                      <a:lnTo>
                        <a:pt x="500605" y="13798"/>
                      </a:lnTo>
                      <a:lnTo>
                        <a:pt x="492985" y="33007"/>
                      </a:lnTo>
                      <a:lnTo>
                        <a:pt x="481748" y="21770"/>
                      </a:lnTo>
                      <a:lnTo>
                        <a:pt x="469775" y="27564"/>
                      </a:lnTo>
                      <a:lnTo>
                        <a:pt x="465421" y="31918"/>
                      </a:lnTo>
                      <a:lnTo>
                        <a:pt x="467950" y="38097"/>
                      </a:lnTo>
                      <a:lnTo>
                        <a:pt x="455977" y="45716"/>
                      </a:lnTo>
                      <a:lnTo>
                        <a:pt x="441474" y="37008"/>
                      </a:lnTo>
                      <a:lnTo>
                        <a:pt x="425884" y="50070"/>
                      </a:lnTo>
                      <a:lnTo>
                        <a:pt x="423322" y="47541"/>
                      </a:lnTo>
                      <a:lnTo>
                        <a:pt x="417176" y="42451"/>
                      </a:lnTo>
                      <a:lnTo>
                        <a:pt x="406995" y="43891"/>
                      </a:lnTo>
                      <a:lnTo>
                        <a:pt x="395758" y="51895"/>
                      </a:lnTo>
                      <a:lnTo>
                        <a:pt x="385610" y="48245"/>
                      </a:lnTo>
                      <a:lnTo>
                        <a:pt x="340630" y="61307"/>
                      </a:lnTo>
                      <a:lnTo>
                        <a:pt x="347513" y="46452"/>
                      </a:lnTo>
                      <a:lnTo>
                        <a:pt x="338805" y="43187"/>
                      </a:lnTo>
                      <a:lnTo>
                        <a:pt x="337365" y="38097"/>
                      </a:lnTo>
                      <a:lnTo>
                        <a:pt x="356221" y="26860"/>
                      </a:lnTo>
                      <a:lnTo>
                        <a:pt x="345720" y="19945"/>
                      </a:lnTo>
                      <a:lnTo>
                        <a:pt x="338805" y="24299"/>
                      </a:lnTo>
                      <a:lnTo>
                        <a:pt x="333715" y="21770"/>
                      </a:lnTo>
                      <a:lnTo>
                        <a:pt x="319213" y="26860"/>
                      </a:lnTo>
                      <a:lnTo>
                        <a:pt x="308712" y="39537"/>
                      </a:lnTo>
                      <a:lnTo>
                        <a:pt x="296739" y="43891"/>
                      </a:lnTo>
                      <a:lnTo>
                        <a:pt x="278587" y="53335"/>
                      </a:lnTo>
                      <a:lnTo>
                        <a:pt x="271704" y="53335"/>
                      </a:lnTo>
                      <a:lnTo>
                        <a:pt x="262260" y="45716"/>
                      </a:lnTo>
                      <a:lnTo>
                        <a:pt x="247021" y="50806"/>
                      </a:lnTo>
                      <a:lnTo>
                        <a:pt x="234695" y="63132"/>
                      </a:lnTo>
                      <a:lnTo>
                        <a:pt x="231430" y="75105"/>
                      </a:lnTo>
                      <a:lnTo>
                        <a:pt x="222722" y="89607"/>
                      </a:lnTo>
                      <a:lnTo>
                        <a:pt x="223811" y="100844"/>
                      </a:lnTo>
                      <a:lnTo>
                        <a:pt x="218368" y="105198"/>
                      </a:lnTo>
                      <a:lnTo>
                        <a:pt x="207131" y="113554"/>
                      </a:lnTo>
                      <a:lnTo>
                        <a:pt x="198776" y="110289"/>
                      </a:lnTo>
                      <a:lnTo>
                        <a:pt x="190068" y="126616"/>
                      </a:lnTo>
                      <a:lnTo>
                        <a:pt x="177006" y="130970"/>
                      </a:lnTo>
                      <a:lnTo>
                        <a:pt x="166153" y="145472"/>
                      </a:lnTo>
                      <a:lnTo>
                        <a:pt x="153091" y="144736"/>
                      </a:lnTo>
                      <a:lnTo>
                        <a:pt x="133115" y="154916"/>
                      </a:lnTo>
                      <a:lnTo>
                        <a:pt x="122230" y="154180"/>
                      </a:lnTo>
                      <a:lnTo>
                        <a:pt x="117876" y="170507"/>
                      </a:lnTo>
                      <a:lnTo>
                        <a:pt x="117876" y="188627"/>
                      </a:lnTo>
                      <a:lnTo>
                        <a:pt x="114258" y="186098"/>
                      </a:lnTo>
                      <a:lnTo>
                        <a:pt x="109200" y="190452"/>
                      </a:lnTo>
                      <a:lnTo>
                        <a:pt x="97931" y="192981"/>
                      </a:lnTo>
                      <a:lnTo>
                        <a:pt x="93577" y="207515"/>
                      </a:lnTo>
                      <a:lnTo>
                        <a:pt x="83429" y="209308"/>
                      </a:lnTo>
                      <a:lnTo>
                        <a:pt x="83429" y="219489"/>
                      </a:lnTo>
                      <a:lnTo>
                        <a:pt x="72896" y="218752"/>
                      </a:lnTo>
                      <a:lnTo>
                        <a:pt x="67102" y="232550"/>
                      </a:lnTo>
                      <a:lnTo>
                        <a:pt x="53335" y="238345"/>
                      </a:lnTo>
                      <a:lnTo>
                        <a:pt x="48982" y="233991"/>
                      </a:lnTo>
                      <a:lnTo>
                        <a:pt x="48245" y="216928"/>
                      </a:lnTo>
                      <a:lnTo>
                        <a:pt x="37008" y="221281"/>
                      </a:lnTo>
                      <a:lnTo>
                        <a:pt x="32654" y="216928"/>
                      </a:lnTo>
                      <a:lnTo>
                        <a:pt x="33359" y="221281"/>
                      </a:lnTo>
                      <a:lnTo>
                        <a:pt x="28301" y="222018"/>
                      </a:lnTo>
                      <a:lnTo>
                        <a:pt x="27564" y="228196"/>
                      </a:lnTo>
                      <a:lnTo>
                        <a:pt x="14502" y="229989"/>
                      </a:lnTo>
                      <a:lnTo>
                        <a:pt x="0" y="247053"/>
                      </a:lnTo>
                      <a:lnTo>
                        <a:pt x="0" y="253199"/>
                      </a:lnTo>
                      <a:lnTo>
                        <a:pt x="9412" y="260114"/>
                      </a:lnTo>
                      <a:lnTo>
                        <a:pt x="17768" y="260819"/>
                      </a:lnTo>
                      <a:lnTo>
                        <a:pt x="19593" y="268438"/>
                      </a:lnTo>
                      <a:lnTo>
                        <a:pt x="24651" y="270263"/>
                      </a:lnTo>
                      <a:lnTo>
                        <a:pt x="23947" y="290944"/>
                      </a:lnTo>
                      <a:lnTo>
                        <a:pt x="19593" y="299652"/>
                      </a:lnTo>
                      <a:lnTo>
                        <a:pt x="30093" y="304006"/>
                      </a:lnTo>
                      <a:lnTo>
                        <a:pt x="28301" y="321037"/>
                      </a:lnTo>
                      <a:lnTo>
                        <a:pt x="22122" y="327216"/>
                      </a:lnTo>
                      <a:lnTo>
                        <a:pt x="35920" y="329745"/>
                      </a:lnTo>
                      <a:lnTo>
                        <a:pt x="41362" y="335572"/>
                      </a:lnTo>
                      <a:lnTo>
                        <a:pt x="38449" y="339926"/>
                      </a:lnTo>
                      <a:lnTo>
                        <a:pt x="49686" y="346072"/>
                      </a:lnTo>
                      <a:lnTo>
                        <a:pt x="46420" y="355516"/>
                      </a:lnTo>
                      <a:lnTo>
                        <a:pt x="59130" y="364929"/>
                      </a:lnTo>
                      <a:lnTo>
                        <a:pt x="64572" y="358045"/>
                      </a:lnTo>
                      <a:lnTo>
                        <a:pt x="72896" y="372548"/>
                      </a:lnTo>
                      <a:lnTo>
                        <a:pt x="82340" y="364224"/>
                      </a:lnTo>
                      <a:lnTo>
                        <a:pt x="90312" y="351899"/>
                      </a:lnTo>
                      <a:lnTo>
                        <a:pt x="88519" y="341718"/>
                      </a:lnTo>
                      <a:lnTo>
                        <a:pt x="83429" y="337365"/>
                      </a:lnTo>
                      <a:lnTo>
                        <a:pt x="88519" y="326128"/>
                      </a:lnTo>
                      <a:lnTo>
                        <a:pt x="103021" y="321774"/>
                      </a:lnTo>
                      <a:lnTo>
                        <a:pt x="129145" y="336660"/>
                      </a:lnTo>
                      <a:lnTo>
                        <a:pt x="145472" y="332306"/>
                      </a:lnTo>
                      <a:lnTo>
                        <a:pt x="153091" y="341718"/>
                      </a:lnTo>
                      <a:lnTo>
                        <a:pt x="176302" y="334099"/>
                      </a:lnTo>
                      <a:lnTo>
                        <a:pt x="185714" y="341014"/>
                      </a:lnTo>
                      <a:lnTo>
                        <a:pt x="190068" y="332306"/>
                      </a:lnTo>
                      <a:lnTo>
                        <a:pt x="199512" y="330481"/>
                      </a:lnTo>
                      <a:lnTo>
                        <a:pt x="201337" y="326128"/>
                      </a:lnTo>
                      <a:lnTo>
                        <a:pt x="215839" y="327952"/>
                      </a:lnTo>
                      <a:lnTo>
                        <a:pt x="218368" y="321037"/>
                      </a:lnTo>
                      <a:lnTo>
                        <a:pt x="231430" y="326128"/>
                      </a:lnTo>
                      <a:lnTo>
                        <a:pt x="243403" y="315979"/>
                      </a:lnTo>
                      <a:lnTo>
                        <a:pt x="269175" y="305446"/>
                      </a:lnTo>
                      <a:lnTo>
                        <a:pt x="266613" y="297827"/>
                      </a:lnTo>
                      <a:lnTo>
                        <a:pt x="286558" y="288415"/>
                      </a:lnTo>
                      <a:lnTo>
                        <a:pt x="297827" y="302181"/>
                      </a:lnTo>
                      <a:lnTo>
                        <a:pt x="307239" y="300356"/>
                      </a:lnTo>
                      <a:lnTo>
                        <a:pt x="312330" y="289119"/>
                      </a:lnTo>
                      <a:lnTo>
                        <a:pt x="328657" y="289119"/>
                      </a:lnTo>
                      <a:lnTo>
                        <a:pt x="331186" y="283325"/>
                      </a:lnTo>
                      <a:lnTo>
                        <a:pt x="336276" y="286590"/>
                      </a:lnTo>
                      <a:lnTo>
                        <a:pt x="352603" y="284061"/>
                      </a:lnTo>
                      <a:lnTo>
                        <a:pt x="358750" y="273881"/>
                      </a:lnTo>
                      <a:lnTo>
                        <a:pt x="363104" y="278971"/>
                      </a:lnTo>
                      <a:lnTo>
                        <a:pt x="358046" y="293473"/>
                      </a:lnTo>
                      <a:lnTo>
                        <a:pt x="366369" y="294562"/>
                      </a:lnTo>
                      <a:lnTo>
                        <a:pt x="375077" y="304710"/>
                      </a:lnTo>
                      <a:lnTo>
                        <a:pt x="386346" y="307271"/>
                      </a:lnTo>
                      <a:lnTo>
                        <a:pt x="409556" y="284765"/>
                      </a:lnTo>
                      <a:lnTo>
                        <a:pt x="423322" y="277882"/>
                      </a:lnTo>
                      <a:lnTo>
                        <a:pt x="429501" y="264468"/>
                      </a:lnTo>
                      <a:lnTo>
                        <a:pt x="433503" y="265909"/>
                      </a:lnTo>
                      <a:lnTo>
                        <a:pt x="436384" y="260819"/>
                      </a:lnTo>
                      <a:lnTo>
                        <a:pt x="452711" y="263380"/>
                      </a:lnTo>
                      <a:lnTo>
                        <a:pt x="467950" y="254672"/>
                      </a:lnTo>
                      <a:lnTo>
                        <a:pt x="467950" y="245228"/>
                      </a:lnTo>
                      <a:lnTo>
                        <a:pt x="474833" y="238345"/>
                      </a:lnTo>
                      <a:lnTo>
                        <a:pt x="473393" y="229989"/>
                      </a:lnTo>
                      <a:lnTo>
                        <a:pt x="480276" y="227460"/>
                      </a:lnTo>
                      <a:lnTo>
                        <a:pt x="474833" y="212573"/>
                      </a:lnTo>
                      <a:lnTo>
                        <a:pt x="481012" y="207515"/>
                      </a:lnTo>
                      <a:lnTo>
                        <a:pt x="479187" y="202425"/>
                      </a:lnTo>
                      <a:lnTo>
                        <a:pt x="481012" y="195542"/>
                      </a:lnTo>
                      <a:lnTo>
                        <a:pt x="495514" y="186098"/>
                      </a:lnTo>
                      <a:lnTo>
                        <a:pt x="503486" y="191892"/>
                      </a:lnTo>
                      <a:lnTo>
                        <a:pt x="513666" y="191188"/>
                      </a:lnTo>
                      <a:lnTo>
                        <a:pt x="521286" y="193717"/>
                      </a:lnTo>
                      <a:lnTo>
                        <a:pt x="529257" y="216928"/>
                      </a:lnTo>
                      <a:lnTo>
                        <a:pt x="536140" y="216928"/>
                      </a:lnTo>
                      <a:lnTo>
                        <a:pt x="537613" y="205691"/>
                      </a:lnTo>
                      <a:lnTo>
                        <a:pt x="546321" y="212573"/>
                      </a:lnTo>
                      <a:lnTo>
                        <a:pt x="557558" y="205691"/>
                      </a:lnTo>
                      <a:lnTo>
                        <a:pt x="566265" y="193717"/>
                      </a:lnTo>
                      <a:lnTo>
                        <a:pt x="571324" y="196246"/>
                      </a:lnTo>
                      <a:lnTo>
                        <a:pt x="585122" y="183569"/>
                      </a:lnTo>
                      <a:lnTo>
                        <a:pt x="573885" y="179215"/>
                      </a:lnTo>
                      <a:lnTo>
                        <a:pt x="573885" y="165417"/>
                      </a:lnTo>
                      <a:lnTo>
                        <a:pt x="559382" y="160358"/>
                      </a:lnTo>
                      <a:lnTo>
                        <a:pt x="552467" y="137853"/>
                      </a:lnTo>
                      <a:lnTo>
                        <a:pt x="544496" y="135323"/>
                      </a:lnTo>
                      <a:lnTo>
                        <a:pt x="550675" y="127320"/>
                      </a:lnTo>
                      <a:lnTo>
                        <a:pt x="555028" y="116467"/>
                      </a:lnTo>
                      <a:lnTo>
                        <a:pt x="565177" y="110289"/>
                      </a:lnTo>
                      <a:lnTo>
                        <a:pt x="578943" y="83429"/>
                      </a:lnTo>
                      <a:lnTo>
                        <a:pt x="571324" y="75105"/>
                      </a:lnTo>
                      <a:lnTo>
                        <a:pt x="582593" y="61307"/>
                      </a:lnTo>
                      <a:lnTo>
                        <a:pt x="571324" y="26860"/>
                      </a:lnTo>
                      <a:lnTo>
                        <a:pt x="581504" y="18152"/>
                      </a:lnTo>
                      <a:lnTo>
                        <a:pt x="571324" y="18152"/>
                      </a:lnTo>
                      <a:lnTo>
                        <a:pt x="546321" y="31918"/>
                      </a:lnTo>
                      <a:lnTo>
                        <a:pt x="545584" y="24299"/>
                      </a:lnTo>
                      <a:lnTo>
                        <a:pt x="536140" y="26123"/>
                      </a:lnTo>
                      <a:lnTo>
                        <a:pt x="528169" y="40626"/>
                      </a:lnTo>
                      <a:lnTo>
                        <a:pt x="520549" y="41362"/>
                      </a:lnTo>
                      <a:lnTo>
                        <a:pt x="518020" y="3121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9" name="Forma Livre: Forma 378">
                  <a:extLst>
                    <a:ext uri="{FF2B5EF4-FFF2-40B4-BE49-F238E27FC236}">
                      <a16:creationId xmlns:a16="http://schemas.microsoft.com/office/drawing/2014/main" id="{089628A1-3114-C8E6-EB3A-C418B33727AD}"/>
                    </a:ext>
                  </a:extLst>
                </p:cNvPr>
                <p:cNvSpPr/>
                <p:nvPr/>
              </p:nvSpPr>
              <p:spPr>
                <a:xfrm>
                  <a:off x="2681736" y="4758706"/>
                  <a:ext cx="585121" cy="372547"/>
                </a:xfrm>
                <a:custGeom>
                  <a:avLst/>
                  <a:gdLst>
                    <a:gd name="csX0" fmla="*/ 518020 w 585121"/>
                    <a:gd name="csY0" fmla="*/ 31214 h 372547"/>
                    <a:gd name="csX1" fmla="*/ 524167 w 585121"/>
                    <a:gd name="csY1" fmla="*/ 19945 h 372547"/>
                    <a:gd name="csX2" fmla="*/ 520549 w 585121"/>
                    <a:gd name="csY2" fmla="*/ 8708 h 372547"/>
                    <a:gd name="csX3" fmla="*/ 526728 w 585121"/>
                    <a:gd name="csY3" fmla="*/ 1825 h 372547"/>
                    <a:gd name="csX4" fmla="*/ 523078 w 585121"/>
                    <a:gd name="csY4" fmla="*/ 0 h 372547"/>
                    <a:gd name="csX5" fmla="*/ 519813 w 585121"/>
                    <a:gd name="csY5" fmla="*/ 0 h 372547"/>
                    <a:gd name="csX6" fmla="*/ 500605 w 585121"/>
                    <a:gd name="csY6" fmla="*/ 13798 h 372547"/>
                    <a:gd name="csX7" fmla="*/ 492985 w 585121"/>
                    <a:gd name="csY7" fmla="*/ 33007 h 372547"/>
                    <a:gd name="csX8" fmla="*/ 481748 w 585121"/>
                    <a:gd name="csY8" fmla="*/ 21770 h 372547"/>
                    <a:gd name="csX9" fmla="*/ 469775 w 585121"/>
                    <a:gd name="csY9" fmla="*/ 27564 h 372547"/>
                    <a:gd name="csX10" fmla="*/ 465421 w 585121"/>
                    <a:gd name="csY10" fmla="*/ 31918 h 372547"/>
                    <a:gd name="csX11" fmla="*/ 467950 w 585121"/>
                    <a:gd name="csY11" fmla="*/ 38097 h 372547"/>
                    <a:gd name="csX12" fmla="*/ 455977 w 585121"/>
                    <a:gd name="csY12" fmla="*/ 45716 h 372547"/>
                    <a:gd name="csX13" fmla="*/ 441474 w 585121"/>
                    <a:gd name="csY13" fmla="*/ 37008 h 372547"/>
                    <a:gd name="csX14" fmla="*/ 425884 w 585121"/>
                    <a:gd name="csY14" fmla="*/ 50070 h 372547"/>
                    <a:gd name="csX15" fmla="*/ 423322 w 585121"/>
                    <a:gd name="csY15" fmla="*/ 47541 h 372547"/>
                    <a:gd name="csX16" fmla="*/ 417176 w 585121"/>
                    <a:gd name="csY16" fmla="*/ 42451 h 372547"/>
                    <a:gd name="csX17" fmla="*/ 406995 w 585121"/>
                    <a:gd name="csY17" fmla="*/ 43891 h 372547"/>
                    <a:gd name="csX18" fmla="*/ 395758 w 585121"/>
                    <a:gd name="csY18" fmla="*/ 51895 h 372547"/>
                    <a:gd name="csX19" fmla="*/ 385610 w 585121"/>
                    <a:gd name="csY19" fmla="*/ 48245 h 372547"/>
                    <a:gd name="csX20" fmla="*/ 340630 w 585121"/>
                    <a:gd name="csY20" fmla="*/ 61307 h 372547"/>
                    <a:gd name="csX21" fmla="*/ 347513 w 585121"/>
                    <a:gd name="csY21" fmla="*/ 46452 h 372547"/>
                    <a:gd name="csX22" fmla="*/ 338805 w 585121"/>
                    <a:gd name="csY22" fmla="*/ 43187 h 372547"/>
                    <a:gd name="csX23" fmla="*/ 337365 w 585121"/>
                    <a:gd name="csY23" fmla="*/ 38097 h 372547"/>
                    <a:gd name="csX24" fmla="*/ 356221 w 585121"/>
                    <a:gd name="csY24" fmla="*/ 26860 h 372547"/>
                    <a:gd name="csX25" fmla="*/ 345720 w 585121"/>
                    <a:gd name="csY25" fmla="*/ 19945 h 372547"/>
                    <a:gd name="csX26" fmla="*/ 338805 w 585121"/>
                    <a:gd name="csY26" fmla="*/ 24299 h 372547"/>
                    <a:gd name="csX27" fmla="*/ 333715 w 585121"/>
                    <a:gd name="csY27" fmla="*/ 21770 h 372547"/>
                    <a:gd name="csX28" fmla="*/ 319213 w 585121"/>
                    <a:gd name="csY28" fmla="*/ 26860 h 372547"/>
                    <a:gd name="csX29" fmla="*/ 308712 w 585121"/>
                    <a:gd name="csY29" fmla="*/ 39537 h 372547"/>
                    <a:gd name="csX30" fmla="*/ 296739 w 585121"/>
                    <a:gd name="csY30" fmla="*/ 43891 h 372547"/>
                    <a:gd name="csX31" fmla="*/ 278587 w 585121"/>
                    <a:gd name="csY31" fmla="*/ 53335 h 372547"/>
                    <a:gd name="csX32" fmla="*/ 271704 w 585121"/>
                    <a:gd name="csY32" fmla="*/ 53335 h 372547"/>
                    <a:gd name="csX33" fmla="*/ 262260 w 585121"/>
                    <a:gd name="csY33" fmla="*/ 45716 h 372547"/>
                    <a:gd name="csX34" fmla="*/ 247021 w 585121"/>
                    <a:gd name="csY34" fmla="*/ 50806 h 372547"/>
                    <a:gd name="csX35" fmla="*/ 234695 w 585121"/>
                    <a:gd name="csY35" fmla="*/ 63132 h 372547"/>
                    <a:gd name="csX36" fmla="*/ 231430 w 585121"/>
                    <a:gd name="csY36" fmla="*/ 75105 h 372547"/>
                    <a:gd name="csX37" fmla="*/ 222722 w 585121"/>
                    <a:gd name="csY37" fmla="*/ 89607 h 372547"/>
                    <a:gd name="csX38" fmla="*/ 223811 w 585121"/>
                    <a:gd name="csY38" fmla="*/ 100844 h 372547"/>
                    <a:gd name="csX39" fmla="*/ 218368 w 585121"/>
                    <a:gd name="csY39" fmla="*/ 105198 h 372547"/>
                    <a:gd name="csX40" fmla="*/ 207131 w 585121"/>
                    <a:gd name="csY40" fmla="*/ 113554 h 372547"/>
                    <a:gd name="csX41" fmla="*/ 198776 w 585121"/>
                    <a:gd name="csY41" fmla="*/ 110289 h 372547"/>
                    <a:gd name="csX42" fmla="*/ 190068 w 585121"/>
                    <a:gd name="csY42" fmla="*/ 126616 h 372547"/>
                    <a:gd name="csX43" fmla="*/ 177006 w 585121"/>
                    <a:gd name="csY43" fmla="*/ 130970 h 372547"/>
                    <a:gd name="csX44" fmla="*/ 166153 w 585121"/>
                    <a:gd name="csY44" fmla="*/ 145472 h 372547"/>
                    <a:gd name="csX45" fmla="*/ 153091 w 585121"/>
                    <a:gd name="csY45" fmla="*/ 144736 h 372547"/>
                    <a:gd name="csX46" fmla="*/ 133115 w 585121"/>
                    <a:gd name="csY46" fmla="*/ 154916 h 372547"/>
                    <a:gd name="csX47" fmla="*/ 122230 w 585121"/>
                    <a:gd name="csY47" fmla="*/ 154180 h 372547"/>
                    <a:gd name="csX48" fmla="*/ 117876 w 585121"/>
                    <a:gd name="csY48" fmla="*/ 170507 h 372547"/>
                    <a:gd name="csX49" fmla="*/ 117876 w 585121"/>
                    <a:gd name="csY49" fmla="*/ 188627 h 372547"/>
                    <a:gd name="csX50" fmla="*/ 114258 w 585121"/>
                    <a:gd name="csY50" fmla="*/ 186098 h 372547"/>
                    <a:gd name="csX51" fmla="*/ 109200 w 585121"/>
                    <a:gd name="csY51" fmla="*/ 190452 h 372547"/>
                    <a:gd name="csX52" fmla="*/ 97931 w 585121"/>
                    <a:gd name="csY52" fmla="*/ 192981 h 372547"/>
                    <a:gd name="csX53" fmla="*/ 93577 w 585121"/>
                    <a:gd name="csY53" fmla="*/ 207515 h 372547"/>
                    <a:gd name="csX54" fmla="*/ 83429 w 585121"/>
                    <a:gd name="csY54" fmla="*/ 209308 h 372547"/>
                    <a:gd name="csX55" fmla="*/ 83429 w 585121"/>
                    <a:gd name="csY55" fmla="*/ 219489 h 372547"/>
                    <a:gd name="csX56" fmla="*/ 72896 w 585121"/>
                    <a:gd name="csY56" fmla="*/ 218752 h 372547"/>
                    <a:gd name="csX57" fmla="*/ 67102 w 585121"/>
                    <a:gd name="csY57" fmla="*/ 232550 h 372547"/>
                    <a:gd name="csX58" fmla="*/ 53335 w 585121"/>
                    <a:gd name="csY58" fmla="*/ 238345 h 372547"/>
                    <a:gd name="csX59" fmla="*/ 48982 w 585121"/>
                    <a:gd name="csY59" fmla="*/ 233991 h 372547"/>
                    <a:gd name="csX60" fmla="*/ 48245 w 585121"/>
                    <a:gd name="csY60" fmla="*/ 216928 h 372547"/>
                    <a:gd name="csX61" fmla="*/ 37008 w 585121"/>
                    <a:gd name="csY61" fmla="*/ 221281 h 372547"/>
                    <a:gd name="csX62" fmla="*/ 32654 w 585121"/>
                    <a:gd name="csY62" fmla="*/ 216928 h 372547"/>
                    <a:gd name="csX63" fmla="*/ 33359 w 585121"/>
                    <a:gd name="csY63" fmla="*/ 221281 h 372547"/>
                    <a:gd name="csX64" fmla="*/ 28301 w 585121"/>
                    <a:gd name="csY64" fmla="*/ 222018 h 372547"/>
                    <a:gd name="csX65" fmla="*/ 27564 w 585121"/>
                    <a:gd name="csY65" fmla="*/ 228196 h 372547"/>
                    <a:gd name="csX66" fmla="*/ 14502 w 585121"/>
                    <a:gd name="csY66" fmla="*/ 229989 h 372547"/>
                    <a:gd name="csX67" fmla="*/ 0 w 585121"/>
                    <a:gd name="csY67" fmla="*/ 247053 h 372547"/>
                    <a:gd name="csX68" fmla="*/ 0 w 585121"/>
                    <a:gd name="csY68" fmla="*/ 253199 h 372547"/>
                    <a:gd name="csX69" fmla="*/ 9412 w 585121"/>
                    <a:gd name="csY69" fmla="*/ 260114 h 372547"/>
                    <a:gd name="csX70" fmla="*/ 17768 w 585121"/>
                    <a:gd name="csY70" fmla="*/ 260819 h 372547"/>
                    <a:gd name="csX71" fmla="*/ 19593 w 585121"/>
                    <a:gd name="csY71" fmla="*/ 268438 h 372547"/>
                    <a:gd name="csX72" fmla="*/ 24651 w 585121"/>
                    <a:gd name="csY72" fmla="*/ 270263 h 372547"/>
                    <a:gd name="csX73" fmla="*/ 23947 w 585121"/>
                    <a:gd name="csY73" fmla="*/ 290944 h 372547"/>
                    <a:gd name="csX74" fmla="*/ 19593 w 585121"/>
                    <a:gd name="csY74" fmla="*/ 299652 h 372547"/>
                    <a:gd name="csX75" fmla="*/ 30093 w 585121"/>
                    <a:gd name="csY75" fmla="*/ 304006 h 372547"/>
                    <a:gd name="csX76" fmla="*/ 28301 w 585121"/>
                    <a:gd name="csY76" fmla="*/ 321037 h 372547"/>
                    <a:gd name="csX77" fmla="*/ 22122 w 585121"/>
                    <a:gd name="csY77" fmla="*/ 327216 h 372547"/>
                    <a:gd name="csX78" fmla="*/ 35920 w 585121"/>
                    <a:gd name="csY78" fmla="*/ 329745 h 372547"/>
                    <a:gd name="csX79" fmla="*/ 41362 w 585121"/>
                    <a:gd name="csY79" fmla="*/ 335572 h 372547"/>
                    <a:gd name="csX80" fmla="*/ 38449 w 585121"/>
                    <a:gd name="csY80" fmla="*/ 339926 h 372547"/>
                    <a:gd name="csX81" fmla="*/ 49686 w 585121"/>
                    <a:gd name="csY81" fmla="*/ 346072 h 372547"/>
                    <a:gd name="csX82" fmla="*/ 46420 w 585121"/>
                    <a:gd name="csY82" fmla="*/ 355516 h 372547"/>
                    <a:gd name="csX83" fmla="*/ 59130 w 585121"/>
                    <a:gd name="csY83" fmla="*/ 364929 h 372547"/>
                    <a:gd name="csX84" fmla="*/ 64572 w 585121"/>
                    <a:gd name="csY84" fmla="*/ 358045 h 372547"/>
                    <a:gd name="csX85" fmla="*/ 72896 w 585121"/>
                    <a:gd name="csY85" fmla="*/ 372548 h 372547"/>
                    <a:gd name="csX86" fmla="*/ 82340 w 585121"/>
                    <a:gd name="csY86" fmla="*/ 364224 h 372547"/>
                    <a:gd name="csX87" fmla="*/ 90312 w 585121"/>
                    <a:gd name="csY87" fmla="*/ 351899 h 372547"/>
                    <a:gd name="csX88" fmla="*/ 88519 w 585121"/>
                    <a:gd name="csY88" fmla="*/ 341718 h 372547"/>
                    <a:gd name="csX89" fmla="*/ 83429 w 585121"/>
                    <a:gd name="csY89" fmla="*/ 337365 h 372547"/>
                    <a:gd name="csX90" fmla="*/ 88519 w 585121"/>
                    <a:gd name="csY90" fmla="*/ 326128 h 372547"/>
                    <a:gd name="csX91" fmla="*/ 103021 w 585121"/>
                    <a:gd name="csY91" fmla="*/ 321774 h 372547"/>
                    <a:gd name="csX92" fmla="*/ 129145 w 585121"/>
                    <a:gd name="csY92" fmla="*/ 336660 h 372547"/>
                    <a:gd name="csX93" fmla="*/ 145472 w 585121"/>
                    <a:gd name="csY93" fmla="*/ 332306 h 372547"/>
                    <a:gd name="csX94" fmla="*/ 153091 w 585121"/>
                    <a:gd name="csY94" fmla="*/ 341718 h 372547"/>
                    <a:gd name="csX95" fmla="*/ 176302 w 585121"/>
                    <a:gd name="csY95" fmla="*/ 334099 h 372547"/>
                    <a:gd name="csX96" fmla="*/ 185714 w 585121"/>
                    <a:gd name="csY96" fmla="*/ 341014 h 372547"/>
                    <a:gd name="csX97" fmla="*/ 190068 w 585121"/>
                    <a:gd name="csY97" fmla="*/ 332306 h 372547"/>
                    <a:gd name="csX98" fmla="*/ 199512 w 585121"/>
                    <a:gd name="csY98" fmla="*/ 330481 h 372547"/>
                    <a:gd name="csX99" fmla="*/ 201337 w 585121"/>
                    <a:gd name="csY99" fmla="*/ 326128 h 372547"/>
                    <a:gd name="csX100" fmla="*/ 215839 w 585121"/>
                    <a:gd name="csY100" fmla="*/ 327952 h 372547"/>
                    <a:gd name="csX101" fmla="*/ 218368 w 585121"/>
                    <a:gd name="csY101" fmla="*/ 321037 h 372547"/>
                    <a:gd name="csX102" fmla="*/ 231430 w 585121"/>
                    <a:gd name="csY102" fmla="*/ 326128 h 372547"/>
                    <a:gd name="csX103" fmla="*/ 243403 w 585121"/>
                    <a:gd name="csY103" fmla="*/ 315979 h 372547"/>
                    <a:gd name="csX104" fmla="*/ 269175 w 585121"/>
                    <a:gd name="csY104" fmla="*/ 305446 h 372547"/>
                    <a:gd name="csX105" fmla="*/ 266613 w 585121"/>
                    <a:gd name="csY105" fmla="*/ 297827 h 372547"/>
                    <a:gd name="csX106" fmla="*/ 286558 w 585121"/>
                    <a:gd name="csY106" fmla="*/ 288415 h 372547"/>
                    <a:gd name="csX107" fmla="*/ 297827 w 585121"/>
                    <a:gd name="csY107" fmla="*/ 302181 h 372547"/>
                    <a:gd name="csX108" fmla="*/ 307239 w 585121"/>
                    <a:gd name="csY108" fmla="*/ 300356 h 372547"/>
                    <a:gd name="csX109" fmla="*/ 312330 w 585121"/>
                    <a:gd name="csY109" fmla="*/ 289119 h 372547"/>
                    <a:gd name="csX110" fmla="*/ 328657 w 585121"/>
                    <a:gd name="csY110" fmla="*/ 289119 h 372547"/>
                    <a:gd name="csX111" fmla="*/ 331186 w 585121"/>
                    <a:gd name="csY111" fmla="*/ 283325 h 372547"/>
                    <a:gd name="csX112" fmla="*/ 336276 w 585121"/>
                    <a:gd name="csY112" fmla="*/ 286590 h 372547"/>
                    <a:gd name="csX113" fmla="*/ 352603 w 585121"/>
                    <a:gd name="csY113" fmla="*/ 284061 h 372547"/>
                    <a:gd name="csX114" fmla="*/ 358750 w 585121"/>
                    <a:gd name="csY114" fmla="*/ 273881 h 372547"/>
                    <a:gd name="csX115" fmla="*/ 363104 w 585121"/>
                    <a:gd name="csY115" fmla="*/ 278971 h 372547"/>
                    <a:gd name="csX116" fmla="*/ 358046 w 585121"/>
                    <a:gd name="csY116" fmla="*/ 293473 h 372547"/>
                    <a:gd name="csX117" fmla="*/ 366369 w 585121"/>
                    <a:gd name="csY117" fmla="*/ 294562 h 372547"/>
                    <a:gd name="csX118" fmla="*/ 375077 w 585121"/>
                    <a:gd name="csY118" fmla="*/ 304710 h 372547"/>
                    <a:gd name="csX119" fmla="*/ 386346 w 585121"/>
                    <a:gd name="csY119" fmla="*/ 307271 h 372547"/>
                    <a:gd name="csX120" fmla="*/ 409556 w 585121"/>
                    <a:gd name="csY120" fmla="*/ 284765 h 372547"/>
                    <a:gd name="csX121" fmla="*/ 423322 w 585121"/>
                    <a:gd name="csY121" fmla="*/ 277882 h 372547"/>
                    <a:gd name="csX122" fmla="*/ 429501 w 585121"/>
                    <a:gd name="csY122" fmla="*/ 264468 h 372547"/>
                    <a:gd name="csX123" fmla="*/ 433503 w 585121"/>
                    <a:gd name="csY123" fmla="*/ 265909 h 372547"/>
                    <a:gd name="csX124" fmla="*/ 436384 w 585121"/>
                    <a:gd name="csY124" fmla="*/ 260819 h 372547"/>
                    <a:gd name="csX125" fmla="*/ 452711 w 585121"/>
                    <a:gd name="csY125" fmla="*/ 263380 h 372547"/>
                    <a:gd name="csX126" fmla="*/ 467950 w 585121"/>
                    <a:gd name="csY126" fmla="*/ 254672 h 372547"/>
                    <a:gd name="csX127" fmla="*/ 467950 w 585121"/>
                    <a:gd name="csY127" fmla="*/ 245228 h 372547"/>
                    <a:gd name="csX128" fmla="*/ 474833 w 585121"/>
                    <a:gd name="csY128" fmla="*/ 238345 h 372547"/>
                    <a:gd name="csX129" fmla="*/ 473393 w 585121"/>
                    <a:gd name="csY129" fmla="*/ 229989 h 372547"/>
                    <a:gd name="csX130" fmla="*/ 480276 w 585121"/>
                    <a:gd name="csY130" fmla="*/ 227460 h 372547"/>
                    <a:gd name="csX131" fmla="*/ 474833 w 585121"/>
                    <a:gd name="csY131" fmla="*/ 212573 h 372547"/>
                    <a:gd name="csX132" fmla="*/ 481012 w 585121"/>
                    <a:gd name="csY132" fmla="*/ 207515 h 372547"/>
                    <a:gd name="csX133" fmla="*/ 479187 w 585121"/>
                    <a:gd name="csY133" fmla="*/ 202425 h 372547"/>
                    <a:gd name="csX134" fmla="*/ 481012 w 585121"/>
                    <a:gd name="csY134" fmla="*/ 195542 h 372547"/>
                    <a:gd name="csX135" fmla="*/ 495514 w 585121"/>
                    <a:gd name="csY135" fmla="*/ 186098 h 372547"/>
                    <a:gd name="csX136" fmla="*/ 503486 w 585121"/>
                    <a:gd name="csY136" fmla="*/ 191892 h 372547"/>
                    <a:gd name="csX137" fmla="*/ 513666 w 585121"/>
                    <a:gd name="csY137" fmla="*/ 191188 h 372547"/>
                    <a:gd name="csX138" fmla="*/ 521286 w 585121"/>
                    <a:gd name="csY138" fmla="*/ 193717 h 372547"/>
                    <a:gd name="csX139" fmla="*/ 529257 w 585121"/>
                    <a:gd name="csY139" fmla="*/ 216928 h 372547"/>
                    <a:gd name="csX140" fmla="*/ 536140 w 585121"/>
                    <a:gd name="csY140" fmla="*/ 216928 h 372547"/>
                    <a:gd name="csX141" fmla="*/ 537613 w 585121"/>
                    <a:gd name="csY141" fmla="*/ 205691 h 372547"/>
                    <a:gd name="csX142" fmla="*/ 546321 w 585121"/>
                    <a:gd name="csY142" fmla="*/ 212573 h 372547"/>
                    <a:gd name="csX143" fmla="*/ 557558 w 585121"/>
                    <a:gd name="csY143" fmla="*/ 205691 h 372547"/>
                    <a:gd name="csX144" fmla="*/ 566265 w 585121"/>
                    <a:gd name="csY144" fmla="*/ 193717 h 372547"/>
                    <a:gd name="csX145" fmla="*/ 571324 w 585121"/>
                    <a:gd name="csY145" fmla="*/ 196246 h 372547"/>
                    <a:gd name="csX146" fmla="*/ 585122 w 585121"/>
                    <a:gd name="csY146" fmla="*/ 183569 h 372547"/>
                    <a:gd name="csX147" fmla="*/ 573885 w 585121"/>
                    <a:gd name="csY147" fmla="*/ 179215 h 372547"/>
                    <a:gd name="csX148" fmla="*/ 573885 w 585121"/>
                    <a:gd name="csY148" fmla="*/ 165417 h 372547"/>
                    <a:gd name="csX149" fmla="*/ 559382 w 585121"/>
                    <a:gd name="csY149" fmla="*/ 160358 h 372547"/>
                    <a:gd name="csX150" fmla="*/ 552467 w 585121"/>
                    <a:gd name="csY150" fmla="*/ 137853 h 372547"/>
                    <a:gd name="csX151" fmla="*/ 544496 w 585121"/>
                    <a:gd name="csY151" fmla="*/ 135323 h 372547"/>
                    <a:gd name="csX152" fmla="*/ 550675 w 585121"/>
                    <a:gd name="csY152" fmla="*/ 127320 h 372547"/>
                    <a:gd name="csX153" fmla="*/ 555028 w 585121"/>
                    <a:gd name="csY153" fmla="*/ 116467 h 372547"/>
                    <a:gd name="csX154" fmla="*/ 565177 w 585121"/>
                    <a:gd name="csY154" fmla="*/ 110289 h 372547"/>
                    <a:gd name="csX155" fmla="*/ 578943 w 585121"/>
                    <a:gd name="csY155" fmla="*/ 83429 h 372547"/>
                    <a:gd name="csX156" fmla="*/ 571324 w 585121"/>
                    <a:gd name="csY156" fmla="*/ 75105 h 372547"/>
                    <a:gd name="csX157" fmla="*/ 582593 w 585121"/>
                    <a:gd name="csY157" fmla="*/ 61307 h 372547"/>
                    <a:gd name="csX158" fmla="*/ 571324 w 585121"/>
                    <a:gd name="csY158" fmla="*/ 26860 h 372547"/>
                    <a:gd name="csX159" fmla="*/ 581504 w 585121"/>
                    <a:gd name="csY159" fmla="*/ 18152 h 372547"/>
                    <a:gd name="csX160" fmla="*/ 571324 w 585121"/>
                    <a:gd name="csY160" fmla="*/ 18152 h 372547"/>
                    <a:gd name="csX161" fmla="*/ 546321 w 585121"/>
                    <a:gd name="csY161" fmla="*/ 31918 h 372547"/>
                    <a:gd name="csX162" fmla="*/ 545584 w 585121"/>
                    <a:gd name="csY162" fmla="*/ 24299 h 372547"/>
                    <a:gd name="csX163" fmla="*/ 536140 w 585121"/>
                    <a:gd name="csY163" fmla="*/ 26123 h 372547"/>
                    <a:gd name="csX164" fmla="*/ 528169 w 585121"/>
                    <a:gd name="csY164" fmla="*/ 40626 h 372547"/>
                    <a:gd name="csX165" fmla="*/ 520549 w 585121"/>
                    <a:gd name="csY165" fmla="*/ 41362 h 372547"/>
                    <a:gd name="csX166" fmla="*/ 518020 w 585121"/>
                    <a:gd name="csY166" fmla="*/ 31214 h 3725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</a:cxnLst>
                  <a:rect l="l" t="t" r="r" b="b"/>
                  <a:pathLst>
                    <a:path w="585121" h="372547">
                      <a:moveTo>
                        <a:pt x="518020" y="31214"/>
                      </a:moveTo>
                      <a:lnTo>
                        <a:pt x="524167" y="19945"/>
                      </a:lnTo>
                      <a:lnTo>
                        <a:pt x="520549" y="8708"/>
                      </a:lnTo>
                      <a:lnTo>
                        <a:pt x="526728" y="1825"/>
                      </a:lnTo>
                      <a:lnTo>
                        <a:pt x="523078" y="0"/>
                      </a:lnTo>
                      <a:lnTo>
                        <a:pt x="519813" y="0"/>
                      </a:lnTo>
                      <a:lnTo>
                        <a:pt x="500605" y="13798"/>
                      </a:lnTo>
                      <a:lnTo>
                        <a:pt x="492985" y="33007"/>
                      </a:lnTo>
                      <a:lnTo>
                        <a:pt x="481748" y="21770"/>
                      </a:lnTo>
                      <a:lnTo>
                        <a:pt x="469775" y="27564"/>
                      </a:lnTo>
                      <a:lnTo>
                        <a:pt x="465421" y="31918"/>
                      </a:lnTo>
                      <a:lnTo>
                        <a:pt x="467950" y="38097"/>
                      </a:lnTo>
                      <a:lnTo>
                        <a:pt x="455977" y="45716"/>
                      </a:lnTo>
                      <a:lnTo>
                        <a:pt x="441474" y="37008"/>
                      </a:lnTo>
                      <a:lnTo>
                        <a:pt x="425884" y="50070"/>
                      </a:lnTo>
                      <a:lnTo>
                        <a:pt x="423322" y="47541"/>
                      </a:lnTo>
                      <a:lnTo>
                        <a:pt x="417176" y="42451"/>
                      </a:lnTo>
                      <a:lnTo>
                        <a:pt x="406995" y="43891"/>
                      </a:lnTo>
                      <a:lnTo>
                        <a:pt x="395758" y="51895"/>
                      </a:lnTo>
                      <a:lnTo>
                        <a:pt x="385610" y="48245"/>
                      </a:lnTo>
                      <a:lnTo>
                        <a:pt x="340630" y="61307"/>
                      </a:lnTo>
                      <a:lnTo>
                        <a:pt x="347513" y="46452"/>
                      </a:lnTo>
                      <a:lnTo>
                        <a:pt x="338805" y="43187"/>
                      </a:lnTo>
                      <a:lnTo>
                        <a:pt x="337365" y="38097"/>
                      </a:lnTo>
                      <a:lnTo>
                        <a:pt x="356221" y="26860"/>
                      </a:lnTo>
                      <a:lnTo>
                        <a:pt x="345720" y="19945"/>
                      </a:lnTo>
                      <a:lnTo>
                        <a:pt x="338805" y="24299"/>
                      </a:lnTo>
                      <a:lnTo>
                        <a:pt x="333715" y="21770"/>
                      </a:lnTo>
                      <a:lnTo>
                        <a:pt x="319213" y="26860"/>
                      </a:lnTo>
                      <a:lnTo>
                        <a:pt x="308712" y="39537"/>
                      </a:lnTo>
                      <a:lnTo>
                        <a:pt x="296739" y="43891"/>
                      </a:lnTo>
                      <a:lnTo>
                        <a:pt x="278587" y="53335"/>
                      </a:lnTo>
                      <a:lnTo>
                        <a:pt x="271704" y="53335"/>
                      </a:lnTo>
                      <a:lnTo>
                        <a:pt x="262260" y="45716"/>
                      </a:lnTo>
                      <a:lnTo>
                        <a:pt x="247021" y="50806"/>
                      </a:lnTo>
                      <a:lnTo>
                        <a:pt x="234695" y="63132"/>
                      </a:lnTo>
                      <a:lnTo>
                        <a:pt x="231430" y="75105"/>
                      </a:lnTo>
                      <a:lnTo>
                        <a:pt x="222722" y="89607"/>
                      </a:lnTo>
                      <a:lnTo>
                        <a:pt x="223811" y="100844"/>
                      </a:lnTo>
                      <a:lnTo>
                        <a:pt x="218368" y="105198"/>
                      </a:lnTo>
                      <a:lnTo>
                        <a:pt x="207131" y="113554"/>
                      </a:lnTo>
                      <a:lnTo>
                        <a:pt x="198776" y="110289"/>
                      </a:lnTo>
                      <a:lnTo>
                        <a:pt x="190068" y="126616"/>
                      </a:lnTo>
                      <a:lnTo>
                        <a:pt x="177006" y="130970"/>
                      </a:lnTo>
                      <a:lnTo>
                        <a:pt x="166153" y="145472"/>
                      </a:lnTo>
                      <a:lnTo>
                        <a:pt x="153091" y="144736"/>
                      </a:lnTo>
                      <a:lnTo>
                        <a:pt x="133115" y="154916"/>
                      </a:lnTo>
                      <a:lnTo>
                        <a:pt x="122230" y="154180"/>
                      </a:lnTo>
                      <a:lnTo>
                        <a:pt x="117876" y="170507"/>
                      </a:lnTo>
                      <a:lnTo>
                        <a:pt x="117876" y="188627"/>
                      </a:lnTo>
                      <a:lnTo>
                        <a:pt x="114258" y="186098"/>
                      </a:lnTo>
                      <a:lnTo>
                        <a:pt x="109200" y="190452"/>
                      </a:lnTo>
                      <a:lnTo>
                        <a:pt x="97931" y="192981"/>
                      </a:lnTo>
                      <a:lnTo>
                        <a:pt x="93577" y="207515"/>
                      </a:lnTo>
                      <a:lnTo>
                        <a:pt x="83429" y="209308"/>
                      </a:lnTo>
                      <a:lnTo>
                        <a:pt x="83429" y="219489"/>
                      </a:lnTo>
                      <a:lnTo>
                        <a:pt x="72896" y="218752"/>
                      </a:lnTo>
                      <a:lnTo>
                        <a:pt x="67102" y="232550"/>
                      </a:lnTo>
                      <a:lnTo>
                        <a:pt x="53335" y="238345"/>
                      </a:lnTo>
                      <a:lnTo>
                        <a:pt x="48982" y="233991"/>
                      </a:lnTo>
                      <a:lnTo>
                        <a:pt x="48245" y="216928"/>
                      </a:lnTo>
                      <a:lnTo>
                        <a:pt x="37008" y="221281"/>
                      </a:lnTo>
                      <a:lnTo>
                        <a:pt x="32654" y="216928"/>
                      </a:lnTo>
                      <a:lnTo>
                        <a:pt x="33359" y="221281"/>
                      </a:lnTo>
                      <a:lnTo>
                        <a:pt x="28301" y="222018"/>
                      </a:lnTo>
                      <a:lnTo>
                        <a:pt x="27564" y="228196"/>
                      </a:lnTo>
                      <a:lnTo>
                        <a:pt x="14502" y="229989"/>
                      </a:lnTo>
                      <a:lnTo>
                        <a:pt x="0" y="247053"/>
                      </a:lnTo>
                      <a:lnTo>
                        <a:pt x="0" y="253199"/>
                      </a:lnTo>
                      <a:lnTo>
                        <a:pt x="9412" y="260114"/>
                      </a:lnTo>
                      <a:lnTo>
                        <a:pt x="17768" y="260819"/>
                      </a:lnTo>
                      <a:lnTo>
                        <a:pt x="19593" y="268438"/>
                      </a:lnTo>
                      <a:lnTo>
                        <a:pt x="24651" y="270263"/>
                      </a:lnTo>
                      <a:lnTo>
                        <a:pt x="23947" y="290944"/>
                      </a:lnTo>
                      <a:lnTo>
                        <a:pt x="19593" y="299652"/>
                      </a:lnTo>
                      <a:lnTo>
                        <a:pt x="30093" y="304006"/>
                      </a:lnTo>
                      <a:lnTo>
                        <a:pt x="28301" y="321037"/>
                      </a:lnTo>
                      <a:lnTo>
                        <a:pt x="22122" y="327216"/>
                      </a:lnTo>
                      <a:lnTo>
                        <a:pt x="35920" y="329745"/>
                      </a:lnTo>
                      <a:lnTo>
                        <a:pt x="41362" y="335572"/>
                      </a:lnTo>
                      <a:lnTo>
                        <a:pt x="38449" y="339926"/>
                      </a:lnTo>
                      <a:lnTo>
                        <a:pt x="49686" y="346072"/>
                      </a:lnTo>
                      <a:lnTo>
                        <a:pt x="46420" y="355516"/>
                      </a:lnTo>
                      <a:lnTo>
                        <a:pt x="59130" y="364929"/>
                      </a:lnTo>
                      <a:lnTo>
                        <a:pt x="64572" y="358045"/>
                      </a:lnTo>
                      <a:lnTo>
                        <a:pt x="72896" y="372548"/>
                      </a:lnTo>
                      <a:lnTo>
                        <a:pt x="82340" y="364224"/>
                      </a:lnTo>
                      <a:lnTo>
                        <a:pt x="90312" y="351899"/>
                      </a:lnTo>
                      <a:lnTo>
                        <a:pt x="88519" y="341718"/>
                      </a:lnTo>
                      <a:lnTo>
                        <a:pt x="83429" y="337365"/>
                      </a:lnTo>
                      <a:lnTo>
                        <a:pt x="88519" y="326128"/>
                      </a:lnTo>
                      <a:lnTo>
                        <a:pt x="103021" y="321774"/>
                      </a:lnTo>
                      <a:lnTo>
                        <a:pt x="129145" y="336660"/>
                      </a:lnTo>
                      <a:lnTo>
                        <a:pt x="145472" y="332306"/>
                      </a:lnTo>
                      <a:lnTo>
                        <a:pt x="153091" y="341718"/>
                      </a:lnTo>
                      <a:lnTo>
                        <a:pt x="176302" y="334099"/>
                      </a:lnTo>
                      <a:lnTo>
                        <a:pt x="185714" y="341014"/>
                      </a:lnTo>
                      <a:lnTo>
                        <a:pt x="190068" y="332306"/>
                      </a:lnTo>
                      <a:lnTo>
                        <a:pt x="199512" y="330481"/>
                      </a:lnTo>
                      <a:lnTo>
                        <a:pt x="201337" y="326128"/>
                      </a:lnTo>
                      <a:lnTo>
                        <a:pt x="215839" y="327952"/>
                      </a:lnTo>
                      <a:lnTo>
                        <a:pt x="218368" y="321037"/>
                      </a:lnTo>
                      <a:lnTo>
                        <a:pt x="231430" y="326128"/>
                      </a:lnTo>
                      <a:lnTo>
                        <a:pt x="243403" y="315979"/>
                      </a:lnTo>
                      <a:lnTo>
                        <a:pt x="269175" y="305446"/>
                      </a:lnTo>
                      <a:lnTo>
                        <a:pt x="266613" y="297827"/>
                      </a:lnTo>
                      <a:lnTo>
                        <a:pt x="286558" y="288415"/>
                      </a:lnTo>
                      <a:lnTo>
                        <a:pt x="297827" y="302181"/>
                      </a:lnTo>
                      <a:lnTo>
                        <a:pt x="307239" y="300356"/>
                      </a:lnTo>
                      <a:lnTo>
                        <a:pt x="312330" y="289119"/>
                      </a:lnTo>
                      <a:lnTo>
                        <a:pt x="328657" y="289119"/>
                      </a:lnTo>
                      <a:lnTo>
                        <a:pt x="331186" y="283325"/>
                      </a:lnTo>
                      <a:lnTo>
                        <a:pt x="336276" y="286590"/>
                      </a:lnTo>
                      <a:lnTo>
                        <a:pt x="352603" y="284061"/>
                      </a:lnTo>
                      <a:lnTo>
                        <a:pt x="358750" y="273881"/>
                      </a:lnTo>
                      <a:lnTo>
                        <a:pt x="363104" y="278971"/>
                      </a:lnTo>
                      <a:lnTo>
                        <a:pt x="358046" y="293473"/>
                      </a:lnTo>
                      <a:lnTo>
                        <a:pt x="366369" y="294562"/>
                      </a:lnTo>
                      <a:lnTo>
                        <a:pt x="375077" y="304710"/>
                      </a:lnTo>
                      <a:lnTo>
                        <a:pt x="386346" y="307271"/>
                      </a:lnTo>
                      <a:lnTo>
                        <a:pt x="409556" y="284765"/>
                      </a:lnTo>
                      <a:lnTo>
                        <a:pt x="423322" y="277882"/>
                      </a:lnTo>
                      <a:lnTo>
                        <a:pt x="429501" y="264468"/>
                      </a:lnTo>
                      <a:lnTo>
                        <a:pt x="433503" y="265909"/>
                      </a:lnTo>
                      <a:lnTo>
                        <a:pt x="436384" y="260819"/>
                      </a:lnTo>
                      <a:lnTo>
                        <a:pt x="452711" y="263380"/>
                      </a:lnTo>
                      <a:lnTo>
                        <a:pt x="467950" y="254672"/>
                      </a:lnTo>
                      <a:lnTo>
                        <a:pt x="467950" y="245228"/>
                      </a:lnTo>
                      <a:lnTo>
                        <a:pt x="474833" y="238345"/>
                      </a:lnTo>
                      <a:lnTo>
                        <a:pt x="473393" y="229989"/>
                      </a:lnTo>
                      <a:lnTo>
                        <a:pt x="480276" y="227460"/>
                      </a:lnTo>
                      <a:lnTo>
                        <a:pt x="474833" y="212573"/>
                      </a:lnTo>
                      <a:lnTo>
                        <a:pt x="481012" y="207515"/>
                      </a:lnTo>
                      <a:lnTo>
                        <a:pt x="479187" y="202425"/>
                      </a:lnTo>
                      <a:lnTo>
                        <a:pt x="481012" y="195542"/>
                      </a:lnTo>
                      <a:lnTo>
                        <a:pt x="495514" y="186098"/>
                      </a:lnTo>
                      <a:lnTo>
                        <a:pt x="503486" y="191892"/>
                      </a:lnTo>
                      <a:lnTo>
                        <a:pt x="513666" y="191188"/>
                      </a:lnTo>
                      <a:lnTo>
                        <a:pt x="521286" y="193717"/>
                      </a:lnTo>
                      <a:lnTo>
                        <a:pt x="529257" y="216928"/>
                      </a:lnTo>
                      <a:lnTo>
                        <a:pt x="536140" y="216928"/>
                      </a:lnTo>
                      <a:lnTo>
                        <a:pt x="537613" y="205691"/>
                      </a:lnTo>
                      <a:lnTo>
                        <a:pt x="546321" y="212573"/>
                      </a:lnTo>
                      <a:lnTo>
                        <a:pt x="557558" y="205691"/>
                      </a:lnTo>
                      <a:lnTo>
                        <a:pt x="566265" y="193717"/>
                      </a:lnTo>
                      <a:lnTo>
                        <a:pt x="571324" y="196246"/>
                      </a:lnTo>
                      <a:lnTo>
                        <a:pt x="585122" y="183569"/>
                      </a:lnTo>
                      <a:lnTo>
                        <a:pt x="573885" y="179215"/>
                      </a:lnTo>
                      <a:lnTo>
                        <a:pt x="573885" y="165417"/>
                      </a:lnTo>
                      <a:lnTo>
                        <a:pt x="559382" y="160358"/>
                      </a:lnTo>
                      <a:lnTo>
                        <a:pt x="552467" y="137853"/>
                      </a:lnTo>
                      <a:lnTo>
                        <a:pt x="544496" y="135323"/>
                      </a:lnTo>
                      <a:lnTo>
                        <a:pt x="550675" y="127320"/>
                      </a:lnTo>
                      <a:lnTo>
                        <a:pt x="555028" y="116467"/>
                      </a:lnTo>
                      <a:lnTo>
                        <a:pt x="565177" y="110289"/>
                      </a:lnTo>
                      <a:lnTo>
                        <a:pt x="578943" y="83429"/>
                      </a:lnTo>
                      <a:lnTo>
                        <a:pt x="571324" y="75105"/>
                      </a:lnTo>
                      <a:lnTo>
                        <a:pt x="582593" y="61307"/>
                      </a:lnTo>
                      <a:lnTo>
                        <a:pt x="571324" y="26860"/>
                      </a:lnTo>
                      <a:lnTo>
                        <a:pt x="581504" y="18152"/>
                      </a:lnTo>
                      <a:lnTo>
                        <a:pt x="571324" y="18152"/>
                      </a:lnTo>
                      <a:lnTo>
                        <a:pt x="546321" y="31918"/>
                      </a:lnTo>
                      <a:lnTo>
                        <a:pt x="545584" y="24299"/>
                      </a:lnTo>
                      <a:lnTo>
                        <a:pt x="536140" y="26123"/>
                      </a:lnTo>
                      <a:lnTo>
                        <a:pt x="528169" y="40626"/>
                      </a:lnTo>
                      <a:lnTo>
                        <a:pt x="520549" y="41362"/>
                      </a:lnTo>
                      <a:lnTo>
                        <a:pt x="518020" y="3121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0" name="Forma Livre: Forma 379">
                  <a:extLst>
                    <a:ext uri="{FF2B5EF4-FFF2-40B4-BE49-F238E27FC236}">
                      <a16:creationId xmlns:a16="http://schemas.microsoft.com/office/drawing/2014/main" id="{D3DB51EE-936F-F21C-350A-47AA91621244}"/>
                    </a:ext>
                  </a:extLst>
                </p:cNvPr>
                <p:cNvSpPr/>
                <p:nvPr/>
              </p:nvSpPr>
              <p:spPr>
                <a:xfrm>
                  <a:off x="2681736" y="4758706"/>
                  <a:ext cx="585121" cy="372547"/>
                </a:xfrm>
                <a:custGeom>
                  <a:avLst/>
                  <a:gdLst>
                    <a:gd name="csX0" fmla="*/ 518020 w 585121"/>
                    <a:gd name="csY0" fmla="*/ 31214 h 372547"/>
                    <a:gd name="csX1" fmla="*/ 524167 w 585121"/>
                    <a:gd name="csY1" fmla="*/ 19945 h 372547"/>
                    <a:gd name="csX2" fmla="*/ 520549 w 585121"/>
                    <a:gd name="csY2" fmla="*/ 8708 h 372547"/>
                    <a:gd name="csX3" fmla="*/ 526728 w 585121"/>
                    <a:gd name="csY3" fmla="*/ 1825 h 372547"/>
                    <a:gd name="csX4" fmla="*/ 523078 w 585121"/>
                    <a:gd name="csY4" fmla="*/ 0 h 372547"/>
                    <a:gd name="csX5" fmla="*/ 519813 w 585121"/>
                    <a:gd name="csY5" fmla="*/ 0 h 372547"/>
                    <a:gd name="csX6" fmla="*/ 500605 w 585121"/>
                    <a:gd name="csY6" fmla="*/ 13798 h 372547"/>
                    <a:gd name="csX7" fmla="*/ 492985 w 585121"/>
                    <a:gd name="csY7" fmla="*/ 33007 h 372547"/>
                    <a:gd name="csX8" fmla="*/ 481748 w 585121"/>
                    <a:gd name="csY8" fmla="*/ 21770 h 372547"/>
                    <a:gd name="csX9" fmla="*/ 469775 w 585121"/>
                    <a:gd name="csY9" fmla="*/ 27564 h 372547"/>
                    <a:gd name="csX10" fmla="*/ 465421 w 585121"/>
                    <a:gd name="csY10" fmla="*/ 31918 h 372547"/>
                    <a:gd name="csX11" fmla="*/ 467950 w 585121"/>
                    <a:gd name="csY11" fmla="*/ 38097 h 372547"/>
                    <a:gd name="csX12" fmla="*/ 455977 w 585121"/>
                    <a:gd name="csY12" fmla="*/ 45716 h 372547"/>
                    <a:gd name="csX13" fmla="*/ 441474 w 585121"/>
                    <a:gd name="csY13" fmla="*/ 37008 h 372547"/>
                    <a:gd name="csX14" fmla="*/ 425884 w 585121"/>
                    <a:gd name="csY14" fmla="*/ 50070 h 372547"/>
                    <a:gd name="csX15" fmla="*/ 423322 w 585121"/>
                    <a:gd name="csY15" fmla="*/ 47541 h 372547"/>
                    <a:gd name="csX16" fmla="*/ 417176 w 585121"/>
                    <a:gd name="csY16" fmla="*/ 42451 h 372547"/>
                    <a:gd name="csX17" fmla="*/ 406995 w 585121"/>
                    <a:gd name="csY17" fmla="*/ 43891 h 372547"/>
                    <a:gd name="csX18" fmla="*/ 395758 w 585121"/>
                    <a:gd name="csY18" fmla="*/ 51895 h 372547"/>
                    <a:gd name="csX19" fmla="*/ 385610 w 585121"/>
                    <a:gd name="csY19" fmla="*/ 48245 h 372547"/>
                    <a:gd name="csX20" fmla="*/ 340630 w 585121"/>
                    <a:gd name="csY20" fmla="*/ 61307 h 372547"/>
                    <a:gd name="csX21" fmla="*/ 347513 w 585121"/>
                    <a:gd name="csY21" fmla="*/ 46452 h 372547"/>
                    <a:gd name="csX22" fmla="*/ 338805 w 585121"/>
                    <a:gd name="csY22" fmla="*/ 43187 h 372547"/>
                    <a:gd name="csX23" fmla="*/ 337365 w 585121"/>
                    <a:gd name="csY23" fmla="*/ 38097 h 372547"/>
                    <a:gd name="csX24" fmla="*/ 356221 w 585121"/>
                    <a:gd name="csY24" fmla="*/ 26860 h 372547"/>
                    <a:gd name="csX25" fmla="*/ 345720 w 585121"/>
                    <a:gd name="csY25" fmla="*/ 19945 h 372547"/>
                    <a:gd name="csX26" fmla="*/ 338805 w 585121"/>
                    <a:gd name="csY26" fmla="*/ 24299 h 372547"/>
                    <a:gd name="csX27" fmla="*/ 333715 w 585121"/>
                    <a:gd name="csY27" fmla="*/ 21770 h 372547"/>
                    <a:gd name="csX28" fmla="*/ 319213 w 585121"/>
                    <a:gd name="csY28" fmla="*/ 26860 h 372547"/>
                    <a:gd name="csX29" fmla="*/ 308712 w 585121"/>
                    <a:gd name="csY29" fmla="*/ 39537 h 372547"/>
                    <a:gd name="csX30" fmla="*/ 296739 w 585121"/>
                    <a:gd name="csY30" fmla="*/ 43891 h 372547"/>
                    <a:gd name="csX31" fmla="*/ 278587 w 585121"/>
                    <a:gd name="csY31" fmla="*/ 53335 h 372547"/>
                    <a:gd name="csX32" fmla="*/ 271704 w 585121"/>
                    <a:gd name="csY32" fmla="*/ 53335 h 372547"/>
                    <a:gd name="csX33" fmla="*/ 262260 w 585121"/>
                    <a:gd name="csY33" fmla="*/ 45716 h 372547"/>
                    <a:gd name="csX34" fmla="*/ 247021 w 585121"/>
                    <a:gd name="csY34" fmla="*/ 50806 h 372547"/>
                    <a:gd name="csX35" fmla="*/ 234695 w 585121"/>
                    <a:gd name="csY35" fmla="*/ 63132 h 372547"/>
                    <a:gd name="csX36" fmla="*/ 231430 w 585121"/>
                    <a:gd name="csY36" fmla="*/ 75105 h 372547"/>
                    <a:gd name="csX37" fmla="*/ 222722 w 585121"/>
                    <a:gd name="csY37" fmla="*/ 89607 h 372547"/>
                    <a:gd name="csX38" fmla="*/ 223811 w 585121"/>
                    <a:gd name="csY38" fmla="*/ 100844 h 372547"/>
                    <a:gd name="csX39" fmla="*/ 218368 w 585121"/>
                    <a:gd name="csY39" fmla="*/ 105198 h 372547"/>
                    <a:gd name="csX40" fmla="*/ 207131 w 585121"/>
                    <a:gd name="csY40" fmla="*/ 113554 h 372547"/>
                    <a:gd name="csX41" fmla="*/ 198776 w 585121"/>
                    <a:gd name="csY41" fmla="*/ 110289 h 372547"/>
                    <a:gd name="csX42" fmla="*/ 190068 w 585121"/>
                    <a:gd name="csY42" fmla="*/ 126616 h 372547"/>
                    <a:gd name="csX43" fmla="*/ 177006 w 585121"/>
                    <a:gd name="csY43" fmla="*/ 130970 h 372547"/>
                    <a:gd name="csX44" fmla="*/ 166153 w 585121"/>
                    <a:gd name="csY44" fmla="*/ 145472 h 372547"/>
                    <a:gd name="csX45" fmla="*/ 153091 w 585121"/>
                    <a:gd name="csY45" fmla="*/ 144736 h 372547"/>
                    <a:gd name="csX46" fmla="*/ 133115 w 585121"/>
                    <a:gd name="csY46" fmla="*/ 154916 h 372547"/>
                    <a:gd name="csX47" fmla="*/ 122230 w 585121"/>
                    <a:gd name="csY47" fmla="*/ 154180 h 372547"/>
                    <a:gd name="csX48" fmla="*/ 117876 w 585121"/>
                    <a:gd name="csY48" fmla="*/ 170507 h 372547"/>
                    <a:gd name="csX49" fmla="*/ 117876 w 585121"/>
                    <a:gd name="csY49" fmla="*/ 188627 h 372547"/>
                    <a:gd name="csX50" fmla="*/ 114258 w 585121"/>
                    <a:gd name="csY50" fmla="*/ 186098 h 372547"/>
                    <a:gd name="csX51" fmla="*/ 109200 w 585121"/>
                    <a:gd name="csY51" fmla="*/ 190452 h 372547"/>
                    <a:gd name="csX52" fmla="*/ 97931 w 585121"/>
                    <a:gd name="csY52" fmla="*/ 192981 h 372547"/>
                    <a:gd name="csX53" fmla="*/ 93577 w 585121"/>
                    <a:gd name="csY53" fmla="*/ 207515 h 372547"/>
                    <a:gd name="csX54" fmla="*/ 83429 w 585121"/>
                    <a:gd name="csY54" fmla="*/ 209308 h 372547"/>
                    <a:gd name="csX55" fmla="*/ 83429 w 585121"/>
                    <a:gd name="csY55" fmla="*/ 219489 h 372547"/>
                    <a:gd name="csX56" fmla="*/ 72896 w 585121"/>
                    <a:gd name="csY56" fmla="*/ 218752 h 372547"/>
                    <a:gd name="csX57" fmla="*/ 67102 w 585121"/>
                    <a:gd name="csY57" fmla="*/ 232550 h 372547"/>
                    <a:gd name="csX58" fmla="*/ 53335 w 585121"/>
                    <a:gd name="csY58" fmla="*/ 238345 h 372547"/>
                    <a:gd name="csX59" fmla="*/ 48982 w 585121"/>
                    <a:gd name="csY59" fmla="*/ 233991 h 372547"/>
                    <a:gd name="csX60" fmla="*/ 48245 w 585121"/>
                    <a:gd name="csY60" fmla="*/ 216928 h 372547"/>
                    <a:gd name="csX61" fmla="*/ 37008 w 585121"/>
                    <a:gd name="csY61" fmla="*/ 221281 h 372547"/>
                    <a:gd name="csX62" fmla="*/ 32654 w 585121"/>
                    <a:gd name="csY62" fmla="*/ 216928 h 372547"/>
                    <a:gd name="csX63" fmla="*/ 33359 w 585121"/>
                    <a:gd name="csY63" fmla="*/ 221281 h 372547"/>
                    <a:gd name="csX64" fmla="*/ 28301 w 585121"/>
                    <a:gd name="csY64" fmla="*/ 222018 h 372547"/>
                    <a:gd name="csX65" fmla="*/ 27564 w 585121"/>
                    <a:gd name="csY65" fmla="*/ 228196 h 372547"/>
                    <a:gd name="csX66" fmla="*/ 14502 w 585121"/>
                    <a:gd name="csY66" fmla="*/ 229989 h 372547"/>
                    <a:gd name="csX67" fmla="*/ 0 w 585121"/>
                    <a:gd name="csY67" fmla="*/ 247053 h 372547"/>
                    <a:gd name="csX68" fmla="*/ 0 w 585121"/>
                    <a:gd name="csY68" fmla="*/ 253199 h 372547"/>
                    <a:gd name="csX69" fmla="*/ 9412 w 585121"/>
                    <a:gd name="csY69" fmla="*/ 260114 h 372547"/>
                    <a:gd name="csX70" fmla="*/ 17768 w 585121"/>
                    <a:gd name="csY70" fmla="*/ 260819 h 372547"/>
                    <a:gd name="csX71" fmla="*/ 19593 w 585121"/>
                    <a:gd name="csY71" fmla="*/ 268438 h 372547"/>
                    <a:gd name="csX72" fmla="*/ 24651 w 585121"/>
                    <a:gd name="csY72" fmla="*/ 270263 h 372547"/>
                    <a:gd name="csX73" fmla="*/ 23947 w 585121"/>
                    <a:gd name="csY73" fmla="*/ 290944 h 372547"/>
                    <a:gd name="csX74" fmla="*/ 19593 w 585121"/>
                    <a:gd name="csY74" fmla="*/ 299652 h 372547"/>
                    <a:gd name="csX75" fmla="*/ 30093 w 585121"/>
                    <a:gd name="csY75" fmla="*/ 304006 h 372547"/>
                    <a:gd name="csX76" fmla="*/ 28301 w 585121"/>
                    <a:gd name="csY76" fmla="*/ 321037 h 372547"/>
                    <a:gd name="csX77" fmla="*/ 22122 w 585121"/>
                    <a:gd name="csY77" fmla="*/ 327216 h 372547"/>
                    <a:gd name="csX78" fmla="*/ 35920 w 585121"/>
                    <a:gd name="csY78" fmla="*/ 329745 h 372547"/>
                    <a:gd name="csX79" fmla="*/ 41362 w 585121"/>
                    <a:gd name="csY79" fmla="*/ 335572 h 372547"/>
                    <a:gd name="csX80" fmla="*/ 38449 w 585121"/>
                    <a:gd name="csY80" fmla="*/ 339926 h 372547"/>
                    <a:gd name="csX81" fmla="*/ 49686 w 585121"/>
                    <a:gd name="csY81" fmla="*/ 346072 h 372547"/>
                    <a:gd name="csX82" fmla="*/ 46420 w 585121"/>
                    <a:gd name="csY82" fmla="*/ 355516 h 372547"/>
                    <a:gd name="csX83" fmla="*/ 59130 w 585121"/>
                    <a:gd name="csY83" fmla="*/ 364929 h 372547"/>
                    <a:gd name="csX84" fmla="*/ 64572 w 585121"/>
                    <a:gd name="csY84" fmla="*/ 358045 h 372547"/>
                    <a:gd name="csX85" fmla="*/ 72896 w 585121"/>
                    <a:gd name="csY85" fmla="*/ 372548 h 372547"/>
                    <a:gd name="csX86" fmla="*/ 82340 w 585121"/>
                    <a:gd name="csY86" fmla="*/ 364224 h 372547"/>
                    <a:gd name="csX87" fmla="*/ 90312 w 585121"/>
                    <a:gd name="csY87" fmla="*/ 351899 h 372547"/>
                    <a:gd name="csX88" fmla="*/ 88519 w 585121"/>
                    <a:gd name="csY88" fmla="*/ 341718 h 372547"/>
                    <a:gd name="csX89" fmla="*/ 83429 w 585121"/>
                    <a:gd name="csY89" fmla="*/ 337365 h 372547"/>
                    <a:gd name="csX90" fmla="*/ 88519 w 585121"/>
                    <a:gd name="csY90" fmla="*/ 326128 h 372547"/>
                    <a:gd name="csX91" fmla="*/ 103021 w 585121"/>
                    <a:gd name="csY91" fmla="*/ 321774 h 372547"/>
                    <a:gd name="csX92" fmla="*/ 129145 w 585121"/>
                    <a:gd name="csY92" fmla="*/ 336660 h 372547"/>
                    <a:gd name="csX93" fmla="*/ 145472 w 585121"/>
                    <a:gd name="csY93" fmla="*/ 332306 h 372547"/>
                    <a:gd name="csX94" fmla="*/ 153091 w 585121"/>
                    <a:gd name="csY94" fmla="*/ 341718 h 372547"/>
                    <a:gd name="csX95" fmla="*/ 176302 w 585121"/>
                    <a:gd name="csY95" fmla="*/ 334099 h 372547"/>
                    <a:gd name="csX96" fmla="*/ 185714 w 585121"/>
                    <a:gd name="csY96" fmla="*/ 341014 h 372547"/>
                    <a:gd name="csX97" fmla="*/ 190068 w 585121"/>
                    <a:gd name="csY97" fmla="*/ 332306 h 372547"/>
                    <a:gd name="csX98" fmla="*/ 199512 w 585121"/>
                    <a:gd name="csY98" fmla="*/ 330481 h 372547"/>
                    <a:gd name="csX99" fmla="*/ 201337 w 585121"/>
                    <a:gd name="csY99" fmla="*/ 326128 h 372547"/>
                    <a:gd name="csX100" fmla="*/ 215839 w 585121"/>
                    <a:gd name="csY100" fmla="*/ 327952 h 372547"/>
                    <a:gd name="csX101" fmla="*/ 218368 w 585121"/>
                    <a:gd name="csY101" fmla="*/ 321037 h 372547"/>
                    <a:gd name="csX102" fmla="*/ 231430 w 585121"/>
                    <a:gd name="csY102" fmla="*/ 326128 h 372547"/>
                    <a:gd name="csX103" fmla="*/ 243403 w 585121"/>
                    <a:gd name="csY103" fmla="*/ 315979 h 372547"/>
                    <a:gd name="csX104" fmla="*/ 269175 w 585121"/>
                    <a:gd name="csY104" fmla="*/ 305446 h 372547"/>
                    <a:gd name="csX105" fmla="*/ 266613 w 585121"/>
                    <a:gd name="csY105" fmla="*/ 297827 h 372547"/>
                    <a:gd name="csX106" fmla="*/ 286558 w 585121"/>
                    <a:gd name="csY106" fmla="*/ 288415 h 372547"/>
                    <a:gd name="csX107" fmla="*/ 297827 w 585121"/>
                    <a:gd name="csY107" fmla="*/ 302181 h 372547"/>
                    <a:gd name="csX108" fmla="*/ 307239 w 585121"/>
                    <a:gd name="csY108" fmla="*/ 300356 h 372547"/>
                    <a:gd name="csX109" fmla="*/ 312330 w 585121"/>
                    <a:gd name="csY109" fmla="*/ 289119 h 372547"/>
                    <a:gd name="csX110" fmla="*/ 328657 w 585121"/>
                    <a:gd name="csY110" fmla="*/ 289119 h 372547"/>
                    <a:gd name="csX111" fmla="*/ 331186 w 585121"/>
                    <a:gd name="csY111" fmla="*/ 283325 h 372547"/>
                    <a:gd name="csX112" fmla="*/ 336276 w 585121"/>
                    <a:gd name="csY112" fmla="*/ 286590 h 372547"/>
                    <a:gd name="csX113" fmla="*/ 352603 w 585121"/>
                    <a:gd name="csY113" fmla="*/ 284061 h 372547"/>
                    <a:gd name="csX114" fmla="*/ 358750 w 585121"/>
                    <a:gd name="csY114" fmla="*/ 273881 h 372547"/>
                    <a:gd name="csX115" fmla="*/ 363104 w 585121"/>
                    <a:gd name="csY115" fmla="*/ 278971 h 372547"/>
                    <a:gd name="csX116" fmla="*/ 358046 w 585121"/>
                    <a:gd name="csY116" fmla="*/ 293473 h 372547"/>
                    <a:gd name="csX117" fmla="*/ 366369 w 585121"/>
                    <a:gd name="csY117" fmla="*/ 294562 h 372547"/>
                    <a:gd name="csX118" fmla="*/ 375077 w 585121"/>
                    <a:gd name="csY118" fmla="*/ 304710 h 372547"/>
                    <a:gd name="csX119" fmla="*/ 386346 w 585121"/>
                    <a:gd name="csY119" fmla="*/ 307271 h 372547"/>
                    <a:gd name="csX120" fmla="*/ 409556 w 585121"/>
                    <a:gd name="csY120" fmla="*/ 284765 h 372547"/>
                    <a:gd name="csX121" fmla="*/ 423322 w 585121"/>
                    <a:gd name="csY121" fmla="*/ 277882 h 372547"/>
                    <a:gd name="csX122" fmla="*/ 429501 w 585121"/>
                    <a:gd name="csY122" fmla="*/ 264468 h 372547"/>
                    <a:gd name="csX123" fmla="*/ 433503 w 585121"/>
                    <a:gd name="csY123" fmla="*/ 265909 h 372547"/>
                    <a:gd name="csX124" fmla="*/ 436384 w 585121"/>
                    <a:gd name="csY124" fmla="*/ 260819 h 372547"/>
                    <a:gd name="csX125" fmla="*/ 452711 w 585121"/>
                    <a:gd name="csY125" fmla="*/ 263380 h 372547"/>
                    <a:gd name="csX126" fmla="*/ 467950 w 585121"/>
                    <a:gd name="csY126" fmla="*/ 254672 h 372547"/>
                    <a:gd name="csX127" fmla="*/ 467950 w 585121"/>
                    <a:gd name="csY127" fmla="*/ 245228 h 372547"/>
                    <a:gd name="csX128" fmla="*/ 474833 w 585121"/>
                    <a:gd name="csY128" fmla="*/ 238345 h 372547"/>
                    <a:gd name="csX129" fmla="*/ 473393 w 585121"/>
                    <a:gd name="csY129" fmla="*/ 229989 h 372547"/>
                    <a:gd name="csX130" fmla="*/ 480276 w 585121"/>
                    <a:gd name="csY130" fmla="*/ 227460 h 372547"/>
                    <a:gd name="csX131" fmla="*/ 474833 w 585121"/>
                    <a:gd name="csY131" fmla="*/ 212573 h 372547"/>
                    <a:gd name="csX132" fmla="*/ 481012 w 585121"/>
                    <a:gd name="csY132" fmla="*/ 207515 h 372547"/>
                    <a:gd name="csX133" fmla="*/ 479187 w 585121"/>
                    <a:gd name="csY133" fmla="*/ 202425 h 372547"/>
                    <a:gd name="csX134" fmla="*/ 481012 w 585121"/>
                    <a:gd name="csY134" fmla="*/ 195542 h 372547"/>
                    <a:gd name="csX135" fmla="*/ 495514 w 585121"/>
                    <a:gd name="csY135" fmla="*/ 186098 h 372547"/>
                    <a:gd name="csX136" fmla="*/ 503486 w 585121"/>
                    <a:gd name="csY136" fmla="*/ 191892 h 372547"/>
                    <a:gd name="csX137" fmla="*/ 513666 w 585121"/>
                    <a:gd name="csY137" fmla="*/ 191188 h 372547"/>
                    <a:gd name="csX138" fmla="*/ 521286 w 585121"/>
                    <a:gd name="csY138" fmla="*/ 193717 h 372547"/>
                    <a:gd name="csX139" fmla="*/ 529257 w 585121"/>
                    <a:gd name="csY139" fmla="*/ 216928 h 372547"/>
                    <a:gd name="csX140" fmla="*/ 536140 w 585121"/>
                    <a:gd name="csY140" fmla="*/ 216928 h 372547"/>
                    <a:gd name="csX141" fmla="*/ 537613 w 585121"/>
                    <a:gd name="csY141" fmla="*/ 205691 h 372547"/>
                    <a:gd name="csX142" fmla="*/ 546321 w 585121"/>
                    <a:gd name="csY142" fmla="*/ 212573 h 372547"/>
                    <a:gd name="csX143" fmla="*/ 557558 w 585121"/>
                    <a:gd name="csY143" fmla="*/ 205691 h 372547"/>
                    <a:gd name="csX144" fmla="*/ 566265 w 585121"/>
                    <a:gd name="csY144" fmla="*/ 193717 h 372547"/>
                    <a:gd name="csX145" fmla="*/ 571324 w 585121"/>
                    <a:gd name="csY145" fmla="*/ 196246 h 372547"/>
                    <a:gd name="csX146" fmla="*/ 585122 w 585121"/>
                    <a:gd name="csY146" fmla="*/ 183569 h 372547"/>
                    <a:gd name="csX147" fmla="*/ 573885 w 585121"/>
                    <a:gd name="csY147" fmla="*/ 179215 h 372547"/>
                    <a:gd name="csX148" fmla="*/ 573885 w 585121"/>
                    <a:gd name="csY148" fmla="*/ 165417 h 372547"/>
                    <a:gd name="csX149" fmla="*/ 559382 w 585121"/>
                    <a:gd name="csY149" fmla="*/ 160358 h 372547"/>
                    <a:gd name="csX150" fmla="*/ 552467 w 585121"/>
                    <a:gd name="csY150" fmla="*/ 137853 h 372547"/>
                    <a:gd name="csX151" fmla="*/ 544496 w 585121"/>
                    <a:gd name="csY151" fmla="*/ 135323 h 372547"/>
                    <a:gd name="csX152" fmla="*/ 550675 w 585121"/>
                    <a:gd name="csY152" fmla="*/ 127320 h 372547"/>
                    <a:gd name="csX153" fmla="*/ 555028 w 585121"/>
                    <a:gd name="csY153" fmla="*/ 116467 h 372547"/>
                    <a:gd name="csX154" fmla="*/ 565177 w 585121"/>
                    <a:gd name="csY154" fmla="*/ 110289 h 372547"/>
                    <a:gd name="csX155" fmla="*/ 578943 w 585121"/>
                    <a:gd name="csY155" fmla="*/ 83429 h 372547"/>
                    <a:gd name="csX156" fmla="*/ 571324 w 585121"/>
                    <a:gd name="csY156" fmla="*/ 75105 h 372547"/>
                    <a:gd name="csX157" fmla="*/ 582593 w 585121"/>
                    <a:gd name="csY157" fmla="*/ 61307 h 372547"/>
                    <a:gd name="csX158" fmla="*/ 571324 w 585121"/>
                    <a:gd name="csY158" fmla="*/ 26860 h 372547"/>
                    <a:gd name="csX159" fmla="*/ 581504 w 585121"/>
                    <a:gd name="csY159" fmla="*/ 18152 h 372547"/>
                    <a:gd name="csX160" fmla="*/ 571324 w 585121"/>
                    <a:gd name="csY160" fmla="*/ 18152 h 372547"/>
                    <a:gd name="csX161" fmla="*/ 546321 w 585121"/>
                    <a:gd name="csY161" fmla="*/ 31918 h 372547"/>
                    <a:gd name="csX162" fmla="*/ 545584 w 585121"/>
                    <a:gd name="csY162" fmla="*/ 24299 h 372547"/>
                    <a:gd name="csX163" fmla="*/ 536140 w 585121"/>
                    <a:gd name="csY163" fmla="*/ 26123 h 372547"/>
                    <a:gd name="csX164" fmla="*/ 528169 w 585121"/>
                    <a:gd name="csY164" fmla="*/ 40626 h 372547"/>
                    <a:gd name="csX165" fmla="*/ 520549 w 585121"/>
                    <a:gd name="csY165" fmla="*/ 41362 h 372547"/>
                    <a:gd name="csX166" fmla="*/ 518020 w 585121"/>
                    <a:gd name="csY166" fmla="*/ 31214 h 3725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  <a:cxn ang="0">
                      <a:pos x="csX142" y="csY142"/>
                    </a:cxn>
                    <a:cxn ang="0">
                      <a:pos x="csX143" y="csY143"/>
                    </a:cxn>
                    <a:cxn ang="0">
                      <a:pos x="csX144" y="csY144"/>
                    </a:cxn>
                    <a:cxn ang="0">
                      <a:pos x="csX145" y="csY145"/>
                    </a:cxn>
                    <a:cxn ang="0">
                      <a:pos x="csX146" y="csY146"/>
                    </a:cxn>
                    <a:cxn ang="0">
                      <a:pos x="csX147" y="csY147"/>
                    </a:cxn>
                    <a:cxn ang="0">
                      <a:pos x="csX148" y="csY148"/>
                    </a:cxn>
                    <a:cxn ang="0">
                      <a:pos x="csX149" y="csY149"/>
                    </a:cxn>
                    <a:cxn ang="0">
                      <a:pos x="csX150" y="csY150"/>
                    </a:cxn>
                    <a:cxn ang="0">
                      <a:pos x="csX151" y="csY151"/>
                    </a:cxn>
                    <a:cxn ang="0">
                      <a:pos x="csX152" y="csY152"/>
                    </a:cxn>
                    <a:cxn ang="0">
                      <a:pos x="csX153" y="csY153"/>
                    </a:cxn>
                    <a:cxn ang="0">
                      <a:pos x="csX154" y="csY154"/>
                    </a:cxn>
                    <a:cxn ang="0">
                      <a:pos x="csX155" y="csY155"/>
                    </a:cxn>
                    <a:cxn ang="0">
                      <a:pos x="csX156" y="csY156"/>
                    </a:cxn>
                    <a:cxn ang="0">
                      <a:pos x="csX157" y="csY157"/>
                    </a:cxn>
                    <a:cxn ang="0">
                      <a:pos x="csX158" y="csY158"/>
                    </a:cxn>
                    <a:cxn ang="0">
                      <a:pos x="csX159" y="csY159"/>
                    </a:cxn>
                    <a:cxn ang="0">
                      <a:pos x="csX160" y="csY160"/>
                    </a:cxn>
                    <a:cxn ang="0">
                      <a:pos x="csX161" y="csY161"/>
                    </a:cxn>
                    <a:cxn ang="0">
                      <a:pos x="csX162" y="csY162"/>
                    </a:cxn>
                    <a:cxn ang="0">
                      <a:pos x="csX163" y="csY163"/>
                    </a:cxn>
                    <a:cxn ang="0">
                      <a:pos x="csX164" y="csY164"/>
                    </a:cxn>
                    <a:cxn ang="0">
                      <a:pos x="csX165" y="csY165"/>
                    </a:cxn>
                    <a:cxn ang="0">
                      <a:pos x="csX166" y="csY166"/>
                    </a:cxn>
                  </a:cxnLst>
                  <a:rect l="l" t="t" r="r" b="b"/>
                  <a:pathLst>
                    <a:path w="585121" h="372547">
                      <a:moveTo>
                        <a:pt x="518020" y="31214"/>
                      </a:moveTo>
                      <a:lnTo>
                        <a:pt x="524167" y="19945"/>
                      </a:lnTo>
                      <a:lnTo>
                        <a:pt x="520549" y="8708"/>
                      </a:lnTo>
                      <a:lnTo>
                        <a:pt x="526728" y="1825"/>
                      </a:lnTo>
                      <a:lnTo>
                        <a:pt x="523078" y="0"/>
                      </a:lnTo>
                      <a:lnTo>
                        <a:pt x="519813" y="0"/>
                      </a:lnTo>
                      <a:lnTo>
                        <a:pt x="500605" y="13798"/>
                      </a:lnTo>
                      <a:lnTo>
                        <a:pt x="492985" y="33007"/>
                      </a:lnTo>
                      <a:lnTo>
                        <a:pt x="481748" y="21770"/>
                      </a:lnTo>
                      <a:lnTo>
                        <a:pt x="469775" y="27564"/>
                      </a:lnTo>
                      <a:lnTo>
                        <a:pt x="465421" y="31918"/>
                      </a:lnTo>
                      <a:lnTo>
                        <a:pt x="467950" y="38097"/>
                      </a:lnTo>
                      <a:lnTo>
                        <a:pt x="455977" y="45716"/>
                      </a:lnTo>
                      <a:lnTo>
                        <a:pt x="441474" y="37008"/>
                      </a:lnTo>
                      <a:lnTo>
                        <a:pt x="425884" y="50070"/>
                      </a:lnTo>
                      <a:lnTo>
                        <a:pt x="423322" y="47541"/>
                      </a:lnTo>
                      <a:lnTo>
                        <a:pt x="417176" y="42451"/>
                      </a:lnTo>
                      <a:lnTo>
                        <a:pt x="406995" y="43891"/>
                      </a:lnTo>
                      <a:lnTo>
                        <a:pt x="395758" y="51895"/>
                      </a:lnTo>
                      <a:lnTo>
                        <a:pt x="385610" y="48245"/>
                      </a:lnTo>
                      <a:lnTo>
                        <a:pt x="340630" y="61307"/>
                      </a:lnTo>
                      <a:lnTo>
                        <a:pt x="347513" y="46452"/>
                      </a:lnTo>
                      <a:lnTo>
                        <a:pt x="338805" y="43187"/>
                      </a:lnTo>
                      <a:lnTo>
                        <a:pt x="337365" y="38097"/>
                      </a:lnTo>
                      <a:lnTo>
                        <a:pt x="356221" y="26860"/>
                      </a:lnTo>
                      <a:lnTo>
                        <a:pt x="345720" y="19945"/>
                      </a:lnTo>
                      <a:lnTo>
                        <a:pt x="338805" y="24299"/>
                      </a:lnTo>
                      <a:lnTo>
                        <a:pt x="333715" y="21770"/>
                      </a:lnTo>
                      <a:lnTo>
                        <a:pt x="319213" y="26860"/>
                      </a:lnTo>
                      <a:lnTo>
                        <a:pt x="308712" y="39537"/>
                      </a:lnTo>
                      <a:lnTo>
                        <a:pt x="296739" y="43891"/>
                      </a:lnTo>
                      <a:lnTo>
                        <a:pt x="278587" y="53335"/>
                      </a:lnTo>
                      <a:lnTo>
                        <a:pt x="271704" y="53335"/>
                      </a:lnTo>
                      <a:lnTo>
                        <a:pt x="262260" y="45716"/>
                      </a:lnTo>
                      <a:lnTo>
                        <a:pt x="247021" y="50806"/>
                      </a:lnTo>
                      <a:lnTo>
                        <a:pt x="234695" y="63132"/>
                      </a:lnTo>
                      <a:lnTo>
                        <a:pt x="231430" y="75105"/>
                      </a:lnTo>
                      <a:lnTo>
                        <a:pt x="222722" y="89607"/>
                      </a:lnTo>
                      <a:lnTo>
                        <a:pt x="223811" y="100844"/>
                      </a:lnTo>
                      <a:lnTo>
                        <a:pt x="218368" y="105198"/>
                      </a:lnTo>
                      <a:lnTo>
                        <a:pt x="207131" y="113554"/>
                      </a:lnTo>
                      <a:lnTo>
                        <a:pt x="198776" y="110289"/>
                      </a:lnTo>
                      <a:lnTo>
                        <a:pt x="190068" y="126616"/>
                      </a:lnTo>
                      <a:lnTo>
                        <a:pt x="177006" y="130970"/>
                      </a:lnTo>
                      <a:lnTo>
                        <a:pt x="166153" y="145472"/>
                      </a:lnTo>
                      <a:lnTo>
                        <a:pt x="153091" y="144736"/>
                      </a:lnTo>
                      <a:lnTo>
                        <a:pt x="133115" y="154916"/>
                      </a:lnTo>
                      <a:lnTo>
                        <a:pt x="122230" y="154180"/>
                      </a:lnTo>
                      <a:lnTo>
                        <a:pt x="117876" y="170507"/>
                      </a:lnTo>
                      <a:lnTo>
                        <a:pt x="117876" y="188627"/>
                      </a:lnTo>
                      <a:lnTo>
                        <a:pt x="114258" y="186098"/>
                      </a:lnTo>
                      <a:lnTo>
                        <a:pt x="109200" y="190452"/>
                      </a:lnTo>
                      <a:lnTo>
                        <a:pt x="97931" y="192981"/>
                      </a:lnTo>
                      <a:lnTo>
                        <a:pt x="93577" y="207515"/>
                      </a:lnTo>
                      <a:lnTo>
                        <a:pt x="83429" y="209308"/>
                      </a:lnTo>
                      <a:lnTo>
                        <a:pt x="83429" y="219489"/>
                      </a:lnTo>
                      <a:lnTo>
                        <a:pt x="72896" y="218752"/>
                      </a:lnTo>
                      <a:lnTo>
                        <a:pt x="67102" y="232550"/>
                      </a:lnTo>
                      <a:lnTo>
                        <a:pt x="53335" y="238345"/>
                      </a:lnTo>
                      <a:lnTo>
                        <a:pt x="48982" y="233991"/>
                      </a:lnTo>
                      <a:lnTo>
                        <a:pt x="48245" y="216928"/>
                      </a:lnTo>
                      <a:lnTo>
                        <a:pt x="37008" y="221281"/>
                      </a:lnTo>
                      <a:lnTo>
                        <a:pt x="32654" y="216928"/>
                      </a:lnTo>
                      <a:lnTo>
                        <a:pt x="33359" y="221281"/>
                      </a:lnTo>
                      <a:lnTo>
                        <a:pt x="28301" y="222018"/>
                      </a:lnTo>
                      <a:lnTo>
                        <a:pt x="27564" y="228196"/>
                      </a:lnTo>
                      <a:lnTo>
                        <a:pt x="14502" y="229989"/>
                      </a:lnTo>
                      <a:lnTo>
                        <a:pt x="0" y="247053"/>
                      </a:lnTo>
                      <a:lnTo>
                        <a:pt x="0" y="253199"/>
                      </a:lnTo>
                      <a:lnTo>
                        <a:pt x="9412" y="260114"/>
                      </a:lnTo>
                      <a:lnTo>
                        <a:pt x="17768" y="260819"/>
                      </a:lnTo>
                      <a:lnTo>
                        <a:pt x="19593" y="268438"/>
                      </a:lnTo>
                      <a:lnTo>
                        <a:pt x="24651" y="270263"/>
                      </a:lnTo>
                      <a:lnTo>
                        <a:pt x="23947" y="290944"/>
                      </a:lnTo>
                      <a:lnTo>
                        <a:pt x="19593" y="299652"/>
                      </a:lnTo>
                      <a:lnTo>
                        <a:pt x="30093" y="304006"/>
                      </a:lnTo>
                      <a:lnTo>
                        <a:pt x="28301" y="321037"/>
                      </a:lnTo>
                      <a:lnTo>
                        <a:pt x="22122" y="327216"/>
                      </a:lnTo>
                      <a:lnTo>
                        <a:pt x="35920" y="329745"/>
                      </a:lnTo>
                      <a:lnTo>
                        <a:pt x="41362" y="335572"/>
                      </a:lnTo>
                      <a:lnTo>
                        <a:pt x="38449" y="339926"/>
                      </a:lnTo>
                      <a:lnTo>
                        <a:pt x="49686" y="346072"/>
                      </a:lnTo>
                      <a:lnTo>
                        <a:pt x="46420" y="355516"/>
                      </a:lnTo>
                      <a:lnTo>
                        <a:pt x="59130" y="364929"/>
                      </a:lnTo>
                      <a:lnTo>
                        <a:pt x="64572" y="358045"/>
                      </a:lnTo>
                      <a:lnTo>
                        <a:pt x="72896" y="372548"/>
                      </a:lnTo>
                      <a:lnTo>
                        <a:pt x="82340" y="364224"/>
                      </a:lnTo>
                      <a:lnTo>
                        <a:pt x="90312" y="351899"/>
                      </a:lnTo>
                      <a:lnTo>
                        <a:pt x="88519" y="341718"/>
                      </a:lnTo>
                      <a:lnTo>
                        <a:pt x="83429" y="337365"/>
                      </a:lnTo>
                      <a:lnTo>
                        <a:pt x="88519" y="326128"/>
                      </a:lnTo>
                      <a:lnTo>
                        <a:pt x="103021" y="321774"/>
                      </a:lnTo>
                      <a:lnTo>
                        <a:pt x="129145" y="336660"/>
                      </a:lnTo>
                      <a:lnTo>
                        <a:pt x="145472" y="332306"/>
                      </a:lnTo>
                      <a:lnTo>
                        <a:pt x="153091" y="341718"/>
                      </a:lnTo>
                      <a:lnTo>
                        <a:pt x="176302" y="334099"/>
                      </a:lnTo>
                      <a:lnTo>
                        <a:pt x="185714" y="341014"/>
                      </a:lnTo>
                      <a:lnTo>
                        <a:pt x="190068" y="332306"/>
                      </a:lnTo>
                      <a:lnTo>
                        <a:pt x="199512" y="330481"/>
                      </a:lnTo>
                      <a:lnTo>
                        <a:pt x="201337" y="326128"/>
                      </a:lnTo>
                      <a:lnTo>
                        <a:pt x="215839" y="327952"/>
                      </a:lnTo>
                      <a:lnTo>
                        <a:pt x="218368" y="321037"/>
                      </a:lnTo>
                      <a:lnTo>
                        <a:pt x="231430" y="326128"/>
                      </a:lnTo>
                      <a:lnTo>
                        <a:pt x="243403" y="315979"/>
                      </a:lnTo>
                      <a:lnTo>
                        <a:pt x="269175" y="305446"/>
                      </a:lnTo>
                      <a:lnTo>
                        <a:pt x="266613" y="297827"/>
                      </a:lnTo>
                      <a:lnTo>
                        <a:pt x="286558" y="288415"/>
                      </a:lnTo>
                      <a:lnTo>
                        <a:pt x="297827" y="302181"/>
                      </a:lnTo>
                      <a:lnTo>
                        <a:pt x="307239" y="300356"/>
                      </a:lnTo>
                      <a:lnTo>
                        <a:pt x="312330" y="289119"/>
                      </a:lnTo>
                      <a:lnTo>
                        <a:pt x="328657" y="289119"/>
                      </a:lnTo>
                      <a:lnTo>
                        <a:pt x="331186" y="283325"/>
                      </a:lnTo>
                      <a:lnTo>
                        <a:pt x="336276" y="286590"/>
                      </a:lnTo>
                      <a:lnTo>
                        <a:pt x="352603" y="284061"/>
                      </a:lnTo>
                      <a:lnTo>
                        <a:pt x="358750" y="273881"/>
                      </a:lnTo>
                      <a:lnTo>
                        <a:pt x="363104" y="278971"/>
                      </a:lnTo>
                      <a:lnTo>
                        <a:pt x="358046" y="293473"/>
                      </a:lnTo>
                      <a:lnTo>
                        <a:pt x="366369" y="294562"/>
                      </a:lnTo>
                      <a:lnTo>
                        <a:pt x="375077" y="304710"/>
                      </a:lnTo>
                      <a:lnTo>
                        <a:pt x="386346" y="307271"/>
                      </a:lnTo>
                      <a:lnTo>
                        <a:pt x="409556" y="284765"/>
                      </a:lnTo>
                      <a:lnTo>
                        <a:pt x="423322" y="277882"/>
                      </a:lnTo>
                      <a:lnTo>
                        <a:pt x="429501" y="264468"/>
                      </a:lnTo>
                      <a:lnTo>
                        <a:pt x="433503" y="265909"/>
                      </a:lnTo>
                      <a:lnTo>
                        <a:pt x="436384" y="260819"/>
                      </a:lnTo>
                      <a:lnTo>
                        <a:pt x="452711" y="263380"/>
                      </a:lnTo>
                      <a:lnTo>
                        <a:pt x="467950" y="254672"/>
                      </a:lnTo>
                      <a:lnTo>
                        <a:pt x="467950" y="245228"/>
                      </a:lnTo>
                      <a:lnTo>
                        <a:pt x="474833" y="238345"/>
                      </a:lnTo>
                      <a:lnTo>
                        <a:pt x="473393" y="229989"/>
                      </a:lnTo>
                      <a:lnTo>
                        <a:pt x="480276" y="227460"/>
                      </a:lnTo>
                      <a:lnTo>
                        <a:pt x="474833" y="212573"/>
                      </a:lnTo>
                      <a:lnTo>
                        <a:pt x="481012" y="207515"/>
                      </a:lnTo>
                      <a:lnTo>
                        <a:pt x="479187" y="202425"/>
                      </a:lnTo>
                      <a:lnTo>
                        <a:pt x="481012" y="195542"/>
                      </a:lnTo>
                      <a:lnTo>
                        <a:pt x="495514" y="186098"/>
                      </a:lnTo>
                      <a:lnTo>
                        <a:pt x="503486" y="191892"/>
                      </a:lnTo>
                      <a:lnTo>
                        <a:pt x="513666" y="191188"/>
                      </a:lnTo>
                      <a:lnTo>
                        <a:pt x="521286" y="193717"/>
                      </a:lnTo>
                      <a:lnTo>
                        <a:pt x="529257" y="216928"/>
                      </a:lnTo>
                      <a:lnTo>
                        <a:pt x="536140" y="216928"/>
                      </a:lnTo>
                      <a:lnTo>
                        <a:pt x="537613" y="205691"/>
                      </a:lnTo>
                      <a:lnTo>
                        <a:pt x="546321" y="212573"/>
                      </a:lnTo>
                      <a:lnTo>
                        <a:pt x="557558" y="205691"/>
                      </a:lnTo>
                      <a:lnTo>
                        <a:pt x="566265" y="193717"/>
                      </a:lnTo>
                      <a:lnTo>
                        <a:pt x="571324" y="196246"/>
                      </a:lnTo>
                      <a:lnTo>
                        <a:pt x="585122" y="183569"/>
                      </a:lnTo>
                      <a:lnTo>
                        <a:pt x="573885" y="179215"/>
                      </a:lnTo>
                      <a:lnTo>
                        <a:pt x="573885" y="165417"/>
                      </a:lnTo>
                      <a:lnTo>
                        <a:pt x="559382" y="160358"/>
                      </a:lnTo>
                      <a:lnTo>
                        <a:pt x="552467" y="137853"/>
                      </a:lnTo>
                      <a:lnTo>
                        <a:pt x="544496" y="135323"/>
                      </a:lnTo>
                      <a:lnTo>
                        <a:pt x="550675" y="127320"/>
                      </a:lnTo>
                      <a:lnTo>
                        <a:pt x="555028" y="116467"/>
                      </a:lnTo>
                      <a:lnTo>
                        <a:pt x="565177" y="110289"/>
                      </a:lnTo>
                      <a:lnTo>
                        <a:pt x="578943" y="83429"/>
                      </a:lnTo>
                      <a:lnTo>
                        <a:pt x="571324" y="75105"/>
                      </a:lnTo>
                      <a:lnTo>
                        <a:pt x="582593" y="61307"/>
                      </a:lnTo>
                      <a:lnTo>
                        <a:pt x="571324" y="26860"/>
                      </a:lnTo>
                      <a:lnTo>
                        <a:pt x="581504" y="18152"/>
                      </a:lnTo>
                      <a:lnTo>
                        <a:pt x="571324" y="18152"/>
                      </a:lnTo>
                      <a:lnTo>
                        <a:pt x="546321" y="31918"/>
                      </a:lnTo>
                      <a:lnTo>
                        <a:pt x="545584" y="24299"/>
                      </a:lnTo>
                      <a:lnTo>
                        <a:pt x="536140" y="26123"/>
                      </a:lnTo>
                      <a:lnTo>
                        <a:pt x="528169" y="40626"/>
                      </a:lnTo>
                      <a:lnTo>
                        <a:pt x="520549" y="41362"/>
                      </a:lnTo>
                      <a:lnTo>
                        <a:pt x="518020" y="3121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1" name="Forma Livre: Forma 380">
                  <a:extLst>
                    <a:ext uri="{FF2B5EF4-FFF2-40B4-BE49-F238E27FC236}">
                      <a16:creationId xmlns:a16="http://schemas.microsoft.com/office/drawing/2014/main" id="{095FE92C-E06D-27CD-620D-091B2295F415}"/>
                    </a:ext>
                  </a:extLst>
                </p:cNvPr>
                <p:cNvSpPr/>
                <p:nvPr/>
              </p:nvSpPr>
              <p:spPr>
                <a:xfrm>
                  <a:off x="2957794" y="4476502"/>
                  <a:ext cx="499163" cy="350426"/>
                </a:xfrm>
                <a:custGeom>
                  <a:avLst/>
                  <a:gdLst>
                    <a:gd name="csX0" fmla="*/ 367458 w 499163"/>
                    <a:gd name="csY0" fmla="*/ 0 h 350426"/>
                    <a:gd name="csX1" fmla="*/ 361663 w 499163"/>
                    <a:gd name="csY1" fmla="*/ 1089 h 350426"/>
                    <a:gd name="csX2" fmla="*/ 355485 w 499163"/>
                    <a:gd name="csY2" fmla="*/ 11237 h 350426"/>
                    <a:gd name="csX3" fmla="*/ 339894 w 499163"/>
                    <a:gd name="csY3" fmla="*/ 9796 h 350426"/>
                    <a:gd name="csX4" fmla="*/ 324655 w 499163"/>
                    <a:gd name="csY4" fmla="*/ 21770 h 350426"/>
                    <a:gd name="csX5" fmla="*/ 289119 w 499163"/>
                    <a:gd name="csY5" fmla="*/ 33711 h 350426"/>
                    <a:gd name="csX6" fmla="*/ 260083 w 499163"/>
                    <a:gd name="csY6" fmla="*/ 53304 h 350426"/>
                    <a:gd name="csX7" fmla="*/ 258994 w 499163"/>
                    <a:gd name="csY7" fmla="*/ 53304 h 350426"/>
                    <a:gd name="csX8" fmla="*/ 225635 w 499163"/>
                    <a:gd name="csY8" fmla="*/ 50774 h 350426"/>
                    <a:gd name="csX9" fmla="*/ 200600 w 499163"/>
                    <a:gd name="csY9" fmla="*/ 56953 h 350426"/>
                    <a:gd name="csX10" fmla="*/ 194422 w 499163"/>
                    <a:gd name="csY10" fmla="*/ 49334 h 350426"/>
                    <a:gd name="csX11" fmla="*/ 184273 w 499163"/>
                    <a:gd name="csY11" fmla="*/ 50038 h 350426"/>
                    <a:gd name="csX12" fmla="*/ 178126 w 499163"/>
                    <a:gd name="csY12" fmla="*/ 52599 h 350426"/>
                    <a:gd name="csX13" fmla="*/ 176654 w 499163"/>
                    <a:gd name="csY13" fmla="*/ 65661 h 350426"/>
                    <a:gd name="csX14" fmla="*/ 156709 w 499163"/>
                    <a:gd name="csY14" fmla="*/ 73280 h 350426"/>
                    <a:gd name="csX15" fmla="*/ 161063 w 499163"/>
                    <a:gd name="csY15" fmla="*/ 108464 h 350426"/>
                    <a:gd name="csX16" fmla="*/ 134203 w 499163"/>
                    <a:gd name="csY16" fmla="*/ 124055 h 350426"/>
                    <a:gd name="csX17" fmla="*/ 129145 w 499163"/>
                    <a:gd name="csY17" fmla="*/ 127320 h 350426"/>
                    <a:gd name="csX18" fmla="*/ 117172 w 499163"/>
                    <a:gd name="csY18" fmla="*/ 124055 h 350426"/>
                    <a:gd name="csX19" fmla="*/ 107727 w 499163"/>
                    <a:gd name="csY19" fmla="*/ 127320 h 350426"/>
                    <a:gd name="csX20" fmla="*/ 93961 w 499163"/>
                    <a:gd name="csY20" fmla="*/ 120437 h 350426"/>
                    <a:gd name="csX21" fmla="*/ 86342 w 499163"/>
                    <a:gd name="csY21" fmla="*/ 128408 h 350426"/>
                    <a:gd name="csX22" fmla="*/ 71455 w 499163"/>
                    <a:gd name="csY22" fmla="*/ 105903 h 350426"/>
                    <a:gd name="csX23" fmla="*/ 60219 w 499163"/>
                    <a:gd name="csY23" fmla="*/ 112818 h 350426"/>
                    <a:gd name="csX24" fmla="*/ 62748 w 499163"/>
                    <a:gd name="csY24" fmla="*/ 129145 h 350426"/>
                    <a:gd name="csX25" fmla="*/ 46420 w 499163"/>
                    <a:gd name="csY25" fmla="*/ 133499 h 350426"/>
                    <a:gd name="csX26" fmla="*/ 42451 w 499163"/>
                    <a:gd name="csY26" fmla="*/ 138557 h 350426"/>
                    <a:gd name="csX27" fmla="*/ 34447 w 499163"/>
                    <a:gd name="csY27" fmla="*/ 137821 h 350426"/>
                    <a:gd name="csX28" fmla="*/ 18856 w 499163"/>
                    <a:gd name="csY28" fmla="*/ 149090 h 350426"/>
                    <a:gd name="csX29" fmla="*/ 0 w 499163"/>
                    <a:gd name="csY29" fmla="*/ 178094 h 350426"/>
                    <a:gd name="csX30" fmla="*/ 4354 w 499163"/>
                    <a:gd name="csY30" fmla="*/ 191156 h 350426"/>
                    <a:gd name="csX31" fmla="*/ 14855 w 499163"/>
                    <a:gd name="csY31" fmla="*/ 200600 h 350426"/>
                    <a:gd name="csX32" fmla="*/ 19945 w 499163"/>
                    <a:gd name="csY32" fmla="*/ 209308 h 350426"/>
                    <a:gd name="csX33" fmla="*/ 16327 w 499163"/>
                    <a:gd name="csY33" fmla="*/ 232518 h 350426"/>
                    <a:gd name="csX34" fmla="*/ 43891 w 499163"/>
                    <a:gd name="csY34" fmla="*/ 235784 h 350426"/>
                    <a:gd name="csX35" fmla="*/ 55865 w 499163"/>
                    <a:gd name="csY35" fmla="*/ 256465 h 350426"/>
                    <a:gd name="csX36" fmla="*/ 72544 w 499163"/>
                    <a:gd name="csY36" fmla="*/ 266966 h 350426"/>
                    <a:gd name="csX37" fmla="*/ 69631 w 499163"/>
                    <a:gd name="csY37" fmla="*/ 277146 h 350426"/>
                    <a:gd name="csX38" fmla="*/ 57657 w 499163"/>
                    <a:gd name="csY38" fmla="*/ 303974 h 350426"/>
                    <a:gd name="csX39" fmla="*/ 62748 w 499163"/>
                    <a:gd name="csY39" fmla="*/ 306535 h 350426"/>
                    <a:gd name="csX40" fmla="*/ 69631 w 499163"/>
                    <a:gd name="csY40" fmla="*/ 302181 h 350426"/>
                    <a:gd name="csX41" fmla="*/ 80163 w 499163"/>
                    <a:gd name="csY41" fmla="*/ 309064 h 350426"/>
                    <a:gd name="csX42" fmla="*/ 61307 w 499163"/>
                    <a:gd name="csY42" fmla="*/ 320301 h 350426"/>
                    <a:gd name="csX43" fmla="*/ 62748 w 499163"/>
                    <a:gd name="csY43" fmla="*/ 325391 h 350426"/>
                    <a:gd name="csX44" fmla="*/ 71455 w 499163"/>
                    <a:gd name="csY44" fmla="*/ 328657 h 350426"/>
                    <a:gd name="csX45" fmla="*/ 64572 w 499163"/>
                    <a:gd name="csY45" fmla="*/ 343511 h 350426"/>
                    <a:gd name="csX46" fmla="*/ 109552 w 499163"/>
                    <a:gd name="csY46" fmla="*/ 330450 h 350426"/>
                    <a:gd name="csX47" fmla="*/ 119701 w 499163"/>
                    <a:gd name="csY47" fmla="*/ 334099 h 350426"/>
                    <a:gd name="csX48" fmla="*/ 130938 w 499163"/>
                    <a:gd name="csY48" fmla="*/ 326095 h 350426"/>
                    <a:gd name="csX49" fmla="*/ 141118 w 499163"/>
                    <a:gd name="csY49" fmla="*/ 324655 h 350426"/>
                    <a:gd name="csX50" fmla="*/ 147265 w 499163"/>
                    <a:gd name="csY50" fmla="*/ 329745 h 350426"/>
                    <a:gd name="csX51" fmla="*/ 149826 w 499163"/>
                    <a:gd name="csY51" fmla="*/ 332274 h 350426"/>
                    <a:gd name="csX52" fmla="*/ 165417 w 499163"/>
                    <a:gd name="csY52" fmla="*/ 319213 h 350426"/>
                    <a:gd name="csX53" fmla="*/ 179919 w 499163"/>
                    <a:gd name="csY53" fmla="*/ 327920 h 350426"/>
                    <a:gd name="csX54" fmla="*/ 191893 w 499163"/>
                    <a:gd name="csY54" fmla="*/ 320301 h 350426"/>
                    <a:gd name="csX55" fmla="*/ 189363 w 499163"/>
                    <a:gd name="csY55" fmla="*/ 314122 h 350426"/>
                    <a:gd name="csX56" fmla="*/ 193717 w 499163"/>
                    <a:gd name="csY56" fmla="*/ 309768 h 350426"/>
                    <a:gd name="csX57" fmla="*/ 205691 w 499163"/>
                    <a:gd name="csY57" fmla="*/ 303974 h 350426"/>
                    <a:gd name="csX58" fmla="*/ 216928 w 499163"/>
                    <a:gd name="csY58" fmla="*/ 315211 h 350426"/>
                    <a:gd name="csX59" fmla="*/ 224547 w 499163"/>
                    <a:gd name="csY59" fmla="*/ 296002 h 350426"/>
                    <a:gd name="csX60" fmla="*/ 243755 w 499163"/>
                    <a:gd name="csY60" fmla="*/ 282204 h 350426"/>
                    <a:gd name="csX61" fmla="*/ 247021 w 499163"/>
                    <a:gd name="csY61" fmla="*/ 282204 h 350426"/>
                    <a:gd name="csX62" fmla="*/ 250670 w 499163"/>
                    <a:gd name="csY62" fmla="*/ 284029 h 350426"/>
                    <a:gd name="csX63" fmla="*/ 244492 w 499163"/>
                    <a:gd name="csY63" fmla="*/ 290912 h 350426"/>
                    <a:gd name="csX64" fmla="*/ 248109 w 499163"/>
                    <a:gd name="csY64" fmla="*/ 302181 h 350426"/>
                    <a:gd name="csX65" fmla="*/ 241963 w 499163"/>
                    <a:gd name="csY65" fmla="*/ 313418 h 350426"/>
                    <a:gd name="csX66" fmla="*/ 244492 w 499163"/>
                    <a:gd name="csY66" fmla="*/ 323566 h 350426"/>
                    <a:gd name="csX67" fmla="*/ 252111 w 499163"/>
                    <a:gd name="csY67" fmla="*/ 322830 h 350426"/>
                    <a:gd name="csX68" fmla="*/ 260083 w 499163"/>
                    <a:gd name="csY68" fmla="*/ 308328 h 350426"/>
                    <a:gd name="csX69" fmla="*/ 269527 w 499163"/>
                    <a:gd name="csY69" fmla="*/ 306535 h 350426"/>
                    <a:gd name="csX70" fmla="*/ 270263 w 499163"/>
                    <a:gd name="csY70" fmla="*/ 314122 h 350426"/>
                    <a:gd name="csX71" fmla="*/ 295266 w 499163"/>
                    <a:gd name="csY71" fmla="*/ 300356 h 350426"/>
                    <a:gd name="csX72" fmla="*/ 305447 w 499163"/>
                    <a:gd name="csY72" fmla="*/ 300356 h 350426"/>
                    <a:gd name="csX73" fmla="*/ 304710 w 499163"/>
                    <a:gd name="csY73" fmla="*/ 313418 h 350426"/>
                    <a:gd name="csX74" fmla="*/ 321037 w 499163"/>
                    <a:gd name="csY74" fmla="*/ 330450 h 350426"/>
                    <a:gd name="csX75" fmla="*/ 329745 w 499163"/>
                    <a:gd name="csY75" fmla="*/ 337365 h 350426"/>
                    <a:gd name="csX76" fmla="*/ 337364 w 499163"/>
                    <a:gd name="csY76" fmla="*/ 339157 h 350426"/>
                    <a:gd name="csX77" fmla="*/ 345336 w 499163"/>
                    <a:gd name="csY77" fmla="*/ 334803 h 350426"/>
                    <a:gd name="csX78" fmla="*/ 357309 w 499163"/>
                    <a:gd name="csY78" fmla="*/ 341718 h 350426"/>
                    <a:gd name="csX79" fmla="*/ 363104 w 499163"/>
                    <a:gd name="csY79" fmla="*/ 337365 h 350426"/>
                    <a:gd name="csX80" fmla="*/ 376166 w 499163"/>
                    <a:gd name="csY80" fmla="*/ 340982 h 350426"/>
                    <a:gd name="csX81" fmla="*/ 384873 w 499163"/>
                    <a:gd name="csY81" fmla="*/ 350426 h 350426"/>
                    <a:gd name="csX82" fmla="*/ 389964 w 499163"/>
                    <a:gd name="csY82" fmla="*/ 349338 h 350426"/>
                    <a:gd name="csX83" fmla="*/ 386698 w 499163"/>
                    <a:gd name="csY83" fmla="*/ 343511 h 350426"/>
                    <a:gd name="csX84" fmla="*/ 393229 w 499163"/>
                    <a:gd name="csY84" fmla="*/ 335540 h 350426"/>
                    <a:gd name="csX85" fmla="*/ 392493 w 499163"/>
                    <a:gd name="csY85" fmla="*/ 327920 h 350426"/>
                    <a:gd name="csX86" fmla="*/ 415703 w 499163"/>
                    <a:gd name="csY86" fmla="*/ 337365 h 350426"/>
                    <a:gd name="csX87" fmla="*/ 420793 w 499163"/>
                    <a:gd name="csY87" fmla="*/ 301445 h 350426"/>
                    <a:gd name="csX88" fmla="*/ 448357 w 499163"/>
                    <a:gd name="csY88" fmla="*/ 294562 h 350426"/>
                    <a:gd name="csX89" fmla="*/ 454536 w 499163"/>
                    <a:gd name="csY89" fmla="*/ 303974 h 350426"/>
                    <a:gd name="csX90" fmla="*/ 460715 w 499163"/>
                    <a:gd name="csY90" fmla="*/ 302885 h 350426"/>
                    <a:gd name="csX91" fmla="*/ 482837 w 499163"/>
                    <a:gd name="csY91" fmla="*/ 290208 h 350426"/>
                    <a:gd name="csX92" fmla="*/ 482837 w 499163"/>
                    <a:gd name="csY92" fmla="*/ 280764 h 350426"/>
                    <a:gd name="csX93" fmla="*/ 499164 w 499163"/>
                    <a:gd name="csY93" fmla="*/ 281500 h 350426"/>
                    <a:gd name="csX94" fmla="*/ 498428 w 499163"/>
                    <a:gd name="csY94" fmla="*/ 269527 h 350426"/>
                    <a:gd name="csX95" fmla="*/ 494074 w 499163"/>
                    <a:gd name="csY95" fmla="*/ 268438 h 350426"/>
                    <a:gd name="csX96" fmla="*/ 478483 w 499163"/>
                    <a:gd name="csY96" fmla="*/ 265877 h 350426"/>
                    <a:gd name="csX97" fmla="*/ 468302 w 499163"/>
                    <a:gd name="csY97" fmla="*/ 270231 h 350426"/>
                    <a:gd name="csX98" fmla="*/ 469038 w 499163"/>
                    <a:gd name="csY98" fmla="*/ 228164 h 350426"/>
                    <a:gd name="csX99" fmla="*/ 450182 w 499163"/>
                    <a:gd name="csY99" fmla="*/ 210013 h 350426"/>
                    <a:gd name="csX100" fmla="*/ 447653 w 499163"/>
                    <a:gd name="csY100" fmla="*/ 207483 h 350426"/>
                    <a:gd name="csX101" fmla="*/ 437121 w 499163"/>
                    <a:gd name="csY101" fmla="*/ 194422 h 350426"/>
                    <a:gd name="csX102" fmla="*/ 429501 w 499163"/>
                    <a:gd name="csY102" fmla="*/ 195510 h 350426"/>
                    <a:gd name="csX103" fmla="*/ 429501 w 499163"/>
                    <a:gd name="csY103" fmla="*/ 159238 h 350426"/>
                    <a:gd name="csX104" fmla="*/ 419353 w 499163"/>
                    <a:gd name="csY104" fmla="*/ 138557 h 350426"/>
                    <a:gd name="csX105" fmla="*/ 418264 w 499163"/>
                    <a:gd name="csY105" fmla="*/ 123318 h 350426"/>
                    <a:gd name="csX106" fmla="*/ 430590 w 499163"/>
                    <a:gd name="csY106" fmla="*/ 90312 h 350426"/>
                    <a:gd name="csX107" fmla="*/ 420793 w 499163"/>
                    <a:gd name="csY107" fmla="*/ 65661 h 350426"/>
                    <a:gd name="csX108" fmla="*/ 405555 w 499163"/>
                    <a:gd name="csY108" fmla="*/ 51863 h 350426"/>
                    <a:gd name="csX109" fmla="*/ 411349 w 499163"/>
                    <a:gd name="csY109" fmla="*/ 15591 h 350426"/>
                    <a:gd name="csX110" fmla="*/ 400112 w 499163"/>
                    <a:gd name="csY110" fmla="*/ 14855 h 350426"/>
                    <a:gd name="csX111" fmla="*/ 389227 w 499163"/>
                    <a:gd name="csY111" fmla="*/ 6883 h 350426"/>
                    <a:gd name="csX112" fmla="*/ 376166 w 499163"/>
                    <a:gd name="csY112" fmla="*/ 10501 h 350426"/>
                    <a:gd name="csX113" fmla="*/ 367458 w 499163"/>
                    <a:gd name="csY113" fmla="*/ 0 h 35042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</a:cxnLst>
                  <a:rect l="l" t="t" r="r" b="b"/>
                  <a:pathLst>
                    <a:path w="499163" h="350426">
                      <a:moveTo>
                        <a:pt x="367458" y="0"/>
                      </a:moveTo>
                      <a:lnTo>
                        <a:pt x="361663" y="1089"/>
                      </a:lnTo>
                      <a:lnTo>
                        <a:pt x="355485" y="11237"/>
                      </a:lnTo>
                      <a:lnTo>
                        <a:pt x="339894" y="9796"/>
                      </a:lnTo>
                      <a:lnTo>
                        <a:pt x="324655" y="21770"/>
                      </a:lnTo>
                      <a:lnTo>
                        <a:pt x="289119" y="33711"/>
                      </a:lnTo>
                      <a:lnTo>
                        <a:pt x="260083" y="53304"/>
                      </a:lnTo>
                      <a:lnTo>
                        <a:pt x="258994" y="53304"/>
                      </a:lnTo>
                      <a:lnTo>
                        <a:pt x="225635" y="50774"/>
                      </a:lnTo>
                      <a:lnTo>
                        <a:pt x="200600" y="56953"/>
                      </a:lnTo>
                      <a:lnTo>
                        <a:pt x="194422" y="49334"/>
                      </a:lnTo>
                      <a:lnTo>
                        <a:pt x="184273" y="50038"/>
                      </a:lnTo>
                      <a:lnTo>
                        <a:pt x="178126" y="52599"/>
                      </a:lnTo>
                      <a:lnTo>
                        <a:pt x="176654" y="65661"/>
                      </a:lnTo>
                      <a:lnTo>
                        <a:pt x="156709" y="73280"/>
                      </a:lnTo>
                      <a:lnTo>
                        <a:pt x="161063" y="108464"/>
                      </a:lnTo>
                      <a:lnTo>
                        <a:pt x="134203" y="124055"/>
                      </a:lnTo>
                      <a:lnTo>
                        <a:pt x="129145" y="127320"/>
                      </a:lnTo>
                      <a:lnTo>
                        <a:pt x="117172" y="124055"/>
                      </a:lnTo>
                      <a:lnTo>
                        <a:pt x="107727" y="127320"/>
                      </a:lnTo>
                      <a:lnTo>
                        <a:pt x="93961" y="120437"/>
                      </a:lnTo>
                      <a:lnTo>
                        <a:pt x="86342" y="128408"/>
                      </a:lnTo>
                      <a:lnTo>
                        <a:pt x="71455" y="105903"/>
                      </a:lnTo>
                      <a:lnTo>
                        <a:pt x="60219" y="112818"/>
                      </a:lnTo>
                      <a:lnTo>
                        <a:pt x="62748" y="129145"/>
                      </a:lnTo>
                      <a:lnTo>
                        <a:pt x="46420" y="133499"/>
                      </a:lnTo>
                      <a:lnTo>
                        <a:pt x="42451" y="138557"/>
                      </a:lnTo>
                      <a:lnTo>
                        <a:pt x="34447" y="137821"/>
                      </a:lnTo>
                      <a:lnTo>
                        <a:pt x="18856" y="149090"/>
                      </a:lnTo>
                      <a:lnTo>
                        <a:pt x="0" y="178094"/>
                      </a:lnTo>
                      <a:lnTo>
                        <a:pt x="4354" y="191156"/>
                      </a:lnTo>
                      <a:lnTo>
                        <a:pt x="14855" y="200600"/>
                      </a:lnTo>
                      <a:lnTo>
                        <a:pt x="19945" y="209308"/>
                      </a:lnTo>
                      <a:lnTo>
                        <a:pt x="16327" y="232518"/>
                      </a:lnTo>
                      <a:lnTo>
                        <a:pt x="43891" y="235784"/>
                      </a:lnTo>
                      <a:lnTo>
                        <a:pt x="55865" y="256465"/>
                      </a:lnTo>
                      <a:lnTo>
                        <a:pt x="72544" y="266966"/>
                      </a:lnTo>
                      <a:lnTo>
                        <a:pt x="69631" y="277146"/>
                      </a:lnTo>
                      <a:lnTo>
                        <a:pt x="57657" y="303974"/>
                      </a:lnTo>
                      <a:lnTo>
                        <a:pt x="62748" y="306535"/>
                      </a:lnTo>
                      <a:lnTo>
                        <a:pt x="69631" y="302181"/>
                      </a:lnTo>
                      <a:lnTo>
                        <a:pt x="80163" y="309064"/>
                      </a:lnTo>
                      <a:lnTo>
                        <a:pt x="61307" y="320301"/>
                      </a:lnTo>
                      <a:lnTo>
                        <a:pt x="62748" y="325391"/>
                      </a:lnTo>
                      <a:lnTo>
                        <a:pt x="71455" y="328657"/>
                      </a:lnTo>
                      <a:lnTo>
                        <a:pt x="64572" y="343511"/>
                      </a:lnTo>
                      <a:lnTo>
                        <a:pt x="109552" y="330450"/>
                      </a:lnTo>
                      <a:lnTo>
                        <a:pt x="119701" y="334099"/>
                      </a:lnTo>
                      <a:lnTo>
                        <a:pt x="130938" y="326095"/>
                      </a:lnTo>
                      <a:lnTo>
                        <a:pt x="141118" y="324655"/>
                      </a:lnTo>
                      <a:lnTo>
                        <a:pt x="147265" y="329745"/>
                      </a:lnTo>
                      <a:lnTo>
                        <a:pt x="149826" y="332274"/>
                      </a:lnTo>
                      <a:lnTo>
                        <a:pt x="165417" y="319213"/>
                      </a:lnTo>
                      <a:lnTo>
                        <a:pt x="179919" y="327920"/>
                      </a:lnTo>
                      <a:lnTo>
                        <a:pt x="191893" y="320301"/>
                      </a:lnTo>
                      <a:lnTo>
                        <a:pt x="189363" y="314122"/>
                      </a:lnTo>
                      <a:lnTo>
                        <a:pt x="193717" y="309768"/>
                      </a:lnTo>
                      <a:lnTo>
                        <a:pt x="205691" y="303974"/>
                      </a:lnTo>
                      <a:lnTo>
                        <a:pt x="216928" y="315211"/>
                      </a:lnTo>
                      <a:lnTo>
                        <a:pt x="224547" y="296002"/>
                      </a:lnTo>
                      <a:lnTo>
                        <a:pt x="243755" y="282204"/>
                      </a:lnTo>
                      <a:lnTo>
                        <a:pt x="247021" y="282204"/>
                      </a:lnTo>
                      <a:lnTo>
                        <a:pt x="250670" y="284029"/>
                      </a:lnTo>
                      <a:lnTo>
                        <a:pt x="244492" y="290912"/>
                      </a:lnTo>
                      <a:lnTo>
                        <a:pt x="248109" y="302181"/>
                      </a:lnTo>
                      <a:lnTo>
                        <a:pt x="241963" y="313418"/>
                      </a:lnTo>
                      <a:lnTo>
                        <a:pt x="244492" y="323566"/>
                      </a:lnTo>
                      <a:lnTo>
                        <a:pt x="252111" y="322830"/>
                      </a:lnTo>
                      <a:lnTo>
                        <a:pt x="260083" y="308328"/>
                      </a:lnTo>
                      <a:lnTo>
                        <a:pt x="269527" y="306535"/>
                      </a:lnTo>
                      <a:lnTo>
                        <a:pt x="270263" y="314122"/>
                      </a:lnTo>
                      <a:lnTo>
                        <a:pt x="295266" y="300356"/>
                      </a:lnTo>
                      <a:lnTo>
                        <a:pt x="305447" y="300356"/>
                      </a:lnTo>
                      <a:lnTo>
                        <a:pt x="304710" y="313418"/>
                      </a:lnTo>
                      <a:lnTo>
                        <a:pt x="321037" y="330450"/>
                      </a:lnTo>
                      <a:lnTo>
                        <a:pt x="329745" y="337365"/>
                      </a:lnTo>
                      <a:lnTo>
                        <a:pt x="337364" y="339157"/>
                      </a:lnTo>
                      <a:lnTo>
                        <a:pt x="345336" y="334803"/>
                      </a:lnTo>
                      <a:lnTo>
                        <a:pt x="357309" y="341718"/>
                      </a:lnTo>
                      <a:lnTo>
                        <a:pt x="363104" y="337365"/>
                      </a:lnTo>
                      <a:lnTo>
                        <a:pt x="376166" y="340982"/>
                      </a:lnTo>
                      <a:lnTo>
                        <a:pt x="384873" y="350426"/>
                      </a:lnTo>
                      <a:lnTo>
                        <a:pt x="389964" y="349338"/>
                      </a:lnTo>
                      <a:lnTo>
                        <a:pt x="386698" y="343511"/>
                      </a:lnTo>
                      <a:lnTo>
                        <a:pt x="393229" y="335540"/>
                      </a:lnTo>
                      <a:lnTo>
                        <a:pt x="392493" y="327920"/>
                      </a:lnTo>
                      <a:lnTo>
                        <a:pt x="415703" y="337365"/>
                      </a:lnTo>
                      <a:lnTo>
                        <a:pt x="420793" y="301445"/>
                      </a:lnTo>
                      <a:lnTo>
                        <a:pt x="448357" y="294562"/>
                      </a:lnTo>
                      <a:lnTo>
                        <a:pt x="454536" y="303974"/>
                      </a:lnTo>
                      <a:lnTo>
                        <a:pt x="460715" y="302885"/>
                      </a:lnTo>
                      <a:lnTo>
                        <a:pt x="482837" y="290208"/>
                      </a:lnTo>
                      <a:lnTo>
                        <a:pt x="482837" y="280764"/>
                      </a:lnTo>
                      <a:lnTo>
                        <a:pt x="499164" y="281500"/>
                      </a:lnTo>
                      <a:lnTo>
                        <a:pt x="498428" y="269527"/>
                      </a:lnTo>
                      <a:lnTo>
                        <a:pt x="494074" y="268438"/>
                      </a:lnTo>
                      <a:lnTo>
                        <a:pt x="478483" y="265877"/>
                      </a:lnTo>
                      <a:lnTo>
                        <a:pt x="468302" y="270231"/>
                      </a:lnTo>
                      <a:lnTo>
                        <a:pt x="469038" y="228164"/>
                      </a:lnTo>
                      <a:lnTo>
                        <a:pt x="450182" y="210013"/>
                      </a:lnTo>
                      <a:lnTo>
                        <a:pt x="447653" y="207483"/>
                      </a:lnTo>
                      <a:lnTo>
                        <a:pt x="437121" y="194422"/>
                      </a:lnTo>
                      <a:lnTo>
                        <a:pt x="429501" y="195510"/>
                      </a:lnTo>
                      <a:lnTo>
                        <a:pt x="429501" y="159238"/>
                      </a:lnTo>
                      <a:lnTo>
                        <a:pt x="419353" y="138557"/>
                      </a:lnTo>
                      <a:lnTo>
                        <a:pt x="418264" y="123318"/>
                      </a:lnTo>
                      <a:lnTo>
                        <a:pt x="430590" y="90312"/>
                      </a:lnTo>
                      <a:lnTo>
                        <a:pt x="420793" y="65661"/>
                      </a:lnTo>
                      <a:lnTo>
                        <a:pt x="405555" y="51863"/>
                      </a:lnTo>
                      <a:lnTo>
                        <a:pt x="411349" y="15591"/>
                      </a:lnTo>
                      <a:lnTo>
                        <a:pt x="400112" y="14855"/>
                      </a:lnTo>
                      <a:lnTo>
                        <a:pt x="389227" y="6883"/>
                      </a:lnTo>
                      <a:lnTo>
                        <a:pt x="376166" y="10501"/>
                      </a:lnTo>
                      <a:lnTo>
                        <a:pt x="36745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2" name="Forma Livre: Forma 381">
                  <a:extLst>
                    <a:ext uri="{FF2B5EF4-FFF2-40B4-BE49-F238E27FC236}">
                      <a16:creationId xmlns:a16="http://schemas.microsoft.com/office/drawing/2014/main" id="{AB1A14A4-0EC0-5474-1B7F-AE172A503999}"/>
                    </a:ext>
                  </a:extLst>
                </p:cNvPr>
                <p:cNvSpPr/>
                <p:nvPr/>
              </p:nvSpPr>
              <p:spPr>
                <a:xfrm>
                  <a:off x="2957794" y="4476502"/>
                  <a:ext cx="499163" cy="350426"/>
                </a:xfrm>
                <a:custGeom>
                  <a:avLst/>
                  <a:gdLst>
                    <a:gd name="csX0" fmla="*/ 367458 w 499163"/>
                    <a:gd name="csY0" fmla="*/ 0 h 350426"/>
                    <a:gd name="csX1" fmla="*/ 361663 w 499163"/>
                    <a:gd name="csY1" fmla="*/ 1089 h 350426"/>
                    <a:gd name="csX2" fmla="*/ 355485 w 499163"/>
                    <a:gd name="csY2" fmla="*/ 11237 h 350426"/>
                    <a:gd name="csX3" fmla="*/ 339894 w 499163"/>
                    <a:gd name="csY3" fmla="*/ 9796 h 350426"/>
                    <a:gd name="csX4" fmla="*/ 324655 w 499163"/>
                    <a:gd name="csY4" fmla="*/ 21770 h 350426"/>
                    <a:gd name="csX5" fmla="*/ 289119 w 499163"/>
                    <a:gd name="csY5" fmla="*/ 33711 h 350426"/>
                    <a:gd name="csX6" fmla="*/ 260083 w 499163"/>
                    <a:gd name="csY6" fmla="*/ 53304 h 350426"/>
                    <a:gd name="csX7" fmla="*/ 258994 w 499163"/>
                    <a:gd name="csY7" fmla="*/ 53304 h 350426"/>
                    <a:gd name="csX8" fmla="*/ 225635 w 499163"/>
                    <a:gd name="csY8" fmla="*/ 50774 h 350426"/>
                    <a:gd name="csX9" fmla="*/ 200600 w 499163"/>
                    <a:gd name="csY9" fmla="*/ 56953 h 350426"/>
                    <a:gd name="csX10" fmla="*/ 194422 w 499163"/>
                    <a:gd name="csY10" fmla="*/ 49334 h 350426"/>
                    <a:gd name="csX11" fmla="*/ 184273 w 499163"/>
                    <a:gd name="csY11" fmla="*/ 50038 h 350426"/>
                    <a:gd name="csX12" fmla="*/ 178126 w 499163"/>
                    <a:gd name="csY12" fmla="*/ 52599 h 350426"/>
                    <a:gd name="csX13" fmla="*/ 176654 w 499163"/>
                    <a:gd name="csY13" fmla="*/ 65661 h 350426"/>
                    <a:gd name="csX14" fmla="*/ 156709 w 499163"/>
                    <a:gd name="csY14" fmla="*/ 73280 h 350426"/>
                    <a:gd name="csX15" fmla="*/ 161063 w 499163"/>
                    <a:gd name="csY15" fmla="*/ 108464 h 350426"/>
                    <a:gd name="csX16" fmla="*/ 134203 w 499163"/>
                    <a:gd name="csY16" fmla="*/ 124055 h 350426"/>
                    <a:gd name="csX17" fmla="*/ 129145 w 499163"/>
                    <a:gd name="csY17" fmla="*/ 127320 h 350426"/>
                    <a:gd name="csX18" fmla="*/ 117172 w 499163"/>
                    <a:gd name="csY18" fmla="*/ 124055 h 350426"/>
                    <a:gd name="csX19" fmla="*/ 107727 w 499163"/>
                    <a:gd name="csY19" fmla="*/ 127320 h 350426"/>
                    <a:gd name="csX20" fmla="*/ 93961 w 499163"/>
                    <a:gd name="csY20" fmla="*/ 120437 h 350426"/>
                    <a:gd name="csX21" fmla="*/ 86342 w 499163"/>
                    <a:gd name="csY21" fmla="*/ 128408 h 350426"/>
                    <a:gd name="csX22" fmla="*/ 71455 w 499163"/>
                    <a:gd name="csY22" fmla="*/ 105903 h 350426"/>
                    <a:gd name="csX23" fmla="*/ 60219 w 499163"/>
                    <a:gd name="csY23" fmla="*/ 112818 h 350426"/>
                    <a:gd name="csX24" fmla="*/ 62748 w 499163"/>
                    <a:gd name="csY24" fmla="*/ 129145 h 350426"/>
                    <a:gd name="csX25" fmla="*/ 46420 w 499163"/>
                    <a:gd name="csY25" fmla="*/ 133499 h 350426"/>
                    <a:gd name="csX26" fmla="*/ 42451 w 499163"/>
                    <a:gd name="csY26" fmla="*/ 138557 h 350426"/>
                    <a:gd name="csX27" fmla="*/ 34447 w 499163"/>
                    <a:gd name="csY27" fmla="*/ 137821 h 350426"/>
                    <a:gd name="csX28" fmla="*/ 18856 w 499163"/>
                    <a:gd name="csY28" fmla="*/ 149090 h 350426"/>
                    <a:gd name="csX29" fmla="*/ 0 w 499163"/>
                    <a:gd name="csY29" fmla="*/ 178094 h 350426"/>
                    <a:gd name="csX30" fmla="*/ 4354 w 499163"/>
                    <a:gd name="csY30" fmla="*/ 191156 h 350426"/>
                    <a:gd name="csX31" fmla="*/ 14855 w 499163"/>
                    <a:gd name="csY31" fmla="*/ 200600 h 350426"/>
                    <a:gd name="csX32" fmla="*/ 19945 w 499163"/>
                    <a:gd name="csY32" fmla="*/ 209308 h 350426"/>
                    <a:gd name="csX33" fmla="*/ 16327 w 499163"/>
                    <a:gd name="csY33" fmla="*/ 232518 h 350426"/>
                    <a:gd name="csX34" fmla="*/ 43891 w 499163"/>
                    <a:gd name="csY34" fmla="*/ 235784 h 350426"/>
                    <a:gd name="csX35" fmla="*/ 55865 w 499163"/>
                    <a:gd name="csY35" fmla="*/ 256465 h 350426"/>
                    <a:gd name="csX36" fmla="*/ 72544 w 499163"/>
                    <a:gd name="csY36" fmla="*/ 266966 h 350426"/>
                    <a:gd name="csX37" fmla="*/ 69631 w 499163"/>
                    <a:gd name="csY37" fmla="*/ 277146 h 350426"/>
                    <a:gd name="csX38" fmla="*/ 57657 w 499163"/>
                    <a:gd name="csY38" fmla="*/ 303974 h 350426"/>
                    <a:gd name="csX39" fmla="*/ 62748 w 499163"/>
                    <a:gd name="csY39" fmla="*/ 306535 h 350426"/>
                    <a:gd name="csX40" fmla="*/ 69631 w 499163"/>
                    <a:gd name="csY40" fmla="*/ 302181 h 350426"/>
                    <a:gd name="csX41" fmla="*/ 80163 w 499163"/>
                    <a:gd name="csY41" fmla="*/ 309064 h 350426"/>
                    <a:gd name="csX42" fmla="*/ 61307 w 499163"/>
                    <a:gd name="csY42" fmla="*/ 320301 h 350426"/>
                    <a:gd name="csX43" fmla="*/ 62748 w 499163"/>
                    <a:gd name="csY43" fmla="*/ 325391 h 350426"/>
                    <a:gd name="csX44" fmla="*/ 71455 w 499163"/>
                    <a:gd name="csY44" fmla="*/ 328657 h 350426"/>
                    <a:gd name="csX45" fmla="*/ 64572 w 499163"/>
                    <a:gd name="csY45" fmla="*/ 343511 h 350426"/>
                    <a:gd name="csX46" fmla="*/ 109552 w 499163"/>
                    <a:gd name="csY46" fmla="*/ 330450 h 350426"/>
                    <a:gd name="csX47" fmla="*/ 119701 w 499163"/>
                    <a:gd name="csY47" fmla="*/ 334099 h 350426"/>
                    <a:gd name="csX48" fmla="*/ 130938 w 499163"/>
                    <a:gd name="csY48" fmla="*/ 326095 h 350426"/>
                    <a:gd name="csX49" fmla="*/ 141118 w 499163"/>
                    <a:gd name="csY49" fmla="*/ 324655 h 350426"/>
                    <a:gd name="csX50" fmla="*/ 147265 w 499163"/>
                    <a:gd name="csY50" fmla="*/ 329745 h 350426"/>
                    <a:gd name="csX51" fmla="*/ 149826 w 499163"/>
                    <a:gd name="csY51" fmla="*/ 332274 h 350426"/>
                    <a:gd name="csX52" fmla="*/ 165417 w 499163"/>
                    <a:gd name="csY52" fmla="*/ 319213 h 350426"/>
                    <a:gd name="csX53" fmla="*/ 179919 w 499163"/>
                    <a:gd name="csY53" fmla="*/ 327920 h 350426"/>
                    <a:gd name="csX54" fmla="*/ 191893 w 499163"/>
                    <a:gd name="csY54" fmla="*/ 320301 h 350426"/>
                    <a:gd name="csX55" fmla="*/ 189363 w 499163"/>
                    <a:gd name="csY55" fmla="*/ 314122 h 350426"/>
                    <a:gd name="csX56" fmla="*/ 193717 w 499163"/>
                    <a:gd name="csY56" fmla="*/ 309768 h 350426"/>
                    <a:gd name="csX57" fmla="*/ 205691 w 499163"/>
                    <a:gd name="csY57" fmla="*/ 303974 h 350426"/>
                    <a:gd name="csX58" fmla="*/ 216928 w 499163"/>
                    <a:gd name="csY58" fmla="*/ 315211 h 350426"/>
                    <a:gd name="csX59" fmla="*/ 224547 w 499163"/>
                    <a:gd name="csY59" fmla="*/ 296002 h 350426"/>
                    <a:gd name="csX60" fmla="*/ 243755 w 499163"/>
                    <a:gd name="csY60" fmla="*/ 282204 h 350426"/>
                    <a:gd name="csX61" fmla="*/ 247021 w 499163"/>
                    <a:gd name="csY61" fmla="*/ 282204 h 350426"/>
                    <a:gd name="csX62" fmla="*/ 250670 w 499163"/>
                    <a:gd name="csY62" fmla="*/ 284029 h 350426"/>
                    <a:gd name="csX63" fmla="*/ 244492 w 499163"/>
                    <a:gd name="csY63" fmla="*/ 290912 h 350426"/>
                    <a:gd name="csX64" fmla="*/ 248109 w 499163"/>
                    <a:gd name="csY64" fmla="*/ 302181 h 350426"/>
                    <a:gd name="csX65" fmla="*/ 241963 w 499163"/>
                    <a:gd name="csY65" fmla="*/ 313418 h 350426"/>
                    <a:gd name="csX66" fmla="*/ 244492 w 499163"/>
                    <a:gd name="csY66" fmla="*/ 323566 h 350426"/>
                    <a:gd name="csX67" fmla="*/ 252111 w 499163"/>
                    <a:gd name="csY67" fmla="*/ 322830 h 350426"/>
                    <a:gd name="csX68" fmla="*/ 260083 w 499163"/>
                    <a:gd name="csY68" fmla="*/ 308328 h 350426"/>
                    <a:gd name="csX69" fmla="*/ 269527 w 499163"/>
                    <a:gd name="csY69" fmla="*/ 306535 h 350426"/>
                    <a:gd name="csX70" fmla="*/ 270263 w 499163"/>
                    <a:gd name="csY70" fmla="*/ 314122 h 350426"/>
                    <a:gd name="csX71" fmla="*/ 295266 w 499163"/>
                    <a:gd name="csY71" fmla="*/ 300356 h 350426"/>
                    <a:gd name="csX72" fmla="*/ 305447 w 499163"/>
                    <a:gd name="csY72" fmla="*/ 300356 h 350426"/>
                    <a:gd name="csX73" fmla="*/ 304710 w 499163"/>
                    <a:gd name="csY73" fmla="*/ 313418 h 350426"/>
                    <a:gd name="csX74" fmla="*/ 321037 w 499163"/>
                    <a:gd name="csY74" fmla="*/ 330450 h 350426"/>
                    <a:gd name="csX75" fmla="*/ 329745 w 499163"/>
                    <a:gd name="csY75" fmla="*/ 337365 h 350426"/>
                    <a:gd name="csX76" fmla="*/ 337364 w 499163"/>
                    <a:gd name="csY76" fmla="*/ 339157 h 350426"/>
                    <a:gd name="csX77" fmla="*/ 345336 w 499163"/>
                    <a:gd name="csY77" fmla="*/ 334803 h 350426"/>
                    <a:gd name="csX78" fmla="*/ 357309 w 499163"/>
                    <a:gd name="csY78" fmla="*/ 341718 h 350426"/>
                    <a:gd name="csX79" fmla="*/ 363104 w 499163"/>
                    <a:gd name="csY79" fmla="*/ 337365 h 350426"/>
                    <a:gd name="csX80" fmla="*/ 376166 w 499163"/>
                    <a:gd name="csY80" fmla="*/ 340982 h 350426"/>
                    <a:gd name="csX81" fmla="*/ 384873 w 499163"/>
                    <a:gd name="csY81" fmla="*/ 350426 h 350426"/>
                    <a:gd name="csX82" fmla="*/ 389964 w 499163"/>
                    <a:gd name="csY82" fmla="*/ 349338 h 350426"/>
                    <a:gd name="csX83" fmla="*/ 386698 w 499163"/>
                    <a:gd name="csY83" fmla="*/ 343511 h 350426"/>
                    <a:gd name="csX84" fmla="*/ 393229 w 499163"/>
                    <a:gd name="csY84" fmla="*/ 335540 h 350426"/>
                    <a:gd name="csX85" fmla="*/ 392493 w 499163"/>
                    <a:gd name="csY85" fmla="*/ 327920 h 350426"/>
                    <a:gd name="csX86" fmla="*/ 415703 w 499163"/>
                    <a:gd name="csY86" fmla="*/ 337365 h 350426"/>
                    <a:gd name="csX87" fmla="*/ 420793 w 499163"/>
                    <a:gd name="csY87" fmla="*/ 301445 h 350426"/>
                    <a:gd name="csX88" fmla="*/ 448357 w 499163"/>
                    <a:gd name="csY88" fmla="*/ 294562 h 350426"/>
                    <a:gd name="csX89" fmla="*/ 454536 w 499163"/>
                    <a:gd name="csY89" fmla="*/ 303974 h 350426"/>
                    <a:gd name="csX90" fmla="*/ 460715 w 499163"/>
                    <a:gd name="csY90" fmla="*/ 302885 h 350426"/>
                    <a:gd name="csX91" fmla="*/ 482837 w 499163"/>
                    <a:gd name="csY91" fmla="*/ 290208 h 350426"/>
                    <a:gd name="csX92" fmla="*/ 482837 w 499163"/>
                    <a:gd name="csY92" fmla="*/ 280764 h 350426"/>
                    <a:gd name="csX93" fmla="*/ 499164 w 499163"/>
                    <a:gd name="csY93" fmla="*/ 281500 h 350426"/>
                    <a:gd name="csX94" fmla="*/ 498428 w 499163"/>
                    <a:gd name="csY94" fmla="*/ 269527 h 350426"/>
                    <a:gd name="csX95" fmla="*/ 494074 w 499163"/>
                    <a:gd name="csY95" fmla="*/ 268438 h 350426"/>
                    <a:gd name="csX96" fmla="*/ 478483 w 499163"/>
                    <a:gd name="csY96" fmla="*/ 265877 h 350426"/>
                    <a:gd name="csX97" fmla="*/ 468302 w 499163"/>
                    <a:gd name="csY97" fmla="*/ 270231 h 350426"/>
                    <a:gd name="csX98" fmla="*/ 469038 w 499163"/>
                    <a:gd name="csY98" fmla="*/ 228164 h 350426"/>
                    <a:gd name="csX99" fmla="*/ 450182 w 499163"/>
                    <a:gd name="csY99" fmla="*/ 210013 h 350426"/>
                    <a:gd name="csX100" fmla="*/ 447653 w 499163"/>
                    <a:gd name="csY100" fmla="*/ 207483 h 350426"/>
                    <a:gd name="csX101" fmla="*/ 437121 w 499163"/>
                    <a:gd name="csY101" fmla="*/ 194422 h 350426"/>
                    <a:gd name="csX102" fmla="*/ 429501 w 499163"/>
                    <a:gd name="csY102" fmla="*/ 195510 h 350426"/>
                    <a:gd name="csX103" fmla="*/ 429501 w 499163"/>
                    <a:gd name="csY103" fmla="*/ 159238 h 350426"/>
                    <a:gd name="csX104" fmla="*/ 419353 w 499163"/>
                    <a:gd name="csY104" fmla="*/ 138557 h 350426"/>
                    <a:gd name="csX105" fmla="*/ 418264 w 499163"/>
                    <a:gd name="csY105" fmla="*/ 123318 h 350426"/>
                    <a:gd name="csX106" fmla="*/ 430590 w 499163"/>
                    <a:gd name="csY106" fmla="*/ 90312 h 350426"/>
                    <a:gd name="csX107" fmla="*/ 420793 w 499163"/>
                    <a:gd name="csY107" fmla="*/ 65661 h 350426"/>
                    <a:gd name="csX108" fmla="*/ 405555 w 499163"/>
                    <a:gd name="csY108" fmla="*/ 51863 h 350426"/>
                    <a:gd name="csX109" fmla="*/ 411349 w 499163"/>
                    <a:gd name="csY109" fmla="*/ 15591 h 350426"/>
                    <a:gd name="csX110" fmla="*/ 400112 w 499163"/>
                    <a:gd name="csY110" fmla="*/ 14855 h 350426"/>
                    <a:gd name="csX111" fmla="*/ 389227 w 499163"/>
                    <a:gd name="csY111" fmla="*/ 6883 h 350426"/>
                    <a:gd name="csX112" fmla="*/ 376166 w 499163"/>
                    <a:gd name="csY112" fmla="*/ 10501 h 350426"/>
                    <a:gd name="csX113" fmla="*/ 367458 w 499163"/>
                    <a:gd name="csY113" fmla="*/ 0 h 35042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</a:cxnLst>
                  <a:rect l="l" t="t" r="r" b="b"/>
                  <a:pathLst>
                    <a:path w="499163" h="350426">
                      <a:moveTo>
                        <a:pt x="367458" y="0"/>
                      </a:moveTo>
                      <a:lnTo>
                        <a:pt x="361663" y="1089"/>
                      </a:lnTo>
                      <a:lnTo>
                        <a:pt x="355485" y="11237"/>
                      </a:lnTo>
                      <a:lnTo>
                        <a:pt x="339894" y="9796"/>
                      </a:lnTo>
                      <a:lnTo>
                        <a:pt x="324655" y="21770"/>
                      </a:lnTo>
                      <a:lnTo>
                        <a:pt x="289119" y="33711"/>
                      </a:lnTo>
                      <a:lnTo>
                        <a:pt x="260083" y="53304"/>
                      </a:lnTo>
                      <a:lnTo>
                        <a:pt x="258994" y="53304"/>
                      </a:lnTo>
                      <a:lnTo>
                        <a:pt x="225635" y="50774"/>
                      </a:lnTo>
                      <a:lnTo>
                        <a:pt x="200600" y="56953"/>
                      </a:lnTo>
                      <a:lnTo>
                        <a:pt x="194422" y="49334"/>
                      </a:lnTo>
                      <a:lnTo>
                        <a:pt x="184273" y="50038"/>
                      </a:lnTo>
                      <a:lnTo>
                        <a:pt x="178126" y="52599"/>
                      </a:lnTo>
                      <a:lnTo>
                        <a:pt x="176654" y="65661"/>
                      </a:lnTo>
                      <a:lnTo>
                        <a:pt x="156709" y="73280"/>
                      </a:lnTo>
                      <a:lnTo>
                        <a:pt x="161063" y="108464"/>
                      </a:lnTo>
                      <a:lnTo>
                        <a:pt x="134203" y="124055"/>
                      </a:lnTo>
                      <a:lnTo>
                        <a:pt x="129145" y="127320"/>
                      </a:lnTo>
                      <a:lnTo>
                        <a:pt x="117172" y="124055"/>
                      </a:lnTo>
                      <a:lnTo>
                        <a:pt x="107727" y="127320"/>
                      </a:lnTo>
                      <a:lnTo>
                        <a:pt x="93961" y="120437"/>
                      </a:lnTo>
                      <a:lnTo>
                        <a:pt x="86342" y="128408"/>
                      </a:lnTo>
                      <a:lnTo>
                        <a:pt x="71455" y="105903"/>
                      </a:lnTo>
                      <a:lnTo>
                        <a:pt x="60219" y="112818"/>
                      </a:lnTo>
                      <a:lnTo>
                        <a:pt x="62748" y="129145"/>
                      </a:lnTo>
                      <a:lnTo>
                        <a:pt x="46420" y="133499"/>
                      </a:lnTo>
                      <a:lnTo>
                        <a:pt x="42451" y="138557"/>
                      </a:lnTo>
                      <a:lnTo>
                        <a:pt x="34447" y="137821"/>
                      </a:lnTo>
                      <a:lnTo>
                        <a:pt x="18856" y="149090"/>
                      </a:lnTo>
                      <a:lnTo>
                        <a:pt x="0" y="178094"/>
                      </a:lnTo>
                      <a:lnTo>
                        <a:pt x="4354" y="191156"/>
                      </a:lnTo>
                      <a:lnTo>
                        <a:pt x="14855" y="200600"/>
                      </a:lnTo>
                      <a:lnTo>
                        <a:pt x="19945" y="209308"/>
                      </a:lnTo>
                      <a:lnTo>
                        <a:pt x="16327" y="232518"/>
                      </a:lnTo>
                      <a:lnTo>
                        <a:pt x="43891" y="235784"/>
                      </a:lnTo>
                      <a:lnTo>
                        <a:pt x="55865" y="256465"/>
                      </a:lnTo>
                      <a:lnTo>
                        <a:pt x="72544" y="266966"/>
                      </a:lnTo>
                      <a:lnTo>
                        <a:pt x="69631" y="277146"/>
                      </a:lnTo>
                      <a:lnTo>
                        <a:pt x="57657" y="303974"/>
                      </a:lnTo>
                      <a:lnTo>
                        <a:pt x="62748" y="306535"/>
                      </a:lnTo>
                      <a:lnTo>
                        <a:pt x="69631" y="302181"/>
                      </a:lnTo>
                      <a:lnTo>
                        <a:pt x="80163" y="309064"/>
                      </a:lnTo>
                      <a:lnTo>
                        <a:pt x="61307" y="320301"/>
                      </a:lnTo>
                      <a:lnTo>
                        <a:pt x="62748" y="325391"/>
                      </a:lnTo>
                      <a:lnTo>
                        <a:pt x="71455" y="328657"/>
                      </a:lnTo>
                      <a:lnTo>
                        <a:pt x="64572" y="343511"/>
                      </a:lnTo>
                      <a:lnTo>
                        <a:pt x="109552" y="330450"/>
                      </a:lnTo>
                      <a:lnTo>
                        <a:pt x="119701" y="334099"/>
                      </a:lnTo>
                      <a:lnTo>
                        <a:pt x="130938" y="326095"/>
                      </a:lnTo>
                      <a:lnTo>
                        <a:pt x="141118" y="324655"/>
                      </a:lnTo>
                      <a:lnTo>
                        <a:pt x="147265" y="329745"/>
                      </a:lnTo>
                      <a:lnTo>
                        <a:pt x="149826" y="332274"/>
                      </a:lnTo>
                      <a:lnTo>
                        <a:pt x="165417" y="319213"/>
                      </a:lnTo>
                      <a:lnTo>
                        <a:pt x="179919" y="327920"/>
                      </a:lnTo>
                      <a:lnTo>
                        <a:pt x="191893" y="320301"/>
                      </a:lnTo>
                      <a:lnTo>
                        <a:pt x="189363" y="314122"/>
                      </a:lnTo>
                      <a:lnTo>
                        <a:pt x="193717" y="309768"/>
                      </a:lnTo>
                      <a:lnTo>
                        <a:pt x="205691" y="303974"/>
                      </a:lnTo>
                      <a:lnTo>
                        <a:pt x="216928" y="315211"/>
                      </a:lnTo>
                      <a:lnTo>
                        <a:pt x="224547" y="296002"/>
                      </a:lnTo>
                      <a:lnTo>
                        <a:pt x="243755" y="282204"/>
                      </a:lnTo>
                      <a:lnTo>
                        <a:pt x="247021" y="282204"/>
                      </a:lnTo>
                      <a:lnTo>
                        <a:pt x="250670" y="284029"/>
                      </a:lnTo>
                      <a:lnTo>
                        <a:pt x="244492" y="290912"/>
                      </a:lnTo>
                      <a:lnTo>
                        <a:pt x="248109" y="302181"/>
                      </a:lnTo>
                      <a:lnTo>
                        <a:pt x="241963" y="313418"/>
                      </a:lnTo>
                      <a:lnTo>
                        <a:pt x="244492" y="323566"/>
                      </a:lnTo>
                      <a:lnTo>
                        <a:pt x="252111" y="322830"/>
                      </a:lnTo>
                      <a:lnTo>
                        <a:pt x="260083" y="308328"/>
                      </a:lnTo>
                      <a:lnTo>
                        <a:pt x="269527" y="306535"/>
                      </a:lnTo>
                      <a:lnTo>
                        <a:pt x="270263" y="314122"/>
                      </a:lnTo>
                      <a:lnTo>
                        <a:pt x="295266" y="300356"/>
                      </a:lnTo>
                      <a:lnTo>
                        <a:pt x="305447" y="300356"/>
                      </a:lnTo>
                      <a:lnTo>
                        <a:pt x="304710" y="313418"/>
                      </a:lnTo>
                      <a:lnTo>
                        <a:pt x="321037" y="330450"/>
                      </a:lnTo>
                      <a:lnTo>
                        <a:pt x="329745" y="337365"/>
                      </a:lnTo>
                      <a:lnTo>
                        <a:pt x="337364" y="339157"/>
                      </a:lnTo>
                      <a:lnTo>
                        <a:pt x="345336" y="334803"/>
                      </a:lnTo>
                      <a:lnTo>
                        <a:pt x="357309" y="341718"/>
                      </a:lnTo>
                      <a:lnTo>
                        <a:pt x="363104" y="337365"/>
                      </a:lnTo>
                      <a:lnTo>
                        <a:pt x="376166" y="340982"/>
                      </a:lnTo>
                      <a:lnTo>
                        <a:pt x="384873" y="350426"/>
                      </a:lnTo>
                      <a:lnTo>
                        <a:pt x="389964" y="349338"/>
                      </a:lnTo>
                      <a:lnTo>
                        <a:pt x="386698" y="343511"/>
                      </a:lnTo>
                      <a:lnTo>
                        <a:pt x="393229" y="335540"/>
                      </a:lnTo>
                      <a:lnTo>
                        <a:pt x="392493" y="327920"/>
                      </a:lnTo>
                      <a:lnTo>
                        <a:pt x="415703" y="337365"/>
                      </a:lnTo>
                      <a:lnTo>
                        <a:pt x="420793" y="301445"/>
                      </a:lnTo>
                      <a:lnTo>
                        <a:pt x="448357" y="294562"/>
                      </a:lnTo>
                      <a:lnTo>
                        <a:pt x="454536" y="303974"/>
                      </a:lnTo>
                      <a:lnTo>
                        <a:pt x="460715" y="302885"/>
                      </a:lnTo>
                      <a:lnTo>
                        <a:pt x="482837" y="290208"/>
                      </a:lnTo>
                      <a:lnTo>
                        <a:pt x="482837" y="280764"/>
                      </a:lnTo>
                      <a:lnTo>
                        <a:pt x="499164" y="281500"/>
                      </a:lnTo>
                      <a:lnTo>
                        <a:pt x="498428" y="269527"/>
                      </a:lnTo>
                      <a:lnTo>
                        <a:pt x="494074" y="268438"/>
                      </a:lnTo>
                      <a:lnTo>
                        <a:pt x="478483" y="265877"/>
                      </a:lnTo>
                      <a:lnTo>
                        <a:pt x="468302" y="270231"/>
                      </a:lnTo>
                      <a:lnTo>
                        <a:pt x="469038" y="228164"/>
                      </a:lnTo>
                      <a:lnTo>
                        <a:pt x="450182" y="210013"/>
                      </a:lnTo>
                      <a:lnTo>
                        <a:pt x="447653" y="207483"/>
                      </a:lnTo>
                      <a:lnTo>
                        <a:pt x="437121" y="194422"/>
                      </a:lnTo>
                      <a:lnTo>
                        <a:pt x="429501" y="195510"/>
                      </a:lnTo>
                      <a:lnTo>
                        <a:pt x="429501" y="159238"/>
                      </a:lnTo>
                      <a:lnTo>
                        <a:pt x="419353" y="138557"/>
                      </a:lnTo>
                      <a:lnTo>
                        <a:pt x="418264" y="123318"/>
                      </a:lnTo>
                      <a:lnTo>
                        <a:pt x="430590" y="90312"/>
                      </a:lnTo>
                      <a:lnTo>
                        <a:pt x="420793" y="65661"/>
                      </a:lnTo>
                      <a:lnTo>
                        <a:pt x="405555" y="51863"/>
                      </a:lnTo>
                      <a:lnTo>
                        <a:pt x="411349" y="15591"/>
                      </a:lnTo>
                      <a:lnTo>
                        <a:pt x="400112" y="14855"/>
                      </a:lnTo>
                      <a:lnTo>
                        <a:pt x="389227" y="6883"/>
                      </a:lnTo>
                      <a:lnTo>
                        <a:pt x="376166" y="10501"/>
                      </a:lnTo>
                      <a:lnTo>
                        <a:pt x="36745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3" name="Forma Livre: Forma 382">
                  <a:extLst>
                    <a:ext uri="{FF2B5EF4-FFF2-40B4-BE49-F238E27FC236}">
                      <a16:creationId xmlns:a16="http://schemas.microsoft.com/office/drawing/2014/main" id="{F75730C4-DF79-8B86-80C5-4ECA96F18B20}"/>
                    </a:ext>
                  </a:extLst>
                </p:cNvPr>
                <p:cNvSpPr/>
                <p:nvPr/>
              </p:nvSpPr>
              <p:spPr>
                <a:xfrm>
                  <a:off x="2957794" y="4476502"/>
                  <a:ext cx="499163" cy="350426"/>
                </a:xfrm>
                <a:custGeom>
                  <a:avLst/>
                  <a:gdLst>
                    <a:gd name="csX0" fmla="*/ 367458 w 499163"/>
                    <a:gd name="csY0" fmla="*/ 0 h 350426"/>
                    <a:gd name="csX1" fmla="*/ 361663 w 499163"/>
                    <a:gd name="csY1" fmla="*/ 1089 h 350426"/>
                    <a:gd name="csX2" fmla="*/ 355485 w 499163"/>
                    <a:gd name="csY2" fmla="*/ 11237 h 350426"/>
                    <a:gd name="csX3" fmla="*/ 339894 w 499163"/>
                    <a:gd name="csY3" fmla="*/ 9796 h 350426"/>
                    <a:gd name="csX4" fmla="*/ 324655 w 499163"/>
                    <a:gd name="csY4" fmla="*/ 21770 h 350426"/>
                    <a:gd name="csX5" fmla="*/ 289119 w 499163"/>
                    <a:gd name="csY5" fmla="*/ 33711 h 350426"/>
                    <a:gd name="csX6" fmla="*/ 260083 w 499163"/>
                    <a:gd name="csY6" fmla="*/ 53304 h 350426"/>
                    <a:gd name="csX7" fmla="*/ 258994 w 499163"/>
                    <a:gd name="csY7" fmla="*/ 53304 h 350426"/>
                    <a:gd name="csX8" fmla="*/ 225635 w 499163"/>
                    <a:gd name="csY8" fmla="*/ 50774 h 350426"/>
                    <a:gd name="csX9" fmla="*/ 200600 w 499163"/>
                    <a:gd name="csY9" fmla="*/ 56953 h 350426"/>
                    <a:gd name="csX10" fmla="*/ 194422 w 499163"/>
                    <a:gd name="csY10" fmla="*/ 49334 h 350426"/>
                    <a:gd name="csX11" fmla="*/ 184273 w 499163"/>
                    <a:gd name="csY11" fmla="*/ 50038 h 350426"/>
                    <a:gd name="csX12" fmla="*/ 178126 w 499163"/>
                    <a:gd name="csY12" fmla="*/ 52599 h 350426"/>
                    <a:gd name="csX13" fmla="*/ 176654 w 499163"/>
                    <a:gd name="csY13" fmla="*/ 65661 h 350426"/>
                    <a:gd name="csX14" fmla="*/ 156709 w 499163"/>
                    <a:gd name="csY14" fmla="*/ 73280 h 350426"/>
                    <a:gd name="csX15" fmla="*/ 161063 w 499163"/>
                    <a:gd name="csY15" fmla="*/ 108464 h 350426"/>
                    <a:gd name="csX16" fmla="*/ 134203 w 499163"/>
                    <a:gd name="csY16" fmla="*/ 124055 h 350426"/>
                    <a:gd name="csX17" fmla="*/ 129145 w 499163"/>
                    <a:gd name="csY17" fmla="*/ 127320 h 350426"/>
                    <a:gd name="csX18" fmla="*/ 117172 w 499163"/>
                    <a:gd name="csY18" fmla="*/ 124055 h 350426"/>
                    <a:gd name="csX19" fmla="*/ 107727 w 499163"/>
                    <a:gd name="csY19" fmla="*/ 127320 h 350426"/>
                    <a:gd name="csX20" fmla="*/ 93961 w 499163"/>
                    <a:gd name="csY20" fmla="*/ 120437 h 350426"/>
                    <a:gd name="csX21" fmla="*/ 86342 w 499163"/>
                    <a:gd name="csY21" fmla="*/ 128408 h 350426"/>
                    <a:gd name="csX22" fmla="*/ 71455 w 499163"/>
                    <a:gd name="csY22" fmla="*/ 105903 h 350426"/>
                    <a:gd name="csX23" fmla="*/ 60219 w 499163"/>
                    <a:gd name="csY23" fmla="*/ 112818 h 350426"/>
                    <a:gd name="csX24" fmla="*/ 62748 w 499163"/>
                    <a:gd name="csY24" fmla="*/ 129145 h 350426"/>
                    <a:gd name="csX25" fmla="*/ 46420 w 499163"/>
                    <a:gd name="csY25" fmla="*/ 133499 h 350426"/>
                    <a:gd name="csX26" fmla="*/ 42451 w 499163"/>
                    <a:gd name="csY26" fmla="*/ 138557 h 350426"/>
                    <a:gd name="csX27" fmla="*/ 34447 w 499163"/>
                    <a:gd name="csY27" fmla="*/ 137821 h 350426"/>
                    <a:gd name="csX28" fmla="*/ 18856 w 499163"/>
                    <a:gd name="csY28" fmla="*/ 149090 h 350426"/>
                    <a:gd name="csX29" fmla="*/ 0 w 499163"/>
                    <a:gd name="csY29" fmla="*/ 178094 h 350426"/>
                    <a:gd name="csX30" fmla="*/ 4354 w 499163"/>
                    <a:gd name="csY30" fmla="*/ 191156 h 350426"/>
                    <a:gd name="csX31" fmla="*/ 14855 w 499163"/>
                    <a:gd name="csY31" fmla="*/ 200600 h 350426"/>
                    <a:gd name="csX32" fmla="*/ 19945 w 499163"/>
                    <a:gd name="csY32" fmla="*/ 209308 h 350426"/>
                    <a:gd name="csX33" fmla="*/ 16327 w 499163"/>
                    <a:gd name="csY33" fmla="*/ 232518 h 350426"/>
                    <a:gd name="csX34" fmla="*/ 43891 w 499163"/>
                    <a:gd name="csY34" fmla="*/ 235784 h 350426"/>
                    <a:gd name="csX35" fmla="*/ 55865 w 499163"/>
                    <a:gd name="csY35" fmla="*/ 256465 h 350426"/>
                    <a:gd name="csX36" fmla="*/ 72544 w 499163"/>
                    <a:gd name="csY36" fmla="*/ 266966 h 350426"/>
                    <a:gd name="csX37" fmla="*/ 69631 w 499163"/>
                    <a:gd name="csY37" fmla="*/ 277146 h 350426"/>
                    <a:gd name="csX38" fmla="*/ 57657 w 499163"/>
                    <a:gd name="csY38" fmla="*/ 303974 h 350426"/>
                    <a:gd name="csX39" fmla="*/ 62748 w 499163"/>
                    <a:gd name="csY39" fmla="*/ 306535 h 350426"/>
                    <a:gd name="csX40" fmla="*/ 69631 w 499163"/>
                    <a:gd name="csY40" fmla="*/ 302181 h 350426"/>
                    <a:gd name="csX41" fmla="*/ 80163 w 499163"/>
                    <a:gd name="csY41" fmla="*/ 309064 h 350426"/>
                    <a:gd name="csX42" fmla="*/ 61307 w 499163"/>
                    <a:gd name="csY42" fmla="*/ 320301 h 350426"/>
                    <a:gd name="csX43" fmla="*/ 62748 w 499163"/>
                    <a:gd name="csY43" fmla="*/ 325391 h 350426"/>
                    <a:gd name="csX44" fmla="*/ 71455 w 499163"/>
                    <a:gd name="csY44" fmla="*/ 328657 h 350426"/>
                    <a:gd name="csX45" fmla="*/ 64572 w 499163"/>
                    <a:gd name="csY45" fmla="*/ 343511 h 350426"/>
                    <a:gd name="csX46" fmla="*/ 109552 w 499163"/>
                    <a:gd name="csY46" fmla="*/ 330450 h 350426"/>
                    <a:gd name="csX47" fmla="*/ 119701 w 499163"/>
                    <a:gd name="csY47" fmla="*/ 334099 h 350426"/>
                    <a:gd name="csX48" fmla="*/ 130938 w 499163"/>
                    <a:gd name="csY48" fmla="*/ 326095 h 350426"/>
                    <a:gd name="csX49" fmla="*/ 141118 w 499163"/>
                    <a:gd name="csY49" fmla="*/ 324655 h 350426"/>
                    <a:gd name="csX50" fmla="*/ 147265 w 499163"/>
                    <a:gd name="csY50" fmla="*/ 329745 h 350426"/>
                    <a:gd name="csX51" fmla="*/ 149826 w 499163"/>
                    <a:gd name="csY51" fmla="*/ 332274 h 350426"/>
                    <a:gd name="csX52" fmla="*/ 165417 w 499163"/>
                    <a:gd name="csY52" fmla="*/ 319213 h 350426"/>
                    <a:gd name="csX53" fmla="*/ 179919 w 499163"/>
                    <a:gd name="csY53" fmla="*/ 327920 h 350426"/>
                    <a:gd name="csX54" fmla="*/ 191893 w 499163"/>
                    <a:gd name="csY54" fmla="*/ 320301 h 350426"/>
                    <a:gd name="csX55" fmla="*/ 189363 w 499163"/>
                    <a:gd name="csY55" fmla="*/ 314122 h 350426"/>
                    <a:gd name="csX56" fmla="*/ 193717 w 499163"/>
                    <a:gd name="csY56" fmla="*/ 309768 h 350426"/>
                    <a:gd name="csX57" fmla="*/ 205691 w 499163"/>
                    <a:gd name="csY57" fmla="*/ 303974 h 350426"/>
                    <a:gd name="csX58" fmla="*/ 216928 w 499163"/>
                    <a:gd name="csY58" fmla="*/ 315211 h 350426"/>
                    <a:gd name="csX59" fmla="*/ 224547 w 499163"/>
                    <a:gd name="csY59" fmla="*/ 296002 h 350426"/>
                    <a:gd name="csX60" fmla="*/ 243755 w 499163"/>
                    <a:gd name="csY60" fmla="*/ 282204 h 350426"/>
                    <a:gd name="csX61" fmla="*/ 247021 w 499163"/>
                    <a:gd name="csY61" fmla="*/ 282204 h 350426"/>
                    <a:gd name="csX62" fmla="*/ 250670 w 499163"/>
                    <a:gd name="csY62" fmla="*/ 284029 h 350426"/>
                    <a:gd name="csX63" fmla="*/ 244492 w 499163"/>
                    <a:gd name="csY63" fmla="*/ 290912 h 350426"/>
                    <a:gd name="csX64" fmla="*/ 248109 w 499163"/>
                    <a:gd name="csY64" fmla="*/ 302181 h 350426"/>
                    <a:gd name="csX65" fmla="*/ 241963 w 499163"/>
                    <a:gd name="csY65" fmla="*/ 313418 h 350426"/>
                    <a:gd name="csX66" fmla="*/ 244492 w 499163"/>
                    <a:gd name="csY66" fmla="*/ 323566 h 350426"/>
                    <a:gd name="csX67" fmla="*/ 252111 w 499163"/>
                    <a:gd name="csY67" fmla="*/ 322830 h 350426"/>
                    <a:gd name="csX68" fmla="*/ 260083 w 499163"/>
                    <a:gd name="csY68" fmla="*/ 308328 h 350426"/>
                    <a:gd name="csX69" fmla="*/ 269527 w 499163"/>
                    <a:gd name="csY69" fmla="*/ 306535 h 350426"/>
                    <a:gd name="csX70" fmla="*/ 270263 w 499163"/>
                    <a:gd name="csY70" fmla="*/ 314122 h 350426"/>
                    <a:gd name="csX71" fmla="*/ 295266 w 499163"/>
                    <a:gd name="csY71" fmla="*/ 300356 h 350426"/>
                    <a:gd name="csX72" fmla="*/ 305447 w 499163"/>
                    <a:gd name="csY72" fmla="*/ 300356 h 350426"/>
                    <a:gd name="csX73" fmla="*/ 304710 w 499163"/>
                    <a:gd name="csY73" fmla="*/ 313418 h 350426"/>
                    <a:gd name="csX74" fmla="*/ 321037 w 499163"/>
                    <a:gd name="csY74" fmla="*/ 330450 h 350426"/>
                    <a:gd name="csX75" fmla="*/ 329745 w 499163"/>
                    <a:gd name="csY75" fmla="*/ 337365 h 350426"/>
                    <a:gd name="csX76" fmla="*/ 337364 w 499163"/>
                    <a:gd name="csY76" fmla="*/ 339157 h 350426"/>
                    <a:gd name="csX77" fmla="*/ 345336 w 499163"/>
                    <a:gd name="csY77" fmla="*/ 334803 h 350426"/>
                    <a:gd name="csX78" fmla="*/ 357309 w 499163"/>
                    <a:gd name="csY78" fmla="*/ 341718 h 350426"/>
                    <a:gd name="csX79" fmla="*/ 363104 w 499163"/>
                    <a:gd name="csY79" fmla="*/ 337365 h 350426"/>
                    <a:gd name="csX80" fmla="*/ 376166 w 499163"/>
                    <a:gd name="csY80" fmla="*/ 340982 h 350426"/>
                    <a:gd name="csX81" fmla="*/ 384873 w 499163"/>
                    <a:gd name="csY81" fmla="*/ 350426 h 350426"/>
                    <a:gd name="csX82" fmla="*/ 389964 w 499163"/>
                    <a:gd name="csY82" fmla="*/ 349338 h 350426"/>
                    <a:gd name="csX83" fmla="*/ 386698 w 499163"/>
                    <a:gd name="csY83" fmla="*/ 343511 h 350426"/>
                    <a:gd name="csX84" fmla="*/ 393229 w 499163"/>
                    <a:gd name="csY84" fmla="*/ 335540 h 350426"/>
                    <a:gd name="csX85" fmla="*/ 392493 w 499163"/>
                    <a:gd name="csY85" fmla="*/ 327920 h 350426"/>
                    <a:gd name="csX86" fmla="*/ 415703 w 499163"/>
                    <a:gd name="csY86" fmla="*/ 337365 h 350426"/>
                    <a:gd name="csX87" fmla="*/ 420793 w 499163"/>
                    <a:gd name="csY87" fmla="*/ 301445 h 350426"/>
                    <a:gd name="csX88" fmla="*/ 448357 w 499163"/>
                    <a:gd name="csY88" fmla="*/ 294562 h 350426"/>
                    <a:gd name="csX89" fmla="*/ 454536 w 499163"/>
                    <a:gd name="csY89" fmla="*/ 303974 h 350426"/>
                    <a:gd name="csX90" fmla="*/ 460715 w 499163"/>
                    <a:gd name="csY90" fmla="*/ 302885 h 350426"/>
                    <a:gd name="csX91" fmla="*/ 482837 w 499163"/>
                    <a:gd name="csY91" fmla="*/ 290208 h 350426"/>
                    <a:gd name="csX92" fmla="*/ 482837 w 499163"/>
                    <a:gd name="csY92" fmla="*/ 280764 h 350426"/>
                    <a:gd name="csX93" fmla="*/ 499164 w 499163"/>
                    <a:gd name="csY93" fmla="*/ 281500 h 350426"/>
                    <a:gd name="csX94" fmla="*/ 498428 w 499163"/>
                    <a:gd name="csY94" fmla="*/ 269527 h 350426"/>
                    <a:gd name="csX95" fmla="*/ 494074 w 499163"/>
                    <a:gd name="csY95" fmla="*/ 268438 h 350426"/>
                    <a:gd name="csX96" fmla="*/ 478483 w 499163"/>
                    <a:gd name="csY96" fmla="*/ 265877 h 350426"/>
                    <a:gd name="csX97" fmla="*/ 468302 w 499163"/>
                    <a:gd name="csY97" fmla="*/ 270231 h 350426"/>
                    <a:gd name="csX98" fmla="*/ 469038 w 499163"/>
                    <a:gd name="csY98" fmla="*/ 228164 h 350426"/>
                    <a:gd name="csX99" fmla="*/ 450182 w 499163"/>
                    <a:gd name="csY99" fmla="*/ 210013 h 350426"/>
                    <a:gd name="csX100" fmla="*/ 447653 w 499163"/>
                    <a:gd name="csY100" fmla="*/ 207483 h 350426"/>
                    <a:gd name="csX101" fmla="*/ 437121 w 499163"/>
                    <a:gd name="csY101" fmla="*/ 194422 h 350426"/>
                    <a:gd name="csX102" fmla="*/ 429501 w 499163"/>
                    <a:gd name="csY102" fmla="*/ 195510 h 350426"/>
                    <a:gd name="csX103" fmla="*/ 429501 w 499163"/>
                    <a:gd name="csY103" fmla="*/ 159238 h 350426"/>
                    <a:gd name="csX104" fmla="*/ 419353 w 499163"/>
                    <a:gd name="csY104" fmla="*/ 138557 h 350426"/>
                    <a:gd name="csX105" fmla="*/ 418264 w 499163"/>
                    <a:gd name="csY105" fmla="*/ 123318 h 350426"/>
                    <a:gd name="csX106" fmla="*/ 430590 w 499163"/>
                    <a:gd name="csY106" fmla="*/ 90312 h 350426"/>
                    <a:gd name="csX107" fmla="*/ 420793 w 499163"/>
                    <a:gd name="csY107" fmla="*/ 65661 h 350426"/>
                    <a:gd name="csX108" fmla="*/ 405555 w 499163"/>
                    <a:gd name="csY108" fmla="*/ 51863 h 350426"/>
                    <a:gd name="csX109" fmla="*/ 411349 w 499163"/>
                    <a:gd name="csY109" fmla="*/ 15591 h 350426"/>
                    <a:gd name="csX110" fmla="*/ 400112 w 499163"/>
                    <a:gd name="csY110" fmla="*/ 14855 h 350426"/>
                    <a:gd name="csX111" fmla="*/ 389227 w 499163"/>
                    <a:gd name="csY111" fmla="*/ 6883 h 350426"/>
                    <a:gd name="csX112" fmla="*/ 376166 w 499163"/>
                    <a:gd name="csY112" fmla="*/ 10501 h 350426"/>
                    <a:gd name="csX113" fmla="*/ 367458 w 499163"/>
                    <a:gd name="csY113" fmla="*/ 0 h 35042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</a:cxnLst>
                  <a:rect l="l" t="t" r="r" b="b"/>
                  <a:pathLst>
                    <a:path w="499163" h="350426">
                      <a:moveTo>
                        <a:pt x="367458" y="0"/>
                      </a:moveTo>
                      <a:lnTo>
                        <a:pt x="361663" y="1089"/>
                      </a:lnTo>
                      <a:lnTo>
                        <a:pt x="355485" y="11237"/>
                      </a:lnTo>
                      <a:lnTo>
                        <a:pt x="339894" y="9796"/>
                      </a:lnTo>
                      <a:lnTo>
                        <a:pt x="324655" y="21770"/>
                      </a:lnTo>
                      <a:lnTo>
                        <a:pt x="289119" y="33711"/>
                      </a:lnTo>
                      <a:lnTo>
                        <a:pt x="260083" y="53304"/>
                      </a:lnTo>
                      <a:lnTo>
                        <a:pt x="258994" y="53304"/>
                      </a:lnTo>
                      <a:lnTo>
                        <a:pt x="225635" y="50774"/>
                      </a:lnTo>
                      <a:lnTo>
                        <a:pt x="200600" y="56953"/>
                      </a:lnTo>
                      <a:lnTo>
                        <a:pt x="194422" y="49334"/>
                      </a:lnTo>
                      <a:lnTo>
                        <a:pt x="184273" y="50038"/>
                      </a:lnTo>
                      <a:lnTo>
                        <a:pt x="178126" y="52599"/>
                      </a:lnTo>
                      <a:lnTo>
                        <a:pt x="176654" y="65661"/>
                      </a:lnTo>
                      <a:lnTo>
                        <a:pt x="156709" y="73280"/>
                      </a:lnTo>
                      <a:lnTo>
                        <a:pt x="161063" y="108464"/>
                      </a:lnTo>
                      <a:lnTo>
                        <a:pt x="134203" y="124055"/>
                      </a:lnTo>
                      <a:lnTo>
                        <a:pt x="129145" y="127320"/>
                      </a:lnTo>
                      <a:lnTo>
                        <a:pt x="117172" y="124055"/>
                      </a:lnTo>
                      <a:lnTo>
                        <a:pt x="107727" y="127320"/>
                      </a:lnTo>
                      <a:lnTo>
                        <a:pt x="93961" y="120437"/>
                      </a:lnTo>
                      <a:lnTo>
                        <a:pt x="86342" y="128408"/>
                      </a:lnTo>
                      <a:lnTo>
                        <a:pt x="71455" y="105903"/>
                      </a:lnTo>
                      <a:lnTo>
                        <a:pt x="60219" y="112818"/>
                      </a:lnTo>
                      <a:lnTo>
                        <a:pt x="62748" y="129145"/>
                      </a:lnTo>
                      <a:lnTo>
                        <a:pt x="46420" y="133499"/>
                      </a:lnTo>
                      <a:lnTo>
                        <a:pt x="42451" y="138557"/>
                      </a:lnTo>
                      <a:lnTo>
                        <a:pt x="34447" y="137821"/>
                      </a:lnTo>
                      <a:lnTo>
                        <a:pt x="18856" y="149090"/>
                      </a:lnTo>
                      <a:lnTo>
                        <a:pt x="0" y="178094"/>
                      </a:lnTo>
                      <a:lnTo>
                        <a:pt x="4354" y="191156"/>
                      </a:lnTo>
                      <a:lnTo>
                        <a:pt x="14855" y="200600"/>
                      </a:lnTo>
                      <a:lnTo>
                        <a:pt x="19945" y="209308"/>
                      </a:lnTo>
                      <a:lnTo>
                        <a:pt x="16327" y="232518"/>
                      </a:lnTo>
                      <a:lnTo>
                        <a:pt x="43891" y="235784"/>
                      </a:lnTo>
                      <a:lnTo>
                        <a:pt x="55865" y="256465"/>
                      </a:lnTo>
                      <a:lnTo>
                        <a:pt x="72544" y="266966"/>
                      </a:lnTo>
                      <a:lnTo>
                        <a:pt x="69631" y="277146"/>
                      </a:lnTo>
                      <a:lnTo>
                        <a:pt x="57657" y="303974"/>
                      </a:lnTo>
                      <a:lnTo>
                        <a:pt x="62748" y="306535"/>
                      </a:lnTo>
                      <a:lnTo>
                        <a:pt x="69631" y="302181"/>
                      </a:lnTo>
                      <a:lnTo>
                        <a:pt x="80163" y="309064"/>
                      </a:lnTo>
                      <a:lnTo>
                        <a:pt x="61307" y="320301"/>
                      </a:lnTo>
                      <a:lnTo>
                        <a:pt x="62748" y="325391"/>
                      </a:lnTo>
                      <a:lnTo>
                        <a:pt x="71455" y="328657"/>
                      </a:lnTo>
                      <a:lnTo>
                        <a:pt x="64572" y="343511"/>
                      </a:lnTo>
                      <a:lnTo>
                        <a:pt x="109552" y="330450"/>
                      </a:lnTo>
                      <a:lnTo>
                        <a:pt x="119701" y="334099"/>
                      </a:lnTo>
                      <a:lnTo>
                        <a:pt x="130938" y="326095"/>
                      </a:lnTo>
                      <a:lnTo>
                        <a:pt x="141118" y="324655"/>
                      </a:lnTo>
                      <a:lnTo>
                        <a:pt x="147265" y="329745"/>
                      </a:lnTo>
                      <a:lnTo>
                        <a:pt x="149826" y="332274"/>
                      </a:lnTo>
                      <a:lnTo>
                        <a:pt x="165417" y="319213"/>
                      </a:lnTo>
                      <a:lnTo>
                        <a:pt x="179919" y="327920"/>
                      </a:lnTo>
                      <a:lnTo>
                        <a:pt x="191893" y="320301"/>
                      </a:lnTo>
                      <a:lnTo>
                        <a:pt x="189363" y="314122"/>
                      </a:lnTo>
                      <a:lnTo>
                        <a:pt x="193717" y="309768"/>
                      </a:lnTo>
                      <a:lnTo>
                        <a:pt x="205691" y="303974"/>
                      </a:lnTo>
                      <a:lnTo>
                        <a:pt x="216928" y="315211"/>
                      </a:lnTo>
                      <a:lnTo>
                        <a:pt x="224547" y="296002"/>
                      </a:lnTo>
                      <a:lnTo>
                        <a:pt x="243755" y="282204"/>
                      </a:lnTo>
                      <a:lnTo>
                        <a:pt x="247021" y="282204"/>
                      </a:lnTo>
                      <a:lnTo>
                        <a:pt x="250670" y="284029"/>
                      </a:lnTo>
                      <a:lnTo>
                        <a:pt x="244492" y="290912"/>
                      </a:lnTo>
                      <a:lnTo>
                        <a:pt x="248109" y="302181"/>
                      </a:lnTo>
                      <a:lnTo>
                        <a:pt x="241963" y="313418"/>
                      </a:lnTo>
                      <a:lnTo>
                        <a:pt x="244492" y="323566"/>
                      </a:lnTo>
                      <a:lnTo>
                        <a:pt x="252111" y="322830"/>
                      </a:lnTo>
                      <a:lnTo>
                        <a:pt x="260083" y="308328"/>
                      </a:lnTo>
                      <a:lnTo>
                        <a:pt x="269527" y="306535"/>
                      </a:lnTo>
                      <a:lnTo>
                        <a:pt x="270263" y="314122"/>
                      </a:lnTo>
                      <a:lnTo>
                        <a:pt x="295266" y="300356"/>
                      </a:lnTo>
                      <a:lnTo>
                        <a:pt x="305447" y="300356"/>
                      </a:lnTo>
                      <a:lnTo>
                        <a:pt x="304710" y="313418"/>
                      </a:lnTo>
                      <a:lnTo>
                        <a:pt x="321037" y="330450"/>
                      </a:lnTo>
                      <a:lnTo>
                        <a:pt x="329745" y="337365"/>
                      </a:lnTo>
                      <a:lnTo>
                        <a:pt x="337364" y="339157"/>
                      </a:lnTo>
                      <a:lnTo>
                        <a:pt x="345336" y="334803"/>
                      </a:lnTo>
                      <a:lnTo>
                        <a:pt x="357309" y="341718"/>
                      </a:lnTo>
                      <a:lnTo>
                        <a:pt x="363104" y="337365"/>
                      </a:lnTo>
                      <a:lnTo>
                        <a:pt x="376166" y="340982"/>
                      </a:lnTo>
                      <a:lnTo>
                        <a:pt x="384873" y="350426"/>
                      </a:lnTo>
                      <a:lnTo>
                        <a:pt x="389964" y="349338"/>
                      </a:lnTo>
                      <a:lnTo>
                        <a:pt x="386698" y="343511"/>
                      </a:lnTo>
                      <a:lnTo>
                        <a:pt x="393229" y="335540"/>
                      </a:lnTo>
                      <a:lnTo>
                        <a:pt x="392493" y="327920"/>
                      </a:lnTo>
                      <a:lnTo>
                        <a:pt x="415703" y="337365"/>
                      </a:lnTo>
                      <a:lnTo>
                        <a:pt x="420793" y="301445"/>
                      </a:lnTo>
                      <a:lnTo>
                        <a:pt x="448357" y="294562"/>
                      </a:lnTo>
                      <a:lnTo>
                        <a:pt x="454536" y="303974"/>
                      </a:lnTo>
                      <a:lnTo>
                        <a:pt x="460715" y="302885"/>
                      </a:lnTo>
                      <a:lnTo>
                        <a:pt x="482837" y="290208"/>
                      </a:lnTo>
                      <a:lnTo>
                        <a:pt x="482837" y="280764"/>
                      </a:lnTo>
                      <a:lnTo>
                        <a:pt x="499164" y="281500"/>
                      </a:lnTo>
                      <a:lnTo>
                        <a:pt x="498428" y="269527"/>
                      </a:lnTo>
                      <a:lnTo>
                        <a:pt x="494074" y="268438"/>
                      </a:lnTo>
                      <a:lnTo>
                        <a:pt x="478483" y="265877"/>
                      </a:lnTo>
                      <a:lnTo>
                        <a:pt x="468302" y="270231"/>
                      </a:lnTo>
                      <a:lnTo>
                        <a:pt x="469038" y="228164"/>
                      </a:lnTo>
                      <a:lnTo>
                        <a:pt x="450182" y="210013"/>
                      </a:lnTo>
                      <a:lnTo>
                        <a:pt x="447653" y="207483"/>
                      </a:lnTo>
                      <a:lnTo>
                        <a:pt x="437121" y="194422"/>
                      </a:lnTo>
                      <a:lnTo>
                        <a:pt x="429501" y="195510"/>
                      </a:lnTo>
                      <a:lnTo>
                        <a:pt x="429501" y="159238"/>
                      </a:lnTo>
                      <a:lnTo>
                        <a:pt x="419353" y="138557"/>
                      </a:lnTo>
                      <a:lnTo>
                        <a:pt x="418264" y="123318"/>
                      </a:lnTo>
                      <a:lnTo>
                        <a:pt x="430590" y="90312"/>
                      </a:lnTo>
                      <a:lnTo>
                        <a:pt x="420793" y="65661"/>
                      </a:lnTo>
                      <a:lnTo>
                        <a:pt x="405555" y="51863"/>
                      </a:lnTo>
                      <a:lnTo>
                        <a:pt x="411349" y="15591"/>
                      </a:lnTo>
                      <a:lnTo>
                        <a:pt x="400112" y="14855"/>
                      </a:lnTo>
                      <a:lnTo>
                        <a:pt x="389227" y="6883"/>
                      </a:lnTo>
                      <a:lnTo>
                        <a:pt x="376166" y="10501"/>
                      </a:lnTo>
                      <a:lnTo>
                        <a:pt x="367458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4" name="Forma Livre: Forma 383">
                  <a:extLst>
                    <a:ext uri="{FF2B5EF4-FFF2-40B4-BE49-F238E27FC236}">
                      <a16:creationId xmlns:a16="http://schemas.microsoft.com/office/drawing/2014/main" id="{335E3BE3-5DE7-DE2F-2153-2E6B3A9A487F}"/>
                    </a:ext>
                  </a:extLst>
                </p:cNvPr>
                <p:cNvSpPr/>
                <p:nvPr/>
              </p:nvSpPr>
              <p:spPr>
                <a:xfrm>
                  <a:off x="2957794" y="4476502"/>
                  <a:ext cx="499163" cy="350426"/>
                </a:xfrm>
                <a:custGeom>
                  <a:avLst/>
                  <a:gdLst>
                    <a:gd name="csX0" fmla="*/ 367458 w 499163"/>
                    <a:gd name="csY0" fmla="*/ 0 h 350426"/>
                    <a:gd name="csX1" fmla="*/ 361663 w 499163"/>
                    <a:gd name="csY1" fmla="*/ 1089 h 350426"/>
                    <a:gd name="csX2" fmla="*/ 355485 w 499163"/>
                    <a:gd name="csY2" fmla="*/ 11237 h 350426"/>
                    <a:gd name="csX3" fmla="*/ 339894 w 499163"/>
                    <a:gd name="csY3" fmla="*/ 9796 h 350426"/>
                    <a:gd name="csX4" fmla="*/ 324655 w 499163"/>
                    <a:gd name="csY4" fmla="*/ 21770 h 350426"/>
                    <a:gd name="csX5" fmla="*/ 289119 w 499163"/>
                    <a:gd name="csY5" fmla="*/ 33711 h 350426"/>
                    <a:gd name="csX6" fmla="*/ 260083 w 499163"/>
                    <a:gd name="csY6" fmla="*/ 53304 h 350426"/>
                    <a:gd name="csX7" fmla="*/ 258994 w 499163"/>
                    <a:gd name="csY7" fmla="*/ 53304 h 350426"/>
                    <a:gd name="csX8" fmla="*/ 225635 w 499163"/>
                    <a:gd name="csY8" fmla="*/ 50774 h 350426"/>
                    <a:gd name="csX9" fmla="*/ 200600 w 499163"/>
                    <a:gd name="csY9" fmla="*/ 56953 h 350426"/>
                    <a:gd name="csX10" fmla="*/ 194422 w 499163"/>
                    <a:gd name="csY10" fmla="*/ 49334 h 350426"/>
                    <a:gd name="csX11" fmla="*/ 184273 w 499163"/>
                    <a:gd name="csY11" fmla="*/ 50038 h 350426"/>
                    <a:gd name="csX12" fmla="*/ 178126 w 499163"/>
                    <a:gd name="csY12" fmla="*/ 52599 h 350426"/>
                    <a:gd name="csX13" fmla="*/ 176654 w 499163"/>
                    <a:gd name="csY13" fmla="*/ 65661 h 350426"/>
                    <a:gd name="csX14" fmla="*/ 156709 w 499163"/>
                    <a:gd name="csY14" fmla="*/ 73280 h 350426"/>
                    <a:gd name="csX15" fmla="*/ 161063 w 499163"/>
                    <a:gd name="csY15" fmla="*/ 108464 h 350426"/>
                    <a:gd name="csX16" fmla="*/ 134203 w 499163"/>
                    <a:gd name="csY16" fmla="*/ 124055 h 350426"/>
                    <a:gd name="csX17" fmla="*/ 129145 w 499163"/>
                    <a:gd name="csY17" fmla="*/ 127320 h 350426"/>
                    <a:gd name="csX18" fmla="*/ 117172 w 499163"/>
                    <a:gd name="csY18" fmla="*/ 124055 h 350426"/>
                    <a:gd name="csX19" fmla="*/ 107727 w 499163"/>
                    <a:gd name="csY19" fmla="*/ 127320 h 350426"/>
                    <a:gd name="csX20" fmla="*/ 93961 w 499163"/>
                    <a:gd name="csY20" fmla="*/ 120437 h 350426"/>
                    <a:gd name="csX21" fmla="*/ 86342 w 499163"/>
                    <a:gd name="csY21" fmla="*/ 128408 h 350426"/>
                    <a:gd name="csX22" fmla="*/ 71455 w 499163"/>
                    <a:gd name="csY22" fmla="*/ 105903 h 350426"/>
                    <a:gd name="csX23" fmla="*/ 60219 w 499163"/>
                    <a:gd name="csY23" fmla="*/ 112818 h 350426"/>
                    <a:gd name="csX24" fmla="*/ 62748 w 499163"/>
                    <a:gd name="csY24" fmla="*/ 129145 h 350426"/>
                    <a:gd name="csX25" fmla="*/ 46420 w 499163"/>
                    <a:gd name="csY25" fmla="*/ 133499 h 350426"/>
                    <a:gd name="csX26" fmla="*/ 42451 w 499163"/>
                    <a:gd name="csY26" fmla="*/ 138557 h 350426"/>
                    <a:gd name="csX27" fmla="*/ 34447 w 499163"/>
                    <a:gd name="csY27" fmla="*/ 137821 h 350426"/>
                    <a:gd name="csX28" fmla="*/ 18856 w 499163"/>
                    <a:gd name="csY28" fmla="*/ 149090 h 350426"/>
                    <a:gd name="csX29" fmla="*/ 0 w 499163"/>
                    <a:gd name="csY29" fmla="*/ 178094 h 350426"/>
                    <a:gd name="csX30" fmla="*/ 4354 w 499163"/>
                    <a:gd name="csY30" fmla="*/ 191156 h 350426"/>
                    <a:gd name="csX31" fmla="*/ 14855 w 499163"/>
                    <a:gd name="csY31" fmla="*/ 200600 h 350426"/>
                    <a:gd name="csX32" fmla="*/ 19945 w 499163"/>
                    <a:gd name="csY32" fmla="*/ 209308 h 350426"/>
                    <a:gd name="csX33" fmla="*/ 16327 w 499163"/>
                    <a:gd name="csY33" fmla="*/ 232518 h 350426"/>
                    <a:gd name="csX34" fmla="*/ 43891 w 499163"/>
                    <a:gd name="csY34" fmla="*/ 235784 h 350426"/>
                    <a:gd name="csX35" fmla="*/ 55865 w 499163"/>
                    <a:gd name="csY35" fmla="*/ 256465 h 350426"/>
                    <a:gd name="csX36" fmla="*/ 72544 w 499163"/>
                    <a:gd name="csY36" fmla="*/ 266966 h 350426"/>
                    <a:gd name="csX37" fmla="*/ 69631 w 499163"/>
                    <a:gd name="csY37" fmla="*/ 277146 h 350426"/>
                    <a:gd name="csX38" fmla="*/ 57657 w 499163"/>
                    <a:gd name="csY38" fmla="*/ 303974 h 350426"/>
                    <a:gd name="csX39" fmla="*/ 62748 w 499163"/>
                    <a:gd name="csY39" fmla="*/ 306535 h 350426"/>
                    <a:gd name="csX40" fmla="*/ 69631 w 499163"/>
                    <a:gd name="csY40" fmla="*/ 302181 h 350426"/>
                    <a:gd name="csX41" fmla="*/ 80163 w 499163"/>
                    <a:gd name="csY41" fmla="*/ 309064 h 350426"/>
                    <a:gd name="csX42" fmla="*/ 61307 w 499163"/>
                    <a:gd name="csY42" fmla="*/ 320301 h 350426"/>
                    <a:gd name="csX43" fmla="*/ 62748 w 499163"/>
                    <a:gd name="csY43" fmla="*/ 325391 h 350426"/>
                    <a:gd name="csX44" fmla="*/ 71455 w 499163"/>
                    <a:gd name="csY44" fmla="*/ 328657 h 350426"/>
                    <a:gd name="csX45" fmla="*/ 64572 w 499163"/>
                    <a:gd name="csY45" fmla="*/ 343511 h 350426"/>
                    <a:gd name="csX46" fmla="*/ 109552 w 499163"/>
                    <a:gd name="csY46" fmla="*/ 330450 h 350426"/>
                    <a:gd name="csX47" fmla="*/ 119701 w 499163"/>
                    <a:gd name="csY47" fmla="*/ 334099 h 350426"/>
                    <a:gd name="csX48" fmla="*/ 130938 w 499163"/>
                    <a:gd name="csY48" fmla="*/ 326095 h 350426"/>
                    <a:gd name="csX49" fmla="*/ 141118 w 499163"/>
                    <a:gd name="csY49" fmla="*/ 324655 h 350426"/>
                    <a:gd name="csX50" fmla="*/ 147265 w 499163"/>
                    <a:gd name="csY50" fmla="*/ 329745 h 350426"/>
                    <a:gd name="csX51" fmla="*/ 149826 w 499163"/>
                    <a:gd name="csY51" fmla="*/ 332274 h 350426"/>
                    <a:gd name="csX52" fmla="*/ 165417 w 499163"/>
                    <a:gd name="csY52" fmla="*/ 319213 h 350426"/>
                    <a:gd name="csX53" fmla="*/ 179919 w 499163"/>
                    <a:gd name="csY53" fmla="*/ 327920 h 350426"/>
                    <a:gd name="csX54" fmla="*/ 191893 w 499163"/>
                    <a:gd name="csY54" fmla="*/ 320301 h 350426"/>
                    <a:gd name="csX55" fmla="*/ 189363 w 499163"/>
                    <a:gd name="csY55" fmla="*/ 314122 h 350426"/>
                    <a:gd name="csX56" fmla="*/ 193717 w 499163"/>
                    <a:gd name="csY56" fmla="*/ 309768 h 350426"/>
                    <a:gd name="csX57" fmla="*/ 205691 w 499163"/>
                    <a:gd name="csY57" fmla="*/ 303974 h 350426"/>
                    <a:gd name="csX58" fmla="*/ 216928 w 499163"/>
                    <a:gd name="csY58" fmla="*/ 315211 h 350426"/>
                    <a:gd name="csX59" fmla="*/ 224547 w 499163"/>
                    <a:gd name="csY59" fmla="*/ 296002 h 350426"/>
                    <a:gd name="csX60" fmla="*/ 243755 w 499163"/>
                    <a:gd name="csY60" fmla="*/ 282204 h 350426"/>
                    <a:gd name="csX61" fmla="*/ 247021 w 499163"/>
                    <a:gd name="csY61" fmla="*/ 282204 h 350426"/>
                    <a:gd name="csX62" fmla="*/ 250670 w 499163"/>
                    <a:gd name="csY62" fmla="*/ 284029 h 350426"/>
                    <a:gd name="csX63" fmla="*/ 244492 w 499163"/>
                    <a:gd name="csY63" fmla="*/ 290912 h 350426"/>
                    <a:gd name="csX64" fmla="*/ 248109 w 499163"/>
                    <a:gd name="csY64" fmla="*/ 302181 h 350426"/>
                    <a:gd name="csX65" fmla="*/ 241963 w 499163"/>
                    <a:gd name="csY65" fmla="*/ 313418 h 350426"/>
                    <a:gd name="csX66" fmla="*/ 244492 w 499163"/>
                    <a:gd name="csY66" fmla="*/ 323566 h 350426"/>
                    <a:gd name="csX67" fmla="*/ 252111 w 499163"/>
                    <a:gd name="csY67" fmla="*/ 322830 h 350426"/>
                    <a:gd name="csX68" fmla="*/ 260083 w 499163"/>
                    <a:gd name="csY68" fmla="*/ 308328 h 350426"/>
                    <a:gd name="csX69" fmla="*/ 269527 w 499163"/>
                    <a:gd name="csY69" fmla="*/ 306535 h 350426"/>
                    <a:gd name="csX70" fmla="*/ 270263 w 499163"/>
                    <a:gd name="csY70" fmla="*/ 314122 h 350426"/>
                    <a:gd name="csX71" fmla="*/ 295266 w 499163"/>
                    <a:gd name="csY71" fmla="*/ 300356 h 350426"/>
                    <a:gd name="csX72" fmla="*/ 305447 w 499163"/>
                    <a:gd name="csY72" fmla="*/ 300356 h 350426"/>
                    <a:gd name="csX73" fmla="*/ 304710 w 499163"/>
                    <a:gd name="csY73" fmla="*/ 313418 h 350426"/>
                    <a:gd name="csX74" fmla="*/ 321037 w 499163"/>
                    <a:gd name="csY74" fmla="*/ 330450 h 350426"/>
                    <a:gd name="csX75" fmla="*/ 329745 w 499163"/>
                    <a:gd name="csY75" fmla="*/ 337365 h 350426"/>
                    <a:gd name="csX76" fmla="*/ 337364 w 499163"/>
                    <a:gd name="csY76" fmla="*/ 339157 h 350426"/>
                    <a:gd name="csX77" fmla="*/ 345336 w 499163"/>
                    <a:gd name="csY77" fmla="*/ 334803 h 350426"/>
                    <a:gd name="csX78" fmla="*/ 357309 w 499163"/>
                    <a:gd name="csY78" fmla="*/ 341718 h 350426"/>
                    <a:gd name="csX79" fmla="*/ 363104 w 499163"/>
                    <a:gd name="csY79" fmla="*/ 337365 h 350426"/>
                    <a:gd name="csX80" fmla="*/ 376166 w 499163"/>
                    <a:gd name="csY80" fmla="*/ 340982 h 350426"/>
                    <a:gd name="csX81" fmla="*/ 384873 w 499163"/>
                    <a:gd name="csY81" fmla="*/ 350426 h 350426"/>
                    <a:gd name="csX82" fmla="*/ 389964 w 499163"/>
                    <a:gd name="csY82" fmla="*/ 349338 h 350426"/>
                    <a:gd name="csX83" fmla="*/ 386698 w 499163"/>
                    <a:gd name="csY83" fmla="*/ 343511 h 350426"/>
                    <a:gd name="csX84" fmla="*/ 393229 w 499163"/>
                    <a:gd name="csY84" fmla="*/ 335540 h 350426"/>
                    <a:gd name="csX85" fmla="*/ 392493 w 499163"/>
                    <a:gd name="csY85" fmla="*/ 327920 h 350426"/>
                    <a:gd name="csX86" fmla="*/ 415703 w 499163"/>
                    <a:gd name="csY86" fmla="*/ 337365 h 350426"/>
                    <a:gd name="csX87" fmla="*/ 420793 w 499163"/>
                    <a:gd name="csY87" fmla="*/ 301445 h 350426"/>
                    <a:gd name="csX88" fmla="*/ 448357 w 499163"/>
                    <a:gd name="csY88" fmla="*/ 294562 h 350426"/>
                    <a:gd name="csX89" fmla="*/ 454536 w 499163"/>
                    <a:gd name="csY89" fmla="*/ 303974 h 350426"/>
                    <a:gd name="csX90" fmla="*/ 460715 w 499163"/>
                    <a:gd name="csY90" fmla="*/ 302885 h 350426"/>
                    <a:gd name="csX91" fmla="*/ 482837 w 499163"/>
                    <a:gd name="csY91" fmla="*/ 290208 h 350426"/>
                    <a:gd name="csX92" fmla="*/ 482837 w 499163"/>
                    <a:gd name="csY92" fmla="*/ 280764 h 350426"/>
                    <a:gd name="csX93" fmla="*/ 499164 w 499163"/>
                    <a:gd name="csY93" fmla="*/ 281500 h 350426"/>
                    <a:gd name="csX94" fmla="*/ 498428 w 499163"/>
                    <a:gd name="csY94" fmla="*/ 269527 h 350426"/>
                    <a:gd name="csX95" fmla="*/ 494074 w 499163"/>
                    <a:gd name="csY95" fmla="*/ 268438 h 350426"/>
                    <a:gd name="csX96" fmla="*/ 478483 w 499163"/>
                    <a:gd name="csY96" fmla="*/ 265877 h 350426"/>
                    <a:gd name="csX97" fmla="*/ 468302 w 499163"/>
                    <a:gd name="csY97" fmla="*/ 270231 h 350426"/>
                    <a:gd name="csX98" fmla="*/ 469038 w 499163"/>
                    <a:gd name="csY98" fmla="*/ 228164 h 350426"/>
                    <a:gd name="csX99" fmla="*/ 450182 w 499163"/>
                    <a:gd name="csY99" fmla="*/ 210013 h 350426"/>
                    <a:gd name="csX100" fmla="*/ 447653 w 499163"/>
                    <a:gd name="csY100" fmla="*/ 207483 h 350426"/>
                    <a:gd name="csX101" fmla="*/ 437121 w 499163"/>
                    <a:gd name="csY101" fmla="*/ 194422 h 350426"/>
                    <a:gd name="csX102" fmla="*/ 429501 w 499163"/>
                    <a:gd name="csY102" fmla="*/ 195510 h 350426"/>
                    <a:gd name="csX103" fmla="*/ 429501 w 499163"/>
                    <a:gd name="csY103" fmla="*/ 159238 h 350426"/>
                    <a:gd name="csX104" fmla="*/ 419353 w 499163"/>
                    <a:gd name="csY104" fmla="*/ 138557 h 350426"/>
                    <a:gd name="csX105" fmla="*/ 418264 w 499163"/>
                    <a:gd name="csY105" fmla="*/ 123318 h 350426"/>
                    <a:gd name="csX106" fmla="*/ 430590 w 499163"/>
                    <a:gd name="csY106" fmla="*/ 90312 h 350426"/>
                    <a:gd name="csX107" fmla="*/ 420793 w 499163"/>
                    <a:gd name="csY107" fmla="*/ 65661 h 350426"/>
                    <a:gd name="csX108" fmla="*/ 405555 w 499163"/>
                    <a:gd name="csY108" fmla="*/ 51863 h 350426"/>
                    <a:gd name="csX109" fmla="*/ 411349 w 499163"/>
                    <a:gd name="csY109" fmla="*/ 15591 h 350426"/>
                    <a:gd name="csX110" fmla="*/ 400112 w 499163"/>
                    <a:gd name="csY110" fmla="*/ 14855 h 350426"/>
                    <a:gd name="csX111" fmla="*/ 389227 w 499163"/>
                    <a:gd name="csY111" fmla="*/ 6883 h 350426"/>
                    <a:gd name="csX112" fmla="*/ 376166 w 499163"/>
                    <a:gd name="csY112" fmla="*/ 10501 h 350426"/>
                    <a:gd name="csX113" fmla="*/ 367458 w 499163"/>
                    <a:gd name="csY113" fmla="*/ 0 h 35042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</a:cxnLst>
                  <a:rect l="l" t="t" r="r" b="b"/>
                  <a:pathLst>
                    <a:path w="499163" h="350426">
                      <a:moveTo>
                        <a:pt x="367458" y="0"/>
                      </a:moveTo>
                      <a:lnTo>
                        <a:pt x="361663" y="1089"/>
                      </a:lnTo>
                      <a:lnTo>
                        <a:pt x="355485" y="11237"/>
                      </a:lnTo>
                      <a:lnTo>
                        <a:pt x="339894" y="9796"/>
                      </a:lnTo>
                      <a:lnTo>
                        <a:pt x="324655" y="21770"/>
                      </a:lnTo>
                      <a:lnTo>
                        <a:pt x="289119" y="33711"/>
                      </a:lnTo>
                      <a:lnTo>
                        <a:pt x="260083" y="53304"/>
                      </a:lnTo>
                      <a:lnTo>
                        <a:pt x="258994" y="53304"/>
                      </a:lnTo>
                      <a:lnTo>
                        <a:pt x="225635" y="50774"/>
                      </a:lnTo>
                      <a:lnTo>
                        <a:pt x="200600" y="56953"/>
                      </a:lnTo>
                      <a:lnTo>
                        <a:pt x="194422" y="49334"/>
                      </a:lnTo>
                      <a:lnTo>
                        <a:pt x="184273" y="50038"/>
                      </a:lnTo>
                      <a:lnTo>
                        <a:pt x="178126" y="52599"/>
                      </a:lnTo>
                      <a:lnTo>
                        <a:pt x="176654" y="65661"/>
                      </a:lnTo>
                      <a:lnTo>
                        <a:pt x="156709" y="73280"/>
                      </a:lnTo>
                      <a:lnTo>
                        <a:pt x="161063" y="108464"/>
                      </a:lnTo>
                      <a:lnTo>
                        <a:pt x="134203" y="124055"/>
                      </a:lnTo>
                      <a:lnTo>
                        <a:pt x="129145" y="127320"/>
                      </a:lnTo>
                      <a:lnTo>
                        <a:pt x="117172" y="124055"/>
                      </a:lnTo>
                      <a:lnTo>
                        <a:pt x="107727" y="127320"/>
                      </a:lnTo>
                      <a:lnTo>
                        <a:pt x="93961" y="120437"/>
                      </a:lnTo>
                      <a:lnTo>
                        <a:pt x="86342" y="128408"/>
                      </a:lnTo>
                      <a:lnTo>
                        <a:pt x="71455" y="105903"/>
                      </a:lnTo>
                      <a:lnTo>
                        <a:pt x="60219" y="112818"/>
                      </a:lnTo>
                      <a:lnTo>
                        <a:pt x="62748" y="129145"/>
                      </a:lnTo>
                      <a:lnTo>
                        <a:pt x="46420" y="133499"/>
                      </a:lnTo>
                      <a:lnTo>
                        <a:pt x="42451" y="138557"/>
                      </a:lnTo>
                      <a:lnTo>
                        <a:pt x="34447" y="137821"/>
                      </a:lnTo>
                      <a:lnTo>
                        <a:pt x="18856" y="149090"/>
                      </a:lnTo>
                      <a:lnTo>
                        <a:pt x="0" y="178094"/>
                      </a:lnTo>
                      <a:lnTo>
                        <a:pt x="4354" y="191156"/>
                      </a:lnTo>
                      <a:lnTo>
                        <a:pt x="14855" y="200600"/>
                      </a:lnTo>
                      <a:lnTo>
                        <a:pt x="19945" y="209308"/>
                      </a:lnTo>
                      <a:lnTo>
                        <a:pt x="16327" y="232518"/>
                      </a:lnTo>
                      <a:lnTo>
                        <a:pt x="43891" y="235784"/>
                      </a:lnTo>
                      <a:lnTo>
                        <a:pt x="55865" y="256465"/>
                      </a:lnTo>
                      <a:lnTo>
                        <a:pt x="72544" y="266966"/>
                      </a:lnTo>
                      <a:lnTo>
                        <a:pt x="69631" y="277146"/>
                      </a:lnTo>
                      <a:lnTo>
                        <a:pt x="57657" y="303974"/>
                      </a:lnTo>
                      <a:lnTo>
                        <a:pt x="62748" y="306535"/>
                      </a:lnTo>
                      <a:lnTo>
                        <a:pt x="69631" y="302181"/>
                      </a:lnTo>
                      <a:lnTo>
                        <a:pt x="80163" y="309064"/>
                      </a:lnTo>
                      <a:lnTo>
                        <a:pt x="61307" y="320301"/>
                      </a:lnTo>
                      <a:lnTo>
                        <a:pt x="62748" y="325391"/>
                      </a:lnTo>
                      <a:lnTo>
                        <a:pt x="71455" y="328657"/>
                      </a:lnTo>
                      <a:lnTo>
                        <a:pt x="64572" y="343511"/>
                      </a:lnTo>
                      <a:lnTo>
                        <a:pt x="109552" y="330450"/>
                      </a:lnTo>
                      <a:lnTo>
                        <a:pt x="119701" y="334099"/>
                      </a:lnTo>
                      <a:lnTo>
                        <a:pt x="130938" y="326095"/>
                      </a:lnTo>
                      <a:lnTo>
                        <a:pt x="141118" y="324655"/>
                      </a:lnTo>
                      <a:lnTo>
                        <a:pt x="147265" y="329745"/>
                      </a:lnTo>
                      <a:lnTo>
                        <a:pt x="149826" y="332274"/>
                      </a:lnTo>
                      <a:lnTo>
                        <a:pt x="165417" y="319213"/>
                      </a:lnTo>
                      <a:lnTo>
                        <a:pt x="179919" y="327920"/>
                      </a:lnTo>
                      <a:lnTo>
                        <a:pt x="191893" y="320301"/>
                      </a:lnTo>
                      <a:lnTo>
                        <a:pt x="189363" y="314122"/>
                      </a:lnTo>
                      <a:lnTo>
                        <a:pt x="193717" y="309768"/>
                      </a:lnTo>
                      <a:lnTo>
                        <a:pt x="205691" y="303974"/>
                      </a:lnTo>
                      <a:lnTo>
                        <a:pt x="216928" y="315211"/>
                      </a:lnTo>
                      <a:lnTo>
                        <a:pt x="224547" y="296002"/>
                      </a:lnTo>
                      <a:lnTo>
                        <a:pt x="243755" y="282204"/>
                      </a:lnTo>
                      <a:lnTo>
                        <a:pt x="247021" y="282204"/>
                      </a:lnTo>
                      <a:lnTo>
                        <a:pt x="250670" y="284029"/>
                      </a:lnTo>
                      <a:lnTo>
                        <a:pt x="244492" y="290912"/>
                      </a:lnTo>
                      <a:lnTo>
                        <a:pt x="248109" y="302181"/>
                      </a:lnTo>
                      <a:lnTo>
                        <a:pt x="241963" y="313418"/>
                      </a:lnTo>
                      <a:lnTo>
                        <a:pt x="244492" y="323566"/>
                      </a:lnTo>
                      <a:lnTo>
                        <a:pt x="252111" y="322830"/>
                      </a:lnTo>
                      <a:lnTo>
                        <a:pt x="260083" y="308328"/>
                      </a:lnTo>
                      <a:lnTo>
                        <a:pt x="269527" y="306535"/>
                      </a:lnTo>
                      <a:lnTo>
                        <a:pt x="270263" y="314122"/>
                      </a:lnTo>
                      <a:lnTo>
                        <a:pt x="295266" y="300356"/>
                      </a:lnTo>
                      <a:lnTo>
                        <a:pt x="305447" y="300356"/>
                      </a:lnTo>
                      <a:lnTo>
                        <a:pt x="304710" y="313418"/>
                      </a:lnTo>
                      <a:lnTo>
                        <a:pt x="321037" y="330450"/>
                      </a:lnTo>
                      <a:lnTo>
                        <a:pt x="329745" y="337365"/>
                      </a:lnTo>
                      <a:lnTo>
                        <a:pt x="337364" y="339157"/>
                      </a:lnTo>
                      <a:lnTo>
                        <a:pt x="345336" y="334803"/>
                      </a:lnTo>
                      <a:lnTo>
                        <a:pt x="357309" y="341718"/>
                      </a:lnTo>
                      <a:lnTo>
                        <a:pt x="363104" y="337365"/>
                      </a:lnTo>
                      <a:lnTo>
                        <a:pt x="376166" y="340982"/>
                      </a:lnTo>
                      <a:lnTo>
                        <a:pt x="384873" y="350426"/>
                      </a:lnTo>
                      <a:lnTo>
                        <a:pt x="389964" y="349338"/>
                      </a:lnTo>
                      <a:lnTo>
                        <a:pt x="386698" y="343511"/>
                      </a:lnTo>
                      <a:lnTo>
                        <a:pt x="393229" y="335540"/>
                      </a:lnTo>
                      <a:lnTo>
                        <a:pt x="392493" y="327920"/>
                      </a:lnTo>
                      <a:lnTo>
                        <a:pt x="415703" y="337365"/>
                      </a:lnTo>
                      <a:lnTo>
                        <a:pt x="420793" y="301445"/>
                      </a:lnTo>
                      <a:lnTo>
                        <a:pt x="448357" y="294562"/>
                      </a:lnTo>
                      <a:lnTo>
                        <a:pt x="454536" y="303974"/>
                      </a:lnTo>
                      <a:lnTo>
                        <a:pt x="460715" y="302885"/>
                      </a:lnTo>
                      <a:lnTo>
                        <a:pt x="482837" y="290208"/>
                      </a:lnTo>
                      <a:lnTo>
                        <a:pt x="482837" y="280764"/>
                      </a:lnTo>
                      <a:lnTo>
                        <a:pt x="499164" y="281500"/>
                      </a:lnTo>
                      <a:lnTo>
                        <a:pt x="498428" y="269527"/>
                      </a:lnTo>
                      <a:lnTo>
                        <a:pt x="494074" y="268438"/>
                      </a:lnTo>
                      <a:lnTo>
                        <a:pt x="478483" y="265877"/>
                      </a:lnTo>
                      <a:lnTo>
                        <a:pt x="468302" y="270231"/>
                      </a:lnTo>
                      <a:lnTo>
                        <a:pt x="469038" y="228164"/>
                      </a:lnTo>
                      <a:lnTo>
                        <a:pt x="450182" y="210013"/>
                      </a:lnTo>
                      <a:lnTo>
                        <a:pt x="447653" y="207483"/>
                      </a:lnTo>
                      <a:lnTo>
                        <a:pt x="437121" y="194422"/>
                      </a:lnTo>
                      <a:lnTo>
                        <a:pt x="429501" y="195510"/>
                      </a:lnTo>
                      <a:lnTo>
                        <a:pt x="429501" y="159238"/>
                      </a:lnTo>
                      <a:lnTo>
                        <a:pt x="419353" y="138557"/>
                      </a:lnTo>
                      <a:lnTo>
                        <a:pt x="418264" y="123318"/>
                      </a:lnTo>
                      <a:lnTo>
                        <a:pt x="430590" y="90312"/>
                      </a:lnTo>
                      <a:lnTo>
                        <a:pt x="420793" y="65661"/>
                      </a:lnTo>
                      <a:lnTo>
                        <a:pt x="405555" y="51863"/>
                      </a:lnTo>
                      <a:lnTo>
                        <a:pt x="411349" y="15591"/>
                      </a:lnTo>
                      <a:lnTo>
                        <a:pt x="400112" y="14855"/>
                      </a:lnTo>
                      <a:lnTo>
                        <a:pt x="389227" y="6883"/>
                      </a:lnTo>
                      <a:lnTo>
                        <a:pt x="376166" y="10501"/>
                      </a:lnTo>
                      <a:lnTo>
                        <a:pt x="36745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46B7977F-8467-A682-EA26-DB8A9F3EAB27}"/>
                    </a:ext>
                  </a:extLst>
                </p:cNvPr>
                <p:cNvSpPr/>
                <p:nvPr/>
              </p:nvSpPr>
              <p:spPr>
                <a:xfrm>
                  <a:off x="3142067" y="3560515"/>
                  <a:ext cx="422618" cy="313802"/>
                </a:xfrm>
                <a:custGeom>
                  <a:avLst/>
                  <a:gdLst>
                    <a:gd name="csX0" fmla="*/ 185746 w 422618"/>
                    <a:gd name="csY0" fmla="*/ 0 h 313802"/>
                    <a:gd name="csX1" fmla="*/ 182480 w 422618"/>
                    <a:gd name="csY1" fmla="*/ 5827 h 313802"/>
                    <a:gd name="csX2" fmla="*/ 177390 w 422618"/>
                    <a:gd name="csY2" fmla="*/ 4002 h 313802"/>
                    <a:gd name="csX3" fmla="*/ 171211 w 422618"/>
                    <a:gd name="csY3" fmla="*/ 6915 h 313802"/>
                    <a:gd name="csX4" fmla="*/ 148737 w 422618"/>
                    <a:gd name="csY4" fmla="*/ 33391 h 313802"/>
                    <a:gd name="csX5" fmla="*/ 122262 w 422618"/>
                    <a:gd name="csY5" fmla="*/ 26508 h 313802"/>
                    <a:gd name="csX6" fmla="*/ 97227 w 422618"/>
                    <a:gd name="csY6" fmla="*/ 51543 h 313802"/>
                    <a:gd name="csX7" fmla="*/ 67102 w 422618"/>
                    <a:gd name="csY7" fmla="*/ 58426 h 313802"/>
                    <a:gd name="csX8" fmla="*/ 60955 w 422618"/>
                    <a:gd name="csY8" fmla="*/ 55865 h 313802"/>
                    <a:gd name="csX9" fmla="*/ 55128 w 422618"/>
                    <a:gd name="csY9" fmla="*/ 60955 h 313802"/>
                    <a:gd name="csX10" fmla="*/ 46420 w 422618"/>
                    <a:gd name="csY10" fmla="*/ 63484 h 313802"/>
                    <a:gd name="csX11" fmla="*/ 40274 w 422618"/>
                    <a:gd name="csY11" fmla="*/ 75457 h 313802"/>
                    <a:gd name="csX12" fmla="*/ 22506 w 422618"/>
                    <a:gd name="csY12" fmla="*/ 72928 h 313802"/>
                    <a:gd name="csX13" fmla="*/ 7619 w 422618"/>
                    <a:gd name="csY13" fmla="*/ 81636 h 313802"/>
                    <a:gd name="csX14" fmla="*/ 13798 w 422618"/>
                    <a:gd name="csY14" fmla="*/ 109200 h 313802"/>
                    <a:gd name="csX15" fmla="*/ 736 w 422618"/>
                    <a:gd name="csY15" fmla="*/ 117556 h 313802"/>
                    <a:gd name="csX16" fmla="*/ 0 w 422618"/>
                    <a:gd name="csY16" fmla="*/ 141118 h 313802"/>
                    <a:gd name="csX17" fmla="*/ 1825 w 422618"/>
                    <a:gd name="csY17" fmla="*/ 143679 h 313802"/>
                    <a:gd name="csX18" fmla="*/ 6179 w 422618"/>
                    <a:gd name="csY18" fmla="*/ 134972 h 313802"/>
                    <a:gd name="csX19" fmla="*/ 13798 w 422618"/>
                    <a:gd name="csY19" fmla="*/ 134972 h 313802"/>
                    <a:gd name="csX20" fmla="*/ 14502 w 422618"/>
                    <a:gd name="csY20" fmla="*/ 152003 h 313802"/>
                    <a:gd name="csX21" fmla="*/ 21417 w 422618"/>
                    <a:gd name="csY21" fmla="*/ 154564 h 313802"/>
                    <a:gd name="csX22" fmla="*/ 30125 w 422618"/>
                    <a:gd name="csY22" fmla="*/ 150562 h 313802"/>
                    <a:gd name="csX23" fmla="*/ 30830 w 422618"/>
                    <a:gd name="csY23" fmla="*/ 164328 h 313802"/>
                    <a:gd name="csX24" fmla="*/ 44628 w 422618"/>
                    <a:gd name="csY24" fmla="*/ 166889 h 313802"/>
                    <a:gd name="csX25" fmla="*/ 41362 w 422618"/>
                    <a:gd name="csY25" fmla="*/ 173773 h 313802"/>
                    <a:gd name="csX26" fmla="*/ 44628 w 422618"/>
                    <a:gd name="csY26" fmla="*/ 182128 h 313802"/>
                    <a:gd name="csX27" fmla="*/ 25771 w 422618"/>
                    <a:gd name="csY27" fmla="*/ 210781 h 313802"/>
                    <a:gd name="csX28" fmla="*/ 40274 w 422618"/>
                    <a:gd name="csY28" fmla="*/ 212221 h 313802"/>
                    <a:gd name="csX29" fmla="*/ 33391 w 422618"/>
                    <a:gd name="csY29" fmla="*/ 248493 h 313802"/>
                    <a:gd name="csX30" fmla="*/ 48982 w 422618"/>
                    <a:gd name="csY30" fmla="*/ 252847 h 313802"/>
                    <a:gd name="csX31" fmla="*/ 53335 w 422618"/>
                    <a:gd name="csY31" fmla="*/ 264821 h 313802"/>
                    <a:gd name="csX32" fmla="*/ 65309 w 422618"/>
                    <a:gd name="csY32" fmla="*/ 257938 h 313802"/>
                    <a:gd name="csX33" fmla="*/ 73280 w 422618"/>
                    <a:gd name="csY33" fmla="*/ 262291 h 313802"/>
                    <a:gd name="csX34" fmla="*/ 88519 w 422618"/>
                    <a:gd name="csY34" fmla="*/ 296739 h 313802"/>
                    <a:gd name="csX35" fmla="*/ 93961 w 422618"/>
                    <a:gd name="csY35" fmla="*/ 298563 h 313802"/>
                    <a:gd name="csX36" fmla="*/ 94698 w 422618"/>
                    <a:gd name="csY36" fmla="*/ 313802 h 313802"/>
                    <a:gd name="csX37" fmla="*/ 102317 w 422618"/>
                    <a:gd name="csY37" fmla="*/ 308712 h 313802"/>
                    <a:gd name="csX38" fmla="*/ 102317 w 422618"/>
                    <a:gd name="csY38" fmla="*/ 290592 h 313802"/>
                    <a:gd name="csX39" fmla="*/ 94698 w 422618"/>
                    <a:gd name="csY39" fmla="*/ 282973 h 313802"/>
                    <a:gd name="csX40" fmla="*/ 92873 w 422618"/>
                    <a:gd name="csY40" fmla="*/ 270999 h 313802"/>
                    <a:gd name="csX41" fmla="*/ 99756 w 422618"/>
                    <a:gd name="csY41" fmla="*/ 254672 h 313802"/>
                    <a:gd name="csX42" fmla="*/ 93961 w 422618"/>
                    <a:gd name="csY42" fmla="*/ 224579 h 313802"/>
                    <a:gd name="csX43" fmla="*/ 103406 w 422618"/>
                    <a:gd name="csY43" fmla="*/ 212221 h 313802"/>
                    <a:gd name="csX44" fmla="*/ 116083 w 422618"/>
                    <a:gd name="csY44" fmla="*/ 205338 h 313802"/>
                    <a:gd name="csX45" fmla="*/ 110993 w 422618"/>
                    <a:gd name="csY45" fmla="*/ 196983 h 313802"/>
                    <a:gd name="csX46" fmla="*/ 141118 w 422618"/>
                    <a:gd name="csY46" fmla="*/ 182128 h 313802"/>
                    <a:gd name="csX47" fmla="*/ 144736 w 422618"/>
                    <a:gd name="csY47" fmla="*/ 172684 h 313802"/>
                    <a:gd name="csX48" fmla="*/ 161063 w 422618"/>
                    <a:gd name="csY48" fmla="*/ 166889 h 313802"/>
                    <a:gd name="csX49" fmla="*/ 154180 w 422618"/>
                    <a:gd name="csY49" fmla="*/ 149474 h 313802"/>
                    <a:gd name="csX50" fmla="*/ 166153 w 422618"/>
                    <a:gd name="csY50" fmla="*/ 134972 h 313802"/>
                    <a:gd name="csX51" fmla="*/ 184273 w 422618"/>
                    <a:gd name="csY51" fmla="*/ 127352 h 313802"/>
                    <a:gd name="csX52" fmla="*/ 233255 w 422618"/>
                    <a:gd name="csY52" fmla="*/ 146208 h 313802"/>
                    <a:gd name="csX53" fmla="*/ 239433 w 422618"/>
                    <a:gd name="csY53" fmla="*/ 156357 h 313802"/>
                    <a:gd name="csX54" fmla="*/ 245228 w 422618"/>
                    <a:gd name="csY54" fmla="*/ 136764 h 313802"/>
                    <a:gd name="csX55" fmla="*/ 244492 w 422618"/>
                    <a:gd name="csY55" fmla="*/ 105583 h 313802"/>
                    <a:gd name="csX56" fmla="*/ 252847 w 422618"/>
                    <a:gd name="csY56" fmla="*/ 99756 h 313802"/>
                    <a:gd name="csX57" fmla="*/ 257201 w 422618"/>
                    <a:gd name="csY57" fmla="*/ 93609 h 313802"/>
                    <a:gd name="csX58" fmla="*/ 286590 w 422618"/>
                    <a:gd name="csY58" fmla="*/ 87430 h 313802"/>
                    <a:gd name="csX59" fmla="*/ 299652 w 422618"/>
                    <a:gd name="csY59" fmla="*/ 90344 h 313802"/>
                    <a:gd name="csX60" fmla="*/ 311625 w 422618"/>
                    <a:gd name="csY60" fmla="*/ 85990 h 313802"/>
                    <a:gd name="csX61" fmla="*/ 321037 w 422618"/>
                    <a:gd name="csY61" fmla="*/ 75457 h 313802"/>
                    <a:gd name="csX62" fmla="*/ 344248 w 422618"/>
                    <a:gd name="csY62" fmla="*/ 85990 h 313802"/>
                    <a:gd name="csX63" fmla="*/ 367490 w 422618"/>
                    <a:gd name="csY63" fmla="*/ 87430 h 313802"/>
                    <a:gd name="csX64" fmla="*/ 379463 w 422618"/>
                    <a:gd name="csY64" fmla="*/ 84901 h 313802"/>
                    <a:gd name="csX65" fmla="*/ 394318 w 422618"/>
                    <a:gd name="csY65" fmla="*/ 75457 h 313802"/>
                    <a:gd name="csX66" fmla="*/ 401201 w 422618"/>
                    <a:gd name="csY66" fmla="*/ 79811 h 313802"/>
                    <a:gd name="csX67" fmla="*/ 410645 w 422618"/>
                    <a:gd name="csY67" fmla="*/ 67134 h 313802"/>
                    <a:gd name="csX68" fmla="*/ 420089 w 422618"/>
                    <a:gd name="csY68" fmla="*/ 65309 h 313802"/>
                    <a:gd name="csX69" fmla="*/ 422618 w 422618"/>
                    <a:gd name="csY69" fmla="*/ 56601 h 313802"/>
                    <a:gd name="csX70" fmla="*/ 417528 w 422618"/>
                    <a:gd name="csY70" fmla="*/ 50454 h 313802"/>
                    <a:gd name="csX71" fmla="*/ 417528 w 422618"/>
                    <a:gd name="csY71" fmla="*/ 49718 h 313802"/>
                    <a:gd name="csX72" fmla="*/ 413910 w 422618"/>
                    <a:gd name="csY72" fmla="*/ 55865 h 313802"/>
                    <a:gd name="csX73" fmla="*/ 395758 w 422618"/>
                    <a:gd name="csY73" fmla="*/ 54072 h 313802"/>
                    <a:gd name="csX74" fmla="*/ 390700 w 422618"/>
                    <a:gd name="csY74" fmla="*/ 56601 h 313802"/>
                    <a:gd name="csX75" fmla="*/ 390700 w 422618"/>
                    <a:gd name="csY75" fmla="*/ 49718 h 313802"/>
                    <a:gd name="csX76" fmla="*/ 381256 w 422618"/>
                    <a:gd name="csY76" fmla="*/ 44628 h 313802"/>
                    <a:gd name="csX77" fmla="*/ 351163 w 422618"/>
                    <a:gd name="csY77" fmla="*/ 44628 h 313802"/>
                    <a:gd name="csX78" fmla="*/ 326128 w 422618"/>
                    <a:gd name="csY78" fmla="*/ 13446 h 313802"/>
                    <a:gd name="csX79" fmla="*/ 318508 w 422618"/>
                    <a:gd name="csY79" fmla="*/ 10180 h 313802"/>
                    <a:gd name="csX80" fmla="*/ 310537 w 422618"/>
                    <a:gd name="csY80" fmla="*/ 13446 h 313802"/>
                    <a:gd name="csX81" fmla="*/ 307976 w 422618"/>
                    <a:gd name="csY81" fmla="*/ 4002 h 313802"/>
                    <a:gd name="csX82" fmla="*/ 296002 w 422618"/>
                    <a:gd name="csY82" fmla="*/ 1473 h 313802"/>
                    <a:gd name="csX83" fmla="*/ 274617 w 422618"/>
                    <a:gd name="csY83" fmla="*/ 9444 h 313802"/>
                    <a:gd name="csX84" fmla="*/ 269527 w 422618"/>
                    <a:gd name="csY84" fmla="*/ 5090 h 313802"/>
                    <a:gd name="csX85" fmla="*/ 256465 w 422618"/>
                    <a:gd name="csY85" fmla="*/ 16327 h 313802"/>
                    <a:gd name="csX86" fmla="*/ 250318 w 422618"/>
                    <a:gd name="csY86" fmla="*/ 15239 h 313802"/>
                    <a:gd name="csX87" fmla="*/ 232518 w 422618"/>
                    <a:gd name="csY87" fmla="*/ 23242 h 313802"/>
                    <a:gd name="csX88" fmla="*/ 208220 w 422618"/>
                    <a:gd name="csY88" fmla="*/ 11973 h 313802"/>
                    <a:gd name="csX89" fmla="*/ 210045 w 422618"/>
                    <a:gd name="csY89" fmla="*/ 5827 h 313802"/>
                    <a:gd name="csX90" fmla="*/ 203866 w 422618"/>
                    <a:gd name="csY90" fmla="*/ 10885 h 313802"/>
                    <a:gd name="csX91" fmla="*/ 202425 w 422618"/>
                    <a:gd name="csY91" fmla="*/ 5827 h 313802"/>
                    <a:gd name="csX92" fmla="*/ 198071 w 422618"/>
                    <a:gd name="csY92" fmla="*/ 2561 h 313802"/>
                    <a:gd name="csX93" fmla="*/ 193717 w 422618"/>
                    <a:gd name="csY93" fmla="*/ 6915 h 313802"/>
                    <a:gd name="csX94" fmla="*/ 187539 w 422618"/>
                    <a:gd name="csY94" fmla="*/ 8356 h 313802"/>
                    <a:gd name="csX95" fmla="*/ 185746 w 422618"/>
                    <a:gd name="csY95" fmla="*/ 0 h 3138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422618" h="313802">
                      <a:moveTo>
                        <a:pt x="185746" y="0"/>
                      </a:moveTo>
                      <a:lnTo>
                        <a:pt x="182480" y="5827"/>
                      </a:lnTo>
                      <a:lnTo>
                        <a:pt x="177390" y="4002"/>
                      </a:lnTo>
                      <a:lnTo>
                        <a:pt x="171211" y="6915"/>
                      </a:lnTo>
                      <a:lnTo>
                        <a:pt x="148737" y="33391"/>
                      </a:lnTo>
                      <a:lnTo>
                        <a:pt x="122262" y="26508"/>
                      </a:lnTo>
                      <a:lnTo>
                        <a:pt x="97227" y="51543"/>
                      </a:lnTo>
                      <a:lnTo>
                        <a:pt x="67102" y="58426"/>
                      </a:lnTo>
                      <a:lnTo>
                        <a:pt x="60955" y="55865"/>
                      </a:lnTo>
                      <a:lnTo>
                        <a:pt x="55128" y="60955"/>
                      </a:lnTo>
                      <a:lnTo>
                        <a:pt x="46420" y="63484"/>
                      </a:lnTo>
                      <a:lnTo>
                        <a:pt x="40274" y="75457"/>
                      </a:lnTo>
                      <a:lnTo>
                        <a:pt x="22506" y="72928"/>
                      </a:lnTo>
                      <a:lnTo>
                        <a:pt x="7619" y="81636"/>
                      </a:lnTo>
                      <a:lnTo>
                        <a:pt x="13798" y="109200"/>
                      </a:lnTo>
                      <a:lnTo>
                        <a:pt x="736" y="117556"/>
                      </a:lnTo>
                      <a:lnTo>
                        <a:pt x="0" y="141118"/>
                      </a:lnTo>
                      <a:lnTo>
                        <a:pt x="1825" y="143679"/>
                      </a:lnTo>
                      <a:lnTo>
                        <a:pt x="6179" y="134972"/>
                      </a:lnTo>
                      <a:lnTo>
                        <a:pt x="13798" y="134972"/>
                      </a:lnTo>
                      <a:lnTo>
                        <a:pt x="14502" y="152003"/>
                      </a:lnTo>
                      <a:lnTo>
                        <a:pt x="21417" y="154564"/>
                      </a:lnTo>
                      <a:lnTo>
                        <a:pt x="30125" y="150562"/>
                      </a:lnTo>
                      <a:lnTo>
                        <a:pt x="30830" y="164328"/>
                      </a:lnTo>
                      <a:lnTo>
                        <a:pt x="44628" y="166889"/>
                      </a:lnTo>
                      <a:lnTo>
                        <a:pt x="41362" y="173773"/>
                      </a:lnTo>
                      <a:lnTo>
                        <a:pt x="44628" y="182128"/>
                      </a:lnTo>
                      <a:lnTo>
                        <a:pt x="25771" y="210781"/>
                      </a:lnTo>
                      <a:lnTo>
                        <a:pt x="40274" y="212221"/>
                      </a:lnTo>
                      <a:lnTo>
                        <a:pt x="33391" y="248493"/>
                      </a:lnTo>
                      <a:lnTo>
                        <a:pt x="48982" y="252847"/>
                      </a:lnTo>
                      <a:lnTo>
                        <a:pt x="53335" y="264821"/>
                      </a:lnTo>
                      <a:lnTo>
                        <a:pt x="65309" y="257938"/>
                      </a:lnTo>
                      <a:lnTo>
                        <a:pt x="73280" y="262291"/>
                      </a:lnTo>
                      <a:lnTo>
                        <a:pt x="88519" y="296739"/>
                      </a:lnTo>
                      <a:lnTo>
                        <a:pt x="93961" y="298563"/>
                      </a:lnTo>
                      <a:lnTo>
                        <a:pt x="94698" y="313802"/>
                      </a:lnTo>
                      <a:lnTo>
                        <a:pt x="102317" y="308712"/>
                      </a:lnTo>
                      <a:lnTo>
                        <a:pt x="102317" y="290592"/>
                      </a:lnTo>
                      <a:lnTo>
                        <a:pt x="94698" y="282973"/>
                      </a:lnTo>
                      <a:lnTo>
                        <a:pt x="92873" y="270999"/>
                      </a:lnTo>
                      <a:lnTo>
                        <a:pt x="99756" y="254672"/>
                      </a:lnTo>
                      <a:lnTo>
                        <a:pt x="93961" y="224579"/>
                      </a:lnTo>
                      <a:lnTo>
                        <a:pt x="103406" y="212221"/>
                      </a:lnTo>
                      <a:lnTo>
                        <a:pt x="116083" y="205338"/>
                      </a:lnTo>
                      <a:lnTo>
                        <a:pt x="110993" y="196983"/>
                      </a:lnTo>
                      <a:lnTo>
                        <a:pt x="141118" y="182128"/>
                      </a:lnTo>
                      <a:lnTo>
                        <a:pt x="144736" y="172684"/>
                      </a:lnTo>
                      <a:lnTo>
                        <a:pt x="161063" y="166889"/>
                      </a:lnTo>
                      <a:lnTo>
                        <a:pt x="154180" y="149474"/>
                      </a:lnTo>
                      <a:lnTo>
                        <a:pt x="166153" y="134972"/>
                      </a:lnTo>
                      <a:lnTo>
                        <a:pt x="184273" y="127352"/>
                      </a:lnTo>
                      <a:lnTo>
                        <a:pt x="233255" y="146208"/>
                      </a:lnTo>
                      <a:lnTo>
                        <a:pt x="239433" y="156357"/>
                      </a:lnTo>
                      <a:lnTo>
                        <a:pt x="245228" y="136764"/>
                      </a:lnTo>
                      <a:lnTo>
                        <a:pt x="244492" y="105583"/>
                      </a:lnTo>
                      <a:lnTo>
                        <a:pt x="252847" y="99756"/>
                      </a:lnTo>
                      <a:lnTo>
                        <a:pt x="257201" y="93609"/>
                      </a:lnTo>
                      <a:lnTo>
                        <a:pt x="286590" y="87430"/>
                      </a:lnTo>
                      <a:lnTo>
                        <a:pt x="299652" y="90344"/>
                      </a:lnTo>
                      <a:lnTo>
                        <a:pt x="311625" y="85990"/>
                      </a:lnTo>
                      <a:lnTo>
                        <a:pt x="321037" y="75457"/>
                      </a:lnTo>
                      <a:lnTo>
                        <a:pt x="344248" y="85990"/>
                      </a:lnTo>
                      <a:lnTo>
                        <a:pt x="367490" y="87430"/>
                      </a:lnTo>
                      <a:lnTo>
                        <a:pt x="379463" y="84901"/>
                      </a:lnTo>
                      <a:lnTo>
                        <a:pt x="394318" y="75457"/>
                      </a:lnTo>
                      <a:lnTo>
                        <a:pt x="401201" y="79811"/>
                      </a:lnTo>
                      <a:lnTo>
                        <a:pt x="410645" y="67134"/>
                      </a:lnTo>
                      <a:lnTo>
                        <a:pt x="420089" y="65309"/>
                      </a:lnTo>
                      <a:lnTo>
                        <a:pt x="422618" y="56601"/>
                      </a:lnTo>
                      <a:lnTo>
                        <a:pt x="417528" y="50454"/>
                      </a:lnTo>
                      <a:lnTo>
                        <a:pt x="417528" y="49718"/>
                      </a:lnTo>
                      <a:lnTo>
                        <a:pt x="413910" y="55865"/>
                      </a:lnTo>
                      <a:lnTo>
                        <a:pt x="395758" y="54072"/>
                      </a:lnTo>
                      <a:lnTo>
                        <a:pt x="390700" y="56601"/>
                      </a:lnTo>
                      <a:lnTo>
                        <a:pt x="390700" y="49718"/>
                      </a:lnTo>
                      <a:lnTo>
                        <a:pt x="381256" y="44628"/>
                      </a:lnTo>
                      <a:lnTo>
                        <a:pt x="351163" y="44628"/>
                      </a:lnTo>
                      <a:lnTo>
                        <a:pt x="326128" y="13446"/>
                      </a:lnTo>
                      <a:lnTo>
                        <a:pt x="318508" y="10180"/>
                      </a:lnTo>
                      <a:lnTo>
                        <a:pt x="310537" y="13446"/>
                      </a:lnTo>
                      <a:lnTo>
                        <a:pt x="307976" y="4002"/>
                      </a:lnTo>
                      <a:lnTo>
                        <a:pt x="296002" y="1473"/>
                      </a:lnTo>
                      <a:lnTo>
                        <a:pt x="274617" y="9444"/>
                      </a:lnTo>
                      <a:lnTo>
                        <a:pt x="269527" y="5090"/>
                      </a:lnTo>
                      <a:lnTo>
                        <a:pt x="256465" y="16327"/>
                      </a:lnTo>
                      <a:lnTo>
                        <a:pt x="250318" y="15239"/>
                      </a:lnTo>
                      <a:lnTo>
                        <a:pt x="232518" y="23242"/>
                      </a:lnTo>
                      <a:lnTo>
                        <a:pt x="208220" y="11973"/>
                      </a:lnTo>
                      <a:lnTo>
                        <a:pt x="210045" y="5827"/>
                      </a:lnTo>
                      <a:lnTo>
                        <a:pt x="203866" y="10885"/>
                      </a:lnTo>
                      <a:lnTo>
                        <a:pt x="202425" y="5827"/>
                      </a:lnTo>
                      <a:lnTo>
                        <a:pt x="198071" y="2561"/>
                      </a:lnTo>
                      <a:lnTo>
                        <a:pt x="193717" y="6915"/>
                      </a:lnTo>
                      <a:lnTo>
                        <a:pt x="187539" y="8356"/>
                      </a:lnTo>
                      <a:lnTo>
                        <a:pt x="185746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6" name="Forma Livre: Forma 385">
                  <a:extLst>
                    <a:ext uri="{FF2B5EF4-FFF2-40B4-BE49-F238E27FC236}">
                      <a16:creationId xmlns:a16="http://schemas.microsoft.com/office/drawing/2014/main" id="{DD906726-AD6C-ED0F-CDAA-B0F46698AB3A}"/>
                    </a:ext>
                  </a:extLst>
                </p:cNvPr>
                <p:cNvSpPr/>
                <p:nvPr/>
              </p:nvSpPr>
              <p:spPr>
                <a:xfrm>
                  <a:off x="3142067" y="3560515"/>
                  <a:ext cx="422618" cy="313802"/>
                </a:xfrm>
                <a:custGeom>
                  <a:avLst/>
                  <a:gdLst>
                    <a:gd name="csX0" fmla="*/ 185746 w 422618"/>
                    <a:gd name="csY0" fmla="*/ 0 h 313802"/>
                    <a:gd name="csX1" fmla="*/ 182480 w 422618"/>
                    <a:gd name="csY1" fmla="*/ 5827 h 313802"/>
                    <a:gd name="csX2" fmla="*/ 177390 w 422618"/>
                    <a:gd name="csY2" fmla="*/ 4002 h 313802"/>
                    <a:gd name="csX3" fmla="*/ 171211 w 422618"/>
                    <a:gd name="csY3" fmla="*/ 6915 h 313802"/>
                    <a:gd name="csX4" fmla="*/ 148737 w 422618"/>
                    <a:gd name="csY4" fmla="*/ 33391 h 313802"/>
                    <a:gd name="csX5" fmla="*/ 122262 w 422618"/>
                    <a:gd name="csY5" fmla="*/ 26508 h 313802"/>
                    <a:gd name="csX6" fmla="*/ 97227 w 422618"/>
                    <a:gd name="csY6" fmla="*/ 51543 h 313802"/>
                    <a:gd name="csX7" fmla="*/ 67102 w 422618"/>
                    <a:gd name="csY7" fmla="*/ 58426 h 313802"/>
                    <a:gd name="csX8" fmla="*/ 60955 w 422618"/>
                    <a:gd name="csY8" fmla="*/ 55865 h 313802"/>
                    <a:gd name="csX9" fmla="*/ 55128 w 422618"/>
                    <a:gd name="csY9" fmla="*/ 60955 h 313802"/>
                    <a:gd name="csX10" fmla="*/ 46420 w 422618"/>
                    <a:gd name="csY10" fmla="*/ 63484 h 313802"/>
                    <a:gd name="csX11" fmla="*/ 40274 w 422618"/>
                    <a:gd name="csY11" fmla="*/ 75457 h 313802"/>
                    <a:gd name="csX12" fmla="*/ 22506 w 422618"/>
                    <a:gd name="csY12" fmla="*/ 72928 h 313802"/>
                    <a:gd name="csX13" fmla="*/ 7619 w 422618"/>
                    <a:gd name="csY13" fmla="*/ 81636 h 313802"/>
                    <a:gd name="csX14" fmla="*/ 13798 w 422618"/>
                    <a:gd name="csY14" fmla="*/ 109200 h 313802"/>
                    <a:gd name="csX15" fmla="*/ 736 w 422618"/>
                    <a:gd name="csY15" fmla="*/ 117556 h 313802"/>
                    <a:gd name="csX16" fmla="*/ 0 w 422618"/>
                    <a:gd name="csY16" fmla="*/ 141118 h 313802"/>
                    <a:gd name="csX17" fmla="*/ 1825 w 422618"/>
                    <a:gd name="csY17" fmla="*/ 143679 h 313802"/>
                    <a:gd name="csX18" fmla="*/ 6179 w 422618"/>
                    <a:gd name="csY18" fmla="*/ 134972 h 313802"/>
                    <a:gd name="csX19" fmla="*/ 13798 w 422618"/>
                    <a:gd name="csY19" fmla="*/ 134972 h 313802"/>
                    <a:gd name="csX20" fmla="*/ 14502 w 422618"/>
                    <a:gd name="csY20" fmla="*/ 152003 h 313802"/>
                    <a:gd name="csX21" fmla="*/ 21417 w 422618"/>
                    <a:gd name="csY21" fmla="*/ 154564 h 313802"/>
                    <a:gd name="csX22" fmla="*/ 30125 w 422618"/>
                    <a:gd name="csY22" fmla="*/ 150562 h 313802"/>
                    <a:gd name="csX23" fmla="*/ 30830 w 422618"/>
                    <a:gd name="csY23" fmla="*/ 164328 h 313802"/>
                    <a:gd name="csX24" fmla="*/ 44628 w 422618"/>
                    <a:gd name="csY24" fmla="*/ 166889 h 313802"/>
                    <a:gd name="csX25" fmla="*/ 41362 w 422618"/>
                    <a:gd name="csY25" fmla="*/ 173773 h 313802"/>
                    <a:gd name="csX26" fmla="*/ 44628 w 422618"/>
                    <a:gd name="csY26" fmla="*/ 182128 h 313802"/>
                    <a:gd name="csX27" fmla="*/ 25771 w 422618"/>
                    <a:gd name="csY27" fmla="*/ 210781 h 313802"/>
                    <a:gd name="csX28" fmla="*/ 40274 w 422618"/>
                    <a:gd name="csY28" fmla="*/ 212221 h 313802"/>
                    <a:gd name="csX29" fmla="*/ 33391 w 422618"/>
                    <a:gd name="csY29" fmla="*/ 248493 h 313802"/>
                    <a:gd name="csX30" fmla="*/ 48982 w 422618"/>
                    <a:gd name="csY30" fmla="*/ 252847 h 313802"/>
                    <a:gd name="csX31" fmla="*/ 53335 w 422618"/>
                    <a:gd name="csY31" fmla="*/ 264821 h 313802"/>
                    <a:gd name="csX32" fmla="*/ 65309 w 422618"/>
                    <a:gd name="csY32" fmla="*/ 257938 h 313802"/>
                    <a:gd name="csX33" fmla="*/ 73280 w 422618"/>
                    <a:gd name="csY33" fmla="*/ 262291 h 313802"/>
                    <a:gd name="csX34" fmla="*/ 88519 w 422618"/>
                    <a:gd name="csY34" fmla="*/ 296739 h 313802"/>
                    <a:gd name="csX35" fmla="*/ 93961 w 422618"/>
                    <a:gd name="csY35" fmla="*/ 298563 h 313802"/>
                    <a:gd name="csX36" fmla="*/ 94698 w 422618"/>
                    <a:gd name="csY36" fmla="*/ 313802 h 313802"/>
                    <a:gd name="csX37" fmla="*/ 102317 w 422618"/>
                    <a:gd name="csY37" fmla="*/ 308712 h 313802"/>
                    <a:gd name="csX38" fmla="*/ 102317 w 422618"/>
                    <a:gd name="csY38" fmla="*/ 290592 h 313802"/>
                    <a:gd name="csX39" fmla="*/ 94698 w 422618"/>
                    <a:gd name="csY39" fmla="*/ 282973 h 313802"/>
                    <a:gd name="csX40" fmla="*/ 92873 w 422618"/>
                    <a:gd name="csY40" fmla="*/ 270999 h 313802"/>
                    <a:gd name="csX41" fmla="*/ 99756 w 422618"/>
                    <a:gd name="csY41" fmla="*/ 254672 h 313802"/>
                    <a:gd name="csX42" fmla="*/ 93961 w 422618"/>
                    <a:gd name="csY42" fmla="*/ 224579 h 313802"/>
                    <a:gd name="csX43" fmla="*/ 103406 w 422618"/>
                    <a:gd name="csY43" fmla="*/ 212221 h 313802"/>
                    <a:gd name="csX44" fmla="*/ 116083 w 422618"/>
                    <a:gd name="csY44" fmla="*/ 205338 h 313802"/>
                    <a:gd name="csX45" fmla="*/ 110993 w 422618"/>
                    <a:gd name="csY45" fmla="*/ 196983 h 313802"/>
                    <a:gd name="csX46" fmla="*/ 141118 w 422618"/>
                    <a:gd name="csY46" fmla="*/ 182128 h 313802"/>
                    <a:gd name="csX47" fmla="*/ 144736 w 422618"/>
                    <a:gd name="csY47" fmla="*/ 172684 h 313802"/>
                    <a:gd name="csX48" fmla="*/ 161063 w 422618"/>
                    <a:gd name="csY48" fmla="*/ 166889 h 313802"/>
                    <a:gd name="csX49" fmla="*/ 154180 w 422618"/>
                    <a:gd name="csY49" fmla="*/ 149474 h 313802"/>
                    <a:gd name="csX50" fmla="*/ 166153 w 422618"/>
                    <a:gd name="csY50" fmla="*/ 134972 h 313802"/>
                    <a:gd name="csX51" fmla="*/ 184273 w 422618"/>
                    <a:gd name="csY51" fmla="*/ 127352 h 313802"/>
                    <a:gd name="csX52" fmla="*/ 233255 w 422618"/>
                    <a:gd name="csY52" fmla="*/ 146208 h 313802"/>
                    <a:gd name="csX53" fmla="*/ 239433 w 422618"/>
                    <a:gd name="csY53" fmla="*/ 156357 h 313802"/>
                    <a:gd name="csX54" fmla="*/ 245228 w 422618"/>
                    <a:gd name="csY54" fmla="*/ 136764 h 313802"/>
                    <a:gd name="csX55" fmla="*/ 244492 w 422618"/>
                    <a:gd name="csY55" fmla="*/ 105583 h 313802"/>
                    <a:gd name="csX56" fmla="*/ 252847 w 422618"/>
                    <a:gd name="csY56" fmla="*/ 99756 h 313802"/>
                    <a:gd name="csX57" fmla="*/ 257201 w 422618"/>
                    <a:gd name="csY57" fmla="*/ 93609 h 313802"/>
                    <a:gd name="csX58" fmla="*/ 286590 w 422618"/>
                    <a:gd name="csY58" fmla="*/ 87430 h 313802"/>
                    <a:gd name="csX59" fmla="*/ 299652 w 422618"/>
                    <a:gd name="csY59" fmla="*/ 90344 h 313802"/>
                    <a:gd name="csX60" fmla="*/ 311625 w 422618"/>
                    <a:gd name="csY60" fmla="*/ 85990 h 313802"/>
                    <a:gd name="csX61" fmla="*/ 321037 w 422618"/>
                    <a:gd name="csY61" fmla="*/ 75457 h 313802"/>
                    <a:gd name="csX62" fmla="*/ 344248 w 422618"/>
                    <a:gd name="csY62" fmla="*/ 85990 h 313802"/>
                    <a:gd name="csX63" fmla="*/ 367490 w 422618"/>
                    <a:gd name="csY63" fmla="*/ 87430 h 313802"/>
                    <a:gd name="csX64" fmla="*/ 379463 w 422618"/>
                    <a:gd name="csY64" fmla="*/ 84901 h 313802"/>
                    <a:gd name="csX65" fmla="*/ 394318 w 422618"/>
                    <a:gd name="csY65" fmla="*/ 75457 h 313802"/>
                    <a:gd name="csX66" fmla="*/ 401201 w 422618"/>
                    <a:gd name="csY66" fmla="*/ 79811 h 313802"/>
                    <a:gd name="csX67" fmla="*/ 410645 w 422618"/>
                    <a:gd name="csY67" fmla="*/ 67134 h 313802"/>
                    <a:gd name="csX68" fmla="*/ 420089 w 422618"/>
                    <a:gd name="csY68" fmla="*/ 65309 h 313802"/>
                    <a:gd name="csX69" fmla="*/ 422618 w 422618"/>
                    <a:gd name="csY69" fmla="*/ 56601 h 313802"/>
                    <a:gd name="csX70" fmla="*/ 417528 w 422618"/>
                    <a:gd name="csY70" fmla="*/ 50454 h 313802"/>
                    <a:gd name="csX71" fmla="*/ 417528 w 422618"/>
                    <a:gd name="csY71" fmla="*/ 49718 h 313802"/>
                    <a:gd name="csX72" fmla="*/ 413910 w 422618"/>
                    <a:gd name="csY72" fmla="*/ 55865 h 313802"/>
                    <a:gd name="csX73" fmla="*/ 395758 w 422618"/>
                    <a:gd name="csY73" fmla="*/ 54072 h 313802"/>
                    <a:gd name="csX74" fmla="*/ 390700 w 422618"/>
                    <a:gd name="csY74" fmla="*/ 56601 h 313802"/>
                    <a:gd name="csX75" fmla="*/ 390700 w 422618"/>
                    <a:gd name="csY75" fmla="*/ 49718 h 313802"/>
                    <a:gd name="csX76" fmla="*/ 381256 w 422618"/>
                    <a:gd name="csY76" fmla="*/ 44628 h 313802"/>
                    <a:gd name="csX77" fmla="*/ 351163 w 422618"/>
                    <a:gd name="csY77" fmla="*/ 44628 h 313802"/>
                    <a:gd name="csX78" fmla="*/ 326128 w 422618"/>
                    <a:gd name="csY78" fmla="*/ 13446 h 313802"/>
                    <a:gd name="csX79" fmla="*/ 318508 w 422618"/>
                    <a:gd name="csY79" fmla="*/ 10180 h 313802"/>
                    <a:gd name="csX80" fmla="*/ 310537 w 422618"/>
                    <a:gd name="csY80" fmla="*/ 13446 h 313802"/>
                    <a:gd name="csX81" fmla="*/ 307976 w 422618"/>
                    <a:gd name="csY81" fmla="*/ 4002 h 313802"/>
                    <a:gd name="csX82" fmla="*/ 296002 w 422618"/>
                    <a:gd name="csY82" fmla="*/ 1473 h 313802"/>
                    <a:gd name="csX83" fmla="*/ 274617 w 422618"/>
                    <a:gd name="csY83" fmla="*/ 9444 h 313802"/>
                    <a:gd name="csX84" fmla="*/ 269527 w 422618"/>
                    <a:gd name="csY84" fmla="*/ 5090 h 313802"/>
                    <a:gd name="csX85" fmla="*/ 256465 w 422618"/>
                    <a:gd name="csY85" fmla="*/ 16327 h 313802"/>
                    <a:gd name="csX86" fmla="*/ 250318 w 422618"/>
                    <a:gd name="csY86" fmla="*/ 15239 h 313802"/>
                    <a:gd name="csX87" fmla="*/ 232518 w 422618"/>
                    <a:gd name="csY87" fmla="*/ 23242 h 313802"/>
                    <a:gd name="csX88" fmla="*/ 208220 w 422618"/>
                    <a:gd name="csY88" fmla="*/ 11973 h 313802"/>
                    <a:gd name="csX89" fmla="*/ 210045 w 422618"/>
                    <a:gd name="csY89" fmla="*/ 5827 h 313802"/>
                    <a:gd name="csX90" fmla="*/ 203866 w 422618"/>
                    <a:gd name="csY90" fmla="*/ 10885 h 313802"/>
                    <a:gd name="csX91" fmla="*/ 202425 w 422618"/>
                    <a:gd name="csY91" fmla="*/ 5827 h 313802"/>
                    <a:gd name="csX92" fmla="*/ 198071 w 422618"/>
                    <a:gd name="csY92" fmla="*/ 2561 h 313802"/>
                    <a:gd name="csX93" fmla="*/ 193717 w 422618"/>
                    <a:gd name="csY93" fmla="*/ 6915 h 313802"/>
                    <a:gd name="csX94" fmla="*/ 187539 w 422618"/>
                    <a:gd name="csY94" fmla="*/ 8356 h 313802"/>
                    <a:gd name="csX95" fmla="*/ 185746 w 422618"/>
                    <a:gd name="csY95" fmla="*/ 0 h 3138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422618" h="313802">
                      <a:moveTo>
                        <a:pt x="185746" y="0"/>
                      </a:moveTo>
                      <a:lnTo>
                        <a:pt x="182480" y="5827"/>
                      </a:lnTo>
                      <a:lnTo>
                        <a:pt x="177390" y="4002"/>
                      </a:lnTo>
                      <a:lnTo>
                        <a:pt x="171211" y="6915"/>
                      </a:lnTo>
                      <a:lnTo>
                        <a:pt x="148737" y="33391"/>
                      </a:lnTo>
                      <a:lnTo>
                        <a:pt x="122262" y="26508"/>
                      </a:lnTo>
                      <a:lnTo>
                        <a:pt x="97227" y="51543"/>
                      </a:lnTo>
                      <a:lnTo>
                        <a:pt x="67102" y="58426"/>
                      </a:lnTo>
                      <a:lnTo>
                        <a:pt x="60955" y="55865"/>
                      </a:lnTo>
                      <a:lnTo>
                        <a:pt x="55128" y="60955"/>
                      </a:lnTo>
                      <a:lnTo>
                        <a:pt x="46420" y="63484"/>
                      </a:lnTo>
                      <a:lnTo>
                        <a:pt x="40274" y="75457"/>
                      </a:lnTo>
                      <a:lnTo>
                        <a:pt x="22506" y="72928"/>
                      </a:lnTo>
                      <a:lnTo>
                        <a:pt x="7619" y="81636"/>
                      </a:lnTo>
                      <a:lnTo>
                        <a:pt x="13798" y="109200"/>
                      </a:lnTo>
                      <a:lnTo>
                        <a:pt x="736" y="117556"/>
                      </a:lnTo>
                      <a:lnTo>
                        <a:pt x="0" y="141118"/>
                      </a:lnTo>
                      <a:lnTo>
                        <a:pt x="1825" y="143679"/>
                      </a:lnTo>
                      <a:lnTo>
                        <a:pt x="6179" y="134972"/>
                      </a:lnTo>
                      <a:lnTo>
                        <a:pt x="13798" y="134972"/>
                      </a:lnTo>
                      <a:lnTo>
                        <a:pt x="14502" y="152003"/>
                      </a:lnTo>
                      <a:lnTo>
                        <a:pt x="21417" y="154564"/>
                      </a:lnTo>
                      <a:lnTo>
                        <a:pt x="30125" y="150562"/>
                      </a:lnTo>
                      <a:lnTo>
                        <a:pt x="30830" y="164328"/>
                      </a:lnTo>
                      <a:lnTo>
                        <a:pt x="44628" y="166889"/>
                      </a:lnTo>
                      <a:lnTo>
                        <a:pt x="41362" y="173773"/>
                      </a:lnTo>
                      <a:lnTo>
                        <a:pt x="44628" y="182128"/>
                      </a:lnTo>
                      <a:lnTo>
                        <a:pt x="25771" y="210781"/>
                      </a:lnTo>
                      <a:lnTo>
                        <a:pt x="40274" y="212221"/>
                      </a:lnTo>
                      <a:lnTo>
                        <a:pt x="33391" y="248493"/>
                      </a:lnTo>
                      <a:lnTo>
                        <a:pt x="48982" y="252847"/>
                      </a:lnTo>
                      <a:lnTo>
                        <a:pt x="53335" y="264821"/>
                      </a:lnTo>
                      <a:lnTo>
                        <a:pt x="65309" y="257938"/>
                      </a:lnTo>
                      <a:lnTo>
                        <a:pt x="73280" y="262291"/>
                      </a:lnTo>
                      <a:lnTo>
                        <a:pt x="88519" y="296739"/>
                      </a:lnTo>
                      <a:lnTo>
                        <a:pt x="93961" y="298563"/>
                      </a:lnTo>
                      <a:lnTo>
                        <a:pt x="94698" y="313802"/>
                      </a:lnTo>
                      <a:lnTo>
                        <a:pt x="102317" y="308712"/>
                      </a:lnTo>
                      <a:lnTo>
                        <a:pt x="102317" y="290592"/>
                      </a:lnTo>
                      <a:lnTo>
                        <a:pt x="94698" y="282973"/>
                      </a:lnTo>
                      <a:lnTo>
                        <a:pt x="92873" y="270999"/>
                      </a:lnTo>
                      <a:lnTo>
                        <a:pt x="99756" y="254672"/>
                      </a:lnTo>
                      <a:lnTo>
                        <a:pt x="93961" y="224579"/>
                      </a:lnTo>
                      <a:lnTo>
                        <a:pt x="103406" y="212221"/>
                      </a:lnTo>
                      <a:lnTo>
                        <a:pt x="116083" y="205338"/>
                      </a:lnTo>
                      <a:lnTo>
                        <a:pt x="110993" y="196983"/>
                      </a:lnTo>
                      <a:lnTo>
                        <a:pt x="141118" y="182128"/>
                      </a:lnTo>
                      <a:lnTo>
                        <a:pt x="144736" y="172684"/>
                      </a:lnTo>
                      <a:lnTo>
                        <a:pt x="161063" y="166889"/>
                      </a:lnTo>
                      <a:lnTo>
                        <a:pt x="154180" y="149474"/>
                      </a:lnTo>
                      <a:lnTo>
                        <a:pt x="166153" y="134972"/>
                      </a:lnTo>
                      <a:lnTo>
                        <a:pt x="184273" y="127352"/>
                      </a:lnTo>
                      <a:lnTo>
                        <a:pt x="233255" y="146208"/>
                      </a:lnTo>
                      <a:lnTo>
                        <a:pt x="239433" y="156357"/>
                      </a:lnTo>
                      <a:lnTo>
                        <a:pt x="245228" y="136764"/>
                      </a:lnTo>
                      <a:lnTo>
                        <a:pt x="244492" y="105583"/>
                      </a:lnTo>
                      <a:lnTo>
                        <a:pt x="252847" y="99756"/>
                      </a:lnTo>
                      <a:lnTo>
                        <a:pt x="257201" y="93609"/>
                      </a:lnTo>
                      <a:lnTo>
                        <a:pt x="286590" y="87430"/>
                      </a:lnTo>
                      <a:lnTo>
                        <a:pt x="299652" y="90344"/>
                      </a:lnTo>
                      <a:lnTo>
                        <a:pt x="311625" y="85990"/>
                      </a:lnTo>
                      <a:lnTo>
                        <a:pt x="321037" y="75457"/>
                      </a:lnTo>
                      <a:lnTo>
                        <a:pt x="344248" y="85990"/>
                      </a:lnTo>
                      <a:lnTo>
                        <a:pt x="367490" y="87430"/>
                      </a:lnTo>
                      <a:lnTo>
                        <a:pt x="379463" y="84901"/>
                      </a:lnTo>
                      <a:lnTo>
                        <a:pt x="394318" y="75457"/>
                      </a:lnTo>
                      <a:lnTo>
                        <a:pt x="401201" y="79811"/>
                      </a:lnTo>
                      <a:lnTo>
                        <a:pt x="410645" y="67134"/>
                      </a:lnTo>
                      <a:lnTo>
                        <a:pt x="420089" y="65309"/>
                      </a:lnTo>
                      <a:lnTo>
                        <a:pt x="422618" y="56601"/>
                      </a:lnTo>
                      <a:lnTo>
                        <a:pt x="417528" y="50454"/>
                      </a:lnTo>
                      <a:lnTo>
                        <a:pt x="417528" y="49718"/>
                      </a:lnTo>
                      <a:lnTo>
                        <a:pt x="413910" y="55865"/>
                      </a:lnTo>
                      <a:lnTo>
                        <a:pt x="395758" y="54072"/>
                      </a:lnTo>
                      <a:lnTo>
                        <a:pt x="390700" y="56601"/>
                      </a:lnTo>
                      <a:lnTo>
                        <a:pt x="390700" y="49718"/>
                      </a:lnTo>
                      <a:lnTo>
                        <a:pt x="381256" y="44628"/>
                      </a:lnTo>
                      <a:lnTo>
                        <a:pt x="351163" y="44628"/>
                      </a:lnTo>
                      <a:lnTo>
                        <a:pt x="326128" y="13446"/>
                      </a:lnTo>
                      <a:lnTo>
                        <a:pt x="318508" y="10180"/>
                      </a:lnTo>
                      <a:lnTo>
                        <a:pt x="310537" y="13446"/>
                      </a:lnTo>
                      <a:lnTo>
                        <a:pt x="307976" y="4002"/>
                      </a:lnTo>
                      <a:lnTo>
                        <a:pt x="296002" y="1473"/>
                      </a:lnTo>
                      <a:lnTo>
                        <a:pt x="274617" y="9444"/>
                      </a:lnTo>
                      <a:lnTo>
                        <a:pt x="269527" y="5090"/>
                      </a:lnTo>
                      <a:lnTo>
                        <a:pt x="256465" y="16327"/>
                      </a:lnTo>
                      <a:lnTo>
                        <a:pt x="250318" y="15239"/>
                      </a:lnTo>
                      <a:lnTo>
                        <a:pt x="232518" y="23242"/>
                      </a:lnTo>
                      <a:lnTo>
                        <a:pt x="208220" y="11973"/>
                      </a:lnTo>
                      <a:lnTo>
                        <a:pt x="210045" y="5827"/>
                      </a:lnTo>
                      <a:lnTo>
                        <a:pt x="203866" y="10885"/>
                      </a:lnTo>
                      <a:lnTo>
                        <a:pt x="202425" y="5827"/>
                      </a:lnTo>
                      <a:lnTo>
                        <a:pt x="198071" y="2561"/>
                      </a:lnTo>
                      <a:lnTo>
                        <a:pt x="193717" y="6915"/>
                      </a:lnTo>
                      <a:lnTo>
                        <a:pt x="187539" y="8356"/>
                      </a:lnTo>
                      <a:lnTo>
                        <a:pt x="185746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7" name="Forma Livre: Forma 386">
                  <a:extLst>
                    <a:ext uri="{FF2B5EF4-FFF2-40B4-BE49-F238E27FC236}">
                      <a16:creationId xmlns:a16="http://schemas.microsoft.com/office/drawing/2014/main" id="{F82312A7-5350-FF18-3D5B-38978117C919}"/>
                    </a:ext>
                  </a:extLst>
                </p:cNvPr>
                <p:cNvSpPr/>
                <p:nvPr/>
              </p:nvSpPr>
              <p:spPr>
                <a:xfrm>
                  <a:off x="3142067" y="3560515"/>
                  <a:ext cx="422618" cy="313802"/>
                </a:xfrm>
                <a:custGeom>
                  <a:avLst/>
                  <a:gdLst>
                    <a:gd name="csX0" fmla="*/ 185746 w 422618"/>
                    <a:gd name="csY0" fmla="*/ 0 h 313802"/>
                    <a:gd name="csX1" fmla="*/ 182480 w 422618"/>
                    <a:gd name="csY1" fmla="*/ 5827 h 313802"/>
                    <a:gd name="csX2" fmla="*/ 177390 w 422618"/>
                    <a:gd name="csY2" fmla="*/ 4002 h 313802"/>
                    <a:gd name="csX3" fmla="*/ 171211 w 422618"/>
                    <a:gd name="csY3" fmla="*/ 6915 h 313802"/>
                    <a:gd name="csX4" fmla="*/ 148737 w 422618"/>
                    <a:gd name="csY4" fmla="*/ 33391 h 313802"/>
                    <a:gd name="csX5" fmla="*/ 122262 w 422618"/>
                    <a:gd name="csY5" fmla="*/ 26508 h 313802"/>
                    <a:gd name="csX6" fmla="*/ 97227 w 422618"/>
                    <a:gd name="csY6" fmla="*/ 51543 h 313802"/>
                    <a:gd name="csX7" fmla="*/ 67102 w 422618"/>
                    <a:gd name="csY7" fmla="*/ 58426 h 313802"/>
                    <a:gd name="csX8" fmla="*/ 60955 w 422618"/>
                    <a:gd name="csY8" fmla="*/ 55865 h 313802"/>
                    <a:gd name="csX9" fmla="*/ 55128 w 422618"/>
                    <a:gd name="csY9" fmla="*/ 60955 h 313802"/>
                    <a:gd name="csX10" fmla="*/ 46420 w 422618"/>
                    <a:gd name="csY10" fmla="*/ 63484 h 313802"/>
                    <a:gd name="csX11" fmla="*/ 40274 w 422618"/>
                    <a:gd name="csY11" fmla="*/ 75457 h 313802"/>
                    <a:gd name="csX12" fmla="*/ 22506 w 422618"/>
                    <a:gd name="csY12" fmla="*/ 72928 h 313802"/>
                    <a:gd name="csX13" fmla="*/ 7619 w 422618"/>
                    <a:gd name="csY13" fmla="*/ 81636 h 313802"/>
                    <a:gd name="csX14" fmla="*/ 13798 w 422618"/>
                    <a:gd name="csY14" fmla="*/ 109200 h 313802"/>
                    <a:gd name="csX15" fmla="*/ 736 w 422618"/>
                    <a:gd name="csY15" fmla="*/ 117556 h 313802"/>
                    <a:gd name="csX16" fmla="*/ 0 w 422618"/>
                    <a:gd name="csY16" fmla="*/ 141118 h 313802"/>
                    <a:gd name="csX17" fmla="*/ 1825 w 422618"/>
                    <a:gd name="csY17" fmla="*/ 143679 h 313802"/>
                    <a:gd name="csX18" fmla="*/ 6179 w 422618"/>
                    <a:gd name="csY18" fmla="*/ 134972 h 313802"/>
                    <a:gd name="csX19" fmla="*/ 13798 w 422618"/>
                    <a:gd name="csY19" fmla="*/ 134972 h 313802"/>
                    <a:gd name="csX20" fmla="*/ 14502 w 422618"/>
                    <a:gd name="csY20" fmla="*/ 152003 h 313802"/>
                    <a:gd name="csX21" fmla="*/ 21417 w 422618"/>
                    <a:gd name="csY21" fmla="*/ 154564 h 313802"/>
                    <a:gd name="csX22" fmla="*/ 30125 w 422618"/>
                    <a:gd name="csY22" fmla="*/ 150562 h 313802"/>
                    <a:gd name="csX23" fmla="*/ 30830 w 422618"/>
                    <a:gd name="csY23" fmla="*/ 164328 h 313802"/>
                    <a:gd name="csX24" fmla="*/ 44628 w 422618"/>
                    <a:gd name="csY24" fmla="*/ 166889 h 313802"/>
                    <a:gd name="csX25" fmla="*/ 41362 w 422618"/>
                    <a:gd name="csY25" fmla="*/ 173773 h 313802"/>
                    <a:gd name="csX26" fmla="*/ 44628 w 422618"/>
                    <a:gd name="csY26" fmla="*/ 182128 h 313802"/>
                    <a:gd name="csX27" fmla="*/ 25771 w 422618"/>
                    <a:gd name="csY27" fmla="*/ 210781 h 313802"/>
                    <a:gd name="csX28" fmla="*/ 40274 w 422618"/>
                    <a:gd name="csY28" fmla="*/ 212221 h 313802"/>
                    <a:gd name="csX29" fmla="*/ 33391 w 422618"/>
                    <a:gd name="csY29" fmla="*/ 248493 h 313802"/>
                    <a:gd name="csX30" fmla="*/ 48982 w 422618"/>
                    <a:gd name="csY30" fmla="*/ 252847 h 313802"/>
                    <a:gd name="csX31" fmla="*/ 53335 w 422618"/>
                    <a:gd name="csY31" fmla="*/ 264821 h 313802"/>
                    <a:gd name="csX32" fmla="*/ 65309 w 422618"/>
                    <a:gd name="csY32" fmla="*/ 257938 h 313802"/>
                    <a:gd name="csX33" fmla="*/ 73280 w 422618"/>
                    <a:gd name="csY33" fmla="*/ 262291 h 313802"/>
                    <a:gd name="csX34" fmla="*/ 88519 w 422618"/>
                    <a:gd name="csY34" fmla="*/ 296739 h 313802"/>
                    <a:gd name="csX35" fmla="*/ 93961 w 422618"/>
                    <a:gd name="csY35" fmla="*/ 298563 h 313802"/>
                    <a:gd name="csX36" fmla="*/ 94698 w 422618"/>
                    <a:gd name="csY36" fmla="*/ 313802 h 313802"/>
                    <a:gd name="csX37" fmla="*/ 102317 w 422618"/>
                    <a:gd name="csY37" fmla="*/ 308712 h 313802"/>
                    <a:gd name="csX38" fmla="*/ 102317 w 422618"/>
                    <a:gd name="csY38" fmla="*/ 290592 h 313802"/>
                    <a:gd name="csX39" fmla="*/ 94698 w 422618"/>
                    <a:gd name="csY39" fmla="*/ 282973 h 313802"/>
                    <a:gd name="csX40" fmla="*/ 92873 w 422618"/>
                    <a:gd name="csY40" fmla="*/ 270999 h 313802"/>
                    <a:gd name="csX41" fmla="*/ 99756 w 422618"/>
                    <a:gd name="csY41" fmla="*/ 254672 h 313802"/>
                    <a:gd name="csX42" fmla="*/ 93961 w 422618"/>
                    <a:gd name="csY42" fmla="*/ 224579 h 313802"/>
                    <a:gd name="csX43" fmla="*/ 103406 w 422618"/>
                    <a:gd name="csY43" fmla="*/ 212221 h 313802"/>
                    <a:gd name="csX44" fmla="*/ 116083 w 422618"/>
                    <a:gd name="csY44" fmla="*/ 205338 h 313802"/>
                    <a:gd name="csX45" fmla="*/ 110993 w 422618"/>
                    <a:gd name="csY45" fmla="*/ 196983 h 313802"/>
                    <a:gd name="csX46" fmla="*/ 141118 w 422618"/>
                    <a:gd name="csY46" fmla="*/ 182128 h 313802"/>
                    <a:gd name="csX47" fmla="*/ 144736 w 422618"/>
                    <a:gd name="csY47" fmla="*/ 172684 h 313802"/>
                    <a:gd name="csX48" fmla="*/ 161063 w 422618"/>
                    <a:gd name="csY48" fmla="*/ 166889 h 313802"/>
                    <a:gd name="csX49" fmla="*/ 154180 w 422618"/>
                    <a:gd name="csY49" fmla="*/ 149474 h 313802"/>
                    <a:gd name="csX50" fmla="*/ 166153 w 422618"/>
                    <a:gd name="csY50" fmla="*/ 134972 h 313802"/>
                    <a:gd name="csX51" fmla="*/ 184273 w 422618"/>
                    <a:gd name="csY51" fmla="*/ 127352 h 313802"/>
                    <a:gd name="csX52" fmla="*/ 233255 w 422618"/>
                    <a:gd name="csY52" fmla="*/ 146208 h 313802"/>
                    <a:gd name="csX53" fmla="*/ 239433 w 422618"/>
                    <a:gd name="csY53" fmla="*/ 156357 h 313802"/>
                    <a:gd name="csX54" fmla="*/ 245228 w 422618"/>
                    <a:gd name="csY54" fmla="*/ 136764 h 313802"/>
                    <a:gd name="csX55" fmla="*/ 244492 w 422618"/>
                    <a:gd name="csY55" fmla="*/ 105583 h 313802"/>
                    <a:gd name="csX56" fmla="*/ 252847 w 422618"/>
                    <a:gd name="csY56" fmla="*/ 99756 h 313802"/>
                    <a:gd name="csX57" fmla="*/ 257201 w 422618"/>
                    <a:gd name="csY57" fmla="*/ 93609 h 313802"/>
                    <a:gd name="csX58" fmla="*/ 286590 w 422618"/>
                    <a:gd name="csY58" fmla="*/ 87430 h 313802"/>
                    <a:gd name="csX59" fmla="*/ 299652 w 422618"/>
                    <a:gd name="csY59" fmla="*/ 90344 h 313802"/>
                    <a:gd name="csX60" fmla="*/ 311625 w 422618"/>
                    <a:gd name="csY60" fmla="*/ 85990 h 313802"/>
                    <a:gd name="csX61" fmla="*/ 321037 w 422618"/>
                    <a:gd name="csY61" fmla="*/ 75457 h 313802"/>
                    <a:gd name="csX62" fmla="*/ 344248 w 422618"/>
                    <a:gd name="csY62" fmla="*/ 85990 h 313802"/>
                    <a:gd name="csX63" fmla="*/ 367490 w 422618"/>
                    <a:gd name="csY63" fmla="*/ 87430 h 313802"/>
                    <a:gd name="csX64" fmla="*/ 379463 w 422618"/>
                    <a:gd name="csY64" fmla="*/ 84901 h 313802"/>
                    <a:gd name="csX65" fmla="*/ 394318 w 422618"/>
                    <a:gd name="csY65" fmla="*/ 75457 h 313802"/>
                    <a:gd name="csX66" fmla="*/ 401201 w 422618"/>
                    <a:gd name="csY66" fmla="*/ 79811 h 313802"/>
                    <a:gd name="csX67" fmla="*/ 410645 w 422618"/>
                    <a:gd name="csY67" fmla="*/ 67134 h 313802"/>
                    <a:gd name="csX68" fmla="*/ 420089 w 422618"/>
                    <a:gd name="csY68" fmla="*/ 65309 h 313802"/>
                    <a:gd name="csX69" fmla="*/ 422618 w 422618"/>
                    <a:gd name="csY69" fmla="*/ 56601 h 313802"/>
                    <a:gd name="csX70" fmla="*/ 417528 w 422618"/>
                    <a:gd name="csY70" fmla="*/ 50454 h 313802"/>
                    <a:gd name="csX71" fmla="*/ 417528 w 422618"/>
                    <a:gd name="csY71" fmla="*/ 49718 h 313802"/>
                    <a:gd name="csX72" fmla="*/ 413910 w 422618"/>
                    <a:gd name="csY72" fmla="*/ 55865 h 313802"/>
                    <a:gd name="csX73" fmla="*/ 395758 w 422618"/>
                    <a:gd name="csY73" fmla="*/ 54072 h 313802"/>
                    <a:gd name="csX74" fmla="*/ 390700 w 422618"/>
                    <a:gd name="csY74" fmla="*/ 56601 h 313802"/>
                    <a:gd name="csX75" fmla="*/ 390700 w 422618"/>
                    <a:gd name="csY75" fmla="*/ 49718 h 313802"/>
                    <a:gd name="csX76" fmla="*/ 381256 w 422618"/>
                    <a:gd name="csY76" fmla="*/ 44628 h 313802"/>
                    <a:gd name="csX77" fmla="*/ 351163 w 422618"/>
                    <a:gd name="csY77" fmla="*/ 44628 h 313802"/>
                    <a:gd name="csX78" fmla="*/ 326128 w 422618"/>
                    <a:gd name="csY78" fmla="*/ 13446 h 313802"/>
                    <a:gd name="csX79" fmla="*/ 318508 w 422618"/>
                    <a:gd name="csY79" fmla="*/ 10180 h 313802"/>
                    <a:gd name="csX80" fmla="*/ 310537 w 422618"/>
                    <a:gd name="csY80" fmla="*/ 13446 h 313802"/>
                    <a:gd name="csX81" fmla="*/ 307976 w 422618"/>
                    <a:gd name="csY81" fmla="*/ 4002 h 313802"/>
                    <a:gd name="csX82" fmla="*/ 296002 w 422618"/>
                    <a:gd name="csY82" fmla="*/ 1473 h 313802"/>
                    <a:gd name="csX83" fmla="*/ 274617 w 422618"/>
                    <a:gd name="csY83" fmla="*/ 9444 h 313802"/>
                    <a:gd name="csX84" fmla="*/ 269527 w 422618"/>
                    <a:gd name="csY84" fmla="*/ 5090 h 313802"/>
                    <a:gd name="csX85" fmla="*/ 256465 w 422618"/>
                    <a:gd name="csY85" fmla="*/ 16327 h 313802"/>
                    <a:gd name="csX86" fmla="*/ 250318 w 422618"/>
                    <a:gd name="csY86" fmla="*/ 15239 h 313802"/>
                    <a:gd name="csX87" fmla="*/ 232518 w 422618"/>
                    <a:gd name="csY87" fmla="*/ 23242 h 313802"/>
                    <a:gd name="csX88" fmla="*/ 208220 w 422618"/>
                    <a:gd name="csY88" fmla="*/ 11973 h 313802"/>
                    <a:gd name="csX89" fmla="*/ 210045 w 422618"/>
                    <a:gd name="csY89" fmla="*/ 5827 h 313802"/>
                    <a:gd name="csX90" fmla="*/ 203866 w 422618"/>
                    <a:gd name="csY90" fmla="*/ 10885 h 313802"/>
                    <a:gd name="csX91" fmla="*/ 202425 w 422618"/>
                    <a:gd name="csY91" fmla="*/ 5827 h 313802"/>
                    <a:gd name="csX92" fmla="*/ 198071 w 422618"/>
                    <a:gd name="csY92" fmla="*/ 2561 h 313802"/>
                    <a:gd name="csX93" fmla="*/ 193717 w 422618"/>
                    <a:gd name="csY93" fmla="*/ 6915 h 313802"/>
                    <a:gd name="csX94" fmla="*/ 187539 w 422618"/>
                    <a:gd name="csY94" fmla="*/ 8356 h 313802"/>
                    <a:gd name="csX95" fmla="*/ 185746 w 422618"/>
                    <a:gd name="csY95" fmla="*/ 0 h 3138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422618" h="313802">
                      <a:moveTo>
                        <a:pt x="185746" y="0"/>
                      </a:moveTo>
                      <a:lnTo>
                        <a:pt x="182480" y="5827"/>
                      </a:lnTo>
                      <a:lnTo>
                        <a:pt x="177390" y="4002"/>
                      </a:lnTo>
                      <a:lnTo>
                        <a:pt x="171211" y="6915"/>
                      </a:lnTo>
                      <a:lnTo>
                        <a:pt x="148737" y="33391"/>
                      </a:lnTo>
                      <a:lnTo>
                        <a:pt x="122262" y="26508"/>
                      </a:lnTo>
                      <a:lnTo>
                        <a:pt x="97227" y="51543"/>
                      </a:lnTo>
                      <a:lnTo>
                        <a:pt x="67102" y="58426"/>
                      </a:lnTo>
                      <a:lnTo>
                        <a:pt x="60955" y="55865"/>
                      </a:lnTo>
                      <a:lnTo>
                        <a:pt x="55128" y="60955"/>
                      </a:lnTo>
                      <a:lnTo>
                        <a:pt x="46420" y="63484"/>
                      </a:lnTo>
                      <a:lnTo>
                        <a:pt x="40274" y="75457"/>
                      </a:lnTo>
                      <a:lnTo>
                        <a:pt x="22506" y="72928"/>
                      </a:lnTo>
                      <a:lnTo>
                        <a:pt x="7619" y="81636"/>
                      </a:lnTo>
                      <a:lnTo>
                        <a:pt x="13798" y="109200"/>
                      </a:lnTo>
                      <a:lnTo>
                        <a:pt x="736" y="117556"/>
                      </a:lnTo>
                      <a:lnTo>
                        <a:pt x="0" y="141118"/>
                      </a:lnTo>
                      <a:lnTo>
                        <a:pt x="1825" y="143679"/>
                      </a:lnTo>
                      <a:lnTo>
                        <a:pt x="6179" y="134972"/>
                      </a:lnTo>
                      <a:lnTo>
                        <a:pt x="13798" y="134972"/>
                      </a:lnTo>
                      <a:lnTo>
                        <a:pt x="14502" y="152003"/>
                      </a:lnTo>
                      <a:lnTo>
                        <a:pt x="21417" y="154564"/>
                      </a:lnTo>
                      <a:lnTo>
                        <a:pt x="30125" y="150562"/>
                      </a:lnTo>
                      <a:lnTo>
                        <a:pt x="30830" y="164328"/>
                      </a:lnTo>
                      <a:lnTo>
                        <a:pt x="44628" y="166889"/>
                      </a:lnTo>
                      <a:lnTo>
                        <a:pt x="41362" y="173773"/>
                      </a:lnTo>
                      <a:lnTo>
                        <a:pt x="44628" y="182128"/>
                      </a:lnTo>
                      <a:lnTo>
                        <a:pt x="25771" y="210781"/>
                      </a:lnTo>
                      <a:lnTo>
                        <a:pt x="40274" y="212221"/>
                      </a:lnTo>
                      <a:lnTo>
                        <a:pt x="33391" y="248493"/>
                      </a:lnTo>
                      <a:lnTo>
                        <a:pt x="48982" y="252847"/>
                      </a:lnTo>
                      <a:lnTo>
                        <a:pt x="53335" y="264821"/>
                      </a:lnTo>
                      <a:lnTo>
                        <a:pt x="65309" y="257938"/>
                      </a:lnTo>
                      <a:lnTo>
                        <a:pt x="73280" y="262291"/>
                      </a:lnTo>
                      <a:lnTo>
                        <a:pt x="88519" y="296739"/>
                      </a:lnTo>
                      <a:lnTo>
                        <a:pt x="93961" y="298563"/>
                      </a:lnTo>
                      <a:lnTo>
                        <a:pt x="94698" y="313802"/>
                      </a:lnTo>
                      <a:lnTo>
                        <a:pt x="102317" y="308712"/>
                      </a:lnTo>
                      <a:lnTo>
                        <a:pt x="102317" y="290592"/>
                      </a:lnTo>
                      <a:lnTo>
                        <a:pt x="94698" y="282973"/>
                      </a:lnTo>
                      <a:lnTo>
                        <a:pt x="92873" y="270999"/>
                      </a:lnTo>
                      <a:lnTo>
                        <a:pt x="99756" y="254672"/>
                      </a:lnTo>
                      <a:lnTo>
                        <a:pt x="93961" y="224579"/>
                      </a:lnTo>
                      <a:lnTo>
                        <a:pt x="103406" y="212221"/>
                      </a:lnTo>
                      <a:lnTo>
                        <a:pt x="116083" y="205338"/>
                      </a:lnTo>
                      <a:lnTo>
                        <a:pt x="110993" y="196983"/>
                      </a:lnTo>
                      <a:lnTo>
                        <a:pt x="141118" y="182128"/>
                      </a:lnTo>
                      <a:lnTo>
                        <a:pt x="144736" y="172684"/>
                      </a:lnTo>
                      <a:lnTo>
                        <a:pt x="161063" y="166889"/>
                      </a:lnTo>
                      <a:lnTo>
                        <a:pt x="154180" y="149474"/>
                      </a:lnTo>
                      <a:lnTo>
                        <a:pt x="166153" y="134972"/>
                      </a:lnTo>
                      <a:lnTo>
                        <a:pt x="184273" y="127352"/>
                      </a:lnTo>
                      <a:lnTo>
                        <a:pt x="233255" y="146208"/>
                      </a:lnTo>
                      <a:lnTo>
                        <a:pt x="239433" y="156357"/>
                      </a:lnTo>
                      <a:lnTo>
                        <a:pt x="245228" y="136764"/>
                      </a:lnTo>
                      <a:lnTo>
                        <a:pt x="244492" y="105583"/>
                      </a:lnTo>
                      <a:lnTo>
                        <a:pt x="252847" y="99756"/>
                      </a:lnTo>
                      <a:lnTo>
                        <a:pt x="257201" y="93609"/>
                      </a:lnTo>
                      <a:lnTo>
                        <a:pt x="286590" y="87430"/>
                      </a:lnTo>
                      <a:lnTo>
                        <a:pt x="299652" y="90344"/>
                      </a:lnTo>
                      <a:lnTo>
                        <a:pt x="311625" y="85990"/>
                      </a:lnTo>
                      <a:lnTo>
                        <a:pt x="321037" y="75457"/>
                      </a:lnTo>
                      <a:lnTo>
                        <a:pt x="344248" y="85990"/>
                      </a:lnTo>
                      <a:lnTo>
                        <a:pt x="367490" y="87430"/>
                      </a:lnTo>
                      <a:lnTo>
                        <a:pt x="379463" y="84901"/>
                      </a:lnTo>
                      <a:lnTo>
                        <a:pt x="394318" y="75457"/>
                      </a:lnTo>
                      <a:lnTo>
                        <a:pt x="401201" y="79811"/>
                      </a:lnTo>
                      <a:lnTo>
                        <a:pt x="410645" y="67134"/>
                      </a:lnTo>
                      <a:lnTo>
                        <a:pt x="420089" y="65309"/>
                      </a:lnTo>
                      <a:lnTo>
                        <a:pt x="422618" y="56601"/>
                      </a:lnTo>
                      <a:lnTo>
                        <a:pt x="417528" y="50454"/>
                      </a:lnTo>
                      <a:lnTo>
                        <a:pt x="417528" y="49718"/>
                      </a:lnTo>
                      <a:lnTo>
                        <a:pt x="413910" y="55865"/>
                      </a:lnTo>
                      <a:lnTo>
                        <a:pt x="395758" y="54072"/>
                      </a:lnTo>
                      <a:lnTo>
                        <a:pt x="390700" y="56601"/>
                      </a:lnTo>
                      <a:lnTo>
                        <a:pt x="390700" y="49718"/>
                      </a:lnTo>
                      <a:lnTo>
                        <a:pt x="381256" y="44628"/>
                      </a:lnTo>
                      <a:lnTo>
                        <a:pt x="351163" y="44628"/>
                      </a:lnTo>
                      <a:lnTo>
                        <a:pt x="326128" y="13446"/>
                      </a:lnTo>
                      <a:lnTo>
                        <a:pt x="318508" y="10180"/>
                      </a:lnTo>
                      <a:lnTo>
                        <a:pt x="310537" y="13446"/>
                      </a:lnTo>
                      <a:lnTo>
                        <a:pt x="307976" y="4002"/>
                      </a:lnTo>
                      <a:lnTo>
                        <a:pt x="296002" y="1473"/>
                      </a:lnTo>
                      <a:lnTo>
                        <a:pt x="274617" y="9444"/>
                      </a:lnTo>
                      <a:lnTo>
                        <a:pt x="269527" y="5090"/>
                      </a:lnTo>
                      <a:lnTo>
                        <a:pt x="256465" y="16327"/>
                      </a:lnTo>
                      <a:lnTo>
                        <a:pt x="250318" y="15239"/>
                      </a:lnTo>
                      <a:lnTo>
                        <a:pt x="232518" y="23242"/>
                      </a:lnTo>
                      <a:lnTo>
                        <a:pt x="208220" y="11973"/>
                      </a:lnTo>
                      <a:lnTo>
                        <a:pt x="210045" y="5827"/>
                      </a:lnTo>
                      <a:lnTo>
                        <a:pt x="203866" y="10885"/>
                      </a:lnTo>
                      <a:lnTo>
                        <a:pt x="202425" y="5827"/>
                      </a:lnTo>
                      <a:lnTo>
                        <a:pt x="198071" y="2561"/>
                      </a:lnTo>
                      <a:lnTo>
                        <a:pt x="193717" y="6915"/>
                      </a:lnTo>
                      <a:lnTo>
                        <a:pt x="187539" y="8356"/>
                      </a:lnTo>
                      <a:lnTo>
                        <a:pt x="185746" y="0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8" name="Forma Livre: Forma 387">
                  <a:extLst>
                    <a:ext uri="{FF2B5EF4-FFF2-40B4-BE49-F238E27FC236}">
                      <a16:creationId xmlns:a16="http://schemas.microsoft.com/office/drawing/2014/main" id="{1DB3C3AC-ACA8-AAF4-4EE1-E4FCD8B59EB4}"/>
                    </a:ext>
                  </a:extLst>
                </p:cNvPr>
                <p:cNvSpPr/>
                <p:nvPr/>
              </p:nvSpPr>
              <p:spPr>
                <a:xfrm>
                  <a:off x="3142067" y="3560515"/>
                  <a:ext cx="422618" cy="313802"/>
                </a:xfrm>
                <a:custGeom>
                  <a:avLst/>
                  <a:gdLst>
                    <a:gd name="csX0" fmla="*/ 185746 w 422618"/>
                    <a:gd name="csY0" fmla="*/ 0 h 313802"/>
                    <a:gd name="csX1" fmla="*/ 182480 w 422618"/>
                    <a:gd name="csY1" fmla="*/ 5827 h 313802"/>
                    <a:gd name="csX2" fmla="*/ 177390 w 422618"/>
                    <a:gd name="csY2" fmla="*/ 4002 h 313802"/>
                    <a:gd name="csX3" fmla="*/ 171211 w 422618"/>
                    <a:gd name="csY3" fmla="*/ 6915 h 313802"/>
                    <a:gd name="csX4" fmla="*/ 148737 w 422618"/>
                    <a:gd name="csY4" fmla="*/ 33391 h 313802"/>
                    <a:gd name="csX5" fmla="*/ 122262 w 422618"/>
                    <a:gd name="csY5" fmla="*/ 26508 h 313802"/>
                    <a:gd name="csX6" fmla="*/ 97227 w 422618"/>
                    <a:gd name="csY6" fmla="*/ 51543 h 313802"/>
                    <a:gd name="csX7" fmla="*/ 67102 w 422618"/>
                    <a:gd name="csY7" fmla="*/ 58426 h 313802"/>
                    <a:gd name="csX8" fmla="*/ 60955 w 422618"/>
                    <a:gd name="csY8" fmla="*/ 55865 h 313802"/>
                    <a:gd name="csX9" fmla="*/ 55128 w 422618"/>
                    <a:gd name="csY9" fmla="*/ 60955 h 313802"/>
                    <a:gd name="csX10" fmla="*/ 46420 w 422618"/>
                    <a:gd name="csY10" fmla="*/ 63484 h 313802"/>
                    <a:gd name="csX11" fmla="*/ 40274 w 422618"/>
                    <a:gd name="csY11" fmla="*/ 75457 h 313802"/>
                    <a:gd name="csX12" fmla="*/ 22506 w 422618"/>
                    <a:gd name="csY12" fmla="*/ 72928 h 313802"/>
                    <a:gd name="csX13" fmla="*/ 7619 w 422618"/>
                    <a:gd name="csY13" fmla="*/ 81636 h 313802"/>
                    <a:gd name="csX14" fmla="*/ 13798 w 422618"/>
                    <a:gd name="csY14" fmla="*/ 109200 h 313802"/>
                    <a:gd name="csX15" fmla="*/ 736 w 422618"/>
                    <a:gd name="csY15" fmla="*/ 117556 h 313802"/>
                    <a:gd name="csX16" fmla="*/ 0 w 422618"/>
                    <a:gd name="csY16" fmla="*/ 141118 h 313802"/>
                    <a:gd name="csX17" fmla="*/ 1825 w 422618"/>
                    <a:gd name="csY17" fmla="*/ 143679 h 313802"/>
                    <a:gd name="csX18" fmla="*/ 6179 w 422618"/>
                    <a:gd name="csY18" fmla="*/ 134972 h 313802"/>
                    <a:gd name="csX19" fmla="*/ 13798 w 422618"/>
                    <a:gd name="csY19" fmla="*/ 134972 h 313802"/>
                    <a:gd name="csX20" fmla="*/ 14502 w 422618"/>
                    <a:gd name="csY20" fmla="*/ 152003 h 313802"/>
                    <a:gd name="csX21" fmla="*/ 21417 w 422618"/>
                    <a:gd name="csY21" fmla="*/ 154564 h 313802"/>
                    <a:gd name="csX22" fmla="*/ 30125 w 422618"/>
                    <a:gd name="csY22" fmla="*/ 150562 h 313802"/>
                    <a:gd name="csX23" fmla="*/ 30830 w 422618"/>
                    <a:gd name="csY23" fmla="*/ 164328 h 313802"/>
                    <a:gd name="csX24" fmla="*/ 44628 w 422618"/>
                    <a:gd name="csY24" fmla="*/ 166889 h 313802"/>
                    <a:gd name="csX25" fmla="*/ 41362 w 422618"/>
                    <a:gd name="csY25" fmla="*/ 173773 h 313802"/>
                    <a:gd name="csX26" fmla="*/ 44628 w 422618"/>
                    <a:gd name="csY26" fmla="*/ 182128 h 313802"/>
                    <a:gd name="csX27" fmla="*/ 25771 w 422618"/>
                    <a:gd name="csY27" fmla="*/ 210781 h 313802"/>
                    <a:gd name="csX28" fmla="*/ 40274 w 422618"/>
                    <a:gd name="csY28" fmla="*/ 212221 h 313802"/>
                    <a:gd name="csX29" fmla="*/ 33391 w 422618"/>
                    <a:gd name="csY29" fmla="*/ 248493 h 313802"/>
                    <a:gd name="csX30" fmla="*/ 48982 w 422618"/>
                    <a:gd name="csY30" fmla="*/ 252847 h 313802"/>
                    <a:gd name="csX31" fmla="*/ 53335 w 422618"/>
                    <a:gd name="csY31" fmla="*/ 264821 h 313802"/>
                    <a:gd name="csX32" fmla="*/ 65309 w 422618"/>
                    <a:gd name="csY32" fmla="*/ 257938 h 313802"/>
                    <a:gd name="csX33" fmla="*/ 73280 w 422618"/>
                    <a:gd name="csY33" fmla="*/ 262291 h 313802"/>
                    <a:gd name="csX34" fmla="*/ 88519 w 422618"/>
                    <a:gd name="csY34" fmla="*/ 296739 h 313802"/>
                    <a:gd name="csX35" fmla="*/ 93961 w 422618"/>
                    <a:gd name="csY35" fmla="*/ 298563 h 313802"/>
                    <a:gd name="csX36" fmla="*/ 94698 w 422618"/>
                    <a:gd name="csY36" fmla="*/ 313802 h 313802"/>
                    <a:gd name="csX37" fmla="*/ 102317 w 422618"/>
                    <a:gd name="csY37" fmla="*/ 308712 h 313802"/>
                    <a:gd name="csX38" fmla="*/ 102317 w 422618"/>
                    <a:gd name="csY38" fmla="*/ 290592 h 313802"/>
                    <a:gd name="csX39" fmla="*/ 94698 w 422618"/>
                    <a:gd name="csY39" fmla="*/ 282973 h 313802"/>
                    <a:gd name="csX40" fmla="*/ 92873 w 422618"/>
                    <a:gd name="csY40" fmla="*/ 270999 h 313802"/>
                    <a:gd name="csX41" fmla="*/ 99756 w 422618"/>
                    <a:gd name="csY41" fmla="*/ 254672 h 313802"/>
                    <a:gd name="csX42" fmla="*/ 93961 w 422618"/>
                    <a:gd name="csY42" fmla="*/ 224579 h 313802"/>
                    <a:gd name="csX43" fmla="*/ 103406 w 422618"/>
                    <a:gd name="csY43" fmla="*/ 212221 h 313802"/>
                    <a:gd name="csX44" fmla="*/ 116083 w 422618"/>
                    <a:gd name="csY44" fmla="*/ 205338 h 313802"/>
                    <a:gd name="csX45" fmla="*/ 110993 w 422618"/>
                    <a:gd name="csY45" fmla="*/ 196983 h 313802"/>
                    <a:gd name="csX46" fmla="*/ 141118 w 422618"/>
                    <a:gd name="csY46" fmla="*/ 182128 h 313802"/>
                    <a:gd name="csX47" fmla="*/ 144736 w 422618"/>
                    <a:gd name="csY47" fmla="*/ 172684 h 313802"/>
                    <a:gd name="csX48" fmla="*/ 161063 w 422618"/>
                    <a:gd name="csY48" fmla="*/ 166889 h 313802"/>
                    <a:gd name="csX49" fmla="*/ 154180 w 422618"/>
                    <a:gd name="csY49" fmla="*/ 149474 h 313802"/>
                    <a:gd name="csX50" fmla="*/ 166153 w 422618"/>
                    <a:gd name="csY50" fmla="*/ 134972 h 313802"/>
                    <a:gd name="csX51" fmla="*/ 184273 w 422618"/>
                    <a:gd name="csY51" fmla="*/ 127352 h 313802"/>
                    <a:gd name="csX52" fmla="*/ 233255 w 422618"/>
                    <a:gd name="csY52" fmla="*/ 146208 h 313802"/>
                    <a:gd name="csX53" fmla="*/ 239433 w 422618"/>
                    <a:gd name="csY53" fmla="*/ 156357 h 313802"/>
                    <a:gd name="csX54" fmla="*/ 245228 w 422618"/>
                    <a:gd name="csY54" fmla="*/ 136764 h 313802"/>
                    <a:gd name="csX55" fmla="*/ 244492 w 422618"/>
                    <a:gd name="csY55" fmla="*/ 105583 h 313802"/>
                    <a:gd name="csX56" fmla="*/ 252847 w 422618"/>
                    <a:gd name="csY56" fmla="*/ 99756 h 313802"/>
                    <a:gd name="csX57" fmla="*/ 257201 w 422618"/>
                    <a:gd name="csY57" fmla="*/ 93609 h 313802"/>
                    <a:gd name="csX58" fmla="*/ 286590 w 422618"/>
                    <a:gd name="csY58" fmla="*/ 87430 h 313802"/>
                    <a:gd name="csX59" fmla="*/ 299652 w 422618"/>
                    <a:gd name="csY59" fmla="*/ 90344 h 313802"/>
                    <a:gd name="csX60" fmla="*/ 311625 w 422618"/>
                    <a:gd name="csY60" fmla="*/ 85990 h 313802"/>
                    <a:gd name="csX61" fmla="*/ 321037 w 422618"/>
                    <a:gd name="csY61" fmla="*/ 75457 h 313802"/>
                    <a:gd name="csX62" fmla="*/ 344248 w 422618"/>
                    <a:gd name="csY62" fmla="*/ 85990 h 313802"/>
                    <a:gd name="csX63" fmla="*/ 367490 w 422618"/>
                    <a:gd name="csY63" fmla="*/ 87430 h 313802"/>
                    <a:gd name="csX64" fmla="*/ 379463 w 422618"/>
                    <a:gd name="csY64" fmla="*/ 84901 h 313802"/>
                    <a:gd name="csX65" fmla="*/ 394318 w 422618"/>
                    <a:gd name="csY65" fmla="*/ 75457 h 313802"/>
                    <a:gd name="csX66" fmla="*/ 401201 w 422618"/>
                    <a:gd name="csY66" fmla="*/ 79811 h 313802"/>
                    <a:gd name="csX67" fmla="*/ 410645 w 422618"/>
                    <a:gd name="csY67" fmla="*/ 67134 h 313802"/>
                    <a:gd name="csX68" fmla="*/ 420089 w 422618"/>
                    <a:gd name="csY68" fmla="*/ 65309 h 313802"/>
                    <a:gd name="csX69" fmla="*/ 422618 w 422618"/>
                    <a:gd name="csY69" fmla="*/ 56601 h 313802"/>
                    <a:gd name="csX70" fmla="*/ 417528 w 422618"/>
                    <a:gd name="csY70" fmla="*/ 50454 h 313802"/>
                    <a:gd name="csX71" fmla="*/ 417528 w 422618"/>
                    <a:gd name="csY71" fmla="*/ 49718 h 313802"/>
                    <a:gd name="csX72" fmla="*/ 413910 w 422618"/>
                    <a:gd name="csY72" fmla="*/ 55865 h 313802"/>
                    <a:gd name="csX73" fmla="*/ 395758 w 422618"/>
                    <a:gd name="csY73" fmla="*/ 54072 h 313802"/>
                    <a:gd name="csX74" fmla="*/ 390700 w 422618"/>
                    <a:gd name="csY74" fmla="*/ 56601 h 313802"/>
                    <a:gd name="csX75" fmla="*/ 390700 w 422618"/>
                    <a:gd name="csY75" fmla="*/ 49718 h 313802"/>
                    <a:gd name="csX76" fmla="*/ 381256 w 422618"/>
                    <a:gd name="csY76" fmla="*/ 44628 h 313802"/>
                    <a:gd name="csX77" fmla="*/ 351163 w 422618"/>
                    <a:gd name="csY77" fmla="*/ 44628 h 313802"/>
                    <a:gd name="csX78" fmla="*/ 326128 w 422618"/>
                    <a:gd name="csY78" fmla="*/ 13446 h 313802"/>
                    <a:gd name="csX79" fmla="*/ 318508 w 422618"/>
                    <a:gd name="csY79" fmla="*/ 10180 h 313802"/>
                    <a:gd name="csX80" fmla="*/ 310537 w 422618"/>
                    <a:gd name="csY80" fmla="*/ 13446 h 313802"/>
                    <a:gd name="csX81" fmla="*/ 307976 w 422618"/>
                    <a:gd name="csY81" fmla="*/ 4002 h 313802"/>
                    <a:gd name="csX82" fmla="*/ 296002 w 422618"/>
                    <a:gd name="csY82" fmla="*/ 1473 h 313802"/>
                    <a:gd name="csX83" fmla="*/ 274617 w 422618"/>
                    <a:gd name="csY83" fmla="*/ 9444 h 313802"/>
                    <a:gd name="csX84" fmla="*/ 269527 w 422618"/>
                    <a:gd name="csY84" fmla="*/ 5090 h 313802"/>
                    <a:gd name="csX85" fmla="*/ 256465 w 422618"/>
                    <a:gd name="csY85" fmla="*/ 16327 h 313802"/>
                    <a:gd name="csX86" fmla="*/ 250318 w 422618"/>
                    <a:gd name="csY86" fmla="*/ 15239 h 313802"/>
                    <a:gd name="csX87" fmla="*/ 232518 w 422618"/>
                    <a:gd name="csY87" fmla="*/ 23242 h 313802"/>
                    <a:gd name="csX88" fmla="*/ 208220 w 422618"/>
                    <a:gd name="csY88" fmla="*/ 11973 h 313802"/>
                    <a:gd name="csX89" fmla="*/ 210045 w 422618"/>
                    <a:gd name="csY89" fmla="*/ 5827 h 313802"/>
                    <a:gd name="csX90" fmla="*/ 203866 w 422618"/>
                    <a:gd name="csY90" fmla="*/ 10885 h 313802"/>
                    <a:gd name="csX91" fmla="*/ 202425 w 422618"/>
                    <a:gd name="csY91" fmla="*/ 5827 h 313802"/>
                    <a:gd name="csX92" fmla="*/ 198071 w 422618"/>
                    <a:gd name="csY92" fmla="*/ 2561 h 313802"/>
                    <a:gd name="csX93" fmla="*/ 193717 w 422618"/>
                    <a:gd name="csY93" fmla="*/ 6915 h 313802"/>
                    <a:gd name="csX94" fmla="*/ 187539 w 422618"/>
                    <a:gd name="csY94" fmla="*/ 8356 h 313802"/>
                    <a:gd name="csX95" fmla="*/ 185746 w 422618"/>
                    <a:gd name="csY95" fmla="*/ 0 h 3138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</a:cxnLst>
                  <a:rect l="l" t="t" r="r" b="b"/>
                  <a:pathLst>
                    <a:path w="422618" h="313802">
                      <a:moveTo>
                        <a:pt x="185746" y="0"/>
                      </a:moveTo>
                      <a:lnTo>
                        <a:pt x="182480" y="5827"/>
                      </a:lnTo>
                      <a:lnTo>
                        <a:pt x="177390" y="4002"/>
                      </a:lnTo>
                      <a:lnTo>
                        <a:pt x="171211" y="6915"/>
                      </a:lnTo>
                      <a:lnTo>
                        <a:pt x="148737" y="33391"/>
                      </a:lnTo>
                      <a:lnTo>
                        <a:pt x="122262" y="26508"/>
                      </a:lnTo>
                      <a:lnTo>
                        <a:pt x="97227" y="51543"/>
                      </a:lnTo>
                      <a:lnTo>
                        <a:pt x="67102" y="58426"/>
                      </a:lnTo>
                      <a:lnTo>
                        <a:pt x="60955" y="55865"/>
                      </a:lnTo>
                      <a:lnTo>
                        <a:pt x="55128" y="60955"/>
                      </a:lnTo>
                      <a:lnTo>
                        <a:pt x="46420" y="63484"/>
                      </a:lnTo>
                      <a:lnTo>
                        <a:pt x="40274" y="75457"/>
                      </a:lnTo>
                      <a:lnTo>
                        <a:pt x="22506" y="72928"/>
                      </a:lnTo>
                      <a:lnTo>
                        <a:pt x="7619" y="81636"/>
                      </a:lnTo>
                      <a:lnTo>
                        <a:pt x="13798" y="109200"/>
                      </a:lnTo>
                      <a:lnTo>
                        <a:pt x="736" y="117556"/>
                      </a:lnTo>
                      <a:lnTo>
                        <a:pt x="0" y="141118"/>
                      </a:lnTo>
                      <a:lnTo>
                        <a:pt x="1825" y="143679"/>
                      </a:lnTo>
                      <a:lnTo>
                        <a:pt x="6179" y="134972"/>
                      </a:lnTo>
                      <a:lnTo>
                        <a:pt x="13798" y="134972"/>
                      </a:lnTo>
                      <a:lnTo>
                        <a:pt x="14502" y="152003"/>
                      </a:lnTo>
                      <a:lnTo>
                        <a:pt x="21417" y="154564"/>
                      </a:lnTo>
                      <a:lnTo>
                        <a:pt x="30125" y="150562"/>
                      </a:lnTo>
                      <a:lnTo>
                        <a:pt x="30830" y="164328"/>
                      </a:lnTo>
                      <a:lnTo>
                        <a:pt x="44628" y="166889"/>
                      </a:lnTo>
                      <a:lnTo>
                        <a:pt x="41362" y="173773"/>
                      </a:lnTo>
                      <a:lnTo>
                        <a:pt x="44628" y="182128"/>
                      </a:lnTo>
                      <a:lnTo>
                        <a:pt x="25771" y="210781"/>
                      </a:lnTo>
                      <a:lnTo>
                        <a:pt x="40274" y="212221"/>
                      </a:lnTo>
                      <a:lnTo>
                        <a:pt x="33391" y="248493"/>
                      </a:lnTo>
                      <a:lnTo>
                        <a:pt x="48982" y="252847"/>
                      </a:lnTo>
                      <a:lnTo>
                        <a:pt x="53335" y="264821"/>
                      </a:lnTo>
                      <a:lnTo>
                        <a:pt x="65309" y="257938"/>
                      </a:lnTo>
                      <a:lnTo>
                        <a:pt x="73280" y="262291"/>
                      </a:lnTo>
                      <a:lnTo>
                        <a:pt x="88519" y="296739"/>
                      </a:lnTo>
                      <a:lnTo>
                        <a:pt x="93961" y="298563"/>
                      </a:lnTo>
                      <a:lnTo>
                        <a:pt x="94698" y="313802"/>
                      </a:lnTo>
                      <a:lnTo>
                        <a:pt x="102317" y="308712"/>
                      </a:lnTo>
                      <a:lnTo>
                        <a:pt x="102317" y="290592"/>
                      </a:lnTo>
                      <a:lnTo>
                        <a:pt x="94698" y="282973"/>
                      </a:lnTo>
                      <a:lnTo>
                        <a:pt x="92873" y="270999"/>
                      </a:lnTo>
                      <a:lnTo>
                        <a:pt x="99756" y="254672"/>
                      </a:lnTo>
                      <a:lnTo>
                        <a:pt x="93961" y="224579"/>
                      </a:lnTo>
                      <a:lnTo>
                        <a:pt x="103406" y="212221"/>
                      </a:lnTo>
                      <a:lnTo>
                        <a:pt x="116083" y="205338"/>
                      </a:lnTo>
                      <a:lnTo>
                        <a:pt x="110993" y="196983"/>
                      </a:lnTo>
                      <a:lnTo>
                        <a:pt x="141118" y="182128"/>
                      </a:lnTo>
                      <a:lnTo>
                        <a:pt x="144736" y="172684"/>
                      </a:lnTo>
                      <a:lnTo>
                        <a:pt x="161063" y="166889"/>
                      </a:lnTo>
                      <a:lnTo>
                        <a:pt x="154180" y="149474"/>
                      </a:lnTo>
                      <a:lnTo>
                        <a:pt x="166153" y="134972"/>
                      </a:lnTo>
                      <a:lnTo>
                        <a:pt x="184273" y="127352"/>
                      </a:lnTo>
                      <a:lnTo>
                        <a:pt x="233255" y="146208"/>
                      </a:lnTo>
                      <a:lnTo>
                        <a:pt x="239433" y="156357"/>
                      </a:lnTo>
                      <a:lnTo>
                        <a:pt x="245228" y="136764"/>
                      </a:lnTo>
                      <a:lnTo>
                        <a:pt x="244492" y="105583"/>
                      </a:lnTo>
                      <a:lnTo>
                        <a:pt x="252847" y="99756"/>
                      </a:lnTo>
                      <a:lnTo>
                        <a:pt x="257201" y="93609"/>
                      </a:lnTo>
                      <a:lnTo>
                        <a:pt x="286590" y="87430"/>
                      </a:lnTo>
                      <a:lnTo>
                        <a:pt x="299652" y="90344"/>
                      </a:lnTo>
                      <a:lnTo>
                        <a:pt x="311625" y="85990"/>
                      </a:lnTo>
                      <a:lnTo>
                        <a:pt x="321037" y="75457"/>
                      </a:lnTo>
                      <a:lnTo>
                        <a:pt x="344248" y="85990"/>
                      </a:lnTo>
                      <a:lnTo>
                        <a:pt x="367490" y="87430"/>
                      </a:lnTo>
                      <a:lnTo>
                        <a:pt x="379463" y="84901"/>
                      </a:lnTo>
                      <a:lnTo>
                        <a:pt x="394318" y="75457"/>
                      </a:lnTo>
                      <a:lnTo>
                        <a:pt x="401201" y="79811"/>
                      </a:lnTo>
                      <a:lnTo>
                        <a:pt x="410645" y="67134"/>
                      </a:lnTo>
                      <a:lnTo>
                        <a:pt x="420089" y="65309"/>
                      </a:lnTo>
                      <a:lnTo>
                        <a:pt x="422618" y="56601"/>
                      </a:lnTo>
                      <a:lnTo>
                        <a:pt x="417528" y="50454"/>
                      </a:lnTo>
                      <a:lnTo>
                        <a:pt x="417528" y="49718"/>
                      </a:lnTo>
                      <a:lnTo>
                        <a:pt x="413910" y="55865"/>
                      </a:lnTo>
                      <a:lnTo>
                        <a:pt x="395758" y="54072"/>
                      </a:lnTo>
                      <a:lnTo>
                        <a:pt x="390700" y="56601"/>
                      </a:lnTo>
                      <a:lnTo>
                        <a:pt x="390700" y="49718"/>
                      </a:lnTo>
                      <a:lnTo>
                        <a:pt x="381256" y="44628"/>
                      </a:lnTo>
                      <a:lnTo>
                        <a:pt x="351163" y="44628"/>
                      </a:lnTo>
                      <a:lnTo>
                        <a:pt x="326128" y="13446"/>
                      </a:lnTo>
                      <a:lnTo>
                        <a:pt x="318508" y="10180"/>
                      </a:lnTo>
                      <a:lnTo>
                        <a:pt x="310537" y="13446"/>
                      </a:lnTo>
                      <a:lnTo>
                        <a:pt x="307976" y="4002"/>
                      </a:lnTo>
                      <a:lnTo>
                        <a:pt x="296002" y="1473"/>
                      </a:lnTo>
                      <a:lnTo>
                        <a:pt x="274617" y="9444"/>
                      </a:lnTo>
                      <a:lnTo>
                        <a:pt x="269527" y="5090"/>
                      </a:lnTo>
                      <a:lnTo>
                        <a:pt x="256465" y="16327"/>
                      </a:lnTo>
                      <a:lnTo>
                        <a:pt x="250318" y="15239"/>
                      </a:lnTo>
                      <a:lnTo>
                        <a:pt x="232518" y="23242"/>
                      </a:lnTo>
                      <a:lnTo>
                        <a:pt x="208220" y="11973"/>
                      </a:lnTo>
                      <a:lnTo>
                        <a:pt x="210045" y="5827"/>
                      </a:lnTo>
                      <a:lnTo>
                        <a:pt x="203866" y="10885"/>
                      </a:lnTo>
                      <a:lnTo>
                        <a:pt x="202425" y="5827"/>
                      </a:lnTo>
                      <a:lnTo>
                        <a:pt x="198071" y="2561"/>
                      </a:lnTo>
                      <a:lnTo>
                        <a:pt x="193717" y="6915"/>
                      </a:lnTo>
                      <a:lnTo>
                        <a:pt x="187539" y="8356"/>
                      </a:lnTo>
                      <a:lnTo>
                        <a:pt x="185746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89" name="Forma Livre: Forma 388">
                  <a:extLst>
                    <a:ext uri="{FF2B5EF4-FFF2-40B4-BE49-F238E27FC236}">
                      <a16:creationId xmlns:a16="http://schemas.microsoft.com/office/drawing/2014/main" id="{0B88CDE0-56C8-97A4-5C6F-F64ECC995B08}"/>
                    </a:ext>
                  </a:extLst>
                </p:cNvPr>
                <p:cNvSpPr/>
                <p:nvPr/>
              </p:nvSpPr>
              <p:spPr>
                <a:xfrm>
                  <a:off x="3185958" y="3302962"/>
                  <a:ext cx="376902" cy="280795"/>
                </a:xfrm>
                <a:custGeom>
                  <a:avLst/>
                  <a:gdLst>
                    <a:gd name="csX0" fmla="*/ 233991 w 376902"/>
                    <a:gd name="csY0" fmla="*/ 8004 h 280795"/>
                    <a:gd name="csX1" fmla="*/ 225635 w 376902"/>
                    <a:gd name="csY1" fmla="*/ 10533 h 280795"/>
                    <a:gd name="csX2" fmla="*/ 205691 w 376902"/>
                    <a:gd name="csY2" fmla="*/ 16327 h 280795"/>
                    <a:gd name="csX3" fmla="*/ 202425 w 376902"/>
                    <a:gd name="csY3" fmla="*/ 24299 h 280795"/>
                    <a:gd name="csX4" fmla="*/ 191893 w 376902"/>
                    <a:gd name="csY4" fmla="*/ 28653 h 280795"/>
                    <a:gd name="csX5" fmla="*/ 186834 w 376902"/>
                    <a:gd name="csY5" fmla="*/ 36272 h 280795"/>
                    <a:gd name="csX6" fmla="*/ 181744 w 376902"/>
                    <a:gd name="csY6" fmla="*/ 33007 h 280795"/>
                    <a:gd name="csX7" fmla="*/ 173036 w 376902"/>
                    <a:gd name="csY7" fmla="*/ 28653 h 280795"/>
                    <a:gd name="csX8" fmla="*/ 161063 w 376902"/>
                    <a:gd name="csY8" fmla="*/ 30125 h 280795"/>
                    <a:gd name="csX9" fmla="*/ 130970 w 376902"/>
                    <a:gd name="csY9" fmla="*/ 51895 h 280795"/>
                    <a:gd name="csX10" fmla="*/ 118612 w 376902"/>
                    <a:gd name="csY10" fmla="*/ 51895 h 280795"/>
                    <a:gd name="csX11" fmla="*/ 102317 w 376902"/>
                    <a:gd name="csY11" fmla="*/ 72576 h 280795"/>
                    <a:gd name="csX12" fmla="*/ 85990 w 376902"/>
                    <a:gd name="csY12" fmla="*/ 104110 h 280795"/>
                    <a:gd name="csX13" fmla="*/ 80900 w 376902"/>
                    <a:gd name="csY13" fmla="*/ 117171 h 280795"/>
                    <a:gd name="csX14" fmla="*/ 76546 w 376902"/>
                    <a:gd name="csY14" fmla="*/ 117171 h 280795"/>
                    <a:gd name="csX15" fmla="*/ 69663 w 376902"/>
                    <a:gd name="csY15" fmla="*/ 129145 h 280795"/>
                    <a:gd name="csX16" fmla="*/ 55865 w 376902"/>
                    <a:gd name="csY16" fmla="*/ 140414 h 280795"/>
                    <a:gd name="csX17" fmla="*/ 32654 w 376902"/>
                    <a:gd name="csY17" fmla="*/ 130233 h 280795"/>
                    <a:gd name="csX18" fmla="*/ 32654 w 376902"/>
                    <a:gd name="csY18" fmla="*/ 115379 h 280795"/>
                    <a:gd name="csX19" fmla="*/ 16327 w 376902"/>
                    <a:gd name="csY19" fmla="*/ 125879 h 280795"/>
                    <a:gd name="csX20" fmla="*/ 8708 w 376902"/>
                    <a:gd name="csY20" fmla="*/ 120437 h 280795"/>
                    <a:gd name="csX21" fmla="*/ 0 w 376902"/>
                    <a:gd name="csY21" fmla="*/ 130233 h 280795"/>
                    <a:gd name="csX22" fmla="*/ 16327 w 376902"/>
                    <a:gd name="csY22" fmla="*/ 154916 h 280795"/>
                    <a:gd name="csX23" fmla="*/ 5090 w 376902"/>
                    <a:gd name="csY23" fmla="*/ 179215 h 280795"/>
                    <a:gd name="csX24" fmla="*/ 19945 w 376902"/>
                    <a:gd name="csY24" fmla="*/ 175597 h 280795"/>
                    <a:gd name="csX25" fmla="*/ 20681 w 376902"/>
                    <a:gd name="csY25" fmla="*/ 183569 h 280795"/>
                    <a:gd name="csX26" fmla="*/ 29389 w 376902"/>
                    <a:gd name="csY26" fmla="*/ 184305 h 280795"/>
                    <a:gd name="csX27" fmla="*/ 30125 w 376902"/>
                    <a:gd name="csY27" fmla="*/ 184305 h 280795"/>
                    <a:gd name="csX28" fmla="*/ 14502 w 376902"/>
                    <a:gd name="csY28" fmla="*/ 217664 h 280795"/>
                    <a:gd name="csX29" fmla="*/ 23947 w 376902"/>
                    <a:gd name="csY29" fmla="*/ 222018 h 280795"/>
                    <a:gd name="csX30" fmla="*/ 28301 w 376902"/>
                    <a:gd name="csY30" fmla="*/ 238345 h 280795"/>
                    <a:gd name="csX31" fmla="*/ 32654 w 376902"/>
                    <a:gd name="csY31" fmla="*/ 230725 h 280795"/>
                    <a:gd name="csX32" fmla="*/ 46452 w 376902"/>
                    <a:gd name="csY32" fmla="*/ 228901 h 280795"/>
                    <a:gd name="csX33" fmla="*/ 50070 w 376902"/>
                    <a:gd name="csY33" fmla="*/ 244524 h 280795"/>
                    <a:gd name="csX34" fmla="*/ 54072 w 376902"/>
                    <a:gd name="csY34" fmla="*/ 255761 h 280795"/>
                    <a:gd name="csX35" fmla="*/ 62780 w 376902"/>
                    <a:gd name="csY35" fmla="*/ 253936 h 280795"/>
                    <a:gd name="csX36" fmla="*/ 72192 w 376902"/>
                    <a:gd name="csY36" fmla="*/ 264468 h 280795"/>
                    <a:gd name="csX37" fmla="*/ 96491 w 376902"/>
                    <a:gd name="csY37" fmla="*/ 264468 h 280795"/>
                    <a:gd name="csX38" fmla="*/ 110993 w 376902"/>
                    <a:gd name="csY38" fmla="*/ 270999 h 280795"/>
                    <a:gd name="csX39" fmla="*/ 125527 w 376902"/>
                    <a:gd name="csY39" fmla="*/ 255761 h 280795"/>
                    <a:gd name="csX40" fmla="*/ 133499 w 376902"/>
                    <a:gd name="csY40" fmla="*/ 261555 h 280795"/>
                    <a:gd name="csX41" fmla="*/ 138589 w 376902"/>
                    <a:gd name="csY41" fmla="*/ 263380 h 280795"/>
                    <a:gd name="csX42" fmla="*/ 141854 w 376902"/>
                    <a:gd name="csY42" fmla="*/ 257553 h 280795"/>
                    <a:gd name="csX43" fmla="*/ 143647 w 376902"/>
                    <a:gd name="csY43" fmla="*/ 265909 h 280795"/>
                    <a:gd name="csX44" fmla="*/ 149826 w 376902"/>
                    <a:gd name="csY44" fmla="*/ 264468 h 280795"/>
                    <a:gd name="csX45" fmla="*/ 154180 w 376902"/>
                    <a:gd name="csY45" fmla="*/ 260114 h 280795"/>
                    <a:gd name="csX46" fmla="*/ 158534 w 376902"/>
                    <a:gd name="csY46" fmla="*/ 263380 h 280795"/>
                    <a:gd name="csX47" fmla="*/ 159975 w 376902"/>
                    <a:gd name="csY47" fmla="*/ 268438 h 280795"/>
                    <a:gd name="csX48" fmla="*/ 166153 w 376902"/>
                    <a:gd name="csY48" fmla="*/ 263380 h 280795"/>
                    <a:gd name="csX49" fmla="*/ 164328 w 376902"/>
                    <a:gd name="csY49" fmla="*/ 269527 h 280795"/>
                    <a:gd name="csX50" fmla="*/ 188627 w 376902"/>
                    <a:gd name="csY50" fmla="*/ 280796 h 280795"/>
                    <a:gd name="csX51" fmla="*/ 206427 w 376902"/>
                    <a:gd name="csY51" fmla="*/ 272792 h 280795"/>
                    <a:gd name="csX52" fmla="*/ 212574 w 376902"/>
                    <a:gd name="csY52" fmla="*/ 273881 h 280795"/>
                    <a:gd name="csX53" fmla="*/ 225635 w 376902"/>
                    <a:gd name="csY53" fmla="*/ 262644 h 280795"/>
                    <a:gd name="csX54" fmla="*/ 230726 w 376902"/>
                    <a:gd name="csY54" fmla="*/ 266998 h 280795"/>
                    <a:gd name="csX55" fmla="*/ 252111 w 376902"/>
                    <a:gd name="csY55" fmla="*/ 259026 h 280795"/>
                    <a:gd name="csX56" fmla="*/ 264084 w 376902"/>
                    <a:gd name="csY56" fmla="*/ 261555 h 280795"/>
                    <a:gd name="csX57" fmla="*/ 272088 w 376902"/>
                    <a:gd name="csY57" fmla="*/ 258290 h 280795"/>
                    <a:gd name="csX58" fmla="*/ 295298 w 376902"/>
                    <a:gd name="csY58" fmla="*/ 226372 h 280795"/>
                    <a:gd name="csX59" fmla="*/ 293473 w 376902"/>
                    <a:gd name="csY59" fmla="*/ 219489 h 280795"/>
                    <a:gd name="csX60" fmla="*/ 277146 w 376902"/>
                    <a:gd name="csY60" fmla="*/ 210044 h 280795"/>
                    <a:gd name="csX61" fmla="*/ 278971 w 376902"/>
                    <a:gd name="csY61" fmla="*/ 186098 h 280795"/>
                    <a:gd name="csX62" fmla="*/ 254672 w 376902"/>
                    <a:gd name="csY62" fmla="*/ 191892 h 280795"/>
                    <a:gd name="csX63" fmla="*/ 261555 w 376902"/>
                    <a:gd name="csY63" fmla="*/ 179215 h 280795"/>
                    <a:gd name="csX64" fmla="*/ 253936 w 376902"/>
                    <a:gd name="csY64" fmla="*/ 154180 h 280795"/>
                    <a:gd name="csX65" fmla="*/ 274617 w 376902"/>
                    <a:gd name="csY65" fmla="*/ 142943 h 280795"/>
                    <a:gd name="csX66" fmla="*/ 300356 w 376902"/>
                    <a:gd name="csY66" fmla="*/ 130233 h 280795"/>
                    <a:gd name="csX67" fmla="*/ 313418 w 376902"/>
                    <a:gd name="csY67" fmla="*/ 129145 h 280795"/>
                    <a:gd name="csX68" fmla="*/ 319245 w 376902"/>
                    <a:gd name="csY68" fmla="*/ 135324 h 280795"/>
                    <a:gd name="csX69" fmla="*/ 314154 w 376902"/>
                    <a:gd name="csY69" fmla="*/ 143679 h 280795"/>
                    <a:gd name="csX70" fmla="*/ 316684 w 376902"/>
                    <a:gd name="csY70" fmla="*/ 149090 h 280795"/>
                    <a:gd name="csX71" fmla="*/ 330482 w 376902"/>
                    <a:gd name="csY71" fmla="*/ 138589 h 280795"/>
                    <a:gd name="csX72" fmla="*/ 334099 w 376902"/>
                    <a:gd name="csY72" fmla="*/ 130233 h 280795"/>
                    <a:gd name="csX73" fmla="*/ 348602 w 376902"/>
                    <a:gd name="csY73" fmla="*/ 130233 h 280795"/>
                    <a:gd name="csX74" fmla="*/ 363136 w 376902"/>
                    <a:gd name="csY74" fmla="*/ 124087 h 280795"/>
                    <a:gd name="csX75" fmla="*/ 375109 w 376902"/>
                    <a:gd name="csY75" fmla="*/ 131674 h 280795"/>
                    <a:gd name="csX76" fmla="*/ 375109 w 376902"/>
                    <a:gd name="csY76" fmla="*/ 114642 h 280795"/>
                    <a:gd name="csX77" fmla="*/ 376198 w 376902"/>
                    <a:gd name="csY77" fmla="*/ 54424 h 280795"/>
                    <a:gd name="csX78" fmla="*/ 376198 w 376902"/>
                    <a:gd name="csY78" fmla="*/ 37008 h 280795"/>
                    <a:gd name="csX79" fmla="*/ 376902 w 376902"/>
                    <a:gd name="csY79" fmla="*/ 0 h 280795"/>
                    <a:gd name="csX80" fmla="*/ 339189 w 376902"/>
                    <a:gd name="csY80" fmla="*/ 2913 h 280795"/>
                    <a:gd name="csX81" fmla="*/ 311625 w 376902"/>
                    <a:gd name="csY81" fmla="*/ 8004 h 280795"/>
                    <a:gd name="csX82" fmla="*/ 286590 w 376902"/>
                    <a:gd name="csY82" fmla="*/ 5442 h 280795"/>
                    <a:gd name="csX83" fmla="*/ 263380 w 376902"/>
                    <a:gd name="csY83" fmla="*/ 8708 h 280795"/>
                    <a:gd name="csX84" fmla="*/ 233991 w 376902"/>
                    <a:gd name="csY84" fmla="*/ 8004 h 2807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76902" h="280795">
                      <a:moveTo>
                        <a:pt x="233991" y="8004"/>
                      </a:moveTo>
                      <a:lnTo>
                        <a:pt x="225635" y="10533"/>
                      </a:lnTo>
                      <a:lnTo>
                        <a:pt x="205691" y="16327"/>
                      </a:lnTo>
                      <a:lnTo>
                        <a:pt x="202425" y="24299"/>
                      </a:lnTo>
                      <a:lnTo>
                        <a:pt x="191893" y="28653"/>
                      </a:lnTo>
                      <a:lnTo>
                        <a:pt x="186834" y="36272"/>
                      </a:lnTo>
                      <a:lnTo>
                        <a:pt x="181744" y="33007"/>
                      </a:lnTo>
                      <a:lnTo>
                        <a:pt x="173036" y="28653"/>
                      </a:lnTo>
                      <a:lnTo>
                        <a:pt x="161063" y="30125"/>
                      </a:lnTo>
                      <a:lnTo>
                        <a:pt x="130970" y="51895"/>
                      </a:lnTo>
                      <a:lnTo>
                        <a:pt x="118612" y="51895"/>
                      </a:lnTo>
                      <a:lnTo>
                        <a:pt x="102317" y="72576"/>
                      </a:lnTo>
                      <a:lnTo>
                        <a:pt x="85990" y="104110"/>
                      </a:lnTo>
                      <a:lnTo>
                        <a:pt x="80900" y="117171"/>
                      </a:lnTo>
                      <a:lnTo>
                        <a:pt x="76546" y="117171"/>
                      </a:lnTo>
                      <a:lnTo>
                        <a:pt x="69663" y="129145"/>
                      </a:lnTo>
                      <a:lnTo>
                        <a:pt x="55865" y="140414"/>
                      </a:lnTo>
                      <a:lnTo>
                        <a:pt x="32654" y="130233"/>
                      </a:lnTo>
                      <a:lnTo>
                        <a:pt x="32654" y="115379"/>
                      </a:lnTo>
                      <a:lnTo>
                        <a:pt x="16327" y="125879"/>
                      </a:lnTo>
                      <a:lnTo>
                        <a:pt x="8708" y="120437"/>
                      </a:lnTo>
                      <a:lnTo>
                        <a:pt x="0" y="130233"/>
                      </a:lnTo>
                      <a:lnTo>
                        <a:pt x="16327" y="154916"/>
                      </a:lnTo>
                      <a:lnTo>
                        <a:pt x="5090" y="179215"/>
                      </a:lnTo>
                      <a:lnTo>
                        <a:pt x="19945" y="175597"/>
                      </a:lnTo>
                      <a:lnTo>
                        <a:pt x="20681" y="183569"/>
                      </a:lnTo>
                      <a:lnTo>
                        <a:pt x="29389" y="184305"/>
                      </a:lnTo>
                      <a:lnTo>
                        <a:pt x="30125" y="184305"/>
                      </a:lnTo>
                      <a:lnTo>
                        <a:pt x="14502" y="217664"/>
                      </a:lnTo>
                      <a:lnTo>
                        <a:pt x="23947" y="222018"/>
                      </a:lnTo>
                      <a:lnTo>
                        <a:pt x="28301" y="238345"/>
                      </a:lnTo>
                      <a:lnTo>
                        <a:pt x="32654" y="230725"/>
                      </a:lnTo>
                      <a:lnTo>
                        <a:pt x="46452" y="228901"/>
                      </a:lnTo>
                      <a:lnTo>
                        <a:pt x="50070" y="244524"/>
                      </a:lnTo>
                      <a:lnTo>
                        <a:pt x="54072" y="255761"/>
                      </a:lnTo>
                      <a:lnTo>
                        <a:pt x="62780" y="253936"/>
                      </a:lnTo>
                      <a:lnTo>
                        <a:pt x="72192" y="264468"/>
                      </a:lnTo>
                      <a:lnTo>
                        <a:pt x="96491" y="264468"/>
                      </a:lnTo>
                      <a:lnTo>
                        <a:pt x="110993" y="270999"/>
                      </a:lnTo>
                      <a:lnTo>
                        <a:pt x="125527" y="255761"/>
                      </a:lnTo>
                      <a:lnTo>
                        <a:pt x="133499" y="261555"/>
                      </a:lnTo>
                      <a:lnTo>
                        <a:pt x="138589" y="263380"/>
                      </a:lnTo>
                      <a:lnTo>
                        <a:pt x="141854" y="257553"/>
                      </a:lnTo>
                      <a:lnTo>
                        <a:pt x="143647" y="265909"/>
                      </a:lnTo>
                      <a:lnTo>
                        <a:pt x="149826" y="264468"/>
                      </a:lnTo>
                      <a:lnTo>
                        <a:pt x="154180" y="260114"/>
                      </a:lnTo>
                      <a:lnTo>
                        <a:pt x="158534" y="263380"/>
                      </a:lnTo>
                      <a:lnTo>
                        <a:pt x="159975" y="268438"/>
                      </a:lnTo>
                      <a:lnTo>
                        <a:pt x="166153" y="263380"/>
                      </a:lnTo>
                      <a:lnTo>
                        <a:pt x="164328" y="269527"/>
                      </a:lnTo>
                      <a:lnTo>
                        <a:pt x="188627" y="280796"/>
                      </a:lnTo>
                      <a:lnTo>
                        <a:pt x="206427" y="272792"/>
                      </a:lnTo>
                      <a:lnTo>
                        <a:pt x="212574" y="273881"/>
                      </a:lnTo>
                      <a:lnTo>
                        <a:pt x="225635" y="262644"/>
                      </a:lnTo>
                      <a:lnTo>
                        <a:pt x="230726" y="266998"/>
                      </a:lnTo>
                      <a:lnTo>
                        <a:pt x="252111" y="259026"/>
                      </a:lnTo>
                      <a:lnTo>
                        <a:pt x="264084" y="261555"/>
                      </a:lnTo>
                      <a:lnTo>
                        <a:pt x="272088" y="258290"/>
                      </a:lnTo>
                      <a:lnTo>
                        <a:pt x="295298" y="226372"/>
                      </a:lnTo>
                      <a:lnTo>
                        <a:pt x="293473" y="219489"/>
                      </a:lnTo>
                      <a:lnTo>
                        <a:pt x="277146" y="210044"/>
                      </a:lnTo>
                      <a:lnTo>
                        <a:pt x="278971" y="186098"/>
                      </a:lnTo>
                      <a:lnTo>
                        <a:pt x="254672" y="191892"/>
                      </a:lnTo>
                      <a:lnTo>
                        <a:pt x="261555" y="179215"/>
                      </a:lnTo>
                      <a:lnTo>
                        <a:pt x="253936" y="154180"/>
                      </a:lnTo>
                      <a:lnTo>
                        <a:pt x="274617" y="142943"/>
                      </a:lnTo>
                      <a:lnTo>
                        <a:pt x="300356" y="130233"/>
                      </a:lnTo>
                      <a:lnTo>
                        <a:pt x="313418" y="129145"/>
                      </a:lnTo>
                      <a:lnTo>
                        <a:pt x="319245" y="135324"/>
                      </a:lnTo>
                      <a:lnTo>
                        <a:pt x="314154" y="143679"/>
                      </a:lnTo>
                      <a:lnTo>
                        <a:pt x="316684" y="149090"/>
                      </a:lnTo>
                      <a:lnTo>
                        <a:pt x="330482" y="138589"/>
                      </a:lnTo>
                      <a:lnTo>
                        <a:pt x="334099" y="130233"/>
                      </a:lnTo>
                      <a:lnTo>
                        <a:pt x="348602" y="130233"/>
                      </a:lnTo>
                      <a:lnTo>
                        <a:pt x="363136" y="124087"/>
                      </a:lnTo>
                      <a:lnTo>
                        <a:pt x="375109" y="131674"/>
                      </a:lnTo>
                      <a:lnTo>
                        <a:pt x="375109" y="114642"/>
                      </a:lnTo>
                      <a:lnTo>
                        <a:pt x="376198" y="54424"/>
                      </a:lnTo>
                      <a:lnTo>
                        <a:pt x="376198" y="37008"/>
                      </a:lnTo>
                      <a:lnTo>
                        <a:pt x="376902" y="0"/>
                      </a:lnTo>
                      <a:lnTo>
                        <a:pt x="339189" y="2913"/>
                      </a:lnTo>
                      <a:lnTo>
                        <a:pt x="311625" y="8004"/>
                      </a:lnTo>
                      <a:lnTo>
                        <a:pt x="286590" y="5442"/>
                      </a:lnTo>
                      <a:lnTo>
                        <a:pt x="263380" y="8708"/>
                      </a:lnTo>
                      <a:lnTo>
                        <a:pt x="233991" y="800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0" name="Forma Livre: Forma 389">
                  <a:extLst>
                    <a:ext uri="{FF2B5EF4-FFF2-40B4-BE49-F238E27FC236}">
                      <a16:creationId xmlns:a16="http://schemas.microsoft.com/office/drawing/2014/main" id="{1DB8851F-D018-8F80-6F8D-D2F34DB2FED3}"/>
                    </a:ext>
                  </a:extLst>
                </p:cNvPr>
                <p:cNvSpPr/>
                <p:nvPr/>
              </p:nvSpPr>
              <p:spPr>
                <a:xfrm>
                  <a:off x="3185958" y="3302962"/>
                  <a:ext cx="376902" cy="280795"/>
                </a:xfrm>
                <a:custGeom>
                  <a:avLst/>
                  <a:gdLst>
                    <a:gd name="csX0" fmla="*/ 233991 w 376902"/>
                    <a:gd name="csY0" fmla="*/ 8004 h 280795"/>
                    <a:gd name="csX1" fmla="*/ 225635 w 376902"/>
                    <a:gd name="csY1" fmla="*/ 10533 h 280795"/>
                    <a:gd name="csX2" fmla="*/ 205691 w 376902"/>
                    <a:gd name="csY2" fmla="*/ 16327 h 280795"/>
                    <a:gd name="csX3" fmla="*/ 202425 w 376902"/>
                    <a:gd name="csY3" fmla="*/ 24299 h 280795"/>
                    <a:gd name="csX4" fmla="*/ 191893 w 376902"/>
                    <a:gd name="csY4" fmla="*/ 28653 h 280795"/>
                    <a:gd name="csX5" fmla="*/ 186834 w 376902"/>
                    <a:gd name="csY5" fmla="*/ 36272 h 280795"/>
                    <a:gd name="csX6" fmla="*/ 181744 w 376902"/>
                    <a:gd name="csY6" fmla="*/ 33007 h 280795"/>
                    <a:gd name="csX7" fmla="*/ 173036 w 376902"/>
                    <a:gd name="csY7" fmla="*/ 28653 h 280795"/>
                    <a:gd name="csX8" fmla="*/ 161063 w 376902"/>
                    <a:gd name="csY8" fmla="*/ 30125 h 280795"/>
                    <a:gd name="csX9" fmla="*/ 130970 w 376902"/>
                    <a:gd name="csY9" fmla="*/ 51895 h 280795"/>
                    <a:gd name="csX10" fmla="*/ 118612 w 376902"/>
                    <a:gd name="csY10" fmla="*/ 51895 h 280795"/>
                    <a:gd name="csX11" fmla="*/ 102317 w 376902"/>
                    <a:gd name="csY11" fmla="*/ 72576 h 280795"/>
                    <a:gd name="csX12" fmla="*/ 85990 w 376902"/>
                    <a:gd name="csY12" fmla="*/ 104110 h 280795"/>
                    <a:gd name="csX13" fmla="*/ 80900 w 376902"/>
                    <a:gd name="csY13" fmla="*/ 117171 h 280795"/>
                    <a:gd name="csX14" fmla="*/ 76546 w 376902"/>
                    <a:gd name="csY14" fmla="*/ 117171 h 280795"/>
                    <a:gd name="csX15" fmla="*/ 69663 w 376902"/>
                    <a:gd name="csY15" fmla="*/ 129145 h 280795"/>
                    <a:gd name="csX16" fmla="*/ 55865 w 376902"/>
                    <a:gd name="csY16" fmla="*/ 140414 h 280795"/>
                    <a:gd name="csX17" fmla="*/ 32654 w 376902"/>
                    <a:gd name="csY17" fmla="*/ 130233 h 280795"/>
                    <a:gd name="csX18" fmla="*/ 32654 w 376902"/>
                    <a:gd name="csY18" fmla="*/ 115379 h 280795"/>
                    <a:gd name="csX19" fmla="*/ 16327 w 376902"/>
                    <a:gd name="csY19" fmla="*/ 125879 h 280795"/>
                    <a:gd name="csX20" fmla="*/ 8708 w 376902"/>
                    <a:gd name="csY20" fmla="*/ 120437 h 280795"/>
                    <a:gd name="csX21" fmla="*/ 0 w 376902"/>
                    <a:gd name="csY21" fmla="*/ 130233 h 280795"/>
                    <a:gd name="csX22" fmla="*/ 16327 w 376902"/>
                    <a:gd name="csY22" fmla="*/ 154916 h 280795"/>
                    <a:gd name="csX23" fmla="*/ 5090 w 376902"/>
                    <a:gd name="csY23" fmla="*/ 179215 h 280795"/>
                    <a:gd name="csX24" fmla="*/ 19945 w 376902"/>
                    <a:gd name="csY24" fmla="*/ 175597 h 280795"/>
                    <a:gd name="csX25" fmla="*/ 20681 w 376902"/>
                    <a:gd name="csY25" fmla="*/ 183569 h 280795"/>
                    <a:gd name="csX26" fmla="*/ 29389 w 376902"/>
                    <a:gd name="csY26" fmla="*/ 184305 h 280795"/>
                    <a:gd name="csX27" fmla="*/ 30125 w 376902"/>
                    <a:gd name="csY27" fmla="*/ 184305 h 280795"/>
                    <a:gd name="csX28" fmla="*/ 14502 w 376902"/>
                    <a:gd name="csY28" fmla="*/ 217664 h 280795"/>
                    <a:gd name="csX29" fmla="*/ 23947 w 376902"/>
                    <a:gd name="csY29" fmla="*/ 222018 h 280795"/>
                    <a:gd name="csX30" fmla="*/ 28301 w 376902"/>
                    <a:gd name="csY30" fmla="*/ 238345 h 280795"/>
                    <a:gd name="csX31" fmla="*/ 32654 w 376902"/>
                    <a:gd name="csY31" fmla="*/ 230725 h 280795"/>
                    <a:gd name="csX32" fmla="*/ 46452 w 376902"/>
                    <a:gd name="csY32" fmla="*/ 228901 h 280795"/>
                    <a:gd name="csX33" fmla="*/ 50070 w 376902"/>
                    <a:gd name="csY33" fmla="*/ 244524 h 280795"/>
                    <a:gd name="csX34" fmla="*/ 54072 w 376902"/>
                    <a:gd name="csY34" fmla="*/ 255761 h 280795"/>
                    <a:gd name="csX35" fmla="*/ 62780 w 376902"/>
                    <a:gd name="csY35" fmla="*/ 253936 h 280795"/>
                    <a:gd name="csX36" fmla="*/ 72192 w 376902"/>
                    <a:gd name="csY36" fmla="*/ 264468 h 280795"/>
                    <a:gd name="csX37" fmla="*/ 96491 w 376902"/>
                    <a:gd name="csY37" fmla="*/ 264468 h 280795"/>
                    <a:gd name="csX38" fmla="*/ 110993 w 376902"/>
                    <a:gd name="csY38" fmla="*/ 270999 h 280795"/>
                    <a:gd name="csX39" fmla="*/ 125527 w 376902"/>
                    <a:gd name="csY39" fmla="*/ 255761 h 280795"/>
                    <a:gd name="csX40" fmla="*/ 133499 w 376902"/>
                    <a:gd name="csY40" fmla="*/ 261555 h 280795"/>
                    <a:gd name="csX41" fmla="*/ 138589 w 376902"/>
                    <a:gd name="csY41" fmla="*/ 263380 h 280795"/>
                    <a:gd name="csX42" fmla="*/ 141854 w 376902"/>
                    <a:gd name="csY42" fmla="*/ 257553 h 280795"/>
                    <a:gd name="csX43" fmla="*/ 143647 w 376902"/>
                    <a:gd name="csY43" fmla="*/ 265909 h 280795"/>
                    <a:gd name="csX44" fmla="*/ 149826 w 376902"/>
                    <a:gd name="csY44" fmla="*/ 264468 h 280795"/>
                    <a:gd name="csX45" fmla="*/ 154180 w 376902"/>
                    <a:gd name="csY45" fmla="*/ 260114 h 280795"/>
                    <a:gd name="csX46" fmla="*/ 158534 w 376902"/>
                    <a:gd name="csY46" fmla="*/ 263380 h 280795"/>
                    <a:gd name="csX47" fmla="*/ 159975 w 376902"/>
                    <a:gd name="csY47" fmla="*/ 268438 h 280795"/>
                    <a:gd name="csX48" fmla="*/ 166153 w 376902"/>
                    <a:gd name="csY48" fmla="*/ 263380 h 280795"/>
                    <a:gd name="csX49" fmla="*/ 164328 w 376902"/>
                    <a:gd name="csY49" fmla="*/ 269527 h 280795"/>
                    <a:gd name="csX50" fmla="*/ 188627 w 376902"/>
                    <a:gd name="csY50" fmla="*/ 280796 h 280795"/>
                    <a:gd name="csX51" fmla="*/ 206427 w 376902"/>
                    <a:gd name="csY51" fmla="*/ 272792 h 280795"/>
                    <a:gd name="csX52" fmla="*/ 212574 w 376902"/>
                    <a:gd name="csY52" fmla="*/ 273881 h 280795"/>
                    <a:gd name="csX53" fmla="*/ 225635 w 376902"/>
                    <a:gd name="csY53" fmla="*/ 262644 h 280795"/>
                    <a:gd name="csX54" fmla="*/ 230726 w 376902"/>
                    <a:gd name="csY54" fmla="*/ 266998 h 280795"/>
                    <a:gd name="csX55" fmla="*/ 252111 w 376902"/>
                    <a:gd name="csY55" fmla="*/ 259026 h 280795"/>
                    <a:gd name="csX56" fmla="*/ 264084 w 376902"/>
                    <a:gd name="csY56" fmla="*/ 261555 h 280795"/>
                    <a:gd name="csX57" fmla="*/ 272088 w 376902"/>
                    <a:gd name="csY57" fmla="*/ 258290 h 280795"/>
                    <a:gd name="csX58" fmla="*/ 295298 w 376902"/>
                    <a:gd name="csY58" fmla="*/ 226372 h 280795"/>
                    <a:gd name="csX59" fmla="*/ 293473 w 376902"/>
                    <a:gd name="csY59" fmla="*/ 219489 h 280795"/>
                    <a:gd name="csX60" fmla="*/ 277146 w 376902"/>
                    <a:gd name="csY60" fmla="*/ 210044 h 280795"/>
                    <a:gd name="csX61" fmla="*/ 278971 w 376902"/>
                    <a:gd name="csY61" fmla="*/ 186098 h 280795"/>
                    <a:gd name="csX62" fmla="*/ 254672 w 376902"/>
                    <a:gd name="csY62" fmla="*/ 191892 h 280795"/>
                    <a:gd name="csX63" fmla="*/ 261555 w 376902"/>
                    <a:gd name="csY63" fmla="*/ 179215 h 280795"/>
                    <a:gd name="csX64" fmla="*/ 253936 w 376902"/>
                    <a:gd name="csY64" fmla="*/ 154180 h 280795"/>
                    <a:gd name="csX65" fmla="*/ 274617 w 376902"/>
                    <a:gd name="csY65" fmla="*/ 142943 h 280795"/>
                    <a:gd name="csX66" fmla="*/ 300356 w 376902"/>
                    <a:gd name="csY66" fmla="*/ 130233 h 280795"/>
                    <a:gd name="csX67" fmla="*/ 313418 w 376902"/>
                    <a:gd name="csY67" fmla="*/ 129145 h 280795"/>
                    <a:gd name="csX68" fmla="*/ 319245 w 376902"/>
                    <a:gd name="csY68" fmla="*/ 135324 h 280795"/>
                    <a:gd name="csX69" fmla="*/ 314154 w 376902"/>
                    <a:gd name="csY69" fmla="*/ 143679 h 280795"/>
                    <a:gd name="csX70" fmla="*/ 316684 w 376902"/>
                    <a:gd name="csY70" fmla="*/ 149090 h 280795"/>
                    <a:gd name="csX71" fmla="*/ 330482 w 376902"/>
                    <a:gd name="csY71" fmla="*/ 138589 h 280795"/>
                    <a:gd name="csX72" fmla="*/ 334099 w 376902"/>
                    <a:gd name="csY72" fmla="*/ 130233 h 280795"/>
                    <a:gd name="csX73" fmla="*/ 348602 w 376902"/>
                    <a:gd name="csY73" fmla="*/ 130233 h 280795"/>
                    <a:gd name="csX74" fmla="*/ 363136 w 376902"/>
                    <a:gd name="csY74" fmla="*/ 124087 h 280795"/>
                    <a:gd name="csX75" fmla="*/ 375109 w 376902"/>
                    <a:gd name="csY75" fmla="*/ 131674 h 280795"/>
                    <a:gd name="csX76" fmla="*/ 375109 w 376902"/>
                    <a:gd name="csY76" fmla="*/ 114642 h 280795"/>
                    <a:gd name="csX77" fmla="*/ 376198 w 376902"/>
                    <a:gd name="csY77" fmla="*/ 54424 h 280795"/>
                    <a:gd name="csX78" fmla="*/ 376198 w 376902"/>
                    <a:gd name="csY78" fmla="*/ 37008 h 280795"/>
                    <a:gd name="csX79" fmla="*/ 376902 w 376902"/>
                    <a:gd name="csY79" fmla="*/ 0 h 280795"/>
                    <a:gd name="csX80" fmla="*/ 339189 w 376902"/>
                    <a:gd name="csY80" fmla="*/ 2913 h 280795"/>
                    <a:gd name="csX81" fmla="*/ 311625 w 376902"/>
                    <a:gd name="csY81" fmla="*/ 8004 h 280795"/>
                    <a:gd name="csX82" fmla="*/ 286590 w 376902"/>
                    <a:gd name="csY82" fmla="*/ 5442 h 280795"/>
                    <a:gd name="csX83" fmla="*/ 263380 w 376902"/>
                    <a:gd name="csY83" fmla="*/ 8708 h 280795"/>
                    <a:gd name="csX84" fmla="*/ 233991 w 376902"/>
                    <a:gd name="csY84" fmla="*/ 8004 h 2807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76902" h="280795">
                      <a:moveTo>
                        <a:pt x="233991" y="8004"/>
                      </a:moveTo>
                      <a:lnTo>
                        <a:pt x="225635" y="10533"/>
                      </a:lnTo>
                      <a:lnTo>
                        <a:pt x="205691" y="16327"/>
                      </a:lnTo>
                      <a:lnTo>
                        <a:pt x="202425" y="24299"/>
                      </a:lnTo>
                      <a:lnTo>
                        <a:pt x="191893" y="28653"/>
                      </a:lnTo>
                      <a:lnTo>
                        <a:pt x="186834" y="36272"/>
                      </a:lnTo>
                      <a:lnTo>
                        <a:pt x="181744" y="33007"/>
                      </a:lnTo>
                      <a:lnTo>
                        <a:pt x="173036" y="28653"/>
                      </a:lnTo>
                      <a:lnTo>
                        <a:pt x="161063" y="30125"/>
                      </a:lnTo>
                      <a:lnTo>
                        <a:pt x="130970" y="51895"/>
                      </a:lnTo>
                      <a:lnTo>
                        <a:pt x="118612" y="51895"/>
                      </a:lnTo>
                      <a:lnTo>
                        <a:pt x="102317" y="72576"/>
                      </a:lnTo>
                      <a:lnTo>
                        <a:pt x="85990" y="104110"/>
                      </a:lnTo>
                      <a:lnTo>
                        <a:pt x="80900" y="117171"/>
                      </a:lnTo>
                      <a:lnTo>
                        <a:pt x="76546" y="117171"/>
                      </a:lnTo>
                      <a:lnTo>
                        <a:pt x="69663" y="129145"/>
                      </a:lnTo>
                      <a:lnTo>
                        <a:pt x="55865" y="140414"/>
                      </a:lnTo>
                      <a:lnTo>
                        <a:pt x="32654" y="130233"/>
                      </a:lnTo>
                      <a:lnTo>
                        <a:pt x="32654" y="115379"/>
                      </a:lnTo>
                      <a:lnTo>
                        <a:pt x="16327" y="125879"/>
                      </a:lnTo>
                      <a:lnTo>
                        <a:pt x="8708" y="120437"/>
                      </a:lnTo>
                      <a:lnTo>
                        <a:pt x="0" y="130233"/>
                      </a:lnTo>
                      <a:lnTo>
                        <a:pt x="16327" y="154916"/>
                      </a:lnTo>
                      <a:lnTo>
                        <a:pt x="5090" y="179215"/>
                      </a:lnTo>
                      <a:lnTo>
                        <a:pt x="19945" y="175597"/>
                      </a:lnTo>
                      <a:lnTo>
                        <a:pt x="20681" y="183569"/>
                      </a:lnTo>
                      <a:lnTo>
                        <a:pt x="29389" y="184305"/>
                      </a:lnTo>
                      <a:lnTo>
                        <a:pt x="30125" y="184305"/>
                      </a:lnTo>
                      <a:lnTo>
                        <a:pt x="14502" y="217664"/>
                      </a:lnTo>
                      <a:lnTo>
                        <a:pt x="23947" y="222018"/>
                      </a:lnTo>
                      <a:lnTo>
                        <a:pt x="28301" y="238345"/>
                      </a:lnTo>
                      <a:lnTo>
                        <a:pt x="32654" y="230725"/>
                      </a:lnTo>
                      <a:lnTo>
                        <a:pt x="46452" y="228901"/>
                      </a:lnTo>
                      <a:lnTo>
                        <a:pt x="50070" y="244524"/>
                      </a:lnTo>
                      <a:lnTo>
                        <a:pt x="54072" y="255761"/>
                      </a:lnTo>
                      <a:lnTo>
                        <a:pt x="62780" y="253936"/>
                      </a:lnTo>
                      <a:lnTo>
                        <a:pt x="72192" y="264468"/>
                      </a:lnTo>
                      <a:lnTo>
                        <a:pt x="96491" y="264468"/>
                      </a:lnTo>
                      <a:lnTo>
                        <a:pt x="110993" y="270999"/>
                      </a:lnTo>
                      <a:lnTo>
                        <a:pt x="125527" y="255761"/>
                      </a:lnTo>
                      <a:lnTo>
                        <a:pt x="133499" y="261555"/>
                      </a:lnTo>
                      <a:lnTo>
                        <a:pt x="138589" y="263380"/>
                      </a:lnTo>
                      <a:lnTo>
                        <a:pt x="141854" y="257553"/>
                      </a:lnTo>
                      <a:lnTo>
                        <a:pt x="143647" y="265909"/>
                      </a:lnTo>
                      <a:lnTo>
                        <a:pt x="149826" y="264468"/>
                      </a:lnTo>
                      <a:lnTo>
                        <a:pt x="154180" y="260114"/>
                      </a:lnTo>
                      <a:lnTo>
                        <a:pt x="158534" y="263380"/>
                      </a:lnTo>
                      <a:lnTo>
                        <a:pt x="159975" y="268438"/>
                      </a:lnTo>
                      <a:lnTo>
                        <a:pt x="166153" y="263380"/>
                      </a:lnTo>
                      <a:lnTo>
                        <a:pt x="164328" y="269527"/>
                      </a:lnTo>
                      <a:lnTo>
                        <a:pt x="188627" y="280796"/>
                      </a:lnTo>
                      <a:lnTo>
                        <a:pt x="206427" y="272792"/>
                      </a:lnTo>
                      <a:lnTo>
                        <a:pt x="212574" y="273881"/>
                      </a:lnTo>
                      <a:lnTo>
                        <a:pt x="225635" y="262644"/>
                      </a:lnTo>
                      <a:lnTo>
                        <a:pt x="230726" y="266998"/>
                      </a:lnTo>
                      <a:lnTo>
                        <a:pt x="252111" y="259026"/>
                      </a:lnTo>
                      <a:lnTo>
                        <a:pt x="264084" y="261555"/>
                      </a:lnTo>
                      <a:lnTo>
                        <a:pt x="272088" y="258290"/>
                      </a:lnTo>
                      <a:lnTo>
                        <a:pt x="295298" y="226372"/>
                      </a:lnTo>
                      <a:lnTo>
                        <a:pt x="293473" y="219489"/>
                      </a:lnTo>
                      <a:lnTo>
                        <a:pt x="277146" y="210044"/>
                      </a:lnTo>
                      <a:lnTo>
                        <a:pt x="278971" y="186098"/>
                      </a:lnTo>
                      <a:lnTo>
                        <a:pt x="254672" y="191892"/>
                      </a:lnTo>
                      <a:lnTo>
                        <a:pt x="261555" y="179215"/>
                      </a:lnTo>
                      <a:lnTo>
                        <a:pt x="253936" y="154180"/>
                      </a:lnTo>
                      <a:lnTo>
                        <a:pt x="274617" y="142943"/>
                      </a:lnTo>
                      <a:lnTo>
                        <a:pt x="300356" y="130233"/>
                      </a:lnTo>
                      <a:lnTo>
                        <a:pt x="313418" y="129145"/>
                      </a:lnTo>
                      <a:lnTo>
                        <a:pt x="319245" y="135324"/>
                      </a:lnTo>
                      <a:lnTo>
                        <a:pt x="314154" y="143679"/>
                      </a:lnTo>
                      <a:lnTo>
                        <a:pt x="316684" y="149090"/>
                      </a:lnTo>
                      <a:lnTo>
                        <a:pt x="330482" y="138589"/>
                      </a:lnTo>
                      <a:lnTo>
                        <a:pt x="334099" y="130233"/>
                      </a:lnTo>
                      <a:lnTo>
                        <a:pt x="348602" y="130233"/>
                      </a:lnTo>
                      <a:lnTo>
                        <a:pt x="363136" y="124087"/>
                      </a:lnTo>
                      <a:lnTo>
                        <a:pt x="375109" y="131674"/>
                      </a:lnTo>
                      <a:lnTo>
                        <a:pt x="375109" y="114642"/>
                      </a:lnTo>
                      <a:lnTo>
                        <a:pt x="376198" y="54424"/>
                      </a:lnTo>
                      <a:lnTo>
                        <a:pt x="376198" y="37008"/>
                      </a:lnTo>
                      <a:lnTo>
                        <a:pt x="376902" y="0"/>
                      </a:lnTo>
                      <a:lnTo>
                        <a:pt x="339189" y="2913"/>
                      </a:lnTo>
                      <a:lnTo>
                        <a:pt x="311625" y="8004"/>
                      </a:lnTo>
                      <a:lnTo>
                        <a:pt x="286590" y="5442"/>
                      </a:lnTo>
                      <a:lnTo>
                        <a:pt x="263380" y="8708"/>
                      </a:lnTo>
                      <a:lnTo>
                        <a:pt x="233991" y="800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1" name="Forma Livre: Forma 390">
                  <a:extLst>
                    <a:ext uri="{FF2B5EF4-FFF2-40B4-BE49-F238E27FC236}">
                      <a16:creationId xmlns:a16="http://schemas.microsoft.com/office/drawing/2014/main" id="{30B32F91-F759-0E30-2317-55A5977162C8}"/>
                    </a:ext>
                  </a:extLst>
                </p:cNvPr>
                <p:cNvSpPr/>
                <p:nvPr/>
              </p:nvSpPr>
              <p:spPr>
                <a:xfrm>
                  <a:off x="3185958" y="3302962"/>
                  <a:ext cx="376902" cy="280795"/>
                </a:xfrm>
                <a:custGeom>
                  <a:avLst/>
                  <a:gdLst>
                    <a:gd name="csX0" fmla="*/ 233991 w 376902"/>
                    <a:gd name="csY0" fmla="*/ 8004 h 280795"/>
                    <a:gd name="csX1" fmla="*/ 225635 w 376902"/>
                    <a:gd name="csY1" fmla="*/ 10533 h 280795"/>
                    <a:gd name="csX2" fmla="*/ 205691 w 376902"/>
                    <a:gd name="csY2" fmla="*/ 16327 h 280795"/>
                    <a:gd name="csX3" fmla="*/ 202425 w 376902"/>
                    <a:gd name="csY3" fmla="*/ 24299 h 280795"/>
                    <a:gd name="csX4" fmla="*/ 191893 w 376902"/>
                    <a:gd name="csY4" fmla="*/ 28653 h 280795"/>
                    <a:gd name="csX5" fmla="*/ 186834 w 376902"/>
                    <a:gd name="csY5" fmla="*/ 36272 h 280795"/>
                    <a:gd name="csX6" fmla="*/ 181744 w 376902"/>
                    <a:gd name="csY6" fmla="*/ 33007 h 280795"/>
                    <a:gd name="csX7" fmla="*/ 173036 w 376902"/>
                    <a:gd name="csY7" fmla="*/ 28653 h 280795"/>
                    <a:gd name="csX8" fmla="*/ 161063 w 376902"/>
                    <a:gd name="csY8" fmla="*/ 30125 h 280795"/>
                    <a:gd name="csX9" fmla="*/ 130970 w 376902"/>
                    <a:gd name="csY9" fmla="*/ 51895 h 280795"/>
                    <a:gd name="csX10" fmla="*/ 118612 w 376902"/>
                    <a:gd name="csY10" fmla="*/ 51895 h 280795"/>
                    <a:gd name="csX11" fmla="*/ 102317 w 376902"/>
                    <a:gd name="csY11" fmla="*/ 72576 h 280795"/>
                    <a:gd name="csX12" fmla="*/ 85990 w 376902"/>
                    <a:gd name="csY12" fmla="*/ 104110 h 280795"/>
                    <a:gd name="csX13" fmla="*/ 80900 w 376902"/>
                    <a:gd name="csY13" fmla="*/ 117171 h 280795"/>
                    <a:gd name="csX14" fmla="*/ 76546 w 376902"/>
                    <a:gd name="csY14" fmla="*/ 117171 h 280795"/>
                    <a:gd name="csX15" fmla="*/ 69663 w 376902"/>
                    <a:gd name="csY15" fmla="*/ 129145 h 280795"/>
                    <a:gd name="csX16" fmla="*/ 55865 w 376902"/>
                    <a:gd name="csY16" fmla="*/ 140414 h 280795"/>
                    <a:gd name="csX17" fmla="*/ 32654 w 376902"/>
                    <a:gd name="csY17" fmla="*/ 130233 h 280795"/>
                    <a:gd name="csX18" fmla="*/ 32654 w 376902"/>
                    <a:gd name="csY18" fmla="*/ 115379 h 280795"/>
                    <a:gd name="csX19" fmla="*/ 16327 w 376902"/>
                    <a:gd name="csY19" fmla="*/ 125879 h 280795"/>
                    <a:gd name="csX20" fmla="*/ 8708 w 376902"/>
                    <a:gd name="csY20" fmla="*/ 120437 h 280795"/>
                    <a:gd name="csX21" fmla="*/ 0 w 376902"/>
                    <a:gd name="csY21" fmla="*/ 130233 h 280795"/>
                    <a:gd name="csX22" fmla="*/ 16327 w 376902"/>
                    <a:gd name="csY22" fmla="*/ 154916 h 280795"/>
                    <a:gd name="csX23" fmla="*/ 5090 w 376902"/>
                    <a:gd name="csY23" fmla="*/ 179215 h 280795"/>
                    <a:gd name="csX24" fmla="*/ 19945 w 376902"/>
                    <a:gd name="csY24" fmla="*/ 175597 h 280795"/>
                    <a:gd name="csX25" fmla="*/ 20681 w 376902"/>
                    <a:gd name="csY25" fmla="*/ 183569 h 280795"/>
                    <a:gd name="csX26" fmla="*/ 29389 w 376902"/>
                    <a:gd name="csY26" fmla="*/ 184305 h 280795"/>
                    <a:gd name="csX27" fmla="*/ 30125 w 376902"/>
                    <a:gd name="csY27" fmla="*/ 184305 h 280795"/>
                    <a:gd name="csX28" fmla="*/ 14502 w 376902"/>
                    <a:gd name="csY28" fmla="*/ 217664 h 280795"/>
                    <a:gd name="csX29" fmla="*/ 23947 w 376902"/>
                    <a:gd name="csY29" fmla="*/ 222018 h 280795"/>
                    <a:gd name="csX30" fmla="*/ 28301 w 376902"/>
                    <a:gd name="csY30" fmla="*/ 238345 h 280795"/>
                    <a:gd name="csX31" fmla="*/ 32654 w 376902"/>
                    <a:gd name="csY31" fmla="*/ 230725 h 280795"/>
                    <a:gd name="csX32" fmla="*/ 46452 w 376902"/>
                    <a:gd name="csY32" fmla="*/ 228901 h 280795"/>
                    <a:gd name="csX33" fmla="*/ 50070 w 376902"/>
                    <a:gd name="csY33" fmla="*/ 244524 h 280795"/>
                    <a:gd name="csX34" fmla="*/ 54072 w 376902"/>
                    <a:gd name="csY34" fmla="*/ 255761 h 280795"/>
                    <a:gd name="csX35" fmla="*/ 62780 w 376902"/>
                    <a:gd name="csY35" fmla="*/ 253936 h 280795"/>
                    <a:gd name="csX36" fmla="*/ 72192 w 376902"/>
                    <a:gd name="csY36" fmla="*/ 264468 h 280795"/>
                    <a:gd name="csX37" fmla="*/ 96491 w 376902"/>
                    <a:gd name="csY37" fmla="*/ 264468 h 280795"/>
                    <a:gd name="csX38" fmla="*/ 110993 w 376902"/>
                    <a:gd name="csY38" fmla="*/ 270999 h 280795"/>
                    <a:gd name="csX39" fmla="*/ 125527 w 376902"/>
                    <a:gd name="csY39" fmla="*/ 255761 h 280795"/>
                    <a:gd name="csX40" fmla="*/ 133499 w 376902"/>
                    <a:gd name="csY40" fmla="*/ 261555 h 280795"/>
                    <a:gd name="csX41" fmla="*/ 138589 w 376902"/>
                    <a:gd name="csY41" fmla="*/ 263380 h 280795"/>
                    <a:gd name="csX42" fmla="*/ 141854 w 376902"/>
                    <a:gd name="csY42" fmla="*/ 257553 h 280795"/>
                    <a:gd name="csX43" fmla="*/ 143647 w 376902"/>
                    <a:gd name="csY43" fmla="*/ 265909 h 280795"/>
                    <a:gd name="csX44" fmla="*/ 149826 w 376902"/>
                    <a:gd name="csY44" fmla="*/ 264468 h 280795"/>
                    <a:gd name="csX45" fmla="*/ 154180 w 376902"/>
                    <a:gd name="csY45" fmla="*/ 260114 h 280795"/>
                    <a:gd name="csX46" fmla="*/ 158534 w 376902"/>
                    <a:gd name="csY46" fmla="*/ 263380 h 280795"/>
                    <a:gd name="csX47" fmla="*/ 159975 w 376902"/>
                    <a:gd name="csY47" fmla="*/ 268438 h 280795"/>
                    <a:gd name="csX48" fmla="*/ 166153 w 376902"/>
                    <a:gd name="csY48" fmla="*/ 263380 h 280795"/>
                    <a:gd name="csX49" fmla="*/ 164328 w 376902"/>
                    <a:gd name="csY49" fmla="*/ 269527 h 280795"/>
                    <a:gd name="csX50" fmla="*/ 188627 w 376902"/>
                    <a:gd name="csY50" fmla="*/ 280796 h 280795"/>
                    <a:gd name="csX51" fmla="*/ 206427 w 376902"/>
                    <a:gd name="csY51" fmla="*/ 272792 h 280795"/>
                    <a:gd name="csX52" fmla="*/ 212574 w 376902"/>
                    <a:gd name="csY52" fmla="*/ 273881 h 280795"/>
                    <a:gd name="csX53" fmla="*/ 225635 w 376902"/>
                    <a:gd name="csY53" fmla="*/ 262644 h 280795"/>
                    <a:gd name="csX54" fmla="*/ 230726 w 376902"/>
                    <a:gd name="csY54" fmla="*/ 266998 h 280795"/>
                    <a:gd name="csX55" fmla="*/ 252111 w 376902"/>
                    <a:gd name="csY55" fmla="*/ 259026 h 280795"/>
                    <a:gd name="csX56" fmla="*/ 264084 w 376902"/>
                    <a:gd name="csY56" fmla="*/ 261555 h 280795"/>
                    <a:gd name="csX57" fmla="*/ 272088 w 376902"/>
                    <a:gd name="csY57" fmla="*/ 258290 h 280795"/>
                    <a:gd name="csX58" fmla="*/ 295298 w 376902"/>
                    <a:gd name="csY58" fmla="*/ 226372 h 280795"/>
                    <a:gd name="csX59" fmla="*/ 293473 w 376902"/>
                    <a:gd name="csY59" fmla="*/ 219489 h 280795"/>
                    <a:gd name="csX60" fmla="*/ 277146 w 376902"/>
                    <a:gd name="csY60" fmla="*/ 210044 h 280795"/>
                    <a:gd name="csX61" fmla="*/ 278971 w 376902"/>
                    <a:gd name="csY61" fmla="*/ 186098 h 280795"/>
                    <a:gd name="csX62" fmla="*/ 254672 w 376902"/>
                    <a:gd name="csY62" fmla="*/ 191892 h 280795"/>
                    <a:gd name="csX63" fmla="*/ 261555 w 376902"/>
                    <a:gd name="csY63" fmla="*/ 179215 h 280795"/>
                    <a:gd name="csX64" fmla="*/ 253936 w 376902"/>
                    <a:gd name="csY64" fmla="*/ 154180 h 280795"/>
                    <a:gd name="csX65" fmla="*/ 274617 w 376902"/>
                    <a:gd name="csY65" fmla="*/ 142943 h 280795"/>
                    <a:gd name="csX66" fmla="*/ 300356 w 376902"/>
                    <a:gd name="csY66" fmla="*/ 130233 h 280795"/>
                    <a:gd name="csX67" fmla="*/ 313418 w 376902"/>
                    <a:gd name="csY67" fmla="*/ 129145 h 280795"/>
                    <a:gd name="csX68" fmla="*/ 319245 w 376902"/>
                    <a:gd name="csY68" fmla="*/ 135324 h 280795"/>
                    <a:gd name="csX69" fmla="*/ 314154 w 376902"/>
                    <a:gd name="csY69" fmla="*/ 143679 h 280795"/>
                    <a:gd name="csX70" fmla="*/ 316684 w 376902"/>
                    <a:gd name="csY70" fmla="*/ 149090 h 280795"/>
                    <a:gd name="csX71" fmla="*/ 330482 w 376902"/>
                    <a:gd name="csY71" fmla="*/ 138589 h 280795"/>
                    <a:gd name="csX72" fmla="*/ 334099 w 376902"/>
                    <a:gd name="csY72" fmla="*/ 130233 h 280795"/>
                    <a:gd name="csX73" fmla="*/ 348602 w 376902"/>
                    <a:gd name="csY73" fmla="*/ 130233 h 280795"/>
                    <a:gd name="csX74" fmla="*/ 363136 w 376902"/>
                    <a:gd name="csY74" fmla="*/ 124087 h 280795"/>
                    <a:gd name="csX75" fmla="*/ 375109 w 376902"/>
                    <a:gd name="csY75" fmla="*/ 131674 h 280795"/>
                    <a:gd name="csX76" fmla="*/ 375109 w 376902"/>
                    <a:gd name="csY76" fmla="*/ 114642 h 280795"/>
                    <a:gd name="csX77" fmla="*/ 376198 w 376902"/>
                    <a:gd name="csY77" fmla="*/ 54424 h 280795"/>
                    <a:gd name="csX78" fmla="*/ 376198 w 376902"/>
                    <a:gd name="csY78" fmla="*/ 37008 h 280795"/>
                    <a:gd name="csX79" fmla="*/ 376902 w 376902"/>
                    <a:gd name="csY79" fmla="*/ 0 h 280795"/>
                    <a:gd name="csX80" fmla="*/ 339189 w 376902"/>
                    <a:gd name="csY80" fmla="*/ 2913 h 280795"/>
                    <a:gd name="csX81" fmla="*/ 311625 w 376902"/>
                    <a:gd name="csY81" fmla="*/ 8004 h 280795"/>
                    <a:gd name="csX82" fmla="*/ 286590 w 376902"/>
                    <a:gd name="csY82" fmla="*/ 5442 h 280795"/>
                    <a:gd name="csX83" fmla="*/ 263380 w 376902"/>
                    <a:gd name="csY83" fmla="*/ 8708 h 280795"/>
                    <a:gd name="csX84" fmla="*/ 233991 w 376902"/>
                    <a:gd name="csY84" fmla="*/ 8004 h 2807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76902" h="280795">
                      <a:moveTo>
                        <a:pt x="233991" y="8004"/>
                      </a:moveTo>
                      <a:lnTo>
                        <a:pt x="225635" y="10533"/>
                      </a:lnTo>
                      <a:lnTo>
                        <a:pt x="205691" y="16327"/>
                      </a:lnTo>
                      <a:lnTo>
                        <a:pt x="202425" y="24299"/>
                      </a:lnTo>
                      <a:lnTo>
                        <a:pt x="191893" y="28653"/>
                      </a:lnTo>
                      <a:lnTo>
                        <a:pt x="186834" y="36272"/>
                      </a:lnTo>
                      <a:lnTo>
                        <a:pt x="181744" y="33007"/>
                      </a:lnTo>
                      <a:lnTo>
                        <a:pt x="173036" y="28653"/>
                      </a:lnTo>
                      <a:lnTo>
                        <a:pt x="161063" y="30125"/>
                      </a:lnTo>
                      <a:lnTo>
                        <a:pt x="130970" y="51895"/>
                      </a:lnTo>
                      <a:lnTo>
                        <a:pt x="118612" y="51895"/>
                      </a:lnTo>
                      <a:lnTo>
                        <a:pt x="102317" y="72576"/>
                      </a:lnTo>
                      <a:lnTo>
                        <a:pt x="85990" y="104110"/>
                      </a:lnTo>
                      <a:lnTo>
                        <a:pt x="80900" y="117171"/>
                      </a:lnTo>
                      <a:lnTo>
                        <a:pt x="76546" y="117171"/>
                      </a:lnTo>
                      <a:lnTo>
                        <a:pt x="69663" y="129145"/>
                      </a:lnTo>
                      <a:lnTo>
                        <a:pt x="55865" y="140414"/>
                      </a:lnTo>
                      <a:lnTo>
                        <a:pt x="32654" y="130233"/>
                      </a:lnTo>
                      <a:lnTo>
                        <a:pt x="32654" y="115379"/>
                      </a:lnTo>
                      <a:lnTo>
                        <a:pt x="16327" y="125879"/>
                      </a:lnTo>
                      <a:lnTo>
                        <a:pt x="8708" y="120437"/>
                      </a:lnTo>
                      <a:lnTo>
                        <a:pt x="0" y="130233"/>
                      </a:lnTo>
                      <a:lnTo>
                        <a:pt x="16327" y="154916"/>
                      </a:lnTo>
                      <a:lnTo>
                        <a:pt x="5090" y="179215"/>
                      </a:lnTo>
                      <a:lnTo>
                        <a:pt x="19945" y="175597"/>
                      </a:lnTo>
                      <a:lnTo>
                        <a:pt x="20681" y="183569"/>
                      </a:lnTo>
                      <a:lnTo>
                        <a:pt x="29389" y="184305"/>
                      </a:lnTo>
                      <a:lnTo>
                        <a:pt x="30125" y="184305"/>
                      </a:lnTo>
                      <a:lnTo>
                        <a:pt x="14502" y="217664"/>
                      </a:lnTo>
                      <a:lnTo>
                        <a:pt x="23947" y="222018"/>
                      </a:lnTo>
                      <a:lnTo>
                        <a:pt x="28301" y="238345"/>
                      </a:lnTo>
                      <a:lnTo>
                        <a:pt x="32654" y="230725"/>
                      </a:lnTo>
                      <a:lnTo>
                        <a:pt x="46452" y="228901"/>
                      </a:lnTo>
                      <a:lnTo>
                        <a:pt x="50070" y="244524"/>
                      </a:lnTo>
                      <a:lnTo>
                        <a:pt x="54072" y="255761"/>
                      </a:lnTo>
                      <a:lnTo>
                        <a:pt x="62780" y="253936"/>
                      </a:lnTo>
                      <a:lnTo>
                        <a:pt x="72192" y="264468"/>
                      </a:lnTo>
                      <a:lnTo>
                        <a:pt x="96491" y="264468"/>
                      </a:lnTo>
                      <a:lnTo>
                        <a:pt x="110993" y="270999"/>
                      </a:lnTo>
                      <a:lnTo>
                        <a:pt x="125527" y="255761"/>
                      </a:lnTo>
                      <a:lnTo>
                        <a:pt x="133499" y="261555"/>
                      </a:lnTo>
                      <a:lnTo>
                        <a:pt x="138589" y="263380"/>
                      </a:lnTo>
                      <a:lnTo>
                        <a:pt x="141854" y="257553"/>
                      </a:lnTo>
                      <a:lnTo>
                        <a:pt x="143647" y="265909"/>
                      </a:lnTo>
                      <a:lnTo>
                        <a:pt x="149826" y="264468"/>
                      </a:lnTo>
                      <a:lnTo>
                        <a:pt x="154180" y="260114"/>
                      </a:lnTo>
                      <a:lnTo>
                        <a:pt x="158534" y="263380"/>
                      </a:lnTo>
                      <a:lnTo>
                        <a:pt x="159975" y="268438"/>
                      </a:lnTo>
                      <a:lnTo>
                        <a:pt x="166153" y="263380"/>
                      </a:lnTo>
                      <a:lnTo>
                        <a:pt x="164328" y="269527"/>
                      </a:lnTo>
                      <a:lnTo>
                        <a:pt x="188627" y="280796"/>
                      </a:lnTo>
                      <a:lnTo>
                        <a:pt x="206427" y="272792"/>
                      </a:lnTo>
                      <a:lnTo>
                        <a:pt x="212574" y="273881"/>
                      </a:lnTo>
                      <a:lnTo>
                        <a:pt x="225635" y="262644"/>
                      </a:lnTo>
                      <a:lnTo>
                        <a:pt x="230726" y="266998"/>
                      </a:lnTo>
                      <a:lnTo>
                        <a:pt x="252111" y="259026"/>
                      </a:lnTo>
                      <a:lnTo>
                        <a:pt x="264084" y="261555"/>
                      </a:lnTo>
                      <a:lnTo>
                        <a:pt x="272088" y="258290"/>
                      </a:lnTo>
                      <a:lnTo>
                        <a:pt x="295298" y="226372"/>
                      </a:lnTo>
                      <a:lnTo>
                        <a:pt x="293473" y="219489"/>
                      </a:lnTo>
                      <a:lnTo>
                        <a:pt x="277146" y="210044"/>
                      </a:lnTo>
                      <a:lnTo>
                        <a:pt x="278971" y="186098"/>
                      </a:lnTo>
                      <a:lnTo>
                        <a:pt x="254672" y="191892"/>
                      </a:lnTo>
                      <a:lnTo>
                        <a:pt x="261555" y="179215"/>
                      </a:lnTo>
                      <a:lnTo>
                        <a:pt x="253936" y="154180"/>
                      </a:lnTo>
                      <a:lnTo>
                        <a:pt x="274617" y="142943"/>
                      </a:lnTo>
                      <a:lnTo>
                        <a:pt x="300356" y="130233"/>
                      </a:lnTo>
                      <a:lnTo>
                        <a:pt x="313418" y="129145"/>
                      </a:lnTo>
                      <a:lnTo>
                        <a:pt x="319245" y="135324"/>
                      </a:lnTo>
                      <a:lnTo>
                        <a:pt x="314154" y="143679"/>
                      </a:lnTo>
                      <a:lnTo>
                        <a:pt x="316684" y="149090"/>
                      </a:lnTo>
                      <a:lnTo>
                        <a:pt x="330482" y="138589"/>
                      </a:lnTo>
                      <a:lnTo>
                        <a:pt x="334099" y="130233"/>
                      </a:lnTo>
                      <a:lnTo>
                        <a:pt x="348602" y="130233"/>
                      </a:lnTo>
                      <a:lnTo>
                        <a:pt x="363136" y="124087"/>
                      </a:lnTo>
                      <a:lnTo>
                        <a:pt x="375109" y="131674"/>
                      </a:lnTo>
                      <a:lnTo>
                        <a:pt x="375109" y="114642"/>
                      </a:lnTo>
                      <a:lnTo>
                        <a:pt x="376198" y="54424"/>
                      </a:lnTo>
                      <a:lnTo>
                        <a:pt x="376198" y="37008"/>
                      </a:lnTo>
                      <a:lnTo>
                        <a:pt x="376902" y="0"/>
                      </a:lnTo>
                      <a:lnTo>
                        <a:pt x="339189" y="2913"/>
                      </a:lnTo>
                      <a:lnTo>
                        <a:pt x="311625" y="8004"/>
                      </a:lnTo>
                      <a:lnTo>
                        <a:pt x="286590" y="5442"/>
                      </a:lnTo>
                      <a:lnTo>
                        <a:pt x="263380" y="8708"/>
                      </a:lnTo>
                      <a:lnTo>
                        <a:pt x="233991" y="800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2" name="Forma Livre: Forma 391">
                  <a:extLst>
                    <a:ext uri="{FF2B5EF4-FFF2-40B4-BE49-F238E27FC236}">
                      <a16:creationId xmlns:a16="http://schemas.microsoft.com/office/drawing/2014/main" id="{A4C718AF-3A51-A2CD-4C92-6DDFDC03942A}"/>
                    </a:ext>
                  </a:extLst>
                </p:cNvPr>
                <p:cNvSpPr/>
                <p:nvPr/>
              </p:nvSpPr>
              <p:spPr>
                <a:xfrm>
                  <a:off x="3185958" y="3302962"/>
                  <a:ext cx="376902" cy="280795"/>
                </a:xfrm>
                <a:custGeom>
                  <a:avLst/>
                  <a:gdLst>
                    <a:gd name="csX0" fmla="*/ 233991 w 376902"/>
                    <a:gd name="csY0" fmla="*/ 8004 h 280795"/>
                    <a:gd name="csX1" fmla="*/ 225635 w 376902"/>
                    <a:gd name="csY1" fmla="*/ 10533 h 280795"/>
                    <a:gd name="csX2" fmla="*/ 205691 w 376902"/>
                    <a:gd name="csY2" fmla="*/ 16327 h 280795"/>
                    <a:gd name="csX3" fmla="*/ 202425 w 376902"/>
                    <a:gd name="csY3" fmla="*/ 24299 h 280795"/>
                    <a:gd name="csX4" fmla="*/ 191893 w 376902"/>
                    <a:gd name="csY4" fmla="*/ 28653 h 280795"/>
                    <a:gd name="csX5" fmla="*/ 186834 w 376902"/>
                    <a:gd name="csY5" fmla="*/ 36272 h 280795"/>
                    <a:gd name="csX6" fmla="*/ 181744 w 376902"/>
                    <a:gd name="csY6" fmla="*/ 33007 h 280795"/>
                    <a:gd name="csX7" fmla="*/ 173036 w 376902"/>
                    <a:gd name="csY7" fmla="*/ 28653 h 280795"/>
                    <a:gd name="csX8" fmla="*/ 161063 w 376902"/>
                    <a:gd name="csY8" fmla="*/ 30125 h 280795"/>
                    <a:gd name="csX9" fmla="*/ 130970 w 376902"/>
                    <a:gd name="csY9" fmla="*/ 51895 h 280795"/>
                    <a:gd name="csX10" fmla="*/ 118612 w 376902"/>
                    <a:gd name="csY10" fmla="*/ 51895 h 280795"/>
                    <a:gd name="csX11" fmla="*/ 102317 w 376902"/>
                    <a:gd name="csY11" fmla="*/ 72576 h 280795"/>
                    <a:gd name="csX12" fmla="*/ 85990 w 376902"/>
                    <a:gd name="csY12" fmla="*/ 104110 h 280795"/>
                    <a:gd name="csX13" fmla="*/ 80900 w 376902"/>
                    <a:gd name="csY13" fmla="*/ 117171 h 280795"/>
                    <a:gd name="csX14" fmla="*/ 76546 w 376902"/>
                    <a:gd name="csY14" fmla="*/ 117171 h 280795"/>
                    <a:gd name="csX15" fmla="*/ 69663 w 376902"/>
                    <a:gd name="csY15" fmla="*/ 129145 h 280795"/>
                    <a:gd name="csX16" fmla="*/ 55865 w 376902"/>
                    <a:gd name="csY16" fmla="*/ 140414 h 280795"/>
                    <a:gd name="csX17" fmla="*/ 32654 w 376902"/>
                    <a:gd name="csY17" fmla="*/ 130233 h 280795"/>
                    <a:gd name="csX18" fmla="*/ 32654 w 376902"/>
                    <a:gd name="csY18" fmla="*/ 115379 h 280795"/>
                    <a:gd name="csX19" fmla="*/ 16327 w 376902"/>
                    <a:gd name="csY19" fmla="*/ 125879 h 280795"/>
                    <a:gd name="csX20" fmla="*/ 8708 w 376902"/>
                    <a:gd name="csY20" fmla="*/ 120437 h 280795"/>
                    <a:gd name="csX21" fmla="*/ 0 w 376902"/>
                    <a:gd name="csY21" fmla="*/ 130233 h 280795"/>
                    <a:gd name="csX22" fmla="*/ 16327 w 376902"/>
                    <a:gd name="csY22" fmla="*/ 154916 h 280795"/>
                    <a:gd name="csX23" fmla="*/ 5090 w 376902"/>
                    <a:gd name="csY23" fmla="*/ 179215 h 280795"/>
                    <a:gd name="csX24" fmla="*/ 19945 w 376902"/>
                    <a:gd name="csY24" fmla="*/ 175597 h 280795"/>
                    <a:gd name="csX25" fmla="*/ 20681 w 376902"/>
                    <a:gd name="csY25" fmla="*/ 183569 h 280795"/>
                    <a:gd name="csX26" fmla="*/ 29389 w 376902"/>
                    <a:gd name="csY26" fmla="*/ 184305 h 280795"/>
                    <a:gd name="csX27" fmla="*/ 30125 w 376902"/>
                    <a:gd name="csY27" fmla="*/ 184305 h 280795"/>
                    <a:gd name="csX28" fmla="*/ 14502 w 376902"/>
                    <a:gd name="csY28" fmla="*/ 217664 h 280795"/>
                    <a:gd name="csX29" fmla="*/ 23947 w 376902"/>
                    <a:gd name="csY29" fmla="*/ 222018 h 280795"/>
                    <a:gd name="csX30" fmla="*/ 28301 w 376902"/>
                    <a:gd name="csY30" fmla="*/ 238345 h 280795"/>
                    <a:gd name="csX31" fmla="*/ 32654 w 376902"/>
                    <a:gd name="csY31" fmla="*/ 230725 h 280795"/>
                    <a:gd name="csX32" fmla="*/ 46452 w 376902"/>
                    <a:gd name="csY32" fmla="*/ 228901 h 280795"/>
                    <a:gd name="csX33" fmla="*/ 50070 w 376902"/>
                    <a:gd name="csY33" fmla="*/ 244524 h 280795"/>
                    <a:gd name="csX34" fmla="*/ 54072 w 376902"/>
                    <a:gd name="csY34" fmla="*/ 255761 h 280795"/>
                    <a:gd name="csX35" fmla="*/ 62780 w 376902"/>
                    <a:gd name="csY35" fmla="*/ 253936 h 280795"/>
                    <a:gd name="csX36" fmla="*/ 72192 w 376902"/>
                    <a:gd name="csY36" fmla="*/ 264468 h 280795"/>
                    <a:gd name="csX37" fmla="*/ 96491 w 376902"/>
                    <a:gd name="csY37" fmla="*/ 264468 h 280795"/>
                    <a:gd name="csX38" fmla="*/ 110993 w 376902"/>
                    <a:gd name="csY38" fmla="*/ 270999 h 280795"/>
                    <a:gd name="csX39" fmla="*/ 125527 w 376902"/>
                    <a:gd name="csY39" fmla="*/ 255761 h 280795"/>
                    <a:gd name="csX40" fmla="*/ 133499 w 376902"/>
                    <a:gd name="csY40" fmla="*/ 261555 h 280795"/>
                    <a:gd name="csX41" fmla="*/ 138589 w 376902"/>
                    <a:gd name="csY41" fmla="*/ 263380 h 280795"/>
                    <a:gd name="csX42" fmla="*/ 141854 w 376902"/>
                    <a:gd name="csY42" fmla="*/ 257553 h 280795"/>
                    <a:gd name="csX43" fmla="*/ 143647 w 376902"/>
                    <a:gd name="csY43" fmla="*/ 265909 h 280795"/>
                    <a:gd name="csX44" fmla="*/ 149826 w 376902"/>
                    <a:gd name="csY44" fmla="*/ 264468 h 280795"/>
                    <a:gd name="csX45" fmla="*/ 154180 w 376902"/>
                    <a:gd name="csY45" fmla="*/ 260114 h 280795"/>
                    <a:gd name="csX46" fmla="*/ 158534 w 376902"/>
                    <a:gd name="csY46" fmla="*/ 263380 h 280795"/>
                    <a:gd name="csX47" fmla="*/ 159975 w 376902"/>
                    <a:gd name="csY47" fmla="*/ 268438 h 280795"/>
                    <a:gd name="csX48" fmla="*/ 166153 w 376902"/>
                    <a:gd name="csY48" fmla="*/ 263380 h 280795"/>
                    <a:gd name="csX49" fmla="*/ 164328 w 376902"/>
                    <a:gd name="csY49" fmla="*/ 269527 h 280795"/>
                    <a:gd name="csX50" fmla="*/ 188627 w 376902"/>
                    <a:gd name="csY50" fmla="*/ 280796 h 280795"/>
                    <a:gd name="csX51" fmla="*/ 206427 w 376902"/>
                    <a:gd name="csY51" fmla="*/ 272792 h 280795"/>
                    <a:gd name="csX52" fmla="*/ 212574 w 376902"/>
                    <a:gd name="csY52" fmla="*/ 273881 h 280795"/>
                    <a:gd name="csX53" fmla="*/ 225635 w 376902"/>
                    <a:gd name="csY53" fmla="*/ 262644 h 280795"/>
                    <a:gd name="csX54" fmla="*/ 230726 w 376902"/>
                    <a:gd name="csY54" fmla="*/ 266998 h 280795"/>
                    <a:gd name="csX55" fmla="*/ 252111 w 376902"/>
                    <a:gd name="csY55" fmla="*/ 259026 h 280795"/>
                    <a:gd name="csX56" fmla="*/ 264084 w 376902"/>
                    <a:gd name="csY56" fmla="*/ 261555 h 280795"/>
                    <a:gd name="csX57" fmla="*/ 272088 w 376902"/>
                    <a:gd name="csY57" fmla="*/ 258290 h 280795"/>
                    <a:gd name="csX58" fmla="*/ 295298 w 376902"/>
                    <a:gd name="csY58" fmla="*/ 226372 h 280795"/>
                    <a:gd name="csX59" fmla="*/ 293473 w 376902"/>
                    <a:gd name="csY59" fmla="*/ 219489 h 280795"/>
                    <a:gd name="csX60" fmla="*/ 277146 w 376902"/>
                    <a:gd name="csY60" fmla="*/ 210044 h 280795"/>
                    <a:gd name="csX61" fmla="*/ 278971 w 376902"/>
                    <a:gd name="csY61" fmla="*/ 186098 h 280795"/>
                    <a:gd name="csX62" fmla="*/ 254672 w 376902"/>
                    <a:gd name="csY62" fmla="*/ 191892 h 280795"/>
                    <a:gd name="csX63" fmla="*/ 261555 w 376902"/>
                    <a:gd name="csY63" fmla="*/ 179215 h 280795"/>
                    <a:gd name="csX64" fmla="*/ 253936 w 376902"/>
                    <a:gd name="csY64" fmla="*/ 154180 h 280795"/>
                    <a:gd name="csX65" fmla="*/ 274617 w 376902"/>
                    <a:gd name="csY65" fmla="*/ 142943 h 280795"/>
                    <a:gd name="csX66" fmla="*/ 300356 w 376902"/>
                    <a:gd name="csY66" fmla="*/ 130233 h 280795"/>
                    <a:gd name="csX67" fmla="*/ 313418 w 376902"/>
                    <a:gd name="csY67" fmla="*/ 129145 h 280795"/>
                    <a:gd name="csX68" fmla="*/ 319245 w 376902"/>
                    <a:gd name="csY68" fmla="*/ 135324 h 280795"/>
                    <a:gd name="csX69" fmla="*/ 314154 w 376902"/>
                    <a:gd name="csY69" fmla="*/ 143679 h 280795"/>
                    <a:gd name="csX70" fmla="*/ 316684 w 376902"/>
                    <a:gd name="csY70" fmla="*/ 149090 h 280795"/>
                    <a:gd name="csX71" fmla="*/ 330482 w 376902"/>
                    <a:gd name="csY71" fmla="*/ 138589 h 280795"/>
                    <a:gd name="csX72" fmla="*/ 334099 w 376902"/>
                    <a:gd name="csY72" fmla="*/ 130233 h 280795"/>
                    <a:gd name="csX73" fmla="*/ 348602 w 376902"/>
                    <a:gd name="csY73" fmla="*/ 130233 h 280795"/>
                    <a:gd name="csX74" fmla="*/ 363136 w 376902"/>
                    <a:gd name="csY74" fmla="*/ 124087 h 280795"/>
                    <a:gd name="csX75" fmla="*/ 375109 w 376902"/>
                    <a:gd name="csY75" fmla="*/ 131674 h 280795"/>
                    <a:gd name="csX76" fmla="*/ 375109 w 376902"/>
                    <a:gd name="csY76" fmla="*/ 114642 h 280795"/>
                    <a:gd name="csX77" fmla="*/ 376198 w 376902"/>
                    <a:gd name="csY77" fmla="*/ 54424 h 280795"/>
                    <a:gd name="csX78" fmla="*/ 376198 w 376902"/>
                    <a:gd name="csY78" fmla="*/ 37008 h 280795"/>
                    <a:gd name="csX79" fmla="*/ 376902 w 376902"/>
                    <a:gd name="csY79" fmla="*/ 0 h 280795"/>
                    <a:gd name="csX80" fmla="*/ 339189 w 376902"/>
                    <a:gd name="csY80" fmla="*/ 2913 h 280795"/>
                    <a:gd name="csX81" fmla="*/ 311625 w 376902"/>
                    <a:gd name="csY81" fmla="*/ 8004 h 280795"/>
                    <a:gd name="csX82" fmla="*/ 286590 w 376902"/>
                    <a:gd name="csY82" fmla="*/ 5442 h 280795"/>
                    <a:gd name="csX83" fmla="*/ 263380 w 376902"/>
                    <a:gd name="csY83" fmla="*/ 8708 h 280795"/>
                    <a:gd name="csX84" fmla="*/ 233991 w 376902"/>
                    <a:gd name="csY84" fmla="*/ 8004 h 2807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</a:cxnLst>
                  <a:rect l="l" t="t" r="r" b="b"/>
                  <a:pathLst>
                    <a:path w="376902" h="280795">
                      <a:moveTo>
                        <a:pt x="233991" y="8004"/>
                      </a:moveTo>
                      <a:lnTo>
                        <a:pt x="225635" y="10533"/>
                      </a:lnTo>
                      <a:lnTo>
                        <a:pt x="205691" y="16327"/>
                      </a:lnTo>
                      <a:lnTo>
                        <a:pt x="202425" y="24299"/>
                      </a:lnTo>
                      <a:lnTo>
                        <a:pt x="191893" y="28653"/>
                      </a:lnTo>
                      <a:lnTo>
                        <a:pt x="186834" y="36272"/>
                      </a:lnTo>
                      <a:lnTo>
                        <a:pt x="181744" y="33007"/>
                      </a:lnTo>
                      <a:lnTo>
                        <a:pt x="173036" y="28653"/>
                      </a:lnTo>
                      <a:lnTo>
                        <a:pt x="161063" y="30125"/>
                      </a:lnTo>
                      <a:lnTo>
                        <a:pt x="130970" y="51895"/>
                      </a:lnTo>
                      <a:lnTo>
                        <a:pt x="118612" y="51895"/>
                      </a:lnTo>
                      <a:lnTo>
                        <a:pt x="102317" y="72576"/>
                      </a:lnTo>
                      <a:lnTo>
                        <a:pt x="85990" y="104110"/>
                      </a:lnTo>
                      <a:lnTo>
                        <a:pt x="80900" y="117171"/>
                      </a:lnTo>
                      <a:lnTo>
                        <a:pt x="76546" y="117171"/>
                      </a:lnTo>
                      <a:lnTo>
                        <a:pt x="69663" y="129145"/>
                      </a:lnTo>
                      <a:lnTo>
                        <a:pt x="55865" y="140414"/>
                      </a:lnTo>
                      <a:lnTo>
                        <a:pt x="32654" y="130233"/>
                      </a:lnTo>
                      <a:lnTo>
                        <a:pt x="32654" y="115379"/>
                      </a:lnTo>
                      <a:lnTo>
                        <a:pt x="16327" y="125879"/>
                      </a:lnTo>
                      <a:lnTo>
                        <a:pt x="8708" y="120437"/>
                      </a:lnTo>
                      <a:lnTo>
                        <a:pt x="0" y="130233"/>
                      </a:lnTo>
                      <a:lnTo>
                        <a:pt x="16327" y="154916"/>
                      </a:lnTo>
                      <a:lnTo>
                        <a:pt x="5090" y="179215"/>
                      </a:lnTo>
                      <a:lnTo>
                        <a:pt x="19945" y="175597"/>
                      </a:lnTo>
                      <a:lnTo>
                        <a:pt x="20681" y="183569"/>
                      </a:lnTo>
                      <a:lnTo>
                        <a:pt x="29389" y="184305"/>
                      </a:lnTo>
                      <a:lnTo>
                        <a:pt x="30125" y="184305"/>
                      </a:lnTo>
                      <a:lnTo>
                        <a:pt x="14502" y="217664"/>
                      </a:lnTo>
                      <a:lnTo>
                        <a:pt x="23947" y="222018"/>
                      </a:lnTo>
                      <a:lnTo>
                        <a:pt x="28301" y="238345"/>
                      </a:lnTo>
                      <a:lnTo>
                        <a:pt x="32654" y="230725"/>
                      </a:lnTo>
                      <a:lnTo>
                        <a:pt x="46452" y="228901"/>
                      </a:lnTo>
                      <a:lnTo>
                        <a:pt x="50070" y="244524"/>
                      </a:lnTo>
                      <a:lnTo>
                        <a:pt x="54072" y="255761"/>
                      </a:lnTo>
                      <a:lnTo>
                        <a:pt x="62780" y="253936"/>
                      </a:lnTo>
                      <a:lnTo>
                        <a:pt x="72192" y="264468"/>
                      </a:lnTo>
                      <a:lnTo>
                        <a:pt x="96491" y="264468"/>
                      </a:lnTo>
                      <a:lnTo>
                        <a:pt x="110993" y="270999"/>
                      </a:lnTo>
                      <a:lnTo>
                        <a:pt x="125527" y="255761"/>
                      </a:lnTo>
                      <a:lnTo>
                        <a:pt x="133499" y="261555"/>
                      </a:lnTo>
                      <a:lnTo>
                        <a:pt x="138589" y="263380"/>
                      </a:lnTo>
                      <a:lnTo>
                        <a:pt x="141854" y="257553"/>
                      </a:lnTo>
                      <a:lnTo>
                        <a:pt x="143647" y="265909"/>
                      </a:lnTo>
                      <a:lnTo>
                        <a:pt x="149826" y="264468"/>
                      </a:lnTo>
                      <a:lnTo>
                        <a:pt x="154180" y="260114"/>
                      </a:lnTo>
                      <a:lnTo>
                        <a:pt x="158534" y="263380"/>
                      </a:lnTo>
                      <a:lnTo>
                        <a:pt x="159975" y="268438"/>
                      </a:lnTo>
                      <a:lnTo>
                        <a:pt x="166153" y="263380"/>
                      </a:lnTo>
                      <a:lnTo>
                        <a:pt x="164328" y="269527"/>
                      </a:lnTo>
                      <a:lnTo>
                        <a:pt x="188627" y="280796"/>
                      </a:lnTo>
                      <a:lnTo>
                        <a:pt x="206427" y="272792"/>
                      </a:lnTo>
                      <a:lnTo>
                        <a:pt x="212574" y="273881"/>
                      </a:lnTo>
                      <a:lnTo>
                        <a:pt x="225635" y="262644"/>
                      </a:lnTo>
                      <a:lnTo>
                        <a:pt x="230726" y="266998"/>
                      </a:lnTo>
                      <a:lnTo>
                        <a:pt x="252111" y="259026"/>
                      </a:lnTo>
                      <a:lnTo>
                        <a:pt x="264084" y="261555"/>
                      </a:lnTo>
                      <a:lnTo>
                        <a:pt x="272088" y="258290"/>
                      </a:lnTo>
                      <a:lnTo>
                        <a:pt x="295298" y="226372"/>
                      </a:lnTo>
                      <a:lnTo>
                        <a:pt x="293473" y="219489"/>
                      </a:lnTo>
                      <a:lnTo>
                        <a:pt x="277146" y="210044"/>
                      </a:lnTo>
                      <a:lnTo>
                        <a:pt x="278971" y="186098"/>
                      </a:lnTo>
                      <a:lnTo>
                        <a:pt x="254672" y="191892"/>
                      </a:lnTo>
                      <a:lnTo>
                        <a:pt x="261555" y="179215"/>
                      </a:lnTo>
                      <a:lnTo>
                        <a:pt x="253936" y="154180"/>
                      </a:lnTo>
                      <a:lnTo>
                        <a:pt x="274617" y="142943"/>
                      </a:lnTo>
                      <a:lnTo>
                        <a:pt x="300356" y="130233"/>
                      </a:lnTo>
                      <a:lnTo>
                        <a:pt x="313418" y="129145"/>
                      </a:lnTo>
                      <a:lnTo>
                        <a:pt x="319245" y="135324"/>
                      </a:lnTo>
                      <a:lnTo>
                        <a:pt x="314154" y="143679"/>
                      </a:lnTo>
                      <a:lnTo>
                        <a:pt x="316684" y="149090"/>
                      </a:lnTo>
                      <a:lnTo>
                        <a:pt x="330482" y="138589"/>
                      </a:lnTo>
                      <a:lnTo>
                        <a:pt x="334099" y="130233"/>
                      </a:lnTo>
                      <a:lnTo>
                        <a:pt x="348602" y="130233"/>
                      </a:lnTo>
                      <a:lnTo>
                        <a:pt x="363136" y="124087"/>
                      </a:lnTo>
                      <a:lnTo>
                        <a:pt x="375109" y="131674"/>
                      </a:lnTo>
                      <a:lnTo>
                        <a:pt x="375109" y="114642"/>
                      </a:lnTo>
                      <a:lnTo>
                        <a:pt x="376198" y="54424"/>
                      </a:lnTo>
                      <a:lnTo>
                        <a:pt x="376198" y="37008"/>
                      </a:lnTo>
                      <a:lnTo>
                        <a:pt x="376902" y="0"/>
                      </a:lnTo>
                      <a:lnTo>
                        <a:pt x="339189" y="2913"/>
                      </a:lnTo>
                      <a:lnTo>
                        <a:pt x="311625" y="8004"/>
                      </a:lnTo>
                      <a:lnTo>
                        <a:pt x="286590" y="5442"/>
                      </a:lnTo>
                      <a:lnTo>
                        <a:pt x="263380" y="8708"/>
                      </a:lnTo>
                      <a:lnTo>
                        <a:pt x="233991" y="800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3" name="Forma Livre: Forma 392">
                  <a:extLst>
                    <a:ext uri="{FF2B5EF4-FFF2-40B4-BE49-F238E27FC236}">
                      <a16:creationId xmlns:a16="http://schemas.microsoft.com/office/drawing/2014/main" id="{AEC2772C-B1B1-32DD-07B1-C3971ECCB7B9}"/>
                    </a:ext>
                  </a:extLst>
                </p:cNvPr>
                <p:cNvSpPr/>
                <p:nvPr/>
              </p:nvSpPr>
              <p:spPr>
                <a:xfrm>
                  <a:off x="3520794" y="2767174"/>
                  <a:ext cx="909776" cy="935195"/>
                </a:xfrm>
                <a:custGeom>
                  <a:avLst/>
                  <a:gdLst>
                    <a:gd name="csX0" fmla="*/ 496603 w 909776"/>
                    <a:gd name="csY0" fmla="*/ 0 h 935195"/>
                    <a:gd name="csX1" fmla="*/ 476658 w 909776"/>
                    <a:gd name="csY1" fmla="*/ 1825 h 935195"/>
                    <a:gd name="csX2" fmla="*/ 457065 w 909776"/>
                    <a:gd name="csY2" fmla="*/ 25035 h 935195"/>
                    <a:gd name="csX3" fmla="*/ 429501 w 909776"/>
                    <a:gd name="csY3" fmla="*/ 46452 h 935195"/>
                    <a:gd name="csX4" fmla="*/ 418968 w 909776"/>
                    <a:gd name="csY4" fmla="*/ 54072 h 935195"/>
                    <a:gd name="csX5" fmla="*/ 410645 w 909776"/>
                    <a:gd name="csY5" fmla="*/ 55160 h 935195"/>
                    <a:gd name="csX6" fmla="*/ 402673 w 909776"/>
                    <a:gd name="csY6" fmla="*/ 55160 h 935195"/>
                    <a:gd name="csX7" fmla="*/ 372548 w 909776"/>
                    <a:gd name="csY7" fmla="*/ 56601 h 935195"/>
                    <a:gd name="csX8" fmla="*/ 337365 w 909776"/>
                    <a:gd name="csY8" fmla="*/ 85254 h 935195"/>
                    <a:gd name="csX9" fmla="*/ 326128 w 909776"/>
                    <a:gd name="csY9" fmla="*/ 86694 h 935195"/>
                    <a:gd name="csX10" fmla="*/ 317420 w 909776"/>
                    <a:gd name="csY10" fmla="*/ 97227 h 935195"/>
                    <a:gd name="csX11" fmla="*/ 321037 w 909776"/>
                    <a:gd name="csY11" fmla="*/ 121173 h 935195"/>
                    <a:gd name="csX12" fmla="*/ 317420 w 909776"/>
                    <a:gd name="csY12" fmla="*/ 131674 h 935195"/>
                    <a:gd name="csX13" fmla="*/ 258290 w 909776"/>
                    <a:gd name="csY13" fmla="*/ 169419 h 935195"/>
                    <a:gd name="csX14" fmla="*/ 255729 w 909776"/>
                    <a:gd name="csY14" fmla="*/ 182480 h 935195"/>
                    <a:gd name="csX15" fmla="*/ 245932 w 909776"/>
                    <a:gd name="csY15" fmla="*/ 176302 h 935195"/>
                    <a:gd name="csX16" fmla="*/ 242667 w 909776"/>
                    <a:gd name="csY16" fmla="*/ 186450 h 935195"/>
                    <a:gd name="csX17" fmla="*/ 237609 w 909776"/>
                    <a:gd name="csY17" fmla="*/ 178831 h 935195"/>
                    <a:gd name="csX18" fmla="*/ 228901 w 909776"/>
                    <a:gd name="csY18" fmla="*/ 182480 h 935195"/>
                    <a:gd name="csX19" fmla="*/ 217664 w 909776"/>
                    <a:gd name="csY19" fmla="*/ 179567 h 935195"/>
                    <a:gd name="csX20" fmla="*/ 219457 w 909776"/>
                    <a:gd name="csY20" fmla="*/ 175565 h 935195"/>
                    <a:gd name="csX21" fmla="*/ 208956 w 909776"/>
                    <a:gd name="csY21" fmla="*/ 164328 h 935195"/>
                    <a:gd name="csX22" fmla="*/ 198071 w 909776"/>
                    <a:gd name="csY22" fmla="*/ 161799 h 935195"/>
                    <a:gd name="csX23" fmla="*/ 184273 w 909776"/>
                    <a:gd name="csY23" fmla="*/ 167594 h 935195"/>
                    <a:gd name="csX24" fmla="*/ 187539 w 909776"/>
                    <a:gd name="csY24" fmla="*/ 174477 h 935195"/>
                    <a:gd name="csX25" fmla="*/ 171948 w 909776"/>
                    <a:gd name="csY25" fmla="*/ 176302 h 935195"/>
                    <a:gd name="csX26" fmla="*/ 167946 w 909776"/>
                    <a:gd name="csY26" fmla="*/ 171948 h 935195"/>
                    <a:gd name="csX27" fmla="*/ 159238 w 909776"/>
                    <a:gd name="csY27" fmla="*/ 175565 h 935195"/>
                    <a:gd name="csX28" fmla="*/ 90312 w 909776"/>
                    <a:gd name="csY28" fmla="*/ 373284 h 935195"/>
                    <a:gd name="csX29" fmla="*/ 92136 w 909776"/>
                    <a:gd name="csY29" fmla="*/ 375813 h 935195"/>
                    <a:gd name="csX30" fmla="*/ 80163 w 909776"/>
                    <a:gd name="csY30" fmla="*/ 381992 h 935195"/>
                    <a:gd name="csX31" fmla="*/ 69631 w 909776"/>
                    <a:gd name="csY31" fmla="*/ 401585 h 935195"/>
                    <a:gd name="csX32" fmla="*/ 66365 w 909776"/>
                    <a:gd name="csY32" fmla="*/ 404498 h 935195"/>
                    <a:gd name="csX33" fmla="*/ 15591 w 909776"/>
                    <a:gd name="csY33" fmla="*/ 447301 h 935195"/>
                    <a:gd name="csX34" fmla="*/ 15591 w 909776"/>
                    <a:gd name="csY34" fmla="*/ 495546 h 935195"/>
                    <a:gd name="csX35" fmla="*/ 2529 w 909776"/>
                    <a:gd name="csY35" fmla="*/ 505695 h 935195"/>
                    <a:gd name="csX36" fmla="*/ 0 w 909776"/>
                    <a:gd name="csY36" fmla="*/ 515107 h 935195"/>
                    <a:gd name="csX37" fmla="*/ 4354 w 909776"/>
                    <a:gd name="csY37" fmla="*/ 538701 h 935195"/>
                    <a:gd name="csX38" fmla="*/ 42067 w 909776"/>
                    <a:gd name="csY38" fmla="*/ 535788 h 935195"/>
                    <a:gd name="csX39" fmla="*/ 56569 w 909776"/>
                    <a:gd name="csY39" fmla="*/ 536876 h 935195"/>
                    <a:gd name="csX40" fmla="*/ 66365 w 909776"/>
                    <a:gd name="csY40" fmla="*/ 531818 h 935195"/>
                    <a:gd name="csX41" fmla="*/ 83429 w 909776"/>
                    <a:gd name="csY41" fmla="*/ 536876 h 935195"/>
                    <a:gd name="csX42" fmla="*/ 85958 w 909776"/>
                    <a:gd name="csY42" fmla="*/ 535788 h 935195"/>
                    <a:gd name="csX43" fmla="*/ 89607 w 909776"/>
                    <a:gd name="csY43" fmla="*/ 538701 h 935195"/>
                    <a:gd name="csX44" fmla="*/ 97227 w 909776"/>
                    <a:gd name="csY44" fmla="*/ 535084 h 935195"/>
                    <a:gd name="csX45" fmla="*/ 112818 w 909776"/>
                    <a:gd name="csY45" fmla="*/ 538701 h 935195"/>
                    <a:gd name="csX46" fmla="*/ 122966 w 909776"/>
                    <a:gd name="csY46" fmla="*/ 534347 h 935195"/>
                    <a:gd name="csX47" fmla="*/ 136028 w 909776"/>
                    <a:gd name="csY47" fmla="*/ 534347 h 935195"/>
                    <a:gd name="csX48" fmla="*/ 146176 w 909776"/>
                    <a:gd name="csY48" fmla="*/ 527464 h 935195"/>
                    <a:gd name="csX49" fmla="*/ 166153 w 909776"/>
                    <a:gd name="csY49" fmla="*/ 527464 h 935195"/>
                    <a:gd name="csX50" fmla="*/ 182480 w 909776"/>
                    <a:gd name="csY50" fmla="*/ 524903 h 935195"/>
                    <a:gd name="csX51" fmla="*/ 192629 w 909776"/>
                    <a:gd name="csY51" fmla="*/ 527464 h 935195"/>
                    <a:gd name="csX52" fmla="*/ 205691 w 909776"/>
                    <a:gd name="csY52" fmla="*/ 556469 h 935195"/>
                    <a:gd name="csX53" fmla="*/ 212573 w 909776"/>
                    <a:gd name="csY53" fmla="*/ 553940 h 935195"/>
                    <a:gd name="csX54" fmla="*/ 236520 w 909776"/>
                    <a:gd name="csY54" fmla="*/ 573885 h 935195"/>
                    <a:gd name="csX55" fmla="*/ 249582 w 909776"/>
                    <a:gd name="csY55" fmla="*/ 573885 h 935195"/>
                    <a:gd name="csX56" fmla="*/ 259730 w 909776"/>
                    <a:gd name="csY56" fmla="*/ 579679 h 935195"/>
                    <a:gd name="csX57" fmla="*/ 294178 w 909776"/>
                    <a:gd name="csY57" fmla="*/ 538701 h 935195"/>
                    <a:gd name="csX58" fmla="*/ 309800 w 909776"/>
                    <a:gd name="csY58" fmla="*/ 520549 h 935195"/>
                    <a:gd name="csX59" fmla="*/ 338101 w 909776"/>
                    <a:gd name="csY59" fmla="*/ 486838 h 935195"/>
                    <a:gd name="csX60" fmla="*/ 379431 w 909776"/>
                    <a:gd name="csY60" fmla="*/ 437857 h 935195"/>
                    <a:gd name="csX61" fmla="*/ 402673 w 909776"/>
                    <a:gd name="csY61" fmla="*/ 461067 h 935195"/>
                    <a:gd name="csX62" fmla="*/ 422618 w 909776"/>
                    <a:gd name="csY62" fmla="*/ 474865 h 935195"/>
                    <a:gd name="csX63" fmla="*/ 437120 w 909776"/>
                    <a:gd name="csY63" fmla="*/ 473040 h 935195"/>
                    <a:gd name="csX64" fmla="*/ 455977 w 909776"/>
                    <a:gd name="csY64" fmla="*/ 477394 h 935195"/>
                    <a:gd name="csX65" fmla="*/ 466509 w 909776"/>
                    <a:gd name="csY65" fmla="*/ 485013 h 935195"/>
                    <a:gd name="csX66" fmla="*/ 500957 w 909776"/>
                    <a:gd name="csY66" fmla="*/ 481748 h 935195"/>
                    <a:gd name="csX67" fmla="*/ 513666 w 909776"/>
                    <a:gd name="csY67" fmla="*/ 490456 h 935195"/>
                    <a:gd name="csX68" fmla="*/ 525992 w 909776"/>
                    <a:gd name="csY68" fmla="*/ 489367 h 935195"/>
                    <a:gd name="csX69" fmla="*/ 525992 w 909776"/>
                    <a:gd name="csY69" fmla="*/ 601449 h 935195"/>
                    <a:gd name="csX70" fmla="*/ 526728 w 909776"/>
                    <a:gd name="csY70" fmla="*/ 595302 h 935195"/>
                    <a:gd name="csX71" fmla="*/ 551763 w 909776"/>
                    <a:gd name="csY71" fmla="*/ 573885 h 935195"/>
                    <a:gd name="csX72" fmla="*/ 581856 w 909776"/>
                    <a:gd name="csY72" fmla="*/ 579679 h 935195"/>
                    <a:gd name="csX73" fmla="*/ 592005 w 909776"/>
                    <a:gd name="csY73" fmla="*/ 604010 h 935195"/>
                    <a:gd name="csX74" fmla="*/ 597095 w 909776"/>
                    <a:gd name="csY74" fmla="*/ 608364 h 935195"/>
                    <a:gd name="csX75" fmla="*/ 629013 w 909776"/>
                    <a:gd name="csY75" fmla="*/ 642459 h 935195"/>
                    <a:gd name="csX76" fmla="*/ 644604 w 909776"/>
                    <a:gd name="csY76" fmla="*/ 648606 h 935195"/>
                    <a:gd name="csX77" fmla="*/ 667110 w 909776"/>
                    <a:gd name="csY77" fmla="*/ 682348 h 935195"/>
                    <a:gd name="csX78" fmla="*/ 701205 w 909776"/>
                    <a:gd name="csY78" fmla="*/ 708824 h 935195"/>
                    <a:gd name="csX79" fmla="*/ 754892 w 909776"/>
                    <a:gd name="csY79" fmla="*/ 775958 h 935195"/>
                    <a:gd name="csX80" fmla="*/ 878595 w 909776"/>
                    <a:gd name="csY80" fmla="*/ 935196 h 935195"/>
                    <a:gd name="csX81" fmla="*/ 886566 w 909776"/>
                    <a:gd name="csY81" fmla="*/ 923222 h 935195"/>
                    <a:gd name="csX82" fmla="*/ 891656 w 909776"/>
                    <a:gd name="csY82" fmla="*/ 902541 h 935195"/>
                    <a:gd name="csX83" fmla="*/ 883685 w 909776"/>
                    <a:gd name="csY83" fmla="*/ 873889 h 935195"/>
                    <a:gd name="csX84" fmla="*/ 892393 w 909776"/>
                    <a:gd name="csY84" fmla="*/ 865533 h 935195"/>
                    <a:gd name="csX85" fmla="*/ 909777 w 909776"/>
                    <a:gd name="csY85" fmla="*/ 865533 h 935195"/>
                    <a:gd name="csX86" fmla="*/ 885478 w 909776"/>
                    <a:gd name="csY86" fmla="*/ 695058 h 935195"/>
                    <a:gd name="csX87" fmla="*/ 882949 w 909776"/>
                    <a:gd name="csY87" fmla="*/ 672552 h 935195"/>
                    <a:gd name="csX88" fmla="*/ 867358 w 909776"/>
                    <a:gd name="csY88" fmla="*/ 526376 h 935195"/>
                    <a:gd name="csX89" fmla="*/ 870239 w 909776"/>
                    <a:gd name="csY89" fmla="*/ 453448 h 935195"/>
                    <a:gd name="csX90" fmla="*/ 871712 w 909776"/>
                    <a:gd name="csY90" fmla="*/ 346809 h 935195"/>
                    <a:gd name="csX91" fmla="*/ 832879 w 909776"/>
                    <a:gd name="csY91" fmla="*/ 346809 h 935195"/>
                    <a:gd name="csX92" fmla="*/ 823467 w 909776"/>
                    <a:gd name="csY92" fmla="*/ 344984 h 935195"/>
                    <a:gd name="csX93" fmla="*/ 807139 w 909776"/>
                    <a:gd name="csY93" fmla="*/ 354428 h 935195"/>
                    <a:gd name="csX94" fmla="*/ 798784 w 909776"/>
                    <a:gd name="csY94" fmla="*/ 366401 h 935195"/>
                    <a:gd name="csX95" fmla="*/ 790812 w 909776"/>
                    <a:gd name="csY95" fmla="*/ 367490 h 935195"/>
                    <a:gd name="csX96" fmla="*/ 783929 w 909776"/>
                    <a:gd name="csY96" fmla="*/ 364576 h 935195"/>
                    <a:gd name="csX97" fmla="*/ 787547 w 909776"/>
                    <a:gd name="csY97" fmla="*/ 352603 h 935195"/>
                    <a:gd name="csX98" fmla="*/ 778103 w 909776"/>
                    <a:gd name="csY98" fmla="*/ 344984 h 935195"/>
                    <a:gd name="csX99" fmla="*/ 790812 w 909776"/>
                    <a:gd name="csY99" fmla="*/ 339926 h 935195"/>
                    <a:gd name="csX100" fmla="*/ 792637 w 909776"/>
                    <a:gd name="csY100" fmla="*/ 333011 h 935195"/>
                    <a:gd name="csX101" fmla="*/ 779575 w 909776"/>
                    <a:gd name="csY101" fmla="*/ 330482 h 935195"/>
                    <a:gd name="csX102" fmla="*/ 783929 w 909776"/>
                    <a:gd name="csY102" fmla="*/ 322510 h 935195"/>
                    <a:gd name="csX103" fmla="*/ 781368 w 909776"/>
                    <a:gd name="csY103" fmla="*/ 314891 h 935195"/>
                    <a:gd name="csX104" fmla="*/ 792637 w 909776"/>
                    <a:gd name="csY104" fmla="*/ 306183 h 935195"/>
                    <a:gd name="csX105" fmla="*/ 760687 w 909776"/>
                    <a:gd name="csY105" fmla="*/ 301829 h 935195"/>
                    <a:gd name="csX106" fmla="*/ 751979 w 909776"/>
                    <a:gd name="csY106" fmla="*/ 313066 h 935195"/>
                    <a:gd name="csX107" fmla="*/ 738565 w 909776"/>
                    <a:gd name="csY107" fmla="*/ 296739 h 935195"/>
                    <a:gd name="csX108" fmla="*/ 657313 w 909776"/>
                    <a:gd name="csY108" fmla="*/ 198808 h 935195"/>
                    <a:gd name="csX109" fmla="*/ 613774 w 909776"/>
                    <a:gd name="csY109" fmla="*/ 144384 h 935195"/>
                    <a:gd name="csX110" fmla="*/ 542319 w 909776"/>
                    <a:gd name="csY110" fmla="*/ 56601 h 935195"/>
                    <a:gd name="csX111" fmla="*/ 496603 w 909776"/>
                    <a:gd name="csY111" fmla="*/ 0 h 93519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</a:cxnLst>
                  <a:rect l="l" t="t" r="r" b="b"/>
                  <a:pathLst>
                    <a:path w="909776" h="935195">
                      <a:moveTo>
                        <a:pt x="496603" y="0"/>
                      </a:moveTo>
                      <a:lnTo>
                        <a:pt x="476658" y="1825"/>
                      </a:lnTo>
                      <a:lnTo>
                        <a:pt x="457065" y="25035"/>
                      </a:lnTo>
                      <a:lnTo>
                        <a:pt x="429501" y="46452"/>
                      </a:lnTo>
                      <a:lnTo>
                        <a:pt x="418968" y="54072"/>
                      </a:lnTo>
                      <a:lnTo>
                        <a:pt x="410645" y="55160"/>
                      </a:lnTo>
                      <a:lnTo>
                        <a:pt x="402673" y="55160"/>
                      </a:lnTo>
                      <a:lnTo>
                        <a:pt x="372548" y="56601"/>
                      </a:lnTo>
                      <a:lnTo>
                        <a:pt x="337365" y="85254"/>
                      </a:lnTo>
                      <a:lnTo>
                        <a:pt x="326128" y="86694"/>
                      </a:lnTo>
                      <a:lnTo>
                        <a:pt x="317420" y="97227"/>
                      </a:lnTo>
                      <a:lnTo>
                        <a:pt x="321037" y="121173"/>
                      </a:lnTo>
                      <a:lnTo>
                        <a:pt x="317420" y="131674"/>
                      </a:lnTo>
                      <a:lnTo>
                        <a:pt x="258290" y="169419"/>
                      </a:lnTo>
                      <a:lnTo>
                        <a:pt x="255729" y="182480"/>
                      </a:lnTo>
                      <a:lnTo>
                        <a:pt x="245932" y="176302"/>
                      </a:lnTo>
                      <a:lnTo>
                        <a:pt x="242667" y="186450"/>
                      </a:lnTo>
                      <a:lnTo>
                        <a:pt x="237609" y="178831"/>
                      </a:lnTo>
                      <a:lnTo>
                        <a:pt x="228901" y="182480"/>
                      </a:lnTo>
                      <a:lnTo>
                        <a:pt x="217664" y="179567"/>
                      </a:lnTo>
                      <a:lnTo>
                        <a:pt x="219457" y="175565"/>
                      </a:lnTo>
                      <a:lnTo>
                        <a:pt x="208956" y="164328"/>
                      </a:lnTo>
                      <a:lnTo>
                        <a:pt x="198071" y="161799"/>
                      </a:lnTo>
                      <a:lnTo>
                        <a:pt x="184273" y="167594"/>
                      </a:lnTo>
                      <a:lnTo>
                        <a:pt x="187539" y="174477"/>
                      </a:lnTo>
                      <a:lnTo>
                        <a:pt x="171948" y="176302"/>
                      </a:lnTo>
                      <a:lnTo>
                        <a:pt x="167946" y="171948"/>
                      </a:lnTo>
                      <a:lnTo>
                        <a:pt x="159238" y="175565"/>
                      </a:lnTo>
                      <a:lnTo>
                        <a:pt x="90312" y="373284"/>
                      </a:lnTo>
                      <a:lnTo>
                        <a:pt x="92136" y="375813"/>
                      </a:lnTo>
                      <a:lnTo>
                        <a:pt x="80163" y="381992"/>
                      </a:lnTo>
                      <a:lnTo>
                        <a:pt x="69631" y="401585"/>
                      </a:lnTo>
                      <a:lnTo>
                        <a:pt x="66365" y="404498"/>
                      </a:lnTo>
                      <a:lnTo>
                        <a:pt x="15591" y="447301"/>
                      </a:lnTo>
                      <a:lnTo>
                        <a:pt x="15591" y="495546"/>
                      </a:lnTo>
                      <a:lnTo>
                        <a:pt x="2529" y="505695"/>
                      </a:lnTo>
                      <a:lnTo>
                        <a:pt x="0" y="515107"/>
                      </a:lnTo>
                      <a:lnTo>
                        <a:pt x="4354" y="538701"/>
                      </a:lnTo>
                      <a:lnTo>
                        <a:pt x="42067" y="535788"/>
                      </a:lnTo>
                      <a:lnTo>
                        <a:pt x="56569" y="536876"/>
                      </a:lnTo>
                      <a:lnTo>
                        <a:pt x="66365" y="531818"/>
                      </a:lnTo>
                      <a:lnTo>
                        <a:pt x="83429" y="536876"/>
                      </a:lnTo>
                      <a:lnTo>
                        <a:pt x="85958" y="535788"/>
                      </a:lnTo>
                      <a:lnTo>
                        <a:pt x="89607" y="538701"/>
                      </a:lnTo>
                      <a:lnTo>
                        <a:pt x="97227" y="535084"/>
                      </a:lnTo>
                      <a:lnTo>
                        <a:pt x="112818" y="538701"/>
                      </a:lnTo>
                      <a:lnTo>
                        <a:pt x="122966" y="534347"/>
                      </a:lnTo>
                      <a:lnTo>
                        <a:pt x="136028" y="534347"/>
                      </a:lnTo>
                      <a:lnTo>
                        <a:pt x="146176" y="527464"/>
                      </a:lnTo>
                      <a:lnTo>
                        <a:pt x="166153" y="527464"/>
                      </a:lnTo>
                      <a:lnTo>
                        <a:pt x="182480" y="524903"/>
                      </a:lnTo>
                      <a:lnTo>
                        <a:pt x="192629" y="527464"/>
                      </a:lnTo>
                      <a:lnTo>
                        <a:pt x="205691" y="556469"/>
                      </a:lnTo>
                      <a:lnTo>
                        <a:pt x="212573" y="553940"/>
                      </a:lnTo>
                      <a:lnTo>
                        <a:pt x="236520" y="573885"/>
                      </a:lnTo>
                      <a:lnTo>
                        <a:pt x="249582" y="573885"/>
                      </a:lnTo>
                      <a:lnTo>
                        <a:pt x="259730" y="579679"/>
                      </a:lnTo>
                      <a:lnTo>
                        <a:pt x="294178" y="538701"/>
                      </a:lnTo>
                      <a:lnTo>
                        <a:pt x="309800" y="520549"/>
                      </a:lnTo>
                      <a:lnTo>
                        <a:pt x="338101" y="486838"/>
                      </a:lnTo>
                      <a:lnTo>
                        <a:pt x="379431" y="437857"/>
                      </a:lnTo>
                      <a:lnTo>
                        <a:pt x="402673" y="461067"/>
                      </a:lnTo>
                      <a:lnTo>
                        <a:pt x="422618" y="474865"/>
                      </a:lnTo>
                      <a:lnTo>
                        <a:pt x="437120" y="473040"/>
                      </a:lnTo>
                      <a:lnTo>
                        <a:pt x="455977" y="477394"/>
                      </a:lnTo>
                      <a:lnTo>
                        <a:pt x="466509" y="485013"/>
                      </a:lnTo>
                      <a:lnTo>
                        <a:pt x="500957" y="481748"/>
                      </a:lnTo>
                      <a:lnTo>
                        <a:pt x="513666" y="490456"/>
                      </a:lnTo>
                      <a:lnTo>
                        <a:pt x="525992" y="489367"/>
                      </a:lnTo>
                      <a:lnTo>
                        <a:pt x="525992" y="601449"/>
                      </a:lnTo>
                      <a:lnTo>
                        <a:pt x="526728" y="595302"/>
                      </a:lnTo>
                      <a:lnTo>
                        <a:pt x="551763" y="573885"/>
                      </a:lnTo>
                      <a:lnTo>
                        <a:pt x="581856" y="579679"/>
                      </a:lnTo>
                      <a:lnTo>
                        <a:pt x="592005" y="604010"/>
                      </a:lnTo>
                      <a:lnTo>
                        <a:pt x="597095" y="608364"/>
                      </a:lnTo>
                      <a:lnTo>
                        <a:pt x="629013" y="642459"/>
                      </a:lnTo>
                      <a:lnTo>
                        <a:pt x="644604" y="648606"/>
                      </a:lnTo>
                      <a:lnTo>
                        <a:pt x="667110" y="682348"/>
                      </a:lnTo>
                      <a:lnTo>
                        <a:pt x="701205" y="708824"/>
                      </a:lnTo>
                      <a:lnTo>
                        <a:pt x="754892" y="775958"/>
                      </a:lnTo>
                      <a:lnTo>
                        <a:pt x="878595" y="935196"/>
                      </a:lnTo>
                      <a:lnTo>
                        <a:pt x="886566" y="923222"/>
                      </a:lnTo>
                      <a:lnTo>
                        <a:pt x="891656" y="902541"/>
                      </a:lnTo>
                      <a:lnTo>
                        <a:pt x="883685" y="873889"/>
                      </a:lnTo>
                      <a:lnTo>
                        <a:pt x="892393" y="865533"/>
                      </a:lnTo>
                      <a:lnTo>
                        <a:pt x="909777" y="865533"/>
                      </a:lnTo>
                      <a:lnTo>
                        <a:pt x="885478" y="695058"/>
                      </a:lnTo>
                      <a:lnTo>
                        <a:pt x="882949" y="672552"/>
                      </a:lnTo>
                      <a:lnTo>
                        <a:pt x="867358" y="526376"/>
                      </a:lnTo>
                      <a:lnTo>
                        <a:pt x="870239" y="453448"/>
                      </a:lnTo>
                      <a:lnTo>
                        <a:pt x="871712" y="346809"/>
                      </a:lnTo>
                      <a:lnTo>
                        <a:pt x="832879" y="346809"/>
                      </a:lnTo>
                      <a:lnTo>
                        <a:pt x="823467" y="344984"/>
                      </a:lnTo>
                      <a:lnTo>
                        <a:pt x="807139" y="354428"/>
                      </a:lnTo>
                      <a:lnTo>
                        <a:pt x="798784" y="366401"/>
                      </a:lnTo>
                      <a:lnTo>
                        <a:pt x="790812" y="367490"/>
                      </a:lnTo>
                      <a:lnTo>
                        <a:pt x="783929" y="364576"/>
                      </a:lnTo>
                      <a:lnTo>
                        <a:pt x="787547" y="352603"/>
                      </a:lnTo>
                      <a:lnTo>
                        <a:pt x="778103" y="344984"/>
                      </a:lnTo>
                      <a:lnTo>
                        <a:pt x="790812" y="339926"/>
                      </a:lnTo>
                      <a:lnTo>
                        <a:pt x="792637" y="333011"/>
                      </a:lnTo>
                      <a:lnTo>
                        <a:pt x="779575" y="330482"/>
                      </a:lnTo>
                      <a:lnTo>
                        <a:pt x="783929" y="322510"/>
                      </a:lnTo>
                      <a:lnTo>
                        <a:pt x="781368" y="314891"/>
                      </a:lnTo>
                      <a:lnTo>
                        <a:pt x="792637" y="306183"/>
                      </a:lnTo>
                      <a:lnTo>
                        <a:pt x="760687" y="301829"/>
                      </a:lnTo>
                      <a:lnTo>
                        <a:pt x="751979" y="313066"/>
                      </a:lnTo>
                      <a:lnTo>
                        <a:pt x="738565" y="296739"/>
                      </a:lnTo>
                      <a:lnTo>
                        <a:pt x="657313" y="198808"/>
                      </a:lnTo>
                      <a:lnTo>
                        <a:pt x="613774" y="144384"/>
                      </a:lnTo>
                      <a:lnTo>
                        <a:pt x="542319" y="56601"/>
                      </a:lnTo>
                      <a:lnTo>
                        <a:pt x="496603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4" name="Forma Livre: Forma 393">
                  <a:extLst>
                    <a:ext uri="{FF2B5EF4-FFF2-40B4-BE49-F238E27FC236}">
                      <a16:creationId xmlns:a16="http://schemas.microsoft.com/office/drawing/2014/main" id="{3619F5CB-B8DE-8ED6-8BFF-8B6BB22E929F}"/>
                    </a:ext>
                  </a:extLst>
                </p:cNvPr>
                <p:cNvSpPr/>
                <p:nvPr/>
              </p:nvSpPr>
              <p:spPr>
                <a:xfrm>
                  <a:off x="3020541" y="4329589"/>
                  <a:ext cx="348601" cy="275321"/>
                </a:xfrm>
                <a:custGeom>
                  <a:avLst/>
                  <a:gdLst>
                    <a:gd name="csX0" fmla="*/ 91432 w 348601"/>
                    <a:gd name="csY0" fmla="*/ 2529 h 275321"/>
                    <a:gd name="csX1" fmla="*/ 78371 w 348601"/>
                    <a:gd name="csY1" fmla="*/ 2529 h 275321"/>
                    <a:gd name="csX2" fmla="*/ 74017 w 348601"/>
                    <a:gd name="csY2" fmla="*/ 25739 h 275321"/>
                    <a:gd name="csX3" fmla="*/ 56217 w 348601"/>
                    <a:gd name="csY3" fmla="*/ 27564 h 275321"/>
                    <a:gd name="csX4" fmla="*/ 33007 w 348601"/>
                    <a:gd name="csY4" fmla="*/ 39538 h 275321"/>
                    <a:gd name="csX5" fmla="*/ 28653 w 348601"/>
                    <a:gd name="csY5" fmla="*/ 62011 h 275321"/>
                    <a:gd name="csX6" fmla="*/ 20681 w 348601"/>
                    <a:gd name="csY6" fmla="*/ 77250 h 275321"/>
                    <a:gd name="csX7" fmla="*/ 11237 w 348601"/>
                    <a:gd name="csY7" fmla="*/ 99020 h 275321"/>
                    <a:gd name="csX8" fmla="*/ 13062 w 348601"/>
                    <a:gd name="csY8" fmla="*/ 113522 h 275321"/>
                    <a:gd name="csX9" fmla="*/ 6915 w 348601"/>
                    <a:gd name="csY9" fmla="*/ 119701 h 275321"/>
                    <a:gd name="csX10" fmla="*/ 11237 w 348601"/>
                    <a:gd name="csY10" fmla="*/ 154884 h 275321"/>
                    <a:gd name="csX11" fmla="*/ 0 w 348601"/>
                    <a:gd name="csY11" fmla="*/ 182448 h 275321"/>
                    <a:gd name="csX12" fmla="*/ 6179 w 348601"/>
                    <a:gd name="csY12" fmla="*/ 198776 h 275321"/>
                    <a:gd name="csX13" fmla="*/ 4354 w 348601"/>
                    <a:gd name="csY13" fmla="*/ 208924 h 275321"/>
                    <a:gd name="csX14" fmla="*/ 10533 w 348601"/>
                    <a:gd name="csY14" fmla="*/ 218368 h 275321"/>
                    <a:gd name="csX15" fmla="*/ 6179 w 348601"/>
                    <a:gd name="csY15" fmla="*/ 231430 h 275321"/>
                    <a:gd name="csX16" fmla="*/ 13062 w 348601"/>
                    <a:gd name="csY16" fmla="*/ 240842 h 275321"/>
                    <a:gd name="csX17" fmla="*/ 8708 w 348601"/>
                    <a:gd name="csY17" fmla="*/ 252815 h 275321"/>
                    <a:gd name="csX18" fmla="*/ 23594 w 348601"/>
                    <a:gd name="csY18" fmla="*/ 275321 h 275321"/>
                    <a:gd name="csX19" fmla="*/ 31214 w 348601"/>
                    <a:gd name="csY19" fmla="*/ 267350 h 275321"/>
                    <a:gd name="csX20" fmla="*/ 44980 w 348601"/>
                    <a:gd name="csY20" fmla="*/ 274233 h 275321"/>
                    <a:gd name="csX21" fmla="*/ 54424 w 348601"/>
                    <a:gd name="csY21" fmla="*/ 270967 h 275321"/>
                    <a:gd name="csX22" fmla="*/ 66397 w 348601"/>
                    <a:gd name="csY22" fmla="*/ 274233 h 275321"/>
                    <a:gd name="csX23" fmla="*/ 71455 w 348601"/>
                    <a:gd name="csY23" fmla="*/ 270967 h 275321"/>
                    <a:gd name="csX24" fmla="*/ 98315 w 348601"/>
                    <a:gd name="csY24" fmla="*/ 255376 h 275321"/>
                    <a:gd name="csX25" fmla="*/ 93961 w 348601"/>
                    <a:gd name="csY25" fmla="*/ 220193 h 275321"/>
                    <a:gd name="csX26" fmla="*/ 113906 w 348601"/>
                    <a:gd name="csY26" fmla="*/ 212574 h 275321"/>
                    <a:gd name="csX27" fmla="*/ 115379 w 348601"/>
                    <a:gd name="csY27" fmla="*/ 199512 h 275321"/>
                    <a:gd name="csX28" fmla="*/ 121525 w 348601"/>
                    <a:gd name="csY28" fmla="*/ 196951 h 275321"/>
                    <a:gd name="csX29" fmla="*/ 131674 w 348601"/>
                    <a:gd name="csY29" fmla="*/ 196247 h 275321"/>
                    <a:gd name="csX30" fmla="*/ 137853 w 348601"/>
                    <a:gd name="csY30" fmla="*/ 203866 h 275321"/>
                    <a:gd name="csX31" fmla="*/ 162888 w 348601"/>
                    <a:gd name="csY31" fmla="*/ 197687 h 275321"/>
                    <a:gd name="csX32" fmla="*/ 196246 w 348601"/>
                    <a:gd name="csY32" fmla="*/ 200216 h 275321"/>
                    <a:gd name="csX33" fmla="*/ 197335 w 348601"/>
                    <a:gd name="csY33" fmla="*/ 200216 h 275321"/>
                    <a:gd name="csX34" fmla="*/ 226372 w 348601"/>
                    <a:gd name="csY34" fmla="*/ 180624 h 275321"/>
                    <a:gd name="csX35" fmla="*/ 261907 w 348601"/>
                    <a:gd name="csY35" fmla="*/ 168682 h 275321"/>
                    <a:gd name="csX36" fmla="*/ 277146 w 348601"/>
                    <a:gd name="csY36" fmla="*/ 156709 h 275321"/>
                    <a:gd name="csX37" fmla="*/ 292769 w 348601"/>
                    <a:gd name="csY37" fmla="*/ 158150 h 275321"/>
                    <a:gd name="csX38" fmla="*/ 298916 w 348601"/>
                    <a:gd name="csY38" fmla="*/ 148001 h 275321"/>
                    <a:gd name="csX39" fmla="*/ 304710 w 348601"/>
                    <a:gd name="csY39" fmla="*/ 146913 h 275321"/>
                    <a:gd name="csX40" fmla="*/ 313418 w 348601"/>
                    <a:gd name="csY40" fmla="*/ 157413 h 275321"/>
                    <a:gd name="csX41" fmla="*/ 326480 w 348601"/>
                    <a:gd name="csY41" fmla="*/ 153796 h 275321"/>
                    <a:gd name="csX42" fmla="*/ 337365 w 348601"/>
                    <a:gd name="csY42" fmla="*/ 161767 h 275321"/>
                    <a:gd name="csX43" fmla="*/ 348602 w 348601"/>
                    <a:gd name="csY43" fmla="*/ 162504 h 275321"/>
                    <a:gd name="csX44" fmla="*/ 347161 w 348601"/>
                    <a:gd name="csY44" fmla="*/ 139293 h 275321"/>
                    <a:gd name="csX45" fmla="*/ 336660 w 348601"/>
                    <a:gd name="csY45" fmla="*/ 122966 h 275321"/>
                    <a:gd name="csX46" fmla="*/ 322126 w 348601"/>
                    <a:gd name="csY46" fmla="*/ 115347 h 275321"/>
                    <a:gd name="csX47" fmla="*/ 310153 w 348601"/>
                    <a:gd name="csY47" fmla="*/ 120405 h 275321"/>
                    <a:gd name="csX48" fmla="*/ 304006 w 348601"/>
                    <a:gd name="csY48" fmla="*/ 118612 h 275321"/>
                    <a:gd name="csX49" fmla="*/ 297091 w 348601"/>
                    <a:gd name="csY49" fmla="*/ 110993 h 275321"/>
                    <a:gd name="csX50" fmla="*/ 296387 w 348601"/>
                    <a:gd name="csY50" fmla="*/ 97195 h 275321"/>
                    <a:gd name="csX51" fmla="*/ 283325 w 348601"/>
                    <a:gd name="csY51" fmla="*/ 81604 h 275321"/>
                    <a:gd name="csX52" fmla="*/ 268822 w 348601"/>
                    <a:gd name="csY52" fmla="*/ 85222 h 275321"/>
                    <a:gd name="csX53" fmla="*/ 264468 w 348601"/>
                    <a:gd name="csY53" fmla="*/ 80868 h 275321"/>
                    <a:gd name="csX54" fmla="*/ 256465 w 348601"/>
                    <a:gd name="csY54" fmla="*/ 55833 h 275321"/>
                    <a:gd name="csX55" fmla="*/ 244492 w 348601"/>
                    <a:gd name="csY55" fmla="*/ 55833 h 275321"/>
                    <a:gd name="csX56" fmla="*/ 243787 w 348601"/>
                    <a:gd name="csY56" fmla="*/ 60923 h 275321"/>
                    <a:gd name="csX57" fmla="*/ 236168 w 348601"/>
                    <a:gd name="csY57" fmla="*/ 67102 h 275321"/>
                    <a:gd name="csX58" fmla="*/ 236168 w 348601"/>
                    <a:gd name="csY58" fmla="*/ 66365 h 275321"/>
                    <a:gd name="csX59" fmla="*/ 170507 w 348601"/>
                    <a:gd name="csY59" fmla="*/ 26476 h 275321"/>
                    <a:gd name="csX60" fmla="*/ 167946 w 348601"/>
                    <a:gd name="csY60" fmla="*/ 25003 h 275321"/>
                    <a:gd name="csX61" fmla="*/ 145472 w 348601"/>
                    <a:gd name="csY61" fmla="*/ 10149 h 275321"/>
                    <a:gd name="csX62" fmla="*/ 144736 w 348601"/>
                    <a:gd name="csY62" fmla="*/ 0 h 275321"/>
                    <a:gd name="csX63" fmla="*/ 135324 w 348601"/>
                    <a:gd name="csY63" fmla="*/ 5058 h 275321"/>
                    <a:gd name="csX64" fmla="*/ 119733 w 348601"/>
                    <a:gd name="csY64" fmla="*/ 704 h 275321"/>
                    <a:gd name="csX65" fmla="*/ 100140 w 348601"/>
                    <a:gd name="csY65" fmla="*/ 7588 h 275321"/>
                    <a:gd name="csX66" fmla="*/ 91432 w 348601"/>
                    <a:gd name="csY66" fmla="*/ 2529 h 2753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348601" h="275321">
                      <a:moveTo>
                        <a:pt x="91432" y="2529"/>
                      </a:moveTo>
                      <a:lnTo>
                        <a:pt x="78371" y="2529"/>
                      </a:lnTo>
                      <a:lnTo>
                        <a:pt x="74017" y="25739"/>
                      </a:lnTo>
                      <a:lnTo>
                        <a:pt x="56217" y="27564"/>
                      </a:lnTo>
                      <a:lnTo>
                        <a:pt x="33007" y="39538"/>
                      </a:lnTo>
                      <a:lnTo>
                        <a:pt x="28653" y="62011"/>
                      </a:lnTo>
                      <a:lnTo>
                        <a:pt x="20681" y="77250"/>
                      </a:lnTo>
                      <a:lnTo>
                        <a:pt x="11237" y="99020"/>
                      </a:lnTo>
                      <a:lnTo>
                        <a:pt x="13062" y="113522"/>
                      </a:lnTo>
                      <a:lnTo>
                        <a:pt x="6915" y="119701"/>
                      </a:lnTo>
                      <a:lnTo>
                        <a:pt x="11237" y="154884"/>
                      </a:lnTo>
                      <a:lnTo>
                        <a:pt x="0" y="182448"/>
                      </a:lnTo>
                      <a:lnTo>
                        <a:pt x="6179" y="198776"/>
                      </a:lnTo>
                      <a:lnTo>
                        <a:pt x="4354" y="208924"/>
                      </a:lnTo>
                      <a:lnTo>
                        <a:pt x="10533" y="218368"/>
                      </a:lnTo>
                      <a:lnTo>
                        <a:pt x="6179" y="231430"/>
                      </a:lnTo>
                      <a:lnTo>
                        <a:pt x="13062" y="240842"/>
                      </a:lnTo>
                      <a:lnTo>
                        <a:pt x="8708" y="252815"/>
                      </a:lnTo>
                      <a:lnTo>
                        <a:pt x="23594" y="275321"/>
                      </a:lnTo>
                      <a:lnTo>
                        <a:pt x="31214" y="267350"/>
                      </a:lnTo>
                      <a:lnTo>
                        <a:pt x="44980" y="274233"/>
                      </a:lnTo>
                      <a:lnTo>
                        <a:pt x="54424" y="270967"/>
                      </a:lnTo>
                      <a:lnTo>
                        <a:pt x="66397" y="274233"/>
                      </a:lnTo>
                      <a:lnTo>
                        <a:pt x="71455" y="270967"/>
                      </a:lnTo>
                      <a:lnTo>
                        <a:pt x="98315" y="255376"/>
                      </a:lnTo>
                      <a:lnTo>
                        <a:pt x="93961" y="220193"/>
                      </a:lnTo>
                      <a:lnTo>
                        <a:pt x="113906" y="212574"/>
                      </a:lnTo>
                      <a:lnTo>
                        <a:pt x="115379" y="199512"/>
                      </a:lnTo>
                      <a:lnTo>
                        <a:pt x="121525" y="196951"/>
                      </a:lnTo>
                      <a:lnTo>
                        <a:pt x="131674" y="196247"/>
                      </a:lnTo>
                      <a:lnTo>
                        <a:pt x="137853" y="203866"/>
                      </a:lnTo>
                      <a:lnTo>
                        <a:pt x="162888" y="197687"/>
                      </a:lnTo>
                      <a:lnTo>
                        <a:pt x="196246" y="200216"/>
                      </a:lnTo>
                      <a:lnTo>
                        <a:pt x="197335" y="200216"/>
                      </a:lnTo>
                      <a:lnTo>
                        <a:pt x="226372" y="180624"/>
                      </a:lnTo>
                      <a:lnTo>
                        <a:pt x="261907" y="168682"/>
                      </a:lnTo>
                      <a:lnTo>
                        <a:pt x="277146" y="156709"/>
                      </a:lnTo>
                      <a:lnTo>
                        <a:pt x="292769" y="158150"/>
                      </a:lnTo>
                      <a:lnTo>
                        <a:pt x="298916" y="148001"/>
                      </a:lnTo>
                      <a:lnTo>
                        <a:pt x="304710" y="146913"/>
                      </a:lnTo>
                      <a:lnTo>
                        <a:pt x="313418" y="157413"/>
                      </a:lnTo>
                      <a:lnTo>
                        <a:pt x="326480" y="153796"/>
                      </a:lnTo>
                      <a:lnTo>
                        <a:pt x="337365" y="161767"/>
                      </a:lnTo>
                      <a:lnTo>
                        <a:pt x="348602" y="162504"/>
                      </a:lnTo>
                      <a:lnTo>
                        <a:pt x="347161" y="139293"/>
                      </a:lnTo>
                      <a:lnTo>
                        <a:pt x="336660" y="122966"/>
                      </a:lnTo>
                      <a:lnTo>
                        <a:pt x="322126" y="115347"/>
                      </a:lnTo>
                      <a:lnTo>
                        <a:pt x="310153" y="120405"/>
                      </a:lnTo>
                      <a:lnTo>
                        <a:pt x="304006" y="118612"/>
                      </a:lnTo>
                      <a:lnTo>
                        <a:pt x="297091" y="110993"/>
                      </a:lnTo>
                      <a:lnTo>
                        <a:pt x="296387" y="97195"/>
                      </a:lnTo>
                      <a:lnTo>
                        <a:pt x="283325" y="81604"/>
                      </a:lnTo>
                      <a:lnTo>
                        <a:pt x="268822" y="85222"/>
                      </a:lnTo>
                      <a:lnTo>
                        <a:pt x="264468" y="80868"/>
                      </a:lnTo>
                      <a:lnTo>
                        <a:pt x="256465" y="55833"/>
                      </a:lnTo>
                      <a:lnTo>
                        <a:pt x="244492" y="55833"/>
                      </a:lnTo>
                      <a:lnTo>
                        <a:pt x="243787" y="60923"/>
                      </a:lnTo>
                      <a:lnTo>
                        <a:pt x="236168" y="67102"/>
                      </a:lnTo>
                      <a:lnTo>
                        <a:pt x="236168" y="66365"/>
                      </a:lnTo>
                      <a:lnTo>
                        <a:pt x="170507" y="26476"/>
                      </a:lnTo>
                      <a:lnTo>
                        <a:pt x="167946" y="25003"/>
                      </a:lnTo>
                      <a:lnTo>
                        <a:pt x="145472" y="10149"/>
                      </a:lnTo>
                      <a:lnTo>
                        <a:pt x="144736" y="0"/>
                      </a:lnTo>
                      <a:lnTo>
                        <a:pt x="135324" y="5058"/>
                      </a:lnTo>
                      <a:lnTo>
                        <a:pt x="119733" y="704"/>
                      </a:lnTo>
                      <a:lnTo>
                        <a:pt x="100140" y="7588"/>
                      </a:lnTo>
                      <a:lnTo>
                        <a:pt x="91432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5" name="Forma Livre: Forma 394">
                  <a:extLst>
                    <a:ext uri="{FF2B5EF4-FFF2-40B4-BE49-F238E27FC236}">
                      <a16:creationId xmlns:a16="http://schemas.microsoft.com/office/drawing/2014/main" id="{26EDBEB5-22D6-1809-A078-5BC225CF2271}"/>
                    </a:ext>
                  </a:extLst>
                </p:cNvPr>
                <p:cNvSpPr/>
                <p:nvPr/>
              </p:nvSpPr>
              <p:spPr>
                <a:xfrm>
                  <a:off x="3020541" y="4329589"/>
                  <a:ext cx="348601" cy="275321"/>
                </a:xfrm>
                <a:custGeom>
                  <a:avLst/>
                  <a:gdLst>
                    <a:gd name="csX0" fmla="*/ 91432 w 348601"/>
                    <a:gd name="csY0" fmla="*/ 2529 h 275321"/>
                    <a:gd name="csX1" fmla="*/ 78371 w 348601"/>
                    <a:gd name="csY1" fmla="*/ 2529 h 275321"/>
                    <a:gd name="csX2" fmla="*/ 74017 w 348601"/>
                    <a:gd name="csY2" fmla="*/ 25739 h 275321"/>
                    <a:gd name="csX3" fmla="*/ 56217 w 348601"/>
                    <a:gd name="csY3" fmla="*/ 27564 h 275321"/>
                    <a:gd name="csX4" fmla="*/ 33007 w 348601"/>
                    <a:gd name="csY4" fmla="*/ 39538 h 275321"/>
                    <a:gd name="csX5" fmla="*/ 28653 w 348601"/>
                    <a:gd name="csY5" fmla="*/ 62011 h 275321"/>
                    <a:gd name="csX6" fmla="*/ 20681 w 348601"/>
                    <a:gd name="csY6" fmla="*/ 77250 h 275321"/>
                    <a:gd name="csX7" fmla="*/ 11237 w 348601"/>
                    <a:gd name="csY7" fmla="*/ 99020 h 275321"/>
                    <a:gd name="csX8" fmla="*/ 13062 w 348601"/>
                    <a:gd name="csY8" fmla="*/ 113522 h 275321"/>
                    <a:gd name="csX9" fmla="*/ 6915 w 348601"/>
                    <a:gd name="csY9" fmla="*/ 119701 h 275321"/>
                    <a:gd name="csX10" fmla="*/ 11237 w 348601"/>
                    <a:gd name="csY10" fmla="*/ 154884 h 275321"/>
                    <a:gd name="csX11" fmla="*/ 0 w 348601"/>
                    <a:gd name="csY11" fmla="*/ 182448 h 275321"/>
                    <a:gd name="csX12" fmla="*/ 6179 w 348601"/>
                    <a:gd name="csY12" fmla="*/ 198776 h 275321"/>
                    <a:gd name="csX13" fmla="*/ 4354 w 348601"/>
                    <a:gd name="csY13" fmla="*/ 208924 h 275321"/>
                    <a:gd name="csX14" fmla="*/ 10533 w 348601"/>
                    <a:gd name="csY14" fmla="*/ 218368 h 275321"/>
                    <a:gd name="csX15" fmla="*/ 6179 w 348601"/>
                    <a:gd name="csY15" fmla="*/ 231430 h 275321"/>
                    <a:gd name="csX16" fmla="*/ 13062 w 348601"/>
                    <a:gd name="csY16" fmla="*/ 240842 h 275321"/>
                    <a:gd name="csX17" fmla="*/ 8708 w 348601"/>
                    <a:gd name="csY17" fmla="*/ 252815 h 275321"/>
                    <a:gd name="csX18" fmla="*/ 23594 w 348601"/>
                    <a:gd name="csY18" fmla="*/ 275321 h 275321"/>
                    <a:gd name="csX19" fmla="*/ 31214 w 348601"/>
                    <a:gd name="csY19" fmla="*/ 267350 h 275321"/>
                    <a:gd name="csX20" fmla="*/ 44980 w 348601"/>
                    <a:gd name="csY20" fmla="*/ 274233 h 275321"/>
                    <a:gd name="csX21" fmla="*/ 54424 w 348601"/>
                    <a:gd name="csY21" fmla="*/ 270967 h 275321"/>
                    <a:gd name="csX22" fmla="*/ 66397 w 348601"/>
                    <a:gd name="csY22" fmla="*/ 274233 h 275321"/>
                    <a:gd name="csX23" fmla="*/ 71455 w 348601"/>
                    <a:gd name="csY23" fmla="*/ 270967 h 275321"/>
                    <a:gd name="csX24" fmla="*/ 98315 w 348601"/>
                    <a:gd name="csY24" fmla="*/ 255376 h 275321"/>
                    <a:gd name="csX25" fmla="*/ 93961 w 348601"/>
                    <a:gd name="csY25" fmla="*/ 220193 h 275321"/>
                    <a:gd name="csX26" fmla="*/ 113906 w 348601"/>
                    <a:gd name="csY26" fmla="*/ 212574 h 275321"/>
                    <a:gd name="csX27" fmla="*/ 115379 w 348601"/>
                    <a:gd name="csY27" fmla="*/ 199512 h 275321"/>
                    <a:gd name="csX28" fmla="*/ 121525 w 348601"/>
                    <a:gd name="csY28" fmla="*/ 196951 h 275321"/>
                    <a:gd name="csX29" fmla="*/ 131674 w 348601"/>
                    <a:gd name="csY29" fmla="*/ 196247 h 275321"/>
                    <a:gd name="csX30" fmla="*/ 137853 w 348601"/>
                    <a:gd name="csY30" fmla="*/ 203866 h 275321"/>
                    <a:gd name="csX31" fmla="*/ 162888 w 348601"/>
                    <a:gd name="csY31" fmla="*/ 197687 h 275321"/>
                    <a:gd name="csX32" fmla="*/ 196246 w 348601"/>
                    <a:gd name="csY32" fmla="*/ 200216 h 275321"/>
                    <a:gd name="csX33" fmla="*/ 197335 w 348601"/>
                    <a:gd name="csY33" fmla="*/ 200216 h 275321"/>
                    <a:gd name="csX34" fmla="*/ 226372 w 348601"/>
                    <a:gd name="csY34" fmla="*/ 180624 h 275321"/>
                    <a:gd name="csX35" fmla="*/ 261907 w 348601"/>
                    <a:gd name="csY35" fmla="*/ 168682 h 275321"/>
                    <a:gd name="csX36" fmla="*/ 277146 w 348601"/>
                    <a:gd name="csY36" fmla="*/ 156709 h 275321"/>
                    <a:gd name="csX37" fmla="*/ 292769 w 348601"/>
                    <a:gd name="csY37" fmla="*/ 158150 h 275321"/>
                    <a:gd name="csX38" fmla="*/ 298916 w 348601"/>
                    <a:gd name="csY38" fmla="*/ 148001 h 275321"/>
                    <a:gd name="csX39" fmla="*/ 304710 w 348601"/>
                    <a:gd name="csY39" fmla="*/ 146913 h 275321"/>
                    <a:gd name="csX40" fmla="*/ 313418 w 348601"/>
                    <a:gd name="csY40" fmla="*/ 157413 h 275321"/>
                    <a:gd name="csX41" fmla="*/ 326480 w 348601"/>
                    <a:gd name="csY41" fmla="*/ 153796 h 275321"/>
                    <a:gd name="csX42" fmla="*/ 337365 w 348601"/>
                    <a:gd name="csY42" fmla="*/ 161767 h 275321"/>
                    <a:gd name="csX43" fmla="*/ 348602 w 348601"/>
                    <a:gd name="csY43" fmla="*/ 162504 h 275321"/>
                    <a:gd name="csX44" fmla="*/ 347161 w 348601"/>
                    <a:gd name="csY44" fmla="*/ 139293 h 275321"/>
                    <a:gd name="csX45" fmla="*/ 336660 w 348601"/>
                    <a:gd name="csY45" fmla="*/ 122966 h 275321"/>
                    <a:gd name="csX46" fmla="*/ 322126 w 348601"/>
                    <a:gd name="csY46" fmla="*/ 115347 h 275321"/>
                    <a:gd name="csX47" fmla="*/ 310153 w 348601"/>
                    <a:gd name="csY47" fmla="*/ 120405 h 275321"/>
                    <a:gd name="csX48" fmla="*/ 304006 w 348601"/>
                    <a:gd name="csY48" fmla="*/ 118612 h 275321"/>
                    <a:gd name="csX49" fmla="*/ 297091 w 348601"/>
                    <a:gd name="csY49" fmla="*/ 110993 h 275321"/>
                    <a:gd name="csX50" fmla="*/ 296387 w 348601"/>
                    <a:gd name="csY50" fmla="*/ 97195 h 275321"/>
                    <a:gd name="csX51" fmla="*/ 283325 w 348601"/>
                    <a:gd name="csY51" fmla="*/ 81604 h 275321"/>
                    <a:gd name="csX52" fmla="*/ 268822 w 348601"/>
                    <a:gd name="csY52" fmla="*/ 85222 h 275321"/>
                    <a:gd name="csX53" fmla="*/ 264468 w 348601"/>
                    <a:gd name="csY53" fmla="*/ 80868 h 275321"/>
                    <a:gd name="csX54" fmla="*/ 256465 w 348601"/>
                    <a:gd name="csY54" fmla="*/ 55833 h 275321"/>
                    <a:gd name="csX55" fmla="*/ 244492 w 348601"/>
                    <a:gd name="csY55" fmla="*/ 55833 h 275321"/>
                    <a:gd name="csX56" fmla="*/ 243787 w 348601"/>
                    <a:gd name="csY56" fmla="*/ 60923 h 275321"/>
                    <a:gd name="csX57" fmla="*/ 236168 w 348601"/>
                    <a:gd name="csY57" fmla="*/ 67102 h 275321"/>
                    <a:gd name="csX58" fmla="*/ 236168 w 348601"/>
                    <a:gd name="csY58" fmla="*/ 66365 h 275321"/>
                    <a:gd name="csX59" fmla="*/ 170507 w 348601"/>
                    <a:gd name="csY59" fmla="*/ 26476 h 275321"/>
                    <a:gd name="csX60" fmla="*/ 167946 w 348601"/>
                    <a:gd name="csY60" fmla="*/ 25003 h 275321"/>
                    <a:gd name="csX61" fmla="*/ 145472 w 348601"/>
                    <a:gd name="csY61" fmla="*/ 10149 h 275321"/>
                    <a:gd name="csX62" fmla="*/ 144736 w 348601"/>
                    <a:gd name="csY62" fmla="*/ 0 h 275321"/>
                    <a:gd name="csX63" fmla="*/ 135324 w 348601"/>
                    <a:gd name="csY63" fmla="*/ 5058 h 275321"/>
                    <a:gd name="csX64" fmla="*/ 119733 w 348601"/>
                    <a:gd name="csY64" fmla="*/ 704 h 275321"/>
                    <a:gd name="csX65" fmla="*/ 100140 w 348601"/>
                    <a:gd name="csY65" fmla="*/ 7588 h 275321"/>
                    <a:gd name="csX66" fmla="*/ 91432 w 348601"/>
                    <a:gd name="csY66" fmla="*/ 2529 h 2753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348601" h="275321">
                      <a:moveTo>
                        <a:pt x="91432" y="2529"/>
                      </a:moveTo>
                      <a:lnTo>
                        <a:pt x="78371" y="2529"/>
                      </a:lnTo>
                      <a:lnTo>
                        <a:pt x="74017" y="25739"/>
                      </a:lnTo>
                      <a:lnTo>
                        <a:pt x="56217" y="27564"/>
                      </a:lnTo>
                      <a:lnTo>
                        <a:pt x="33007" y="39538"/>
                      </a:lnTo>
                      <a:lnTo>
                        <a:pt x="28653" y="62011"/>
                      </a:lnTo>
                      <a:lnTo>
                        <a:pt x="20681" y="77250"/>
                      </a:lnTo>
                      <a:lnTo>
                        <a:pt x="11237" y="99020"/>
                      </a:lnTo>
                      <a:lnTo>
                        <a:pt x="13062" y="113522"/>
                      </a:lnTo>
                      <a:lnTo>
                        <a:pt x="6915" y="119701"/>
                      </a:lnTo>
                      <a:lnTo>
                        <a:pt x="11237" y="154884"/>
                      </a:lnTo>
                      <a:lnTo>
                        <a:pt x="0" y="182448"/>
                      </a:lnTo>
                      <a:lnTo>
                        <a:pt x="6179" y="198776"/>
                      </a:lnTo>
                      <a:lnTo>
                        <a:pt x="4354" y="208924"/>
                      </a:lnTo>
                      <a:lnTo>
                        <a:pt x="10533" y="218368"/>
                      </a:lnTo>
                      <a:lnTo>
                        <a:pt x="6179" y="231430"/>
                      </a:lnTo>
                      <a:lnTo>
                        <a:pt x="13062" y="240842"/>
                      </a:lnTo>
                      <a:lnTo>
                        <a:pt x="8708" y="252815"/>
                      </a:lnTo>
                      <a:lnTo>
                        <a:pt x="23594" y="275321"/>
                      </a:lnTo>
                      <a:lnTo>
                        <a:pt x="31214" y="267350"/>
                      </a:lnTo>
                      <a:lnTo>
                        <a:pt x="44980" y="274233"/>
                      </a:lnTo>
                      <a:lnTo>
                        <a:pt x="54424" y="270967"/>
                      </a:lnTo>
                      <a:lnTo>
                        <a:pt x="66397" y="274233"/>
                      </a:lnTo>
                      <a:lnTo>
                        <a:pt x="71455" y="270967"/>
                      </a:lnTo>
                      <a:lnTo>
                        <a:pt x="98315" y="255376"/>
                      </a:lnTo>
                      <a:lnTo>
                        <a:pt x="93961" y="220193"/>
                      </a:lnTo>
                      <a:lnTo>
                        <a:pt x="113906" y="212574"/>
                      </a:lnTo>
                      <a:lnTo>
                        <a:pt x="115379" y="199512"/>
                      </a:lnTo>
                      <a:lnTo>
                        <a:pt x="121525" y="196951"/>
                      </a:lnTo>
                      <a:lnTo>
                        <a:pt x="131674" y="196247"/>
                      </a:lnTo>
                      <a:lnTo>
                        <a:pt x="137853" y="203866"/>
                      </a:lnTo>
                      <a:lnTo>
                        <a:pt x="162888" y="197687"/>
                      </a:lnTo>
                      <a:lnTo>
                        <a:pt x="196246" y="200216"/>
                      </a:lnTo>
                      <a:lnTo>
                        <a:pt x="197335" y="200216"/>
                      </a:lnTo>
                      <a:lnTo>
                        <a:pt x="226372" y="180624"/>
                      </a:lnTo>
                      <a:lnTo>
                        <a:pt x="261907" y="168682"/>
                      </a:lnTo>
                      <a:lnTo>
                        <a:pt x="277146" y="156709"/>
                      </a:lnTo>
                      <a:lnTo>
                        <a:pt x="292769" y="158150"/>
                      </a:lnTo>
                      <a:lnTo>
                        <a:pt x="298916" y="148001"/>
                      </a:lnTo>
                      <a:lnTo>
                        <a:pt x="304710" y="146913"/>
                      </a:lnTo>
                      <a:lnTo>
                        <a:pt x="313418" y="157413"/>
                      </a:lnTo>
                      <a:lnTo>
                        <a:pt x="326480" y="153796"/>
                      </a:lnTo>
                      <a:lnTo>
                        <a:pt x="337365" y="161767"/>
                      </a:lnTo>
                      <a:lnTo>
                        <a:pt x="348602" y="162504"/>
                      </a:lnTo>
                      <a:lnTo>
                        <a:pt x="347161" y="139293"/>
                      </a:lnTo>
                      <a:lnTo>
                        <a:pt x="336660" y="122966"/>
                      </a:lnTo>
                      <a:lnTo>
                        <a:pt x="322126" y="115347"/>
                      </a:lnTo>
                      <a:lnTo>
                        <a:pt x="310153" y="120405"/>
                      </a:lnTo>
                      <a:lnTo>
                        <a:pt x="304006" y="118612"/>
                      </a:lnTo>
                      <a:lnTo>
                        <a:pt x="297091" y="110993"/>
                      </a:lnTo>
                      <a:lnTo>
                        <a:pt x="296387" y="97195"/>
                      </a:lnTo>
                      <a:lnTo>
                        <a:pt x="283325" y="81604"/>
                      </a:lnTo>
                      <a:lnTo>
                        <a:pt x="268822" y="85222"/>
                      </a:lnTo>
                      <a:lnTo>
                        <a:pt x="264468" y="80868"/>
                      </a:lnTo>
                      <a:lnTo>
                        <a:pt x="256465" y="55833"/>
                      </a:lnTo>
                      <a:lnTo>
                        <a:pt x="244492" y="55833"/>
                      </a:lnTo>
                      <a:lnTo>
                        <a:pt x="243787" y="60923"/>
                      </a:lnTo>
                      <a:lnTo>
                        <a:pt x="236168" y="67102"/>
                      </a:lnTo>
                      <a:lnTo>
                        <a:pt x="236168" y="66365"/>
                      </a:lnTo>
                      <a:lnTo>
                        <a:pt x="170507" y="26476"/>
                      </a:lnTo>
                      <a:lnTo>
                        <a:pt x="167946" y="25003"/>
                      </a:lnTo>
                      <a:lnTo>
                        <a:pt x="145472" y="10149"/>
                      </a:lnTo>
                      <a:lnTo>
                        <a:pt x="144736" y="0"/>
                      </a:lnTo>
                      <a:lnTo>
                        <a:pt x="135324" y="5058"/>
                      </a:lnTo>
                      <a:lnTo>
                        <a:pt x="119733" y="704"/>
                      </a:lnTo>
                      <a:lnTo>
                        <a:pt x="100140" y="7588"/>
                      </a:lnTo>
                      <a:lnTo>
                        <a:pt x="91432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6" name="Forma Livre: Forma 395">
                  <a:extLst>
                    <a:ext uri="{FF2B5EF4-FFF2-40B4-BE49-F238E27FC236}">
                      <a16:creationId xmlns:a16="http://schemas.microsoft.com/office/drawing/2014/main" id="{3C2E0849-2B6D-FBF0-7572-8ED9B4FFF753}"/>
                    </a:ext>
                  </a:extLst>
                </p:cNvPr>
                <p:cNvSpPr/>
                <p:nvPr/>
              </p:nvSpPr>
              <p:spPr>
                <a:xfrm>
                  <a:off x="3020541" y="4329589"/>
                  <a:ext cx="348601" cy="275321"/>
                </a:xfrm>
                <a:custGeom>
                  <a:avLst/>
                  <a:gdLst>
                    <a:gd name="csX0" fmla="*/ 91432 w 348601"/>
                    <a:gd name="csY0" fmla="*/ 2529 h 275321"/>
                    <a:gd name="csX1" fmla="*/ 78371 w 348601"/>
                    <a:gd name="csY1" fmla="*/ 2529 h 275321"/>
                    <a:gd name="csX2" fmla="*/ 74017 w 348601"/>
                    <a:gd name="csY2" fmla="*/ 25739 h 275321"/>
                    <a:gd name="csX3" fmla="*/ 56217 w 348601"/>
                    <a:gd name="csY3" fmla="*/ 27564 h 275321"/>
                    <a:gd name="csX4" fmla="*/ 33007 w 348601"/>
                    <a:gd name="csY4" fmla="*/ 39538 h 275321"/>
                    <a:gd name="csX5" fmla="*/ 28653 w 348601"/>
                    <a:gd name="csY5" fmla="*/ 62011 h 275321"/>
                    <a:gd name="csX6" fmla="*/ 20681 w 348601"/>
                    <a:gd name="csY6" fmla="*/ 77250 h 275321"/>
                    <a:gd name="csX7" fmla="*/ 11237 w 348601"/>
                    <a:gd name="csY7" fmla="*/ 99020 h 275321"/>
                    <a:gd name="csX8" fmla="*/ 13062 w 348601"/>
                    <a:gd name="csY8" fmla="*/ 113522 h 275321"/>
                    <a:gd name="csX9" fmla="*/ 6915 w 348601"/>
                    <a:gd name="csY9" fmla="*/ 119701 h 275321"/>
                    <a:gd name="csX10" fmla="*/ 11237 w 348601"/>
                    <a:gd name="csY10" fmla="*/ 154884 h 275321"/>
                    <a:gd name="csX11" fmla="*/ 0 w 348601"/>
                    <a:gd name="csY11" fmla="*/ 182448 h 275321"/>
                    <a:gd name="csX12" fmla="*/ 6179 w 348601"/>
                    <a:gd name="csY12" fmla="*/ 198776 h 275321"/>
                    <a:gd name="csX13" fmla="*/ 4354 w 348601"/>
                    <a:gd name="csY13" fmla="*/ 208924 h 275321"/>
                    <a:gd name="csX14" fmla="*/ 10533 w 348601"/>
                    <a:gd name="csY14" fmla="*/ 218368 h 275321"/>
                    <a:gd name="csX15" fmla="*/ 6179 w 348601"/>
                    <a:gd name="csY15" fmla="*/ 231430 h 275321"/>
                    <a:gd name="csX16" fmla="*/ 13062 w 348601"/>
                    <a:gd name="csY16" fmla="*/ 240842 h 275321"/>
                    <a:gd name="csX17" fmla="*/ 8708 w 348601"/>
                    <a:gd name="csY17" fmla="*/ 252815 h 275321"/>
                    <a:gd name="csX18" fmla="*/ 23594 w 348601"/>
                    <a:gd name="csY18" fmla="*/ 275321 h 275321"/>
                    <a:gd name="csX19" fmla="*/ 31214 w 348601"/>
                    <a:gd name="csY19" fmla="*/ 267350 h 275321"/>
                    <a:gd name="csX20" fmla="*/ 44980 w 348601"/>
                    <a:gd name="csY20" fmla="*/ 274233 h 275321"/>
                    <a:gd name="csX21" fmla="*/ 54424 w 348601"/>
                    <a:gd name="csY21" fmla="*/ 270967 h 275321"/>
                    <a:gd name="csX22" fmla="*/ 66397 w 348601"/>
                    <a:gd name="csY22" fmla="*/ 274233 h 275321"/>
                    <a:gd name="csX23" fmla="*/ 71455 w 348601"/>
                    <a:gd name="csY23" fmla="*/ 270967 h 275321"/>
                    <a:gd name="csX24" fmla="*/ 98315 w 348601"/>
                    <a:gd name="csY24" fmla="*/ 255376 h 275321"/>
                    <a:gd name="csX25" fmla="*/ 93961 w 348601"/>
                    <a:gd name="csY25" fmla="*/ 220193 h 275321"/>
                    <a:gd name="csX26" fmla="*/ 113906 w 348601"/>
                    <a:gd name="csY26" fmla="*/ 212574 h 275321"/>
                    <a:gd name="csX27" fmla="*/ 115379 w 348601"/>
                    <a:gd name="csY27" fmla="*/ 199512 h 275321"/>
                    <a:gd name="csX28" fmla="*/ 121525 w 348601"/>
                    <a:gd name="csY28" fmla="*/ 196951 h 275321"/>
                    <a:gd name="csX29" fmla="*/ 131674 w 348601"/>
                    <a:gd name="csY29" fmla="*/ 196247 h 275321"/>
                    <a:gd name="csX30" fmla="*/ 137853 w 348601"/>
                    <a:gd name="csY30" fmla="*/ 203866 h 275321"/>
                    <a:gd name="csX31" fmla="*/ 162888 w 348601"/>
                    <a:gd name="csY31" fmla="*/ 197687 h 275321"/>
                    <a:gd name="csX32" fmla="*/ 196246 w 348601"/>
                    <a:gd name="csY32" fmla="*/ 200216 h 275321"/>
                    <a:gd name="csX33" fmla="*/ 197335 w 348601"/>
                    <a:gd name="csY33" fmla="*/ 200216 h 275321"/>
                    <a:gd name="csX34" fmla="*/ 226372 w 348601"/>
                    <a:gd name="csY34" fmla="*/ 180624 h 275321"/>
                    <a:gd name="csX35" fmla="*/ 261907 w 348601"/>
                    <a:gd name="csY35" fmla="*/ 168682 h 275321"/>
                    <a:gd name="csX36" fmla="*/ 277146 w 348601"/>
                    <a:gd name="csY36" fmla="*/ 156709 h 275321"/>
                    <a:gd name="csX37" fmla="*/ 292769 w 348601"/>
                    <a:gd name="csY37" fmla="*/ 158150 h 275321"/>
                    <a:gd name="csX38" fmla="*/ 298916 w 348601"/>
                    <a:gd name="csY38" fmla="*/ 148001 h 275321"/>
                    <a:gd name="csX39" fmla="*/ 304710 w 348601"/>
                    <a:gd name="csY39" fmla="*/ 146913 h 275321"/>
                    <a:gd name="csX40" fmla="*/ 313418 w 348601"/>
                    <a:gd name="csY40" fmla="*/ 157413 h 275321"/>
                    <a:gd name="csX41" fmla="*/ 326480 w 348601"/>
                    <a:gd name="csY41" fmla="*/ 153796 h 275321"/>
                    <a:gd name="csX42" fmla="*/ 337365 w 348601"/>
                    <a:gd name="csY42" fmla="*/ 161767 h 275321"/>
                    <a:gd name="csX43" fmla="*/ 348602 w 348601"/>
                    <a:gd name="csY43" fmla="*/ 162504 h 275321"/>
                    <a:gd name="csX44" fmla="*/ 347161 w 348601"/>
                    <a:gd name="csY44" fmla="*/ 139293 h 275321"/>
                    <a:gd name="csX45" fmla="*/ 336660 w 348601"/>
                    <a:gd name="csY45" fmla="*/ 122966 h 275321"/>
                    <a:gd name="csX46" fmla="*/ 322126 w 348601"/>
                    <a:gd name="csY46" fmla="*/ 115347 h 275321"/>
                    <a:gd name="csX47" fmla="*/ 310153 w 348601"/>
                    <a:gd name="csY47" fmla="*/ 120405 h 275321"/>
                    <a:gd name="csX48" fmla="*/ 304006 w 348601"/>
                    <a:gd name="csY48" fmla="*/ 118612 h 275321"/>
                    <a:gd name="csX49" fmla="*/ 297091 w 348601"/>
                    <a:gd name="csY49" fmla="*/ 110993 h 275321"/>
                    <a:gd name="csX50" fmla="*/ 296387 w 348601"/>
                    <a:gd name="csY50" fmla="*/ 97195 h 275321"/>
                    <a:gd name="csX51" fmla="*/ 283325 w 348601"/>
                    <a:gd name="csY51" fmla="*/ 81604 h 275321"/>
                    <a:gd name="csX52" fmla="*/ 268822 w 348601"/>
                    <a:gd name="csY52" fmla="*/ 85222 h 275321"/>
                    <a:gd name="csX53" fmla="*/ 264468 w 348601"/>
                    <a:gd name="csY53" fmla="*/ 80868 h 275321"/>
                    <a:gd name="csX54" fmla="*/ 256465 w 348601"/>
                    <a:gd name="csY54" fmla="*/ 55833 h 275321"/>
                    <a:gd name="csX55" fmla="*/ 244492 w 348601"/>
                    <a:gd name="csY55" fmla="*/ 55833 h 275321"/>
                    <a:gd name="csX56" fmla="*/ 243787 w 348601"/>
                    <a:gd name="csY56" fmla="*/ 60923 h 275321"/>
                    <a:gd name="csX57" fmla="*/ 236168 w 348601"/>
                    <a:gd name="csY57" fmla="*/ 67102 h 275321"/>
                    <a:gd name="csX58" fmla="*/ 236168 w 348601"/>
                    <a:gd name="csY58" fmla="*/ 66365 h 275321"/>
                    <a:gd name="csX59" fmla="*/ 170507 w 348601"/>
                    <a:gd name="csY59" fmla="*/ 26476 h 275321"/>
                    <a:gd name="csX60" fmla="*/ 167946 w 348601"/>
                    <a:gd name="csY60" fmla="*/ 25003 h 275321"/>
                    <a:gd name="csX61" fmla="*/ 145472 w 348601"/>
                    <a:gd name="csY61" fmla="*/ 10149 h 275321"/>
                    <a:gd name="csX62" fmla="*/ 144736 w 348601"/>
                    <a:gd name="csY62" fmla="*/ 0 h 275321"/>
                    <a:gd name="csX63" fmla="*/ 135324 w 348601"/>
                    <a:gd name="csY63" fmla="*/ 5058 h 275321"/>
                    <a:gd name="csX64" fmla="*/ 119733 w 348601"/>
                    <a:gd name="csY64" fmla="*/ 704 h 275321"/>
                    <a:gd name="csX65" fmla="*/ 100140 w 348601"/>
                    <a:gd name="csY65" fmla="*/ 7588 h 275321"/>
                    <a:gd name="csX66" fmla="*/ 91432 w 348601"/>
                    <a:gd name="csY66" fmla="*/ 2529 h 2753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348601" h="275321">
                      <a:moveTo>
                        <a:pt x="91432" y="2529"/>
                      </a:moveTo>
                      <a:lnTo>
                        <a:pt x="78371" y="2529"/>
                      </a:lnTo>
                      <a:lnTo>
                        <a:pt x="74017" y="25739"/>
                      </a:lnTo>
                      <a:lnTo>
                        <a:pt x="56217" y="27564"/>
                      </a:lnTo>
                      <a:lnTo>
                        <a:pt x="33007" y="39538"/>
                      </a:lnTo>
                      <a:lnTo>
                        <a:pt x="28653" y="62011"/>
                      </a:lnTo>
                      <a:lnTo>
                        <a:pt x="20681" y="77250"/>
                      </a:lnTo>
                      <a:lnTo>
                        <a:pt x="11237" y="99020"/>
                      </a:lnTo>
                      <a:lnTo>
                        <a:pt x="13062" y="113522"/>
                      </a:lnTo>
                      <a:lnTo>
                        <a:pt x="6915" y="119701"/>
                      </a:lnTo>
                      <a:lnTo>
                        <a:pt x="11237" y="154884"/>
                      </a:lnTo>
                      <a:lnTo>
                        <a:pt x="0" y="182448"/>
                      </a:lnTo>
                      <a:lnTo>
                        <a:pt x="6179" y="198776"/>
                      </a:lnTo>
                      <a:lnTo>
                        <a:pt x="4354" y="208924"/>
                      </a:lnTo>
                      <a:lnTo>
                        <a:pt x="10533" y="218368"/>
                      </a:lnTo>
                      <a:lnTo>
                        <a:pt x="6179" y="231430"/>
                      </a:lnTo>
                      <a:lnTo>
                        <a:pt x="13062" y="240842"/>
                      </a:lnTo>
                      <a:lnTo>
                        <a:pt x="8708" y="252815"/>
                      </a:lnTo>
                      <a:lnTo>
                        <a:pt x="23594" y="275321"/>
                      </a:lnTo>
                      <a:lnTo>
                        <a:pt x="31214" y="267350"/>
                      </a:lnTo>
                      <a:lnTo>
                        <a:pt x="44980" y="274233"/>
                      </a:lnTo>
                      <a:lnTo>
                        <a:pt x="54424" y="270967"/>
                      </a:lnTo>
                      <a:lnTo>
                        <a:pt x="66397" y="274233"/>
                      </a:lnTo>
                      <a:lnTo>
                        <a:pt x="71455" y="270967"/>
                      </a:lnTo>
                      <a:lnTo>
                        <a:pt x="98315" y="255376"/>
                      </a:lnTo>
                      <a:lnTo>
                        <a:pt x="93961" y="220193"/>
                      </a:lnTo>
                      <a:lnTo>
                        <a:pt x="113906" y="212574"/>
                      </a:lnTo>
                      <a:lnTo>
                        <a:pt x="115379" y="199512"/>
                      </a:lnTo>
                      <a:lnTo>
                        <a:pt x="121525" y="196951"/>
                      </a:lnTo>
                      <a:lnTo>
                        <a:pt x="131674" y="196247"/>
                      </a:lnTo>
                      <a:lnTo>
                        <a:pt x="137853" y="203866"/>
                      </a:lnTo>
                      <a:lnTo>
                        <a:pt x="162888" y="197687"/>
                      </a:lnTo>
                      <a:lnTo>
                        <a:pt x="196246" y="200216"/>
                      </a:lnTo>
                      <a:lnTo>
                        <a:pt x="197335" y="200216"/>
                      </a:lnTo>
                      <a:lnTo>
                        <a:pt x="226372" y="180624"/>
                      </a:lnTo>
                      <a:lnTo>
                        <a:pt x="261907" y="168682"/>
                      </a:lnTo>
                      <a:lnTo>
                        <a:pt x="277146" y="156709"/>
                      </a:lnTo>
                      <a:lnTo>
                        <a:pt x="292769" y="158150"/>
                      </a:lnTo>
                      <a:lnTo>
                        <a:pt x="298916" y="148001"/>
                      </a:lnTo>
                      <a:lnTo>
                        <a:pt x="304710" y="146913"/>
                      </a:lnTo>
                      <a:lnTo>
                        <a:pt x="313418" y="157413"/>
                      </a:lnTo>
                      <a:lnTo>
                        <a:pt x="326480" y="153796"/>
                      </a:lnTo>
                      <a:lnTo>
                        <a:pt x="337365" y="161767"/>
                      </a:lnTo>
                      <a:lnTo>
                        <a:pt x="348602" y="162504"/>
                      </a:lnTo>
                      <a:lnTo>
                        <a:pt x="347161" y="139293"/>
                      </a:lnTo>
                      <a:lnTo>
                        <a:pt x="336660" y="122966"/>
                      </a:lnTo>
                      <a:lnTo>
                        <a:pt x="322126" y="115347"/>
                      </a:lnTo>
                      <a:lnTo>
                        <a:pt x="310153" y="120405"/>
                      </a:lnTo>
                      <a:lnTo>
                        <a:pt x="304006" y="118612"/>
                      </a:lnTo>
                      <a:lnTo>
                        <a:pt x="297091" y="110993"/>
                      </a:lnTo>
                      <a:lnTo>
                        <a:pt x="296387" y="97195"/>
                      </a:lnTo>
                      <a:lnTo>
                        <a:pt x="283325" y="81604"/>
                      </a:lnTo>
                      <a:lnTo>
                        <a:pt x="268822" y="85222"/>
                      </a:lnTo>
                      <a:lnTo>
                        <a:pt x="264468" y="80868"/>
                      </a:lnTo>
                      <a:lnTo>
                        <a:pt x="256465" y="55833"/>
                      </a:lnTo>
                      <a:lnTo>
                        <a:pt x="244492" y="55833"/>
                      </a:lnTo>
                      <a:lnTo>
                        <a:pt x="243787" y="60923"/>
                      </a:lnTo>
                      <a:lnTo>
                        <a:pt x="236168" y="67102"/>
                      </a:lnTo>
                      <a:lnTo>
                        <a:pt x="236168" y="66365"/>
                      </a:lnTo>
                      <a:lnTo>
                        <a:pt x="170507" y="26476"/>
                      </a:lnTo>
                      <a:lnTo>
                        <a:pt x="167946" y="25003"/>
                      </a:lnTo>
                      <a:lnTo>
                        <a:pt x="145472" y="10149"/>
                      </a:lnTo>
                      <a:lnTo>
                        <a:pt x="144736" y="0"/>
                      </a:lnTo>
                      <a:lnTo>
                        <a:pt x="135324" y="5058"/>
                      </a:lnTo>
                      <a:lnTo>
                        <a:pt x="119733" y="704"/>
                      </a:lnTo>
                      <a:lnTo>
                        <a:pt x="100140" y="7588"/>
                      </a:lnTo>
                      <a:lnTo>
                        <a:pt x="91432" y="252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7" name="Forma Livre: Forma 396">
                  <a:extLst>
                    <a:ext uri="{FF2B5EF4-FFF2-40B4-BE49-F238E27FC236}">
                      <a16:creationId xmlns:a16="http://schemas.microsoft.com/office/drawing/2014/main" id="{8DCBDC90-FDA1-5B93-54A8-3595D54919FB}"/>
                    </a:ext>
                  </a:extLst>
                </p:cNvPr>
                <p:cNvSpPr/>
                <p:nvPr/>
              </p:nvSpPr>
              <p:spPr>
                <a:xfrm>
                  <a:off x="3020541" y="4329589"/>
                  <a:ext cx="348601" cy="275321"/>
                </a:xfrm>
                <a:custGeom>
                  <a:avLst/>
                  <a:gdLst>
                    <a:gd name="csX0" fmla="*/ 91432 w 348601"/>
                    <a:gd name="csY0" fmla="*/ 2529 h 275321"/>
                    <a:gd name="csX1" fmla="*/ 78371 w 348601"/>
                    <a:gd name="csY1" fmla="*/ 2529 h 275321"/>
                    <a:gd name="csX2" fmla="*/ 74017 w 348601"/>
                    <a:gd name="csY2" fmla="*/ 25739 h 275321"/>
                    <a:gd name="csX3" fmla="*/ 56217 w 348601"/>
                    <a:gd name="csY3" fmla="*/ 27564 h 275321"/>
                    <a:gd name="csX4" fmla="*/ 33007 w 348601"/>
                    <a:gd name="csY4" fmla="*/ 39538 h 275321"/>
                    <a:gd name="csX5" fmla="*/ 28653 w 348601"/>
                    <a:gd name="csY5" fmla="*/ 62011 h 275321"/>
                    <a:gd name="csX6" fmla="*/ 20681 w 348601"/>
                    <a:gd name="csY6" fmla="*/ 77250 h 275321"/>
                    <a:gd name="csX7" fmla="*/ 11237 w 348601"/>
                    <a:gd name="csY7" fmla="*/ 99020 h 275321"/>
                    <a:gd name="csX8" fmla="*/ 13062 w 348601"/>
                    <a:gd name="csY8" fmla="*/ 113522 h 275321"/>
                    <a:gd name="csX9" fmla="*/ 6915 w 348601"/>
                    <a:gd name="csY9" fmla="*/ 119701 h 275321"/>
                    <a:gd name="csX10" fmla="*/ 11237 w 348601"/>
                    <a:gd name="csY10" fmla="*/ 154884 h 275321"/>
                    <a:gd name="csX11" fmla="*/ 0 w 348601"/>
                    <a:gd name="csY11" fmla="*/ 182448 h 275321"/>
                    <a:gd name="csX12" fmla="*/ 6179 w 348601"/>
                    <a:gd name="csY12" fmla="*/ 198776 h 275321"/>
                    <a:gd name="csX13" fmla="*/ 4354 w 348601"/>
                    <a:gd name="csY13" fmla="*/ 208924 h 275321"/>
                    <a:gd name="csX14" fmla="*/ 10533 w 348601"/>
                    <a:gd name="csY14" fmla="*/ 218368 h 275321"/>
                    <a:gd name="csX15" fmla="*/ 6179 w 348601"/>
                    <a:gd name="csY15" fmla="*/ 231430 h 275321"/>
                    <a:gd name="csX16" fmla="*/ 13062 w 348601"/>
                    <a:gd name="csY16" fmla="*/ 240842 h 275321"/>
                    <a:gd name="csX17" fmla="*/ 8708 w 348601"/>
                    <a:gd name="csY17" fmla="*/ 252815 h 275321"/>
                    <a:gd name="csX18" fmla="*/ 23594 w 348601"/>
                    <a:gd name="csY18" fmla="*/ 275321 h 275321"/>
                    <a:gd name="csX19" fmla="*/ 31214 w 348601"/>
                    <a:gd name="csY19" fmla="*/ 267350 h 275321"/>
                    <a:gd name="csX20" fmla="*/ 44980 w 348601"/>
                    <a:gd name="csY20" fmla="*/ 274233 h 275321"/>
                    <a:gd name="csX21" fmla="*/ 54424 w 348601"/>
                    <a:gd name="csY21" fmla="*/ 270967 h 275321"/>
                    <a:gd name="csX22" fmla="*/ 66397 w 348601"/>
                    <a:gd name="csY22" fmla="*/ 274233 h 275321"/>
                    <a:gd name="csX23" fmla="*/ 71455 w 348601"/>
                    <a:gd name="csY23" fmla="*/ 270967 h 275321"/>
                    <a:gd name="csX24" fmla="*/ 98315 w 348601"/>
                    <a:gd name="csY24" fmla="*/ 255376 h 275321"/>
                    <a:gd name="csX25" fmla="*/ 93961 w 348601"/>
                    <a:gd name="csY25" fmla="*/ 220193 h 275321"/>
                    <a:gd name="csX26" fmla="*/ 113906 w 348601"/>
                    <a:gd name="csY26" fmla="*/ 212574 h 275321"/>
                    <a:gd name="csX27" fmla="*/ 115379 w 348601"/>
                    <a:gd name="csY27" fmla="*/ 199512 h 275321"/>
                    <a:gd name="csX28" fmla="*/ 121525 w 348601"/>
                    <a:gd name="csY28" fmla="*/ 196951 h 275321"/>
                    <a:gd name="csX29" fmla="*/ 131674 w 348601"/>
                    <a:gd name="csY29" fmla="*/ 196247 h 275321"/>
                    <a:gd name="csX30" fmla="*/ 137853 w 348601"/>
                    <a:gd name="csY30" fmla="*/ 203866 h 275321"/>
                    <a:gd name="csX31" fmla="*/ 162888 w 348601"/>
                    <a:gd name="csY31" fmla="*/ 197687 h 275321"/>
                    <a:gd name="csX32" fmla="*/ 196246 w 348601"/>
                    <a:gd name="csY32" fmla="*/ 200216 h 275321"/>
                    <a:gd name="csX33" fmla="*/ 197335 w 348601"/>
                    <a:gd name="csY33" fmla="*/ 200216 h 275321"/>
                    <a:gd name="csX34" fmla="*/ 226372 w 348601"/>
                    <a:gd name="csY34" fmla="*/ 180624 h 275321"/>
                    <a:gd name="csX35" fmla="*/ 261907 w 348601"/>
                    <a:gd name="csY35" fmla="*/ 168682 h 275321"/>
                    <a:gd name="csX36" fmla="*/ 277146 w 348601"/>
                    <a:gd name="csY36" fmla="*/ 156709 h 275321"/>
                    <a:gd name="csX37" fmla="*/ 292769 w 348601"/>
                    <a:gd name="csY37" fmla="*/ 158150 h 275321"/>
                    <a:gd name="csX38" fmla="*/ 298916 w 348601"/>
                    <a:gd name="csY38" fmla="*/ 148001 h 275321"/>
                    <a:gd name="csX39" fmla="*/ 304710 w 348601"/>
                    <a:gd name="csY39" fmla="*/ 146913 h 275321"/>
                    <a:gd name="csX40" fmla="*/ 313418 w 348601"/>
                    <a:gd name="csY40" fmla="*/ 157413 h 275321"/>
                    <a:gd name="csX41" fmla="*/ 326480 w 348601"/>
                    <a:gd name="csY41" fmla="*/ 153796 h 275321"/>
                    <a:gd name="csX42" fmla="*/ 337365 w 348601"/>
                    <a:gd name="csY42" fmla="*/ 161767 h 275321"/>
                    <a:gd name="csX43" fmla="*/ 348602 w 348601"/>
                    <a:gd name="csY43" fmla="*/ 162504 h 275321"/>
                    <a:gd name="csX44" fmla="*/ 347161 w 348601"/>
                    <a:gd name="csY44" fmla="*/ 139293 h 275321"/>
                    <a:gd name="csX45" fmla="*/ 336660 w 348601"/>
                    <a:gd name="csY45" fmla="*/ 122966 h 275321"/>
                    <a:gd name="csX46" fmla="*/ 322126 w 348601"/>
                    <a:gd name="csY46" fmla="*/ 115347 h 275321"/>
                    <a:gd name="csX47" fmla="*/ 310153 w 348601"/>
                    <a:gd name="csY47" fmla="*/ 120405 h 275321"/>
                    <a:gd name="csX48" fmla="*/ 304006 w 348601"/>
                    <a:gd name="csY48" fmla="*/ 118612 h 275321"/>
                    <a:gd name="csX49" fmla="*/ 297091 w 348601"/>
                    <a:gd name="csY49" fmla="*/ 110993 h 275321"/>
                    <a:gd name="csX50" fmla="*/ 296387 w 348601"/>
                    <a:gd name="csY50" fmla="*/ 97195 h 275321"/>
                    <a:gd name="csX51" fmla="*/ 283325 w 348601"/>
                    <a:gd name="csY51" fmla="*/ 81604 h 275321"/>
                    <a:gd name="csX52" fmla="*/ 268822 w 348601"/>
                    <a:gd name="csY52" fmla="*/ 85222 h 275321"/>
                    <a:gd name="csX53" fmla="*/ 264468 w 348601"/>
                    <a:gd name="csY53" fmla="*/ 80868 h 275321"/>
                    <a:gd name="csX54" fmla="*/ 256465 w 348601"/>
                    <a:gd name="csY54" fmla="*/ 55833 h 275321"/>
                    <a:gd name="csX55" fmla="*/ 244492 w 348601"/>
                    <a:gd name="csY55" fmla="*/ 55833 h 275321"/>
                    <a:gd name="csX56" fmla="*/ 243787 w 348601"/>
                    <a:gd name="csY56" fmla="*/ 60923 h 275321"/>
                    <a:gd name="csX57" fmla="*/ 236168 w 348601"/>
                    <a:gd name="csY57" fmla="*/ 67102 h 275321"/>
                    <a:gd name="csX58" fmla="*/ 236168 w 348601"/>
                    <a:gd name="csY58" fmla="*/ 66365 h 275321"/>
                    <a:gd name="csX59" fmla="*/ 170507 w 348601"/>
                    <a:gd name="csY59" fmla="*/ 26476 h 275321"/>
                    <a:gd name="csX60" fmla="*/ 167946 w 348601"/>
                    <a:gd name="csY60" fmla="*/ 25003 h 275321"/>
                    <a:gd name="csX61" fmla="*/ 145472 w 348601"/>
                    <a:gd name="csY61" fmla="*/ 10149 h 275321"/>
                    <a:gd name="csX62" fmla="*/ 144736 w 348601"/>
                    <a:gd name="csY62" fmla="*/ 0 h 275321"/>
                    <a:gd name="csX63" fmla="*/ 135324 w 348601"/>
                    <a:gd name="csY63" fmla="*/ 5058 h 275321"/>
                    <a:gd name="csX64" fmla="*/ 119733 w 348601"/>
                    <a:gd name="csY64" fmla="*/ 704 h 275321"/>
                    <a:gd name="csX65" fmla="*/ 100140 w 348601"/>
                    <a:gd name="csY65" fmla="*/ 7588 h 275321"/>
                    <a:gd name="csX66" fmla="*/ 91432 w 348601"/>
                    <a:gd name="csY66" fmla="*/ 2529 h 2753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</a:cxnLst>
                  <a:rect l="l" t="t" r="r" b="b"/>
                  <a:pathLst>
                    <a:path w="348601" h="275321">
                      <a:moveTo>
                        <a:pt x="91432" y="2529"/>
                      </a:moveTo>
                      <a:lnTo>
                        <a:pt x="78371" y="2529"/>
                      </a:lnTo>
                      <a:lnTo>
                        <a:pt x="74017" y="25739"/>
                      </a:lnTo>
                      <a:lnTo>
                        <a:pt x="56217" y="27564"/>
                      </a:lnTo>
                      <a:lnTo>
                        <a:pt x="33007" y="39538"/>
                      </a:lnTo>
                      <a:lnTo>
                        <a:pt x="28653" y="62011"/>
                      </a:lnTo>
                      <a:lnTo>
                        <a:pt x="20681" y="77250"/>
                      </a:lnTo>
                      <a:lnTo>
                        <a:pt x="11237" y="99020"/>
                      </a:lnTo>
                      <a:lnTo>
                        <a:pt x="13062" y="113522"/>
                      </a:lnTo>
                      <a:lnTo>
                        <a:pt x="6915" y="119701"/>
                      </a:lnTo>
                      <a:lnTo>
                        <a:pt x="11237" y="154884"/>
                      </a:lnTo>
                      <a:lnTo>
                        <a:pt x="0" y="182448"/>
                      </a:lnTo>
                      <a:lnTo>
                        <a:pt x="6179" y="198776"/>
                      </a:lnTo>
                      <a:lnTo>
                        <a:pt x="4354" y="208924"/>
                      </a:lnTo>
                      <a:lnTo>
                        <a:pt x="10533" y="218368"/>
                      </a:lnTo>
                      <a:lnTo>
                        <a:pt x="6179" y="231430"/>
                      </a:lnTo>
                      <a:lnTo>
                        <a:pt x="13062" y="240842"/>
                      </a:lnTo>
                      <a:lnTo>
                        <a:pt x="8708" y="252815"/>
                      </a:lnTo>
                      <a:lnTo>
                        <a:pt x="23594" y="275321"/>
                      </a:lnTo>
                      <a:lnTo>
                        <a:pt x="31214" y="267350"/>
                      </a:lnTo>
                      <a:lnTo>
                        <a:pt x="44980" y="274233"/>
                      </a:lnTo>
                      <a:lnTo>
                        <a:pt x="54424" y="270967"/>
                      </a:lnTo>
                      <a:lnTo>
                        <a:pt x="66397" y="274233"/>
                      </a:lnTo>
                      <a:lnTo>
                        <a:pt x="71455" y="270967"/>
                      </a:lnTo>
                      <a:lnTo>
                        <a:pt x="98315" y="255376"/>
                      </a:lnTo>
                      <a:lnTo>
                        <a:pt x="93961" y="220193"/>
                      </a:lnTo>
                      <a:lnTo>
                        <a:pt x="113906" y="212574"/>
                      </a:lnTo>
                      <a:lnTo>
                        <a:pt x="115379" y="199512"/>
                      </a:lnTo>
                      <a:lnTo>
                        <a:pt x="121525" y="196951"/>
                      </a:lnTo>
                      <a:lnTo>
                        <a:pt x="131674" y="196247"/>
                      </a:lnTo>
                      <a:lnTo>
                        <a:pt x="137853" y="203866"/>
                      </a:lnTo>
                      <a:lnTo>
                        <a:pt x="162888" y="197687"/>
                      </a:lnTo>
                      <a:lnTo>
                        <a:pt x="196246" y="200216"/>
                      </a:lnTo>
                      <a:lnTo>
                        <a:pt x="197335" y="200216"/>
                      </a:lnTo>
                      <a:lnTo>
                        <a:pt x="226372" y="180624"/>
                      </a:lnTo>
                      <a:lnTo>
                        <a:pt x="261907" y="168682"/>
                      </a:lnTo>
                      <a:lnTo>
                        <a:pt x="277146" y="156709"/>
                      </a:lnTo>
                      <a:lnTo>
                        <a:pt x="292769" y="158150"/>
                      </a:lnTo>
                      <a:lnTo>
                        <a:pt x="298916" y="148001"/>
                      </a:lnTo>
                      <a:lnTo>
                        <a:pt x="304710" y="146913"/>
                      </a:lnTo>
                      <a:lnTo>
                        <a:pt x="313418" y="157413"/>
                      </a:lnTo>
                      <a:lnTo>
                        <a:pt x="326480" y="153796"/>
                      </a:lnTo>
                      <a:lnTo>
                        <a:pt x="337365" y="161767"/>
                      </a:lnTo>
                      <a:lnTo>
                        <a:pt x="348602" y="162504"/>
                      </a:lnTo>
                      <a:lnTo>
                        <a:pt x="347161" y="139293"/>
                      </a:lnTo>
                      <a:lnTo>
                        <a:pt x="336660" y="122966"/>
                      </a:lnTo>
                      <a:lnTo>
                        <a:pt x="322126" y="115347"/>
                      </a:lnTo>
                      <a:lnTo>
                        <a:pt x="310153" y="120405"/>
                      </a:lnTo>
                      <a:lnTo>
                        <a:pt x="304006" y="118612"/>
                      </a:lnTo>
                      <a:lnTo>
                        <a:pt x="297091" y="110993"/>
                      </a:lnTo>
                      <a:lnTo>
                        <a:pt x="296387" y="97195"/>
                      </a:lnTo>
                      <a:lnTo>
                        <a:pt x="283325" y="81604"/>
                      </a:lnTo>
                      <a:lnTo>
                        <a:pt x="268822" y="85222"/>
                      </a:lnTo>
                      <a:lnTo>
                        <a:pt x="264468" y="80868"/>
                      </a:lnTo>
                      <a:lnTo>
                        <a:pt x="256465" y="55833"/>
                      </a:lnTo>
                      <a:lnTo>
                        <a:pt x="244492" y="55833"/>
                      </a:lnTo>
                      <a:lnTo>
                        <a:pt x="243787" y="60923"/>
                      </a:lnTo>
                      <a:lnTo>
                        <a:pt x="236168" y="67102"/>
                      </a:lnTo>
                      <a:lnTo>
                        <a:pt x="236168" y="66365"/>
                      </a:lnTo>
                      <a:lnTo>
                        <a:pt x="170507" y="26476"/>
                      </a:lnTo>
                      <a:lnTo>
                        <a:pt x="167946" y="25003"/>
                      </a:lnTo>
                      <a:lnTo>
                        <a:pt x="145472" y="10149"/>
                      </a:lnTo>
                      <a:lnTo>
                        <a:pt x="144736" y="0"/>
                      </a:lnTo>
                      <a:lnTo>
                        <a:pt x="135324" y="5058"/>
                      </a:lnTo>
                      <a:lnTo>
                        <a:pt x="119733" y="704"/>
                      </a:lnTo>
                      <a:lnTo>
                        <a:pt x="100140" y="7588"/>
                      </a:lnTo>
                      <a:lnTo>
                        <a:pt x="91432" y="252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55FC4C0D-5FCF-8273-A9B4-8501277F4590}"/>
                    </a:ext>
                  </a:extLst>
                </p:cNvPr>
                <p:cNvSpPr/>
                <p:nvPr/>
              </p:nvSpPr>
              <p:spPr>
                <a:xfrm>
                  <a:off x="3478695" y="4849050"/>
                  <a:ext cx="351162" cy="326127"/>
                </a:xfrm>
                <a:custGeom>
                  <a:avLst/>
                  <a:gdLst>
                    <a:gd name="csX0" fmla="*/ 67838 w 351162"/>
                    <a:gd name="csY0" fmla="*/ 0 h 326127"/>
                    <a:gd name="csX1" fmla="*/ 49718 w 351162"/>
                    <a:gd name="csY1" fmla="*/ 1089 h 326127"/>
                    <a:gd name="csX2" fmla="*/ 35216 w 351162"/>
                    <a:gd name="csY2" fmla="*/ 4354 h 326127"/>
                    <a:gd name="csX3" fmla="*/ 25771 w 351162"/>
                    <a:gd name="csY3" fmla="*/ 3618 h 326127"/>
                    <a:gd name="csX4" fmla="*/ 17800 w 351162"/>
                    <a:gd name="csY4" fmla="*/ 38801 h 326127"/>
                    <a:gd name="csX5" fmla="*/ 736 w 351162"/>
                    <a:gd name="csY5" fmla="*/ 110257 h 326127"/>
                    <a:gd name="csX6" fmla="*/ 0 w 351162"/>
                    <a:gd name="csY6" fmla="*/ 161767 h 326127"/>
                    <a:gd name="csX7" fmla="*/ 8356 w 351162"/>
                    <a:gd name="csY7" fmla="*/ 181744 h 326127"/>
                    <a:gd name="csX8" fmla="*/ 16327 w 351162"/>
                    <a:gd name="csY8" fmla="*/ 186802 h 326127"/>
                    <a:gd name="csX9" fmla="*/ 15239 w 351162"/>
                    <a:gd name="csY9" fmla="*/ 192981 h 326127"/>
                    <a:gd name="csX10" fmla="*/ 27596 w 351162"/>
                    <a:gd name="csY10" fmla="*/ 196246 h 326127"/>
                    <a:gd name="csX11" fmla="*/ 32654 w 351162"/>
                    <a:gd name="csY11" fmla="*/ 206779 h 326127"/>
                    <a:gd name="csX12" fmla="*/ 45364 w 351162"/>
                    <a:gd name="csY12" fmla="*/ 203129 h 326127"/>
                    <a:gd name="csX13" fmla="*/ 47893 w 351162"/>
                    <a:gd name="csY13" fmla="*/ 209308 h 326127"/>
                    <a:gd name="csX14" fmla="*/ 56601 w 351162"/>
                    <a:gd name="csY14" fmla="*/ 210045 h 326127"/>
                    <a:gd name="csX15" fmla="*/ 71488 w 351162"/>
                    <a:gd name="csY15" fmla="*/ 235048 h 326127"/>
                    <a:gd name="csX16" fmla="*/ 68574 w 351162"/>
                    <a:gd name="csY16" fmla="*/ 244492 h 326127"/>
                    <a:gd name="csX17" fmla="*/ 75457 w 351162"/>
                    <a:gd name="csY17" fmla="*/ 258994 h 326127"/>
                    <a:gd name="csX18" fmla="*/ 81636 w 351162"/>
                    <a:gd name="csY18" fmla="*/ 265877 h 326127"/>
                    <a:gd name="csX19" fmla="*/ 87815 w 351162"/>
                    <a:gd name="csY19" fmla="*/ 267702 h 326127"/>
                    <a:gd name="csX20" fmla="*/ 104110 w 351162"/>
                    <a:gd name="csY20" fmla="*/ 296002 h 326127"/>
                    <a:gd name="csX21" fmla="*/ 127352 w 351162"/>
                    <a:gd name="csY21" fmla="*/ 311593 h 326127"/>
                    <a:gd name="csX22" fmla="*/ 127352 w 351162"/>
                    <a:gd name="csY22" fmla="*/ 326128 h 326127"/>
                    <a:gd name="csX23" fmla="*/ 142591 w 351162"/>
                    <a:gd name="csY23" fmla="*/ 322862 h 326127"/>
                    <a:gd name="csX24" fmla="*/ 144384 w 351162"/>
                    <a:gd name="csY24" fmla="*/ 310889 h 326127"/>
                    <a:gd name="csX25" fmla="*/ 141118 w 351162"/>
                    <a:gd name="csY25" fmla="*/ 298531 h 326127"/>
                    <a:gd name="csX26" fmla="*/ 188275 w 351162"/>
                    <a:gd name="csY26" fmla="*/ 299620 h 326127"/>
                    <a:gd name="csX27" fmla="*/ 190100 w 351162"/>
                    <a:gd name="csY27" fmla="*/ 299620 h 326127"/>
                    <a:gd name="csX28" fmla="*/ 231462 w 351162"/>
                    <a:gd name="csY28" fmla="*/ 299620 h 326127"/>
                    <a:gd name="csX29" fmla="*/ 232166 w 351162"/>
                    <a:gd name="csY29" fmla="*/ 299620 h 326127"/>
                    <a:gd name="csX30" fmla="*/ 282973 w 351162"/>
                    <a:gd name="csY30" fmla="*/ 298531 h 326127"/>
                    <a:gd name="csX31" fmla="*/ 296034 w 351162"/>
                    <a:gd name="csY31" fmla="*/ 298531 h 326127"/>
                    <a:gd name="csX32" fmla="*/ 315627 w 351162"/>
                    <a:gd name="csY32" fmla="*/ 268438 h 326127"/>
                    <a:gd name="csX33" fmla="*/ 322510 w 351162"/>
                    <a:gd name="csY33" fmla="*/ 248846 h 326127"/>
                    <a:gd name="csX34" fmla="*/ 326128 w 351162"/>
                    <a:gd name="csY34" fmla="*/ 224547 h 326127"/>
                    <a:gd name="csX35" fmla="*/ 333747 w 351162"/>
                    <a:gd name="csY35" fmla="*/ 212574 h 326127"/>
                    <a:gd name="csX36" fmla="*/ 334836 w 351162"/>
                    <a:gd name="csY36" fmla="*/ 186098 h 326127"/>
                    <a:gd name="csX37" fmla="*/ 351163 w 351162"/>
                    <a:gd name="csY37" fmla="*/ 127320 h 326127"/>
                    <a:gd name="csX38" fmla="*/ 350074 w 351162"/>
                    <a:gd name="csY38" fmla="*/ 117876 h 326127"/>
                    <a:gd name="csX39" fmla="*/ 349338 w 351162"/>
                    <a:gd name="csY39" fmla="*/ 80163 h 326127"/>
                    <a:gd name="csX40" fmla="*/ 340662 w 351162"/>
                    <a:gd name="csY40" fmla="*/ 68926 h 326127"/>
                    <a:gd name="csX41" fmla="*/ 325039 w 351162"/>
                    <a:gd name="csY41" fmla="*/ 56217 h 326127"/>
                    <a:gd name="csX42" fmla="*/ 319245 w 351162"/>
                    <a:gd name="csY42" fmla="*/ 52599 h 326127"/>
                    <a:gd name="csX43" fmla="*/ 326128 w 351162"/>
                    <a:gd name="csY43" fmla="*/ 40626 h 326127"/>
                    <a:gd name="csX44" fmla="*/ 319245 w 351162"/>
                    <a:gd name="csY44" fmla="*/ 28653 h 326127"/>
                    <a:gd name="csX45" fmla="*/ 312362 w 351162"/>
                    <a:gd name="csY45" fmla="*/ 28653 h 326127"/>
                    <a:gd name="csX46" fmla="*/ 307271 w 351162"/>
                    <a:gd name="csY46" fmla="*/ 22474 h 326127"/>
                    <a:gd name="csX47" fmla="*/ 290944 w 351162"/>
                    <a:gd name="csY47" fmla="*/ 16327 h 326127"/>
                    <a:gd name="csX48" fmla="*/ 249582 w 351162"/>
                    <a:gd name="csY48" fmla="*/ 31182 h 326127"/>
                    <a:gd name="csX49" fmla="*/ 241610 w 351162"/>
                    <a:gd name="csY49" fmla="*/ 24299 h 326127"/>
                    <a:gd name="csX50" fmla="*/ 236520 w 351162"/>
                    <a:gd name="csY50" fmla="*/ 35536 h 326127"/>
                    <a:gd name="csX51" fmla="*/ 227812 w 351162"/>
                    <a:gd name="csY51" fmla="*/ 22474 h 326127"/>
                    <a:gd name="csX52" fmla="*/ 216928 w 351162"/>
                    <a:gd name="csY52" fmla="*/ 30093 h 326127"/>
                    <a:gd name="csX53" fmla="*/ 214046 w 351162"/>
                    <a:gd name="csY53" fmla="*/ 28653 h 326127"/>
                    <a:gd name="csX54" fmla="*/ 217664 w 351162"/>
                    <a:gd name="csY54" fmla="*/ 20681 h 326127"/>
                    <a:gd name="csX55" fmla="*/ 210044 w 351162"/>
                    <a:gd name="csY55" fmla="*/ 19208 h 326127"/>
                    <a:gd name="csX56" fmla="*/ 205691 w 351162"/>
                    <a:gd name="csY56" fmla="*/ 23210 h 326127"/>
                    <a:gd name="csX57" fmla="*/ 192629 w 351162"/>
                    <a:gd name="csY57" fmla="*/ 12326 h 326127"/>
                    <a:gd name="csX58" fmla="*/ 189363 w 351162"/>
                    <a:gd name="csY58" fmla="*/ 14855 h 326127"/>
                    <a:gd name="csX59" fmla="*/ 175597 w 351162"/>
                    <a:gd name="csY59" fmla="*/ 8708 h 326127"/>
                    <a:gd name="csX60" fmla="*/ 177038 w 351162"/>
                    <a:gd name="csY60" fmla="*/ 14855 h 326127"/>
                    <a:gd name="csX61" fmla="*/ 155653 w 351162"/>
                    <a:gd name="csY61" fmla="*/ 20681 h 326127"/>
                    <a:gd name="csX62" fmla="*/ 145472 w 351162"/>
                    <a:gd name="csY62" fmla="*/ 19945 h 326127"/>
                    <a:gd name="csX63" fmla="*/ 135676 w 351162"/>
                    <a:gd name="csY63" fmla="*/ 26828 h 326127"/>
                    <a:gd name="csX64" fmla="*/ 122262 w 351162"/>
                    <a:gd name="csY64" fmla="*/ 29389 h 326127"/>
                    <a:gd name="csX65" fmla="*/ 114290 w 351162"/>
                    <a:gd name="csY65" fmla="*/ 43155 h 326127"/>
                    <a:gd name="csX66" fmla="*/ 105583 w 351162"/>
                    <a:gd name="csY66" fmla="*/ 45716 h 326127"/>
                    <a:gd name="csX67" fmla="*/ 99788 w 351162"/>
                    <a:gd name="csY67" fmla="*/ 37008 h 326127"/>
                    <a:gd name="csX68" fmla="*/ 91080 w 351162"/>
                    <a:gd name="csY68" fmla="*/ 33743 h 326127"/>
                    <a:gd name="csX69" fmla="*/ 82372 w 351162"/>
                    <a:gd name="csY69" fmla="*/ 12326 h 326127"/>
                    <a:gd name="csX70" fmla="*/ 74753 w 351162"/>
                    <a:gd name="csY70" fmla="*/ 13062 h 326127"/>
                    <a:gd name="csX71" fmla="*/ 67838 w 351162"/>
                    <a:gd name="csY71" fmla="*/ 0 h 32612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</a:cxnLst>
                  <a:rect l="l" t="t" r="r" b="b"/>
                  <a:pathLst>
                    <a:path w="351162" h="326127">
                      <a:moveTo>
                        <a:pt x="67838" y="0"/>
                      </a:moveTo>
                      <a:lnTo>
                        <a:pt x="49718" y="1089"/>
                      </a:lnTo>
                      <a:lnTo>
                        <a:pt x="35216" y="4354"/>
                      </a:lnTo>
                      <a:lnTo>
                        <a:pt x="25771" y="3618"/>
                      </a:lnTo>
                      <a:lnTo>
                        <a:pt x="17800" y="38801"/>
                      </a:lnTo>
                      <a:lnTo>
                        <a:pt x="736" y="110257"/>
                      </a:lnTo>
                      <a:lnTo>
                        <a:pt x="0" y="161767"/>
                      </a:lnTo>
                      <a:lnTo>
                        <a:pt x="8356" y="181744"/>
                      </a:lnTo>
                      <a:lnTo>
                        <a:pt x="16327" y="186802"/>
                      </a:lnTo>
                      <a:lnTo>
                        <a:pt x="15239" y="192981"/>
                      </a:lnTo>
                      <a:lnTo>
                        <a:pt x="27596" y="196246"/>
                      </a:lnTo>
                      <a:lnTo>
                        <a:pt x="32654" y="206779"/>
                      </a:lnTo>
                      <a:lnTo>
                        <a:pt x="45364" y="203129"/>
                      </a:lnTo>
                      <a:lnTo>
                        <a:pt x="47893" y="209308"/>
                      </a:lnTo>
                      <a:lnTo>
                        <a:pt x="56601" y="210045"/>
                      </a:lnTo>
                      <a:lnTo>
                        <a:pt x="71488" y="235048"/>
                      </a:lnTo>
                      <a:lnTo>
                        <a:pt x="68574" y="244492"/>
                      </a:lnTo>
                      <a:lnTo>
                        <a:pt x="75457" y="258994"/>
                      </a:lnTo>
                      <a:lnTo>
                        <a:pt x="81636" y="265877"/>
                      </a:lnTo>
                      <a:lnTo>
                        <a:pt x="87815" y="267702"/>
                      </a:lnTo>
                      <a:lnTo>
                        <a:pt x="104110" y="296002"/>
                      </a:lnTo>
                      <a:lnTo>
                        <a:pt x="127352" y="311593"/>
                      </a:lnTo>
                      <a:lnTo>
                        <a:pt x="127352" y="326128"/>
                      </a:lnTo>
                      <a:lnTo>
                        <a:pt x="142591" y="322862"/>
                      </a:lnTo>
                      <a:lnTo>
                        <a:pt x="144384" y="310889"/>
                      </a:lnTo>
                      <a:lnTo>
                        <a:pt x="141118" y="298531"/>
                      </a:lnTo>
                      <a:lnTo>
                        <a:pt x="188275" y="299620"/>
                      </a:lnTo>
                      <a:lnTo>
                        <a:pt x="190100" y="299620"/>
                      </a:lnTo>
                      <a:lnTo>
                        <a:pt x="231462" y="299620"/>
                      </a:lnTo>
                      <a:lnTo>
                        <a:pt x="232166" y="299620"/>
                      </a:lnTo>
                      <a:lnTo>
                        <a:pt x="282973" y="298531"/>
                      </a:lnTo>
                      <a:lnTo>
                        <a:pt x="296034" y="298531"/>
                      </a:lnTo>
                      <a:lnTo>
                        <a:pt x="315627" y="268438"/>
                      </a:lnTo>
                      <a:lnTo>
                        <a:pt x="322510" y="248846"/>
                      </a:lnTo>
                      <a:lnTo>
                        <a:pt x="326128" y="224547"/>
                      </a:lnTo>
                      <a:lnTo>
                        <a:pt x="333747" y="212574"/>
                      </a:lnTo>
                      <a:lnTo>
                        <a:pt x="334836" y="186098"/>
                      </a:lnTo>
                      <a:lnTo>
                        <a:pt x="351163" y="127320"/>
                      </a:lnTo>
                      <a:lnTo>
                        <a:pt x="350074" y="117876"/>
                      </a:lnTo>
                      <a:lnTo>
                        <a:pt x="349338" y="80163"/>
                      </a:lnTo>
                      <a:lnTo>
                        <a:pt x="340662" y="68926"/>
                      </a:lnTo>
                      <a:lnTo>
                        <a:pt x="325039" y="56217"/>
                      </a:lnTo>
                      <a:lnTo>
                        <a:pt x="319245" y="52599"/>
                      </a:lnTo>
                      <a:lnTo>
                        <a:pt x="326128" y="40626"/>
                      </a:lnTo>
                      <a:lnTo>
                        <a:pt x="319245" y="28653"/>
                      </a:lnTo>
                      <a:lnTo>
                        <a:pt x="312362" y="28653"/>
                      </a:lnTo>
                      <a:lnTo>
                        <a:pt x="307271" y="22474"/>
                      </a:lnTo>
                      <a:lnTo>
                        <a:pt x="290944" y="16327"/>
                      </a:lnTo>
                      <a:lnTo>
                        <a:pt x="249582" y="31182"/>
                      </a:lnTo>
                      <a:lnTo>
                        <a:pt x="241610" y="24299"/>
                      </a:lnTo>
                      <a:lnTo>
                        <a:pt x="236520" y="35536"/>
                      </a:lnTo>
                      <a:lnTo>
                        <a:pt x="227812" y="22474"/>
                      </a:lnTo>
                      <a:lnTo>
                        <a:pt x="216928" y="30093"/>
                      </a:lnTo>
                      <a:lnTo>
                        <a:pt x="214046" y="28653"/>
                      </a:lnTo>
                      <a:lnTo>
                        <a:pt x="217664" y="20681"/>
                      </a:lnTo>
                      <a:lnTo>
                        <a:pt x="210044" y="19208"/>
                      </a:lnTo>
                      <a:lnTo>
                        <a:pt x="205691" y="23210"/>
                      </a:lnTo>
                      <a:lnTo>
                        <a:pt x="192629" y="12326"/>
                      </a:lnTo>
                      <a:lnTo>
                        <a:pt x="189363" y="14855"/>
                      </a:lnTo>
                      <a:lnTo>
                        <a:pt x="175597" y="8708"/>
                      </a:lnTo>
                      <a:lnTo>
                        <a:pt x="177038" y="14855"/>
                      </a:lnTo>
                      <a:lnTo>
                        <a:pt x="155653" y="20681"/>
                      </a:lnTo>
                      <a:lnTo>
                        <a:pt x="145472" y="19945"/>
                      </a:lnTo>
                      <a:lnTo>
                        <a:pt x="135676" y="26828"/>
                      </a:lnTo>
                      <a:lnTo>
                        <a:pt x="122262" y="29389"/>
                      </a:lnTo>
                      <a:lnTo>
                        <a:pt x="114290" y="43155"/>
                      </a:lnTo>
                      <a:lnTo>
                        <a:pt x="105583" y="45716"/>
                      </a:lnTo>
                      <a:lnTo>
                        <a:pt x="99788" y="37008"/>
                      </a:lnTo>
                      <a:lnTo>
                        <a:pt x="91080" y="33743"/>
                      </a:lnTo>
                      <a:lnTo>
                        <a:pt x="82372" y="12326"/>
                      </a:lnTo>
                      <a:lnTo>
                        <a:pt x="74753" y="13062"/>
                      </a:lnTo>
                      <a:lnTo>
                        <a:pt x="67838" y="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D9FDEDCC-EDE9-8032-579D-C12908345DE3}"/>
                    </a:ext>
                  </a:extLst>
                </p:cNvPr>
                <p:cNvSpPr/>
                <p:nvPr/>
              </p:nvSpPr>
              <p:spPr>
                <a:xfrm>
                  <a:off x="3673885" y="3378067"/>
                  <a:ext cx="397583" cy="437856"/>
                </a:xfrm>
                <a:custGeom>
                  <a:avLst/>
                  <a:gdLst>
                    <a:gd name="csX0" fmla="*/ 146528 w 397583"/>
                    <a:gd name="csY0" fmla="*/ 50774 h 437856"/>
                    <a:gd name="csX1" fmla="*/ 137821 w 397583"/>
                    <a:gd name="csY1" fmla="*/ 42803 h 437856"/>
                    <a:gd name="csX2" fmla="*/ 140382 w 397583"/>
                    <a:gd name="csY2" fmla="*/ 33359 h 437856"/>
                    <a:gd name="csX3" fmla="*/ 130938 w 397583"/>
                    <a:gd name="csY3" fmla="*/ 23947 h 437856"/>
                    <a:gd name="csX4" fmla="*/ 124055 w 397583"/>
                    <a:gd name="csY4" fmla="*/ 23947 h 437856"/>
                    <a:gd name="csX5" fmla="*/ 124791 w 397583"/>
                    <a:gd name="csY5" fmla="*/ 14502 h 437856"/>
                    <a:gd name="csX6" fmla="*/ 120437 w 397583"/>
                    <a:gd name="csY6" fmla="*/ 7619 h 437856"/>
                    <a:gd name="csX7" fmla="*/ 113522 w 397583"/>
                    <a:gd name="csY7" fmla="*/ 7619 h 437856"/>
                    <a:gd name="csX8" fmla="*/ 108464 w 397583"/>
                    <a:gd name="csY8" fmla="*/ 0 h 437856"/>
                    <a:gd name="csX9" fmla="*/ 99020 w 397583"/>
                    <a:gd name="csY9" fmla="*/ 19593 h 437856"/>
                    <a:gd name="csX10" fmla="*/ 98283 w 397583"/>
                    <a:gd name="csY10" fmla="*/ 20681 h 437856"/>
                    <a:gd name="csX11" fmla="*/ 89575 w 397583"/>
                    <a:gd name="csY11" fmla="*/ 39537 h 437856"/>
                    <a:gd name="csX12" fmla="*/ 56953 w 397583"/>
                    <a:gd name="csY12" fmla="*/ 106639 h 437856"/>
                    <a:gd name="csX13" fmla="*/ 25739 w 397583"/>
                    <a:gd name="csY13" fmla="*/ 171211 h 437856"/>
                    <a:gd name="csX14" fmla="*/ 0 w 397583"/>
                    <a:gd name="csY14" fmla="*/ 225283 h 437856"/>
                    <a:gd name="csX15" fmla="*/ 3618 w 397583"/>
                    <a:gd name="csY15" fmla="*/ 225283 h 437856"/>
                    <a:gd name="csX16" fmla="*/ 2529 w 397583"/>
                    <a:gd name="csY16" fmla="*/ 230341 h 437856"/>
                    <a:gd name="csX17" fmla="*/ 28268 w 397583"/>
                    <a:gd name="csY17" fmla="*/ 240874 h 437856"/>
                    <a:gd name="csX18" fmla="*/ 33711 w 397583"/>
                    <a:gd name="csY18" fmla="*/ 245932 h 437856"/>
                    <a:gd name="csX19" fmla="*/ 35183 w 397583"/>
                    <a:gd name="csY19" fmla="*/ 257201 h 437856"/>
                    <a:gd name="csX20" fmla="*/ 50038 w 397583"/>
                    <a:gd name="csY20" fmla="*/ 257906 h 437856"/>
                    <a:gd name="csX21" fmla="*/ 47509 w 397583"/>
                    <a:gd name="csY21" fmla="*/ 264821 h 437856"/>
                    <a:gd name="csX22" fmla="*/ 60219 w 397583"/>
                    <a:gd name="csY22" fmla="*/ 282941 h 437856"/>
                    <a:gd name="csX23" fmla="*/ 66365 w 397583"/>
                    <a:gd name="csY23" fmla="*/ 284765 h 437856"/>
                    <a:gd name="csX24" fmla="*/ 63836 w 397583"/>
                    <a:gd name="csY24" fmla="*/ 292385 h 437856"/>
                    <a:gd name="csX25" fmla="*/ 59482 w 397583"/>
                    <a:gd name="csY25" fmla="*/ 301797 h 437856"/>
                    <a:gd name="csX26" fmla="*/ 68190 w 397583"/>
                    <a:gd name="csY26" fmla="*/ 305446 h 437856"/>
                    <a:gd name="csX27" fmla="*/ 65661 w 397583"/>
                    <a:gd name="csY27" fmla="*/ 312329 h 437856"/>
                    <a:gd name="csX28" fmla="*/ 70719 w 397583"/>
                    <a:gd name="csY28" fmla="*/ 317420 h 437856"/>
                    <a:gd name="csX29" fmla="*/ 65661 w 397583"/>
                    <a:gd name="csY29" fmla="*/ 321774 h 437856"/>
                    <a:gd name="csX30" fmla="*/ 68926 w 397583"/>
                    <a:gd name="csY30" fmla="*/ 324303 h 437856"/>
                    <a:gd name="csX31" fmla="*/ 73248 w 397583"/>
                    <a:gd name="csY31" fmla="*/ 326128 h 437856"/>
                    <a:gd name="csX32" fmla="*/ 70719 w 397583"/>
                    <a:gd name="csY32" fmla="*/ 331186 h 437856"/>
                    <a:gd name="csX33" fmla="*/ 83429 w 397583"/>
                    <a:gd name="csY33" fmla="*/ 331186 h 437856"/>
                    <a:gd name="csX34" fmla="*/ 85222 w 397583"/>
                    <a:gd name="csY34" fmla="*/ 341366 h 437856"/>
                    <a:gd name="csX35" fmla="*/ 92841 w 397583"/>
                    <a:gd name="csY35" fmla="*/ 334451 h 437856"/>
                    <a:gd name="csX36" fmla="*/ 99756 w 397583"/>
                    <a:gd name="csY36" fmla="*/ 338101 h 437856"/>
                    <a:gd name="csX37" fmla="*/ 104110 w 397583"/>
                    <a:gd name="csY37" fmla="*/ 349338 h 437856"/>
                    <a:gd name="csX38" fmla="*/ 105902 w 397583"/>
                    <a:gd name="csY38" fmla="*/ 343895 h 437856"/>
                    <a:gd name="csX39" fmla="*/ 112818 w 397583"/>
                    <a:gd name="csY39" fmla="*/ 347513 h 437856"/>
                    <a:gd name="csX40" fmla="*/ 119701 w 397583"/>
                    <a:gd name="csY40" fmla="*/ 343895 h 437856"/>
                    <a:gd name="csX41" fmla="*/ 122966 w 397583"/>
                    <a:gd name="csY41" fmla="*/ 351867 h 437856"/>
                    <a:gd name="csX42" fmla="*/ 128408 w 397583"/>
                    <a:gd name="csY42" fmla="*/ 380167 h 437856"/>
                    <a:gd name="csX43" fmla="*/ 174829 w 397583"/>
                    <a:gd name="csY43" fmla="*/ 382696 h 437856"/>
                    <a:gd name="csX44" fmla="*/ 186802 w 397583"/>
                    <a:gd name="csY44" fmla="*/ 413910 h 437856"/>
                    <a:gd name="csX45" fmla="*/ 227428 w 397583"/>
                    <a:gd name="csY45" fmla="*/ 430237 h 437856"/>
                    <a:gd name="csX46" fmla="*/ 230694 w 397583"/>
                    <a:gd name="csY46" fmla="*/ 418968 h 437856"/>
                    <a:gd name="csX47" fmla="*/ 223074 w 397583"/>
                    <a:gd name="csY47" fmla="*/ 405907 h 437856"/>
                    <a:gd name="csX48" fmla="*/ 244492 w 397583"/>
                    <a:gd name="csY48" fmla="*/ 402641 h 437856"/>
                    <a:gd name="csX49" fmla="*/ 253904 w 397583"/>
                    <a:gd name="csY49" fmla="*/ 420793 h 437856"/>
                    <a:gd name="csX50" fmla="*/ 272056 w 397583"/>
                    <a:gd name="csY50" fmla="*/ 424795 h 437856"/>
                    <a:gd name="csX51" fmla="*/ 271319 w 397583"/>
                    <a:gd name="csY51" fmla="*/ 437857 h 437856"/>
                    <a:gd name="csX52" fmla="*/ 334099 w 397583"/>
                    <a:gd name="csY52" fmla="*/ 370723 h 437856"/>
                    <a:gd name="csX53" fmla="*/ 329745 w 397583"/>
                    <a:gd name="csY53" fmla="*/ 372548 h 437856"/>
                    <a:gd name="csX54" fmla="*/ 312330 w 397583"/>
                    <a:gd name="csY54" fmla="*/ 357661 h 437856"/>
                    <a:gd name="csX55" fmla="*/ 290208 w 397583"/>
                    <a:gd name="csY55" fmla="*/ 350042 h 437856"/>
                    <a:gd name="csX56" fmla="*/ 266965 w 397583"/>
                    <a:gd name="csY56" fmla="*/ 350042 h 437856"/>
                    <a:gd name="csX57" fmla="*/ 270231 w 397583"/>
                    <a:gd name="csY57" fmla="*/ 341366 h 437856"/>
                    <a:gd name="csX58" fmla="*/ 282204 w 397583"/>
                    <a:gd name="csY58" fmla="*/ 317420 h 437856"/>
                    <a:gd name="csX59" fmla="*/ 283293 w 397583"/>
                    <a:gd name="csY59" fmla="*/ 315595 h 437856"/>
                    <a:gd name="csX60" fmla="*/ 285854 w 397583"/>
                    <a:gd name="csY60" fmla="*/ 310505 h 437856"/>
                    <a:gd name="csX61" fmla="*/ 287647 w 397583"/>
                    <a:gd name="csY61" fmla="*/ 307976 h 437856"/>
                    <a:gd name="csX62" fmla="*/ 322830 w 397583"/>
                    <a:gd name="csY62" fmla="*/ 236520 h 437856"/>
                    <a:gd name="csX63" fmla="*/ 337365 w 397583"/>
                    <a:gd name="csY63" fmla="*/ 207131 h 437856"/>
                    <a:gd name="csX64" fmla="*/ 340982 w 397583"/>
                    <a:gd name="csY64" fmla="*/ 203866 h 437856"/>
                    <a:gd name="csX65" fmla="*/ 356221 w 397583"/>
                    <a:gd name="csY65" fmla="*/ 194422 h 437856"/>
                    <a:gd name="csX66" fmla="*/ 363104 w 397583"/>
                    <a:gd name="csY66" fmla="*/ 196983 h 437856"/>
                    <a:gd name="csX67" fmla="*/ 376902 w 397583"/>
                    <a:gd name="csY67" fmla="*/ 190068 h 437856"/>
                    <a:gd name="csX68" fmla="*/ 397583 w 397583"/>
                    <a:gd name="csY68" fmla="*/ 187539 h 437856"/>
                    <a:gd name="csX69" fmla="*/ 385610 w 397583"/>
                    <a:gd name="csY69" fmla="*/ 181360 h 437856"/>
                    <a:gd name="csX70" fmla="*/ 371812 w 397583"/>
                    <a:gd name="csY70" fmla="*/ 186450 h 437856"/>
                    <a:gd name="csX71" fmla="*/ 352955 w 397583"/>
                    <a:gd name="csY71" fmla="*/ 175565 h 437856"/>
                    <a:gd name="csX72" fmla="*/ 379431 w 397583"/>
                    <a:gd name="csY72" fmla="*/ 120437 h 437856"/>
                    <a:gd name="csX73" fmla="*/ 354780 w 397583"/>
                    <a:gd name="csY73" fmla="*/ 111729 h 437856"/>
                    <a:gd name="csX74" fmla="*/ 351131 w 397583"/>
                    <a:gd name="csY74" fmla="*/ 109904 h 437856"/>
                    <a:gd name="csX75" fmla="*/ 333011 w 397583"/>
                    <a:gd name="csY75" fmla="*/ 107375 h 437856"/>
                    <a:gd name="csX76" fmla="*/ 298531 w 397583"/>
                    <a:gd name="csY76" fmla="*/ 100492 h 437856"/>
                    <a:gd name="csX77" fmla="*/ 288383 w 397583"/>
                    <a:gd name="csY77" fmla="*/ 104110 h 437856"/>
                    <a:gd name="csX78" fmla="*/ 272056 w 397583"/>
                    <a:gd name="csY78" fmla="*/ 101581 h 437856"/>
                    <a:gd name="csX79" fmla="*/ 243755 w 397583"/>
                    <a:gd name="csY79" fmla="*/ 85958 h 437856"/>
                    <a:gd name="csX80" fmla="*/ 214366 w 397583"/>
                    <a:gd name="csY80" fmla="*/ 79075 h 437856"/>
                    <a:gd name="csX81" fmla="*/ 202393 w 397583"/>
                    <a:gd name="csY81" fmla="*/ 79075 h 437856"/>
                    <a:gd name="csX82" fmla="*/ 184977 w 397583"/>
                    <a:gd name="csY82" fmla="*/ 66013 h 437856"/>
                    <a:gd name="csX83" fmla="*/ 177390 w 397583"/>
                    <a:gd name="csY83" fmla="*/ 67102 h 437856"/>
                    <a:gd name="csX84" fmla="*/ 151619 w 397583"/>
                    <a:gd name="csY84" fmla="*/ 56601 h 437856"/>
                    <a:gd name="csX85" fmla="*/ 146528 w 397583"/>
                    <a:gd name="csY85" fmla="*/ 59130 h 437856"/>
                    <a:gd name="csX86" fmla="*/ 146528 w 397583"/>
                    <a:gd name="csY86" fmla="*/ 50774 h 4378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</a:cxnLst>
                  <a:rect l="l" t="t" r="r" b="b"/>
                  <a:pathLst>
                    <a:path w="397583" h="437856">
                      <a:moveTo>
                        <a:pt x="146528" y="50774"/>
                      </a:moveTo>
                      <a:lnTo>
                        <a:pt x="137821" y="42803"/>
                      </a:lnTo>
                      <a:lnTo>
                        <a:pt x="140382" y="33359"/>
                      </a:lnTo>
                      <a:lnTo>
                        <a:pt x="130938" y="23947"/>
                      </a:lnTo>
                      <a:lnTo>
                        <a:pt x="124055" y="23947"/>
                      </a:lnTo>
                      <a:lnTo>
                        <a:pt x="124791" y="14502"/>
                      </a:lnTo>
                      <a:lnTo>
                        <a:pt x="120437" y="7619"/>
                      </a:lnTo>
                      <a:lnTo>
                        <a:pt x="113522" y="7619"/>
                      </a:lnTo>
                      <a:lnTo>
                        <a:pt x="108464" y="0"/>
                      </a:lnTo>
                      <a:lnTo>
                        <a:pt x="99020" y="19593"/>
                      </a:lnTo>
                      <a:lnTo>
                        <a:pt x="98283" y="20681"/>
                      </a:lnTo>
                      <a:lnTo>
                        <a:pt x="89575" y="39537"/>
                      </a:lnTo>
                      <a:lnTo>
                        <a:pt x="56953" y="106639"/>
                      </a:lnTo>
                      <a:lnTo>
                        <a:pt x="25739" y="171211"/>
                      </a:lnTo>
                      <a:lnTo>
                        <a:pt x="0" y="225283"/>
                      </a:lnTo>
                      <a:lnTo>
                        <a:pt x="3618" y="225283"/>
                      </a:lnTo>
                      <a:lnTo>
                        <a:pt x="2529" y="230341"/>
                      </a:lnTo>
                      <a:lnTo>
                        <a:pt x="28268" y="240874"/>
                      </a:lnTo>
                      <a:lnTo>
                        <a:pt x="33711" y="245932"/>
                      </a:lnTo>
                      <a:lnTo>
                        <a:pt x="35183" y="257201"/>
                      </a:lnTo>
                      <a:lnTo>
                        <a:pt x="50038" y="257906"/>
                      </a:lnTo>
                      <a:lnTo>
                        <a:pt x="47509" y="264821"/>
                      </a:lnTo>
                      <a:lnTo>
                        <a:pt x="60219" y="282941"/>
                      </a:lnTo>
                      <a:lnTo>
                        <a:pt x="66365" y="284765"/>
                      </a:lnTo>
                      <a:lnTo>
                        <a:pt x="63836" y="292385"/>
                      </a:lnTo>
                      <a:lnTo>
                        <a:pt x="59482" y="301797"/>
                      </a:lnTo>
                      <a:lnTo>
                        <a:pt x="68190" y="305446"/>
                      </a:lnTo>
                      <a:lnTo>
                        <a:pt x="65661" y="312329"/>
                      </a:lnTo>
                      <a:lnTo>
                        <a:pt x="70719" y="317420"/>
                      </a:lnTo>
                      <a:lnTo>
                        <a:pt x="65661" y="321774"/>
                      </a:lnTo>
                      <a:lnTo>
                        <a:pt x="68926" y="324303"/>
                      </a:lnTo>
                      <a:lnTo>
                        <a:pt x="73248" y="326128"/>
                      </a:lnTo>
                      <a:lnTo>
                        <a:pt x="70719" y="331186"/>
                      </a:lnTo>
                      <a:lnTo>
                        <a:pt x="83429" y="331186"/>
                      </a:lnTo>
                      <a:lnTo>
                        <a:pt x="85222" y="341366"/>
                      </a:lnTo>
                      <a:lnTo>
                        <a:pt x="92841" y="334451"/>
                      </a:lnTo>
                      <a:lnTo>
                        <a:pt x="99756" y="338101"/>
                      </a:lnTo>
                      <a:lnTo>
                        <a:pt x="104110" y="349338"/>
                      </a:lnTo>
                      <a:lnTo>
                        <a:pt x="105902" y="343895"/>
                      </a:lnTo>
                      <a:lnTo>
                        <a:pt x="112818" y="347513"/>
                      </a:lnTo>
                      <a:lnTo>
                        <a:pt x="119701" y="343895"/>
                      </a:lnTo>
                      <a:lnTo>
                        <a:pt x="122966" y="351867"/>
                      </a:lnTo>
                      <a:lnTo>
                        <a:pt x="128408" y="380167"/>
                      </a:lnTo>
                      <a:lnTo>
                        <a:pt x="174829" y="382696"/>
                      </a:lnTo>
                      <a:lnTo>
                        <a:pt x="186802" y="413910"/>
                      </a:lnTo>
                      <a:lnTo>
                        <a:pt x="227428" y="430237"/>
                      </a:lnTo>
                      <a:lnTo>
                        <a:pt x="230694" y="418968"/>
                      </a:lnTo>
                      <a:lnTo>
                        <a:pt x="223074" y="405907"/>
                      </a:lnTo>
                      <a:lnTo>
                        <a:pt x="244492" y="402641"/>
                      </a:lnTo>
                      <a:lnTo>
                        <a:pt x="253904" y="420793"/>
                      </a:lnTo>
                      <a:lnTo>
                        <a:pt x="272056" y="424795"/>
                      </a:lnTo>
                      <a:lnTo>
                        <a:pt x="271319" y="437857"/>
                      </a:lnTo>
                      <a:lnTo>
                        <a:pt x="334099" y="370723"/>
                      </a:lnTo>
                      <a:lnTo>
                        <a:pt x="329745" y="372548"/>
                      </a:lnTo>
                      <a:lnTo>
                        <a:pt x="312330" y="357661"/>
                      </a:lnTo>
                      <a:lnTo>
                        <a:pt x="290208" y="350042"/>
                      </a:lnTo>
                      <a:lnTo>
                        <a:pt x="266965" y="350042"/>
                      </a:lnTo>
                      <a:lnTo>
                        <a:pt x="270231" y="341366"/>
                      </a:lnTo>
                      <a:lnTo>
                        <a:pt x="282204" y="317420"/>
                      </a:lnTo>
                      <a:lnTo>
                        <a:pt x="283293" y="315595"/>
                      </a:lnTo>
                      <a:lnTo>
                        <a:pt x="285854" y="310505"/>
                      </a:lnTo>
                      <a:lnTo>
                        <a:pt x="287647" y="307976"/>
                      </a:lnTo>
                      <a:lnTo>
                        <a:pt x="322830" y="236520"/>
                      </a:lnTo>
                      <a:lnTo>
                        <a:pt x="337365" y="207131"/>
                      </a:lnTo>
                      <a:lnTo>
                        <a:pt x="340982" y="203866"/>
                      </a:lnTo>
                      <a:lnTo>
                        <a:pt x="356221" y="194422"/>
                      </a:lnTo>
                      <a:lnTo>
                        <a:pt x="363104" y="196983"/>
                      </a:lnTo>
                      <a:lnTo>
                        <a:pt x="376902" y="190068"/>
                      </a:lnTo>
                      <a:lnTo>
                        <a:pt x="397583" y="187539"/>
                      </a:lnTo>
                      <a:lnTo>
                        <a:pt x="385610" y="181360"/>
                      </a:lnTo>
                      <a:lnTo>
                        <a:pt x="371812" y="186450"/>
                      </a:lnTo>
                      <a:lnTo>
                        <a:pt x="352955" y="175565"/>
                      </a:lnTo>
                      <a:lnTo>
                        <a:pt x="379431" y="120437"/>
                      </a:lnTo>
                      <a:lnTo>
                        <a:pt x="354780" y="111729"/>
                      </a:lnTo>
                      <a:lnTo>
                        <a:pt x="351131" y="109904"/>
                      </a:lnTo>
                      <a:lnTo>
                        <a:pt x="333011" y="107375"/>
                      </a:lnTo>
                      <a:lnTo>
                        <a:pt x="298531" y="100492"/>
                      </a:lnTo>
                      <a:lnTo>
                        <a:pt x="288383" y="104110"/>
                      </a:lnTo>
                      <a:lnTo>
                        <a:pt x="272056" y="101581"/>
                      </a:lnTo>
                      <a:lnTo>
                        <a:pt x="243755" y="85958"/>
                      </a:lnTo>
                      <a:lnTo>
                        <a:pt x="214366" y="79075"/>
                      </a:lnTo>
                      <a:lnTo>
                        <a:pt x="202393" y="79075"/>
                      </a:lnTo>
                      <a:lnTo>
                        <a:pt x="184977" y="66013"/>
                      </a:lnTo>
                      <a:lnTo>
                        <a:pt x="177390" y="67102"/>
                      </a:lnTo>
                      <a:lnTo>
                        <a:pt x="151619" y="56601"/>
                      </a:lnTo>
                      <a:lnTo>
                        <a:pt x="146528" y="59130"/>
                      </a:lnTo>
                      <a:lnTo>
                        <a:pt x="146528" y="50774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439A7F61-5975-2458-5D26-CE877489AA14}"/>
                    </a:ext>
                  </a:extLst>
                </p:cNvPr>
                <p:cNvSpPr/>
                <p:nvPr/>
              </p:nvSpPr>
              <p:spPr>
                <a:xfrm>
                  <a:off x="3673885" y="3378067"/>
                  <a:ext cx="397583" cy="437856"/>
                </a:xfrm>
                <a:custGeom>
                  <a:avLst/>
                  <a:gdLst>
                    <a:gd name="csX0" fmla="*/ 146528 w 397583"/>
                    <a:gd name="csY0" fmla="*/ 50774 h 437856"/>
                    <a:gd name="csX1" fmla="*/ 137821 w 397583"/>
                    <a:gd name="csY1" fmla="*/ 42803 h 437856"/>
                    <a:gd name="csX2" fmla="*/ 140382 w 397583"/>
                    <a:gd name="csY2" fmla="*/ 33359 h 437856"/>
                    <a:gd name="csX3" fmla="*/ 130938 w 397583"/>
                    <a:gd name="csY3" fmla="*/ 23947 h 437856"/>
                    <a:gd name="csX4" fmla="*/ 124055 w 397583"/>
                    <a:gd name="csY4" fmla="*/ 23947 h 437856"/>
                    <a:gd name="csX5" fmla="*/ 124791 w 397583"/>
                    <a:gd name="csY5" fmla="*/ 14502 h 437856"/>
                    <a:gd name="csX6" fmla="*/ 120437 w 397583"/>
                    <a:gd name="csY6" fmla="*/ 7619 h 437856"/>
                    <a:gd name="csX7" fmla="*/ 113522 w 397583"/>
                    <a:gd name="csY7" fmla="*/ 7619 h 437856"/>
                    <a:gd name="csX8" fmla="*/ 108464 w 397583"/>
                    <a:gd name="csY8" fmla="*/ 0 h 437856"/>
                    <a:gd name="csX9" fmla="*/ 99020 w 397583"/>
                    <a:gd name="csY9" fmla="*/ 19593 h 437856"/>
                    <a:gd name="csX10" fmla="*/ 98283 w 397583"/>
                    <a:gd name="csY10" fmla="*/ 20681 h 437856"/>
                    <a:gd name="csX11" fmla="*/ 89575 w 397583"/>
                    <a:gd name="csY11" fmla="*/ 39537 h 437856"/>
                    <a:gd name="csX12" fmla="*/ 56953 w 397583"/>
                    <a:gd name="csY12" fmla="*/ 106639 h 437856"/>
                    <a:gd name="csX13" fmla="*/ 25739 w 397583"/>
                    <a:gd name="csY13" fmla="*/ 171211 h 437856"/>
                    <a:gd name="csX14" fmla="*/ 0 w 397583"/>
                    <a:gd name="csY14" fmla="*/ 225283 h 437856"/>
                    <a:gd name="csX15" fmla="*/ 3618 w 397583"/>
                    <a:gd name="csY15" fmla="*/ 225283 h 437856"/>
                    <a:gd name="csX16" fmla="*/ 2529 w 397583"/>
                    <a:gd name="csY16" fmla="*/ 230341 h 437856"/>
                    <a:gd name="csX17" fmla="*/ 28268 w 397583"/>
                    <a:gd name="csY17" fmla="*/ 240874 h 437856"/>
                    <a:gd name="csX18" fmla="*/ 33711 w 397583"/>
                    <a:gd name="csY18" fmla="*/ 245932 h 437856"/>
                    <a:gd name="csX19" fmla="*/ 35183 w 397583"/>
                    <a:gd name="csY19" fmla="*/ 257201 h 437856"/>
                    <a:gd name="csX20" fmla="*/ 50038 w 397583"/>
                    <a:gd name="csY20" fmla="*/ 257906 h 437856"/>
                    <a:gd name="csX21" fmla="*/ 47509 w 397583"/>
                    <a:gd name="csY21" fmla="*/ 264821 h 437856"/>
                    <a:gd name="csX22" fmla="*/ 60219 w 397583"/>
                    <a:gd name="csY22" fmla="*/ 282941 h 437856"/>
                    <a:gd name="csX23" fmla="*/ 66365 w 397583"/>
                    <a:gd name="csY23" fmla="*/ 284765 h 437856"/>
                    <a:gd name="csX24" fmla="*/ 63836 w 397583"/>
                    <a:gd name="csY24" fmla="*/ 292385 h 437856"/>
                    <a:gd name="csX25" fmla="*/ 59482 w 397583"/>
                    <a:gd name="csY25" fmla="*/ 301797 h 437856"/>
                    <a:gd name="csX26" fmla="*/ 68190 w 397583"/>
                    <a:gd name="csY26" fmla="*/ 305446 h 437856"/>
                    <a:gd name="csX27" fmla="*/ 65661 w 397583"/>
                    <a:gd name="csY27" fmla="*/ 312329 h 437856"/>
                    <a:gd name="csX28" fmla="*/ 70719 w 397583"/>
                    <a:gd name="csY28" fmla="*/ 317420 h 437856"/>
                    <a:gd name="csX29" fmla="*/ 65661 w 397583"/>
                    <a:gd name="csY29" fmla="*/ 321774 h 437856"/>
                    <a:gd name="csX30" fmla="*/ 68926 w 397583"/>
                    <a:gd name="csY30" fmla="*/ 324303 h 437856"/>
                    <a:gd name="csX31" fmla="*/ 73248 w 397583"/>
                    <a:gd name="csY31" fmla="*/ 326128 h 437856"/>
                    <a:gd name="csX32" fmla="*/ 70719 w 397583"/>
                    <a:gd name="csY32" fmla="*/ 331186 h 437856"/>
                    <a:gd name="csX33" fmla="*/ 83429 w 397583"/>
                    <a:gd name="csY33" fmla="*/ 331186 h 437856"/>
                    <a:gd name="csX34" fmla="*/ 85222 w 397583"/>
                    <a:gd name="csY34" fmla="*/ 341366 h 437856"/>
                    <a:gd name="csX35" fmla="*/ 92841 w 397583"/>
                    <a:gd name="csY35" fmla="*/ 334451 h 437856"/>
                    <a:gd name="csX36" fmla="*/ 99756 w 397583"/>
                    <a:gd name="csY36" fmla="*/ 338101 h 437856"/>
                    <a:gd name="csX37" fmla="*/ 104110 w 397583"/>
                    <a:gd name="csY37" fmla="*/ 349338 h 437856"/>
                    <a:gd name="csX38" fmla="*/ 105902 w 397583"/>
                    <a:gd name="csY38" fmla="*/ 343895 h 437856"/>
                    <a:gd name="csX39" fmla="*/ 112818 w 397583"/>
                    <a:gd name="csY39" fmla="*/ 347513 h 437856"/>
                    <a:gd name="csX40" fmla="*/ 119701 w 397583"/>
                    <a:gd name="csY40" fmla="*/ 343895 h 437856"/>
                    <a:gd name="csX41" fmla="*/ 122966 w 397583"/>
                    <a:gd name="csY41" fmla="*/ 351867 h 437856"/>
                    <a:gd name="csX42" fmla="*/ 128408 w 397583"/>
                    <a:gd name="csY42" fmla="*/ 380167 h 437856"/>
                    <a:gd name="csX43" fmla="*/ 174829 w 397583"/>
                    <a:gd name="csY43" fmla="*/ 382696 h 437856"/>
                    <a:gd name="csX44" fmla="*/ 186802 w 397583"/>
                    <a:gd name="csY44" fmla="*/ 413910 h 437856"/>
                    <a:gd name="csX45" fmla="*/ 227428 w 397583"/>
                    <a:gd name="csY45" fmla="*/ 430237 h 437856"/>
                    <a:gd name="csX46" fmla="*/ 230694 w 397583"/>
                    <a:gd name="csY46" fmla="*/ 418968 h 437856"/>
                    <a:gd name="csX47" fmla="*/ 223074 w 397583"/>
                    <a:gd name="csY47" fmla="*/ 405907 h 437856"/>
                    <a:gd name="csX48" fmla="*/ 244492 w 397583"/>
                    <a:gd name="csY48" fmla="*/ 402641 h 437856"/>
                    <a:gd name="csX49" fmla="*/ 253904 w 397583"/>
                    <a:gd name="csY49" fmla="*/ 420793 h 437856"/>
                    <a:gd name="csX50" fmla="*/ 272056 w 397583"/>
                    <a:gd name="csY50" fmla="*/ 424795 h 437856"/>
                    <a:gd name="csX51" fmla="*/ 271319 w 397583"/>
                    <a:gd name="csY51" fmla="*/ 437857 h 437856"/>
                    <a:gd name="csX52" fmla="*/ 334099 w 397583"/>
                    <a:gd name="csY52" fmla="*/ 370723 h 437856"/>
                    <a:gd name="csX53" fmla="*/ 329745 w 397583"/>
                    <a:gd name="csY53" fmla="*/ 372548 h 437856"/>
                    <a:gd name="csX54" fmla="*/ 312330 w 397583"/>
                    <a:gd name="csY54" fmla="*/ 357661 h 437856"/>
                    <a:gd name="csX55" fmla="*/ 290208 w 397583"/>
                    <a:gd name="csY55" fmla="*/ 350042 h 437856"/>
                    <a:gd name="csX56" fmla="*/ 266965 w 397583"/>
                    <a:gd name="csY56" fmla="*/ 350042 h 437856"/>
                    <a:gd name="csX57" fmla="*/ 270231 w 397583"/>
                    <a:gd name="csY57" fmla="*/ 341366 h 437856"/>
                    <a:gd name="csX58" fmla="*/ 282204 w 397583"/>
                    <a:gd name="csY58" fmla="*/ 317420 h 437856"/>
                    <a:gd name="csX59" fmla="*/ 283293 w 397583"/>
                    <a:gd name="csY59" fmla="*/ 315595 h 437856"/>
                    <a:gd name="csX60" fmla="*/ 285854 w 397583"/>
                    <a:gd name="csY60" fmla="*/ 310505 h 437856"/>
                    <a:gd name="csX61" fmla="*/ 287647 w 397583"/>
                    <a:gd name="csY61" fmla="*/ 307976 h 437856"/>
                    <a:gd name="csX62" fmla="*/ 322830 w 397583"/>
                    <a:gd name="csY62" fmla="*/ 236520 h 437856"/>
                    <a:gd name="csX63" fmla="*/ 337365 w 397583"/>
                    <a:gd name="csY63" fmla="*/ 207131 h 437856"/>
                    <a:gd name="csX64" fmla="*/ 340982 w 397583"/>
                    <a:gd name="csY64" fmla="*/ 203866 h 437856"/>
                    <a:gd name="csX65" fmla="*/ 356221 w 397583"/>
                    <a:gd name="csY65" fmla="*/ 194422 h 437856"/>
                    <a:gd name="csX66" fmla="*/ 363104 w 397583"/>
                    <a:gd name="csY66" fmla="*/ 196983 h 437856"/>
                    <a:gd name="csX67" fmla="*/ 376902 w 397583"/>
                    <a:gd name="csY67" fmla="*/ 190068 h 437856"/>
                    <a:gd name="csX68" fmla="*/ 397583 w 397583"/>
                    <a:gd name="csY68" fmla="*/ 187539 h 437856"/>
                    <a:gd name="csX69" fmla="*/ 385610 w 397583"/>
                    <a:gd name="csY69" fmla="*/ 181360 h 437856"/>
                    <a:gd name="csX70" fmla="*/ 371812 w 397583"/>
                    <a:gd name="csY70" fmla="*/ 186450 h 437856"/>
                    <a:gd name="csX71" fmla="*/ 352955 w 397583"/>
                    <a:gd name="csY71" fmla="*/ 175565 h 437856"/>
                    <a:gd name="csX72" fmla="*/ 379431 w 397583"/>
                    <a:gd name="csY72" fmla="*/ 120437 h 437856"/>
                    <a:gd name="csX73" fmla="*/ 354780 w 397583"/>
                    <a:gd name="csY73" fmla="*/ 111729 h 437856"/>
                    <a:gd name="csX74" fmla="*/ 351131 w 397583"/>
                    <a:gd name="csY74" fmla="*/ 109904 h 437856"/>
                    <a:gd name="csX75" fmla="*/ 333011 w 397583"/>
                    <a:gd name="csY75" fmla="*/ 107375 h 437856"/>
                    <a:gd name="csX76" fmla="*/ 298531 w 397583"/>
                    <a:gd name="csY76" fmla="*/ 100492 h 437856"/>
                    <a:gd name="csX77" fmla="*/ 288383 w 397583"/>
                    <a:gd name="csY77" fmla="*/ 104110 h 437856"/>
                    <a:gd name="csX78" fmla="*/ 272056 w 397583"/>
                    <a:gd name="csY78" fmla="*/ 101581 h 437856"/>
                    <a:gd name="csX79" fmla="*/ 243755 w 397583"/>
                    <a:gd name="csY79" fmla="*/ 85958 h 437856"/>
                    <a:gd name="csX80" fmla="*/ 214366 w 397583"/>
                    <a:gd name="csY80" fmla="*/ 79075 h 437856"/>
                    <a:gd name="csX81" fmla="*/ 202393 w 397583"/>
                    <a:gd name="csY81" fmla="*/ 79075 h 437856"/>
                    <a:gd name="csX82" fmla="*/ 184977 w 397583"/>
                    <a:gd name="csY82" fmla="*/ 66013 h 437856"/>
                    <a:gd name="csX83" fmla="*/ 177390 w 397583"/>
                    <a:gd name="csY83" fmla="*/ 67102 h 437856"/>
                    <a:gd name="csX84" fmla="*/ 151619 w 397583"/>
                    <a:gd name="csY84" fmla="*/ 56601 h 437856"/>
                    <a:gd name="csX85" fmla="*/ 146528 w 397583"/>
                    <a:gd name="csY85" fmla="*/ 59130 h 437856"/>
                    <a:gd name="csX86" fmla="*/ 146528 w 397583"/>
                    <a:gd name="csY86" fmla="*/ 50774 h 4378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</a:cxnLst>
                  <a:rect l="l" t="t" r="r" b="b"/>
                  <a:pathLst>
                    <a:path w="397583" h="437856">
                      <a:moveTo>
                        <a:pt x="146528" y="50774"/>
                      </a:moveTo>
                      <a:lnTo>
                        <a:pt x="137821" y="42803"/>
                      </a:lnTo>
                      <a:lnTo>
                        <a:pt x="140382" y="33359"/>
                      </a:lnTo>
                      <a:lnTo>
                        <a:pt x="130938" y="23947"/>
                      </a:lnTo>
                      <a:lnTo>
                        <a:pt x="124055" y="23947"/>
                      </a:lnTo>
                      <a:lnTo>
                        <a:pt x="124791" y="14502"/>
                      </a:lnTo>
                      <a:lnTo>
                        <a:pt x="120437" y="7619"/>
                      </a:lnTo>
                      <a:lnTo>
                        <a:pt x="113522" y="7619"/>
                      </a:lnTo>
                      <a:lnTo>
                        <a:pt x="108464" y="0"/>
                      </a:lnTo>
                      <a:lnTo>
                        <a:pt x="99020" y="19593"/>
                      </a:lnTo>
                      <a:lnTo>
                        <a:pt x="98283" y="20681"/>
                      </a:lnTo>
                      <a:lnTo>
                        <a:pt x="89575" y="39537"/>
                      </a:lnTo>
                      <a:lnTo>
                        <a:pt x="56953" y="106639"/>
                      </a:lnTo>
                      <a:lnTo>
                        <a:pt x="25739" y="171211"/>
                      </a:lnTo>
                      <a:lnTo>
                        <a:pt x="0" y="225283"/>
                      </a:lnTo>
                      <a:lnTo>
                        <a:pt x="3618" y="225283"/>
                      </a:lnTo>
                      <a:lnTo>
                        <a:pt x="2529" y="230341"/>
                      </a:lnTo>
                      <a:lnTo>
                        <a:pt x="28268" y="240874"/>
                      </a:lnTo>
                      <a:lnTo>
                        <a:pt x="33711" y="245932"/>
                      </a:lnTo>
                      <a:lnTo>
                        <a:pt x="35183" y="257201"/>
                      </a:lnTo>
                      <a:lnTo>
                        <a:pt x="50038" y="257906"/>
                      </a:lnTo>
                      <a:lnTo>
                        <a:pt x="47509" y="264821"/>
                      </a:lnTo>
                      <a:lnTo>
                        <a:pt x="60219" y="282941"/>
                      </a:lnTo>
                      <a:lnTo>
                        <a:pt x="66365" y="284765"/>
                      </a:lnTo>
                      <a:lnTo>
                        <a:pt x="63836" y="292385"/>
                      </a:lnTo>
                      <a:lnTo>
                        <a:pt x="59482" y="301797"/>
                      </a:lnTo>
                      <a:lnTo>
                        <a:pt x="68190" y="305446"/>
                      </a:lnTo>
                      <a:lnTo>
                        <a:pt x="65661" y="312329"/>
                      </a:lnTo>
                      <a:lnTo>
                        <a:pt x="70719" y="317420"/>
                      </a:lnTo>
                      <a:lnTo>
                        <a:pt x="65661" y="321774"/>
                      </a:lnTo>
                      <a:lnTo>
                        <a:pt x="68926" y="324303"/>
                      </a:lnTo>
                      <a:lnTo>
                        <a:pt x="73248" y="326128"/>
                      </a:lnTo>
                      <a:lnTo>
                        <a:pt x="70719" y="331186"/>
                      </a:lnTo>
                      <a:lnTo>
                        <a:pt x="83429" y="331186"/>
                      </a:lnTo>
                      <a:lnTo>
                        <a:pt x="85222" y="341366"/>
                      </a:lnTo>
                      <a:lnTo>
                        <a:pt x="92841" y="334451"/>
                      </a:lnTo>
                      <a:lnTo>
                        <a:pt x="99756" y="338101"/>
                      </a:lnTo>
                      <a:lnTo>
                        <a:pt x="104110" y="349338"/>
                      </a:lnTo>
                      <a:lnTo>
                        <a:pt x="105902" y="343895"/>
                      </a:lnTo>
                      <a:lnTo>
                        <a:pt x="112818" y="347513"/>
                      </a:lnTo>
                      <a:lnTo>
                        <a:pt x="119701" y="343895"/>
                      </a:lnTo>
                      <a:lnTo>
                        <a:pt x="122966" y="351867"/>
                      </a:lnTo>
                      <a:lnTo>
                        <a:pt x="128408" y="380167"/>
                      </a:lnTo>
                      <a:lnTo>
                        <a:pt x="174829" y="382696"/>
                      </a:lnTo>
                      <a:lnTo>
                        <a:pt x="186802" y="413910"/>
                      </a:lnTo>
                      <a:lnTo>
                        <a:pt x="227428" y="430237"/>
                      </a:lnTo>
                      <a:lnTo>
                        <a:pt x="230694" y="418968"/>
                      </a:lnTo>
                      <a:lnTo>
                        <a:pt x="223074" y="405907"/>
                      </a:lnTo>
                      <a:lnTo>
                        <a:pt x="244492" y="402641"/>
                      </a:lnTo>
                      <a:lnTo>
                        <a:pt x="253904" y="420793"/>
                      </a:lnTo>
                      <a:lnTo>
                        <a:pt x="272056" y="424795"/>
                      </a:lnTo>
                      <a:lnTo>
                        <a:pt x="271319" y="437857"/>
                      </a:lnTo>
                      <a:lnTo>
                        <a:pt x="334099" y="370723"/>
                      </a:lnTo>
                      <a:lnTo>
                        <a:pt x="329745" y="372548"/>
                      </a:lnTo>
                      <a:lnTo>
                        <a:pt x="312330" y="357661"/>
                      </a:lnTo>
                      <a:lnTo>
                        <a:pt x="290208" y="350042"/>
                      </a:lnTo>
                      <a:lnTo>
                        <a:pt x="266965" y="350042"/>
                      </a:lnTo>
                      <a:lnTo>
                        <a:pt x="270231" y="341366"/>
                      </a:lnTo>
                      <a:lnTo>
                        <a:pt x="282204" y="317420"/>
                      </a:lnTo>
                      <a:lnTo>
                        <a:pt x="283293" y="315595"/>
                      </a:lnTo>
                      <a:lnTo>
                        <a:pt x="285854" y="310505"/>
                      </a:lnTo>
                      <a:lnTo>
                        <a:pt x="287647" y="307976"/>
                      </a:lnTo>
                      <a:lnTo>
                        <a:pt x="322830" y="236520"/>
                      </a:lnTo>
                      <a:lnTo>
                        <a:pt x="337365" y="207131"/>
                      </a:lnTo>
                      <a:lnTo>
                        <a:pt x="340982" y="203866"/>
                      </a:lnTo>
                      <a:lnTo>
                        <a:pt x="356221" y="194422"/>
                      </a:lnTo>
                      <a:lnTo>
                        <a:pt x="363104" y="196983"/>
                      </a:lnTo>
                      <a:lnTo>
                        <a:pt x="376902" y="190068"/>
                      </a:lnTo>
                      <a:lnTo>
                        <a:pt x="397583" y="187539"/>
                      </a:lnTo>
                      <a:lnTo>
                        <a:pt x="385610" y="181360"/>
                      </a:lnTo>
                      <a:lnTo>
                        <a:pt x="371812" y="186450"/>
                      </a:lnTo>
                      <a:lnTo>
                        <a:pt x="352955" y="175565"/>
                      </a:lnTo>
                      <a:lnTo>
                        <a:pt x="379431" y="120437"/>
                      </a:lnTo>
                      <a:lnTo>
                        <a:pt x="354780" y="111729"/>
                      </a:lnTo>
                      <a:lnTo>
                        <a:pt x="351131" y="109904"/>
                      </a:lnTo>
                      <a:lnTo>
                        <a:pt x="333011" y="107375"/>
                      </a:lnTo>
                      <a:lnTo>
                        <a:pt x="298531" y="100492"/>
                      </a:lnTo>
                      <a:lnTo>
                        <a:pt x="288383" y="104110"/>
                      </a:lnTo>
                      <a:lnTo>
                        <a:pt x="272056" y="101581"/>
                      </a:lnTo>
                      <a:lnTo>
                        <a:pt x="243755" y="85958"/>
                      </a:lnTo>
                      <a:lnTo>
                        <a:pt x="214366" y="79075"/>
                      </a:lnTo>
                      <a:lnTo>
                        <a:pt x="202393" y="79075"/>
                      </a:lnTo>
                      <a:lnTo>
                        <a:pt x="184977" y="66013"/>
                      </a:lnTo>
                      <a:lnTo>
                        <a:pt x="177390" y="67102"/>
                      </a:lnTo>
                      <a:lnTo>
                        <a:pt x="151619" y="56601"/>
                      </a:lnTo>
                      <a:lnTo>
                        <a:pt x="146528" y="59130"/>
                      </a:lnTo>
                      <a:lnTo>
                        <a:pt x="146528" y="50774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1" name="Forma Livre: Forma 400">
                  <a:extLst>
                    <a:ext uri="{FF2B5EF4-FFF2-40B4-BE49-F238E27FC236}">
                      <a16:creationId xmlns:a16="http://schemas.microsoft.com/office/drawing/2014/main" id="{B464BFC1-AF7F-8B41-B7E2-A5CC471139EF}"/>
                    </a:ext>
                  </a:extLst>
                </p:cNvPr>
                <p:cNvSpPr/>
                <p:nvPr/>
              </p:nvSpPr>
              <p:spPr>
                <a:xfrm>
                  <a:off x="2613546" y="5394634"/>
                  <a:ext cx="236872" cy="588387"/>
                </a:xfrm>
                <a:custGeom>
                  <a:avLst/>
                  <a:gdLst>
                    <a:gd name="csX0" fmla="*/ 136028 w 236872"/>
                    <a:gd name="csY0" fmla="*/ 29389 h 588387"/>
                    <a:gd name="csX1" fmla="*/ 123318 w 236872"/>
                    <a:gd name="csY1" fmla="*/ 20681 h 588387"/>
                    <a:gd name="csX2" fmla="*/ 132762 w 236872"/>
                    <a:gd name="csY2" fmla="*/ 14502 h 588387"/>
                    <a:gd name="csX3" fmla="*/ 124759 w 236872"/>
                    <a:gd name="csY3" fmla="*/ 4354 h 588387"/>
                    <a:gd name="csX4" fmla="*/ 121494 w 236872"/>
                    <a:gd name="csY4" fmla="*/ 2529 h 588387"/>
                    <a:gd name="csX5" fmla="*/ 116435 w 236872"/>
                    <a:gd name="csY5" fmla="*/ 0 h 588387"/>
                    <a:gd name="csX6" fmla="*/ 104110 w 236872"/>
                    <a:gd name="csY6" fmla="*/ 10501 h 588387"/>
                    <a:gd name="csX7" fmla="*/ 105198 w 236872"/>
                    <a:gd name="csY7" fmla="*/ 17416 h 588387"/>
                    <a:gd name="csX8" fmla="*/ 106639 w 236872"/>
                    <a:gd name="csY8" fmla="*/ 31918 h 588387"/>
                    <a:gd name="csX9" fmla="*/ 102637 w 236872"/>
                    <a:gd name="csY9" fmla="*/ 42067 h 588387"/>
                    <a:gd name="csX10" fmla="*/ 108464 w 236872"/>
                    <a:gd name="csY10" fmla="*/ 52599 h 588387"/>
                    <a:gd name="csX11" fmla="*/ 108464 w 236872"/>
                    <a:gd name="csY11" fmla="*/ 59482 h 588387"/>
                    <a:gd name="csX12" fmla="*/ 90312 w 236872"/>
                    <a:gd name="csY12" fmla="*/ 69631 h 588387"/>
                    <a:gd name="csX13" fmla="*/ 92137 w 236872"/>
                    <a:gd name="csY13" fmla="*/ 76546 h 588387"/>
                    <a:gd name="csX14" fmla="*/ 64572 w 236872"/>
                    <a:gd name="csY14" fmla="*/ 77634 h 588387"/>
                    <a:gd name="csX15" fmla="*/ 62011 w 236872"/>
                    <a:gd name="csY15" fmla="*/ 81604 h 588387"/>
                    <a:gd name="csX16" fmla="*/ 71455 w 236872"/>
                    <a:gd name="csY16" fmla="*/ 87047 h 588387"/>
                    <a:gd name="csX17" fmla="*/ 68926 w 236872"/>
                    <a:gd name="csY17" fmla="*/ 93961 h 588387"/>
                    <a:gd name="csX18" fmla="*/ 79427 w 236872"/>
                    <a:gd name="csY18" fmla="*/ 92873 h 588387"/>
                    <a:gd name="csX19" fmla="*/ 81956 w 236872"/>
                    <a:gd name="csY19" fmla="*/ 117908 h 588387"/>
                    <a:gd name="csX20" fmla="*/ 73985 w 236872"/>
                    <a:gd name="csY20" fmla="*/ 122230 h 588387"/>
                    <a:gd name="csX21" fmla="*/ 66365 w 236872"/>
                    <a:gd name="csY21" fmla="*/ 117908 h 588387"/>
                    <a:gd name="csX22" fmla="*/ 57657 w 236872"/>
                    <a:gd name="csY22" fmla="*/ 129849 h 588387"/>
                    <a:gd name="csX23" fmla="*/ 50774 w 236872"/>
                    <a:gd name="csY23" fmla="*/ 119701 h 588387"/>
                    <a:gd name="csX24" fmla="*/ 44980 w 236872"/>
                    <a:gd name="csY24" fmla="*/ 122966 h 588387"/>
                    <a:gd name="csX25" fmla="*/ 43891 w 236872"/>
                    <a:gd name="csY25" fmla="*/ 136764 h 588387"/>
                    <a:gd name="csX26" fmla="*/ 58746 w 236872"/>
                    <a:gd name="csY26" fmla="*/ 147265 h 588387"/>
                    <a:gd name="csX27" fmla="*/ 73985 w 236872"/>
                    <a:gd name="csY27" fmla="*/ 147265 h 588387"/>
                    <a:gd name="csX28" fmla="*/ 85958 w 236872"/>
                    <a:gd name="csY28" fmla="*/ 141118 h 588387"/>
                    <a:gd name="csX29" fmla="*/ 92137 w 236872"/>
                    <a:gd name="csY29" fmla="*/ 143647 h 588387"/>
                    <a:gd name="csX30" fmla="*/ 92841 w 236872"/>
                    <a:gd name="csY30" fmla="*/ 158534 h 588387"/>
                    <a:gd name="csX31" fmla="*/ 78339 w 236872"/>
                    <a:gd name="csY31" fmla="*/ 169387 h 588387"/>
                    <a:gd name="csX32" fmla="*/ 72544 w 236872"/>
                    <a:gd name="csY32" fmla="*/ 186802 h 588387"/>
                    <a:gd name="csX33" fmla="*/ 63836 w 236872"/>
                    <a:gd name="csY33" fmla="*/ 193717 h 588387"/>
                    <a:gd name="csX34" fmla="*/ 54392 w 236872"/>
                    <a:gd name="csY34" fmla="*/ 186802 h 588387"/>
                    <a:gd name="csX35" fmla="*/ 40626 w 236872"/>
                    <a:gd name="csY35" fmla="*/ 188627 h 588387"/>
                    <a:gd name="csX36" fmla="*/ 32622 w 236872"/>
                    <a:gd name="csY36" fmla="*/ 206395 h 588387"/>
                    <a:gd name="csX37" fmla="*/ 18120 w 236872"/>
                    <a:gd name="csY37" fmla="*/ 204954 h 588387"/>
                    <a:gd name="csX38" fmla="*/ 16295 w 236872"/>
                    <a:gd name="csY38" fmla="*/ 210749 h 588387"/>
                    <a:gd name="csX39" fmla="*/ 10501 w 236872"/>
                    <a:gd name="csY39" fmla="*/ 224547 h 588387"/>
                    <a:gd name="csX40" fmla="*/ 29357 w 236872"/>
                    <a:gd name="csY40" fmla="*/ 225283 h 588387"/>
                    <a:gd name="csX41" fmla="*/ 31918 w 236872"/>
                    <a:gd name="csY41" fmla="*/ 231430 h 588387"/>
                    <a:gd name="csX42" fmla="*/ 23210 w 236872"/>
                    <a:gd name="csY42" fmla="*/ 247757 h 588387"/>
                    <a:gd name="csX43" fmla="*/ 3618 w 236872"/>
                    <a:gd name="csY43" fmla="*/ 252847 h 588387"/>
                    <a:gd name="csX44" fmla="*/ 25003 w 236872"/>
                    <a:gd name="csY44" fmla="*/ 263348 h 588387"/>
                    <a:gd name="csX45" fmla="*/ 43891 w 236872"/>
                    <a:gd name="csY45" fmla="*/ 269175 h 588387"/>
                    <a:gd name="csX46" fmla="*/ 43891 w 236872"/>
                    <a:gd name="csY46" fmla="*/ 272792 h 588387"/>
                    <a:gd name="csX47" fmla="*/ 36272 w 236872"/>
                    <a:gd name="csY47" fmla="*/ 284029 h 588387"/>
                    <a:gd name="csX48" fmla="*/ 30093 w 236872"/>
                    <a:gd name="csY48" fmla="*/ 285854 h 588387"/>
                    <a:gd name="csX49" fmla="*/ 29357 w 236872"/>
                    <a:gd name="csY49" fmla="*/ 296003 h 588387"/>
                    <a:gd name="csX50" fmla="*/ 25739 w 236872"/>
                    <a:gd name="csY50" fmla="*/ 307976 h 588387"/>
                    <a:gd name="csX51" fmla="*/ 6147 w 236872"/>
                    <a:gd name="csY51" fmla="*/ 339157 h 588387"/>
                    <a:gd name="csX52" fmla="*/ 0 w 236872"/>
                    <a:gd name="csY52" fmla="*/ 358046 h 588387"/>
                    <a:gd name="csX53" fmla="*/ 5058 w 236872"/>
                    <a:gd name="csY53" fmla="*/ 370019 h 588387"/>
                    <a:gd name="csX54" fmla="*/ 6147 w 236872"/>
                    <a:gd name="csY54" fmla="*/ 375077 h 588387"/>
                    <a:gd name="csX55" fmla="*/ 9412 w 236872"/>
                    <a:gd name="csY55" fmla="*/ 383785 h 588387"/>
                    <a:gd name="csX56" fmla="*/ 27564 w 236872"/>
                    <a:gd name="csY56" fmla="*/ 380167 h 588387"/>
                    <a:gd name="csX57" fmla="*/ 30093 w 236872"/>
                    <a:gd name="csY57" fmla="*/ 391404 h 588387"/>
                    <a:gd name="csX58" fmla="*/ 25003 w 236872"/>
                    <a:gd name="csY58" fmla="*/ 396494 h 588387"/>
                    <a:gd name="csX59" fmla="*/ 21738 w 236872"/>
                    <a:gd name="csY59" fmla="*/ 398287 h 588387"/>
                    <a:gd name="csX60" fmla="*/ 33711 w 236872"/>
                    <a:gd name="csY60" fmla="*/ 407731 h 588387"/>
                    <a:gd name="csX61" fmla="*/ 48245 w 236872"/>
                    <a:gd name="csY61" fmla="*/ 432767 h 588387"/>
                    <a:gd name="csX62" fmla="*/ 67102 w 236872"/>
                    <a:gd name="csY62" fmla="*/ 436384 h 588387"/>
                    <a:gd name="csX63" fmla="*/ 73985 w 236872"/>
                    <a:gd name="csY63" fmla="*/ 440386 h 588387"/>
                    <a:gd name="csX64" fmla="*/ 68926 w 236872"/>
                    <a:gd name="csY64" fmla="*/ 452711 h 588387"/>
                    <a:gd name="csX65" fmla="*/ 64572 w 236872"/>
                    <a:gd name="csY65" fmla="*/ 453448 h 588387"/>
                    <a:gd name="csX66" fmla="*/ 55865 w 236872"/>
                    <a:gd name="csY66" fmla="*/ 479187 h 588387"/>
                    <a:gd name="csX67" fmla="*/ 59482 w 236872"/>
                    <a:gd name="csY67" fmla="*/ 491160 h 588387"/>
                    <a:gd name="csX68" fmla="*/ 65661 w 236872"/>
                    <a:gd name="csY68" fmla="*/ 480275 h 588387"/>
                    <a:gd name="csX69" fmla="*/ 91400 w 236872"/>
                    <a:gd name="csY69" fmla="*/ 481748 h 588387"/>
                    <a:gd name="csX70" fmla="*/ 93929 w 236872"/>
                    <a:gd name="csY70" fmla="*/ 489720 h 588387"/>
                    <a:gd name="csX71" fmla="*/ 85958 w 236872"/>
                    <a:gd name="csY71" fmla="*/ 517284 h 588387"/>
                    <a:gd name="csX72" fmla="*/ 95754 w 236872"/>
                    <a:gd name="csY72" fmla="*/ 527432 h 588387"/>
                    <a:gd name="csX73" fmla="*/ 73280 w 236872"/>
                    <a:gd name="csY73" fmla="*/ 566265 h 588387"/>
                    <a:gd name="csX74" fmla="*/ 82692 w 236872"/>
                    <a:gd name="csY74" fmla="*/ 573148 h 588387"/>
                    <a:gd name="csX75" fmla="*/ 94666 w 236872"/>
                    <a:gd name="csY75" fmla="*/ 574589 h 588387"/>
                    <a:gd name="csX76" fmla="*/ 100844 w 236872"/>
                    <a:gd name="csY76" fmla="*/ 583297 h 588387"/>
                    <a:gd name="csX77" fmla="*/ 129113 w 236872"/>
                    <a:gd name="csY77" fmla="*/ 588387 h 588387"/>
                    <a:gd name="csX78" fmla="*/ 143647 w 236872"/>
                    <a:gd name="csY78" fmla="*/ 588387 h 588387"/>
                    <a:gd name="csX79" fmla="*/ 145440 w 236872"/>
                    <a:gd name="csY79" fmla="*/ 583297 h 588387"/>
                    <a:gd name="csX80" fmla="*/ 134203 w 236872"/>
                    <a:gd name="csY80" fmla="*/ 578239 h 588387"/>
                    <a:gd name="csX81" fmla="*/ 136028 w 236872"/>
                    <a:gd name="csY81" fmla="*/ 556821 h 588387"/>
                    <a:gd name="csX82" fmla="*/ 128409 w 236872"/>
                    <a:gd name="csY82" fmla="*/ 545584 h 588387"/>
                    <a:gd name="csX83" fmla="*/ 133467 w 236872"/>
                    <a:gd name="csY83" fmla="*/ 537613 h 588387"/>
                    <a:gd name="csX84" fmla="*/ 142175 w 236872"/>
                    <a:gd name="csY84" fmla="*/ 535052 h 588387"/>
                    <a:gd name="csX85" fmla="*/ 146528 w 236872"/>
                    <a:gd name="csY85" fmla="*/ 526728 h 588387"/>
                    <a:gd name="csX86" fmla="*/ 134203 w 236872"/>
                    <a:gd name="csY86" fmla="*/ 507487 h 588387"/>
                    <a:gd name="csX87" fmla="*/ 136732 w 236872"/>
                    <a:gd name="csY87" fmla="*/ 498075 h 588387"/>
                    <a:gd name="csX88" fmla="*/ 122230 w 236872"/>
                    <a:gd name="csY88" fmla="*/ 487191 h 588387"/>
                    <a:gd name="csX89" fmla="*/ 129113 w 236872"/>
                    <a:gd name="csY89" fmla="*/ 481012 h 588387"/>
                    <a:gd name="csX90" fmla="*/ 128409 w 236872"/>
                    <a:gd name="csY90" fmla="*/ 476658 h 588387"/>
                    <a:gd name="csX91" fmla="*/ 124759 w 236872"/>
                    <a:gd name="csY91" fmla="*/ 469038 h 588387"/>
                    <a:gd name="csX92" fmla="*/ 143647 w 236872"/>
                    <a:gd name="csY92" fmla="*/ 453448 h 588387"/>
                    <a:gd name="csX93" fmla="*/ 142175 w 236872"/>
                    <a:gd name="csY93" fmla="*/ 450887 h 588387"/>
                    <a:gd name="csX94" fmla="*/ 149090 w 236872"/>
                    <a:gd name="csY94" fmla="*/ 448358 h 588387"/>
                    <a:gd name="csX95" fmla="*/ 161767 w 236872"/>
                    <a:gd name="csY95" fmla="*/ 427677 h 588387"/>
                    <a:gd name="csX96" fmla="*/ 163592 w 236872"/>
                    <a:gd name="csY96" fmla="*/ 403378 h 588387"/>
                    <a:gd name="csX97" fmla="*/ 174829 w 236872"/>
                    <a:gd name="csY97" fmla="*/ 388875 h 588387"/>
                    <a:gd name="csX98" fmla="*/ 173740 w 236872"/>
                    <a:gd name="csY98" fmla="*/ 383081 h 588387"/>
                    <a:gd name="csX99" fmla="*/ 166121 w 236872"/>
                    <a:gd name="csY99" fmla="*/ 377638 h 588387"/>
                    <a:gd name="csX100" fmla="*/ 174829 w 236872"/>
                    <a:gd name="csY100" fmla="*/ 352955 h 588387"/>
                    <a:gd name="csX101" fmla="*/ 180656 w 236872"/>
                    <a:gd name="csY101" fmla="*/ 358750 h 588387"/>
                    <a:gd name="csX102" fmla="*/ 186802 w 236872"/>
                    <a:gd name="csY102" fmla="*/ 356221 h 588387"/>
                    <a:gd name="csX103" fmla="*/ 189331 w 236872"/>
                    <a:gd name="csY103" fmla="*/ 348601 h 588387"/>
                    <a:gd name="csX104" fmla="*/ 206747 w 236872"/>
                    <a:gd name="csY104" fmla="*/ 344248 h 588387"/>
                    <a:gd name="csX105" fmla="*/ 210012 w 236872"/>
                    <a:gd name="csY105" fmla="*/ 335540 h 588387"/>
                    <a:gd name="csX106" fmla="*/ 204218 w 236872"/>
                    <a:gd name="csY106" fmla="*/ 329393 h 588387"/>
                    <a:gd name="csX107" fmla="*/ 208220 w 236872"/>
                    <a:gd name="csY107" fmla="*/ 323567 h 588387"/>
                    <a:gd name="csX108" fmla="*/ 204218 w 236872"/>
                    <a:gd name="csY108" fmla="*/ 316684 h 588387"/>
                    <a:gd name="csX109" fmla="*/ 215103 w 236872"/>
                    <a:gd name="csY109" fmla="*/ 294178 h 588387"/>
                    <a:gd name="csX110" fmla="*/ 228164 w 236872"/>
                    <a:gd name="csY110" fmla="*/ 289824 h 588387"/>
                    <a:gd name="csX111" fmla="*/ 230694 w 236872"/>
                    <a:gd name="csY111" fmla="*/ 280412 h 588387"/>
                    <a:gd name="csX112" fmla="*/ 235048 w 236872"/>
                    <a:gd name="csY112" fmla="*/ 270967 h 588387"/>
                    <a:gd name="csX113" fmla="*/ 236872 w 236872"/>
                    <a:gd name="csY113" fmla="*/ 261555 h 588387"/>
                    <a:gd name="csX114" fmla="*/ 230694 w 236872"/>
                    <a:gd name="csY114" fmla="*/ 249582 h 588387"/>
                    <a:gd name="csX115" fmla="*/ 204954 w 236872"/>
                    <a:gd name="csY115" fmla="*/ 232166 h 588387"/>
                    <a:gd name="csX116" fmla="*/ 200600 w 236872"/>
                    <a:gd name="csY116" fmla="*/ 231430 h 588387"/>
                    <a:gd name="csX117" fmla="*/ 191156 w 236872"/>
                    <a:gd name="csY117" fmla="*/ 240138 h 588387"/>
                    <a:gd name="csX118" fmla="*/ 179919 w 236872"/>
                    <a:gd name="csY118" fmla="*/ 233255 h 588387"/>
                    <a:gd name="csX119" fmla="*/ 172300 w 236872"/>
                    <a:gd name="csY119" fmla="*/ 236520 h 588387"/>
                    <a:gd name="csX120" fmla="*/ 167210 w 236872"/>
                    <a:gd name="csY120" fmla="*/ 233959 h 588387"/>
                    <a:gd name="csX121" fmla="*/ 173740 w 236872"/>
                    <a:gd name="csY121" fmla="*/ 219457 h 588387"/>
                    <a:gd name="csX122" fmla="*/ 158502 w 236872"/>
                    <a:gd name="csY122" fmla="*/ 199512 h 588387"/>
                    <a:gd name="csX123" fmla="*/ 163592 w 236872"/>
                    <a:gd name="csY123" fmla="*/ 182448 h 588387"/>
                    <a:gd name="csX124" fmla="*/ 172300 w 236872"/>
                    <a:gd name="csY124" fmla="*/ 181744 h 588387"/>
                    <a:gd name="csX125" fmla="*/ 174829 w 236872"/>
                    <a:gd name="csY125" fmla="*/ 175566 h 588387"/>
                    <a:gd name="csX126" fmla="*/ 171211 w 236872"/>
                    <a:gd name="csY126" fmla="*/ 171211 h 588387"/>
                    <a:gd name="csX127" fmla="*/ 173740 w 236872"/>
                    <a:gd name="csY127" fmla="*/ 167946 h 588387"/>
                    <a:gd name="csX128" fmla="*/ 163592 w 236872"/>
                    <a:gd name="csY128" fmla="*/ 157445 h 588387"/>
                    <a:gd name="csX129" fmla="*/ 170475 w 236872"/>
                    <a:gd name="csY129" fmla="*/ 136028 h 588387"/>
                    <a:gd name="csX130" fmla="*/ 167210 w 236872"/>
                    <a:gd name="csY130" fmla="*/ 115347 h 588387"/>
                    <a:gd name="csX131" fmla="*/ 172300 w 236872"/>
                    <a:gd name="csY131" fmla="*/ 111729 h 588387"/>
                    <a:gd name="csX132" fmla="*/ 170475 w 236872"/>
                    <a:gd name="csY132" fmla="*/ 95402 h 588387"/>
                    <a:gd name="csX133" fmla="*/ 160327 w 236872"/>
                    <a:gd name="csY133" fmla="*/ 90312 h 588387"/>
                    <a:gd name="csX134" fmla="*/ 161767 w 236872"/>
                    <a:gd name="csY134" fmla="*/ 77634 h 588387"/>
                    <a:gd name="csX135" fmla="*/ 153444 w 236872"/>
                    <a:gd name="csY135" fmla="*/ 71456 h 588387"/>
                    <a:gd name="csX136" fmla="*/ 151619 w 236872"/>
                    <a:gd name="csY136" fmla="*/ 64573 h 588387"/>
                    <a:gd name="csX137" fmla="*/ 156709 w 236872"/>
                    <a:gd name="csY137" fmla="*/ 63836 h 588387"/>
                    <a:gd name="csX138" fmla="*/ 160327 w 236872"/>
                    <a:gd name="csY138" fmla="*/ 48982 h 588387"/>
                    <a:gd name="csX139" fmla="*/ 145440 w 236872"/>
                    <a:gd name="csY139" fmla="*/ 39537 h 588387"/>
                    <a:gd name="csX140" fmla="*/ 136028 w 236872"/>
                    <a:gd name="csY140" fmla="*/ 43155 h 588387"/>
                    <a:gd name="csX141" fmla="*/ 136028 w 236872"/>
                    <a:gd name="csY141" fmla="*/ 29389 h 58838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</a:cxnLst>
                  <a:rect l="l" t="t" r="r" b="b"/>
                  <a:pathLst>
                    <a:path w="236872" h="588387">
                      <a:moveTo>
                        <a:pt x="136028" y="29389"/>
                      </a:moveTo>
                      <a:lnTo>
                        <a:pt x="123318" y="20681"/>
                      </a:lnTo>
                      <a:lnTo>
                        <a:pt x="132762" y="14502"/>
                      </a:lnTo>
                      <a:lnTo>
                        <a:pt x="124759" y="4354"/>
                      </a:lnTo>
                      <a:lnTo>
                        <a:pt x="121494" y="2529"/>
                      </a:lnTo>
                      <a:lnTo>
                        <a:pt x="116435" y="0"/>
                      </a:lnTo>
                      <a:lnTo>
                        <a:pt x="104110" y="10501"/>
                      </a:lnTo>
                      <a:lnTo>
                        <a:pt x="105198" y="17416"/>
                      </a:lnTo>
                      <a:lnTo>
                        <a:pt x="106639" y="31918"/>
                      </a:lnTo>
                      <a:lnTo>
                        <a:pt x="102637" y="42067"/>
                      </a:lnTo>
                      <a:lnTo>
                        <a:pt x="108464" y="52599"/>
                      </a:lnTo>
                      <a:lnTo>
                        <a:pt x="108464" y="59482"/>
                      </a:lnTo>
                      <a:lnTo>
                        <a:pt x="90312" y="69631"/>
                      </a:lnTo>
                      <a:lnTo>
                        <a:pt x="92137" y="76546"/>
                      </a:lnTo>
                      <a:lnTo>
                        <a:pt x="64572" y="77634"/>
                      </a:lnTo>
                      <a:lnTo>
                        <a:pt x="62011" y="81604"/>
                      </a:lnTo>
                      <a:lnTo>
                        <a:pt x="71455" y="87047"/>
                      </a:lnTo>
                      <a:lnTo>
                        <a:pt x="68926" y="93961"/>
                      </a:lnTo>
                      <a:lnTo>
                        <a:pt x="79427" y="92873"/>
                      </a:lnTo>
                      <a:lnTo>
                        <a:pt x="81956" y="117908"/>
                      </a:lnTo>
                      <a:lnTo>
                        <a:pt x="73985" y="122230"/>
                      </a:lnTo>
                      <a:lnTo>
                        <a:pt x="66365" y="117908"/>
                      </a:lnTo>
                      <a:lnTo>
                        <a:pt x="57657" y="129849"/>
                      </a:lnTo>
                      <a:lnTo>
                        <a:pt x="50774" y="119701"/>
                      </a:lnTo>
                      <a:lnTo>
                        <a:pt x="44980" y="122966"/>
                      </a:lnTo>
                      <a:lnTo>
                        <a:pt x="43891" y="136764"/>
                      </a:lnTo>
                      <a:lnTo>
                        <a:pt x="58746" y="147265"/>
                      </a:lnTo>
                      <a:lnTo>
                        <a:pt x="73985" y="147265"/>
                      </a:lnTo>
                      <a:lnTo>
                        <a:pt x="85958" y="141118"/>
                      </a:lnTo>
                      <a:lnTo>
                        <a:pt x="92137" y="143647"/>
                      </a:lnTo>
                      <a:lnTo>
                        <a:pt x="92841" y="158534"/>
                      </a:lnTo>
                      <a:lnTo>
                        <a:pt x="78339" y="169387"/>
                      </a:lnTo>
                      <a:lnTo>
                        <a:pt x="72544" y="186802"/>
                      </a:lnTo>
                      <a:lnTo>
                        <a:pt x="63836" y="193717"/>
                      </a:lnTo>
                      <a:lnTo>
                        <a:pt x="54392" y="186802"/>
                      </a:lnTo>
                      <a:lnTo>
                        <a:pt x="40626" y="188627"/>
                      </a:lnTo>
                      <a:lnTo>
                        <a:pt x="32622" y="206395"/>
                      </a:lnTo>
                      <a:lnTo>
                        <a:pt x="18120" y="204954"/>
                      </a:lnTo>
                      <a:lnTo>
                        <a:pt x="16295" y="210749"/>
                      </a:lnTo>
                      <a:lnTo>
                        <a:pt x="10501" y="224547"/>
                      </a:lnTo>
                      <a:lnTo>
                        <a:pt x="29357" y="225283"/>
                      </a:lnTo>
                      <a:lnTo>
                        <a:pt x="31918" y="231430"/>
                      </a:lnTo>
                      <a:lnTo>
                        <a:pt x="23210" y="247757"/>
                      </a:lnTo>
                      <a:lnTo>
                        <a:pt x="3618" y="252847"/>
                      </a:lnTo>
                      <a:lnTo>
                        <a:pt x="25003" y="263348"/>
                      </a:lnTo>
                      <a:lnTo>
                        <a:pt x="43891" y="269175"/>
                      </a:lnTo>
                      <a:lnTo>
                        <a:pt x="43891" y="272792"/>
                      </a:lnTo>
                      <a:lnTo>
                        <a:pt x="36272" y="284029"/>
                      </a:lnTo>
                      <a:lnTo>
                        <a:pt x="30093" y="285854"/>
                      </a:lnTo>
                      <a:lnTo>
                        <a:pt x="29357" y="296003"/>
                      </a:lnTo>
                      <a:lnTo>
                        <a:pt x="25739" y="307976"/>
                      </a:lnTo>
                      <a:lnTo>
                        <a:pt x="6147" y="339157"/>
                      </a:lnTo>
                      <a:lnTo>
                        <a:pt x="0" y="358046"/>
                      </a:lnTo>
                      <a:lnTo>
                        <a:pt x="5058" y="370019"/>
                      </a:lnTo>
                      <a:lnTo>
                        <a:pt x="6147" y="375077"/>
                      </a:lnTo>
                      <a:lnTo>
                        <a:pt x="9412" y="383785"/>
                      </a:lnTo>
                      <a:lnTo>
                        <a:pt x="27564" y="380167"/>
                      </a:lnTo>
                      <a:lnTo>
                        <a:pt x="30093" y="391404"/>
                      </a:lnTo>
                      <a:lnTo>
                        <a:pt x="25003" y="396494"/>
                      </a:lnTo>
                      <a:lnTo>
                        <a:pt x="21738" y="398287"/>
                      </a:lnTo>
                      <a:lnTo>
                        <a:pt x="33711" y="407731"/>
                      </a:lnTo>
                      <a:lnTo>
                        <a:pt x="48245" y="432767"/>
                      </a:lnTo>
                      <a:lnTo>
                        <a:pt x="67102" y="436384"/>
                      </a:lnTo>
                      <a:lnTo>
                        <a:pt x="73985" y="440386"/>
                      </a:lnTo>
                      <a:lnTo>
                        <a:pt x="68926" y="452711"/>
                      </a:lnTo>
                      <a:lnTo>
                        <a:pt x="64572" y="453448"/>
                      </a:lnTo>
                      <a:lnTo>
                        <a:pt x="55865" y="479187"/>
                      </a:lnTo>
                      <a:lnTo>
                        <a:pt x="59482" y="491160"/>
                      </a:lnTo>
                      <a:lnTo>
                        <a:pt x="65661" y="480275"/>
                      </a:lnTo>
                      <a:lnTo>
                        <a:pt x="91400" y="481748"/>
                      </a:lnTo>
                      <a:lnTo>
                        <a:pt x="93929" y="489720"/>
                      </a:lnTo>
                      <a:lnTo>
                        <a:pt x="85958" y="517284"/>
                      </a:lnTo>
                      <a:lnTo>
                        <a:pt x="95754" y="527432"/>
                      </a:lnTo>
                      <a:lnTo>
                        <a:pt x="73280" y="566265"/>
                      </a:lnTo>
                      <a:lnTo>
                        <a:pt x="82692" y="573148"/>
                      </a:lnTo>
                      <a:lnTo>
                        <a:pt x="94666" y="574589"/>
                      </a:lnTo>
                      <a:lnTo>
                        <a:pt x="100844" y="583297"/>
                      </a:lnTo>
                      <a:lnTo>
                        <a:pt x="129113" y="588387"/>
                      </a:lnTo>
                      <a:lnTo>
                        <a:pt x="143647" y="588387"/>
                      </a:lnTo>
                      <a:lnTo>
                        <a:pt x="145440" y="583297"/>
                      </a:lnTo>
                      <a:lnTo>
                        <a:pt x="134203" y="578239"/>
                      </a:lnTo>
                      <a:lnTo>
                        <a:pt x="136028" y="556821"/>
                      </a:lnTo>
                      <a:lnTo>
                        <a:pt x="128409" y="545584"/>
                      </a:lnTo>
                      <a:lnTo>
                        <a:pt x="133467" y="537613"/>
                      </a:lnTo>
                      <a:lnTo>
                        <a:pt x="142175" y="535052"/>
                      </a:lnTo>
                      <a:lnTo>
                        <a:pt x="146528" y="526728"/>
                      </a:lnTo>
                      <a:lnTo>
                        <a:pt x="134203" y="507487"/>
                      </a:lnTo>
                      <a:lnTo>
                        <a:pt x="136732" y="498075"/>
                      </a:lnTo>
                      <a:lnTo>
                        <a:pt x="122230" y="487191"/>
                      </a:lnTo>
                      <a:lnTo>
                        <a:pt x="129113" y="481012"/>
                      </a:lnTo>
                      <a:lnTo>
                        <a:pt x="128409" y="476658"/>
                      </a:lnTo>
                      <a:lnTo>
                        <a:pt x="124759" y="469038"/>
                      </a:lnTo>
                      <a:lnTo>
                        <a:pt x="143647" y="453448"/>
                      </a:lnTo>
                      <a:lnTo>
                        <a:pt x="142175" y="450887"/>
                      </a:lnTo>
                      <a:lnTo>
                        <a:pt x="149090" y="448358"/>
                      </a:lnTo>
                      <a:lnTo>
                        <a:pt x="161767" y="427677"/>
                      </a:lnTo>
                      <a:lnTo>
                        <a:pt x="163592" y="403378"/>
                      </a:lnTo>
                      <a:lnTo>
                        <a:pt x="174829" y="388875"/>
                      </a:lnTo>
                      <a:lnTo>
                        <a:pt x="173740" y="383081"/>
                      </a:lnTo>
                      <a:lnTo>
                        <a:pt x="166121" y="377638"/>
                      </a:lnTo>
                      <a:lnTo>
                        <a:pt x="174829" y="352955"/>
                      </a:lnTo>
                      <a:lnTo>
                        <a:pt x="180656" y="358750"/>
                      </a:lnTo>
                      <a:lnTo>
                        <a:pt x="186802" y="356221"/>
                      </a:lnTo>
                      <a:lnTo>
                        <a:pt x="189331" y="348601"/>
                      </a:lnTo>
                      <a:lnTo>
                        <a:pt x="206747" y="344248"/>
                      </a:lnTo>
                      <a:lnTo>
                        <a:pt x="210012" y="335540"/>
                      </a:lnTo>
                      <a:lnTo>
                        <a:pt x="204218" y="329393"/>
                      </a:lnTo>
                      <a:lnTo>
                        <a:pt x="208220" y="323567"/>
                      </a:lnTo>
                      <a:lnTo>
                        <a:pt x="204218" y="316684"/>
                      </a:lnTo>
                      <a:lnTo>
                        <a:pt x="215103" y="294178"/>
                      </a:lnTo>
                      <a:lnTo>
                        <a:pt x="228164" y="289824"/>
                      </a:lnTo>
                      <a:lnTo>
                        <a:pt x="230694" y="280412"/>
                      </a:lnTo>
                      <a:lnTo>
                        <a:pt x="235048" y="270967"/>
                      </a:lnTo>
                      <a:lnTo>
                        <a:pt x="236872" y="261555"/>
                      </a:lnTo>
                      <a:lnTo>
                        <a:pt x="230694" y="249582"/>
                      </a:lnTo>
                      <a:lnTo>
                        <a:pt x="204954" y="232166"/>
                      </a:lnTo>
                      <a:lnTo>
                        <a:pt x="200600" y="231430"/>
                      </a:lnTo>
                      <a:lnTo>
                        <a:pt x="191156" y="240138"/>
                      </a:lnTo>
                      <a:lnTo>
                        <a:pt x="179919" y="233255"/>
                      </a:lnTo>
                      <a:lnTo>
                        <a:pt x="172300" y="236520"/>
                      </a:lnTo>
                      <a:lnTo>
                        <a:pt x="167210" y="233959"/>
                      </a:lnTo>
                      <a:lnTo>
                        <a:pt x="173740" y="219457"/>
                      </a:lnTo>
                      <a:lnTo>
                        <a:pt x="158502" y="199512"/>
                      </a:lnTo>
                      <a:lnTo>
                        <a:pt x="163592" y="182448"/>
                      </a:lnTo>
                      <a:lnTo>
                        <a:pt x="172300" y="181744"/>
                      </a:lnTo>
                      <a:lnTo>
                        <a:pt x="174829" y="175566"/>
                      </a:lnTo>
                      <a:lnTo>
                        <a:pt x="171211" y="171211"/>
                      </a:lnTo>
                      <a:lnTo>
                        <a:pt x="173740" y="167946"/>
                      </a:lnTo>
                      <a:lnTo>
                        <a:pt x="163592" y="157445"/>
                      </a:lnTo>
                      <a:lnTo>
                        <a:pt x="170475" y="136028"/>
                      </a:lnTo>
                      <a:lnTo>
                        <a:pt x="167210" y="115347"/>
                      </a:lnTo>
                      <a:lnTo>
                        <a:pt x="172300" y="111729"/>
                      </a:lnTo>
                      <a:lnTo>
                        <a:pt x="170475" y="95402"/>
                      </a:lnTo>
                      <a:lnTo>
                        <a:pt x="160327" y="90312"/>
                      </a:lnTo>
                      <a:lnTo>
                        <a:pt x="161767" y="77634"/>
                      </a:lnTo>
                      <a:lnTo>
                        <a:pt x="153444" y="71456"/>
                      </a:lnTo>
                      <a:lnTo>
                        <a:pt x="151619" y="64573"/>
                      </a:lnTo>
                      <a:lnTo>
                        <a:pt x="156709" y="63836"/>
                      </a:lnTo>
                      <a:lnTo>
                        <a:pt x="160327" y="48982"/>
                      </a:lnTo>
                      <a:lnTo>
                        <a:pt x="145440" y="39537"/>
                      </a:lnTo>
                      <a:lnTo>
                        <a:pt x="136028" y="43155"/>
                      </a:lnTo>
                      <a:lnTo>
                        <a:pt x="136028" y="2938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2" name="Forma Livre: Forma 401">
                  <a:extLst>
                    <a:ext uri="{FF2B5EF4-FFF2-40B4-BE49-F238E27FC236}">
                      <a16:creationId xmlns:a16="http://schemas.microsoft.com/office/drawing/2014/main" id="{B3C7BFFE-CCF7-4543-1497-F383934371F0}"/>
                    </a:ext>
                  </a:extLst>
                </p:cNvPr>
                <p:cNvSpPr/>
                <p:nvPr/>
              </p:nvSpPr>
              <p:spPr>
                <a:xfrm>
                  <a:off x="2613546" y="5394634"/>
                  <a:ext cx="236872" cy="588387"/>
                </a:xfrm>
                <a:custGeom>
                  <a:avLst/>
                  <a:gdLst>
                    <a:gd name="csX0" fmla="*/ 136028 w 236872"/>
                    <a:gd name="csY0" fmla="*/ 29389 h 588387"/>
                    <a:gd name="csX1" fmla="*/ 123318 w 236872"/>
                    <a:gd name="csY1" fmla="*/ 20681 h 588387"/>
                    <a:gd name="csX2" fmla="*/ 132762 w 236872"/>
                    <a:gd name="csY2" fmla="*/ 14502 h 588387"/>
                    <a:gd name="csX3" fmla="*/ 124759 w 236872"/>
                    <a:gd name="csY3" fmla="*/ 4354 h 588387"/>
                    <a:gd name="csX4" fmla="*/ 121494 w 236872"/>
                    <a:gd name="csY4" fmla="*/ 2529 h 588387"/>
                    <a:gd name="csX5" fmla="*/ 116435 w 236872"/>
                    <a:gd name="csY5" fmla="*/ 0 h 588387"/>
                    <a:gd name="csX6" fmla="*/ 104110 w 236872"/>
                    <a:gd name="csY6" fmla="*/ 10501 h 588387"/>
                    <a:gd name="csX7" fmla="*/ 105198 w 236872"/>
                    <a:gd name="csY7" fmla="*/ 17416 h 588387"/>
                    <a:gd name="csX8" fmla="*/ 106639 w 236872"/>
                    <a:gd name="csY8" fmla="*/ 31918 h 588387"/>
                    <a:gd name="csX9" fmla="*/ 102637 w 236872"/>
                    <a:gd name="csY9" fmla="*/ 42067 h 588387"/>
                    <a:gd name="csX10" fmla="*/ 108464 w 236872"/>
                    <a:gd name="csY10" fmla="*/ 52599 h 588387"/>
                    <a:gd name="csX11" fmla="*/ 108464 w 236872"/>
                    <a:gd name="csY11" fmla="*/ 59482 h 588387"/>
                    <a:gd name="csX12" fmla="*/ 90312 w 236872"/>
                    <a:gd name="csY12" fmla="*/ 69631 h 588387"/>
                    <a:gd name="csX13" fmla="*/ 92137 w 236872"/>
                    <a:gd name="csY13" fmla="*/ 76546 h 588387"/>
                    <a:gd name="csX14" fmla="*/ 64572 w 236872"/>
                    <a:gd name="csY14" fmla="*/ 77634 h 588387"/>
                    <a:gd name="csX15" fmla="*/ 62011 w 236872"/>
                    <a:gd name="csY15" fmla="*/ 81604 h 588387"/>
                    <a:gd name="csX16" fmla="*/ 71455 w 236872"/>
                    <a:gd name="csY16" fmla="*/ 87047 h 588387"/>
                    <a:gd name="csX17" fmla="*/ 68926 w 236872"/>
                    <a:gd name="csY17" fmla="*/ 93961 h 588387"/>
                    <a:gd name="csX18" fmla="*/ 79427 w 236872"/>
                    <a:gd name="csY18" fmla="*/ 92873 h 588387"/>
                    <a:gd name="csX19" fmla="*/ 81956 w 236872"/>
                    <a:gd name="csY19" fmla="*/ 117908 h 588387"/>
                    <a:gd name="csX20" fmla="*/ 73985 w 236872"/>
                    <a:gd name="csY20" fmla="*/ 122230 h 588387"/>
                    <a:gd name="csX21" fmla="*/ 66365 w 236872"/>
                    <a:gd name="csY21" fmla="*/ 117908 h 588387"/>
                    <a:gd name="csX22" fmla="*/ 57657 w 236872"/>
                    <a:gd name="csY22" fmla="*/ 129849 h 588387"/>
                    <a:gd name="csX23" fmla="*/ 50774 w 236872"/>
                    <a:gd name="csY23" fmla="*/ 119701 h 588387"/>
                    <a:gd name="csX24" fmla="*/ 44980 w 236872"/>
                    <a:gd name="csY24" fmla="*/ 122966 h 588387"/>
                    <a:gd name="csX25" fmla="*/ 43891 w 236872"/>
                    <a:gd name="csY25" fmla="*/ 136764 h 588387"/>
                    <a:gd name="csX26" fmla="*/ 58746 w 236872"/>
                    <a:gd name="csY26" fmla="*/ 147265 h 588387"/>
                    <a:gd name="csX27" fmla="*/ 73985 w 236872"/>
                    <a:gd name="csY27" fmla="*/ 147265 h 588387"/>
                    <a:gd name="csX28" fmla="*/ 85958 w 236872"/>
                    <a:gd name="csY28" fmla="*/ 141118 h 588387"/>
                    <a:gd name="csX29" fmla="*/ 92137 w 236872"/>
                    <a:gd name="csY29" fmla="*/ 143647 h 588387"/>
                    <a:gd name="csX30" fmla="*/ 92841 w 236872"/>
                    <a:gd name="csY30" fmla="*/ 158534 h 588387"/>
                    <a:gd name="csX31" fmla="*/ 78339 w 236872"/>
                    <a:gd name="csY31" fmla="*/ 169387 h 588387"/>
                    <a:gd name="csX32" fmla="*/ 72544 w 236872"/>
                    <a:gd name="csY32" fmla="*/ 186802 h 588387"/>
                    <a:gd name="csX33" fmla="*/ 63836 w 236872"/>
                    <a:gd name="csY33" fmla="*/ 193717 h 588387"/>
                    <a:gd name="csX34" fmla="*/ 54392 w 236872"/>
                    <a:gd name="csY34" fmla="*/ 186802 h 588387"/>
                    <a:gd name="csX35" fmla="*/ 40626 w 236872"/>
                    <a:gd name="csY35" fmla="*/ 188627 h 588387"/>
                    <a:gd name="csX36" fmla="*/ 32622 w 236872"/>
                    <a:gd name="csY36" fmla="*/ 206395 h 588387"/>
                    <a:gd name="csX37" fmla="*/ 18120 w 236872"/>
                    <a:gd name="csY37" fmla="*/ 204954 h 588387"/>
                    <a:gd name="csX38" fmla="*/ 16295 w 236872"/>
                    <a:gd name="csY38" fmla="*/ 210749 h 588387"/>
                    <a:gd name="csX39" fmla="*/ 10501 w 236872"/>
                    <a:gd name="csY39" fmla="*/ 224547 h 588387"/>
                    <a:gd name="csX40" fmla="*/ 29357 w 236872"/>
                    <a:gd name="csY40" fmla="*/ 225283 h 588387"/>
                    <a:gd name="csX41" fmla="*/ 31918 w 236872"/>
                    <a:gd name="csY41" fmla="*/ 231430 h 588387"/>
                    <a:gd name="csX42" fmla="*/ 23210 w 236872"/>
                    <a:gd name="csY42" fmla="*/ 247757 h 588387"/>
                    <a:gd name="csX43" fmla="*/ 3618 w 236872"/>
                    <a:gd name="csY43" fmla="*/ 252847 h 588387"/>
                    <a:gd name="csX44" fmla="*/ 25003 w 236872"/>
                    <a:gd name="csY44" fmla="*/ 263348 h 588387"/>
                    <a:gd name="csX45" fmla="*/ 43891 w 236872"/>
                    <a:gd name="csY45" fmla="*/ 269175 h 588387"/>
                    <a:gd name="csX46" fmla="*/ 43891 w 236872"/>
                    <a:gd name="csY46" fmla="*/ 272792 h 588387"/>
                    <a:gd name="csX47" fmla="*/ 36272 w 236872"/>
                    <a:gd name="csY47" fmla="*/ 284029 h 588387"/>
                    <a:gd name="csX48" fmla="*/ 30093 w 236872"/>
                    <a:gd name="csY48" fmla="*/ 285854 h 588387"/>
                    <a:gd name="csX49" fmla="*/ 29357 w 236872"/>
                    <a:gd name="csY49" fmla="*/ 296003 h 588387"/>
                    <a:gd name="csX50" fmla="*/ 25739 w 236872"/>
                    <a:gd name="csY50" fmla="*/ 307976 h 588387"/>
                    <a:gd name="csX51" fmla="*/ 6147 w 236872"/>
                    <a:gd name="csY51" fmla="*/ 339157 h 588387"/>
                    <a:gd name="csX52" fmla="*/ 0 w 236872"/>
                    <a:gd name="csY52" fmla="*/ 358046 h 588387"/>
                    <a:gd name="csX53" fmla="*/ 5058 w 236872"/>
                    <a:gd name="csY53" fmla="*/ 370019 h 588387"/>
                    <a:gd name="csX54" fmla="*/ 6147 w 236872"/>
                    <a:gd name="csY54" fmla="*/ 375077 h 588387"/>
                    <a:gd name="csX55" fmla="*/ 9412 w 236872"/>
                    <a:gd name="csY55" fmla="*/ 383785 h 588387"/>
                    <a:gd name="csX56" fmla="*/ 27564 w 236872"/>
                    <a:gd name="csY56" fmla="*/ 380167 h 588387"/>
                    <a:gd name="csX57" fmla="*/ 30093 w 236872"/>
                    <a:gd name="csY57" fmla="*/ 391404 h 588387"/>
                    <a:gd name="csX58" fmla="*/ 25003 w 236872"/>
                    <a:gd name="csY58" fmla="*/ 396494 h 588387"/>
                    <a:gd name="csX59" fmla="*/ 21738 w 236872"/>
                    <a:gd name="csY59" fmla="*/ 398287 h 588387"/>
                    <a:gd name="csX60" fmla="*/ 33711 w 236872"/>
                    <a:gd name="csY60" fmla="*/ 407731 h 588387"/>
                    <a:gd name="csX61" fmla="*/ 48245 w 236872"/>
                    <a:gd name="csY61" fmla="*/ 432767 h 588387"/>
                    <a:gd name="csX62" fmla="*/ 67102 w 236872"/>
                    <a:gd name="csY62" fmla="*/ 436384 h 588387"/>
                    <a:gd name="csX63" fmla="*/ 73985 w 236872"/>
                    <a:gd name="csY63" fmla="*/ 440386 h 588387"/>
                    <a:gd name="csX64" fmla="*/ 68926 w 236872"/>
                    <a:gd name="csY64" fmla="*/ 452711 h 588387"/>
                    <a:gd name="csX65" fmla="*/ 64572 w 236872"/>
                    <a:gd name="csY65" fmla="*/ 453448 h 588387"/>
                    <a:gd name="csX66" fmla="*/ 55865 w 236872"/>
                    <a:gd name="csY66" fmla="*/ 479187 h 588387"/>
                    <a:gd name="csX67" fmla="*/ 59482 w 236872"/>
                    <a:gd name="csY67" fmla="*/ 491160 h 588387"/>
                    <a:gd name="csX68" fmla="*/ 65661 w 236872"/>
                    <a:gd name="csY68" fmla="*/ 480275 h 588387"/>
                    <a:gd name="csX69" fmla="*/ 91400 w 236872"/>
                    <a:gd name="csY69" fmla="*/ 481748 h 588387"/>
                    <a:gd name="csX70" fmla="*/ 93929 w 236872"/>
                    <a:gd name="csY70" fmla="*/ 489720 h 588387"/>
                    <a:gd name="csX71" fmla="*/ 85958 w 236872"/>
                    <a:gd name="csY71" fmla="*/ 517284 h 588387"/>
                    <a:gd name="csX72" fmla="*/ 95754 w 236872"/>
                    <a:gd name="csY72" fmla="*/ 527432 h 588387"/>
                    <a:gd name="csX73" fmla="*/ 73280 w 236872"/>
                    <a:gd name="csY73" fmla="*/ 566265 h 588387"/>
                    <a:gd name="csX74" fmla="*/ 82692 w 236872"/>
                    <a:gd name="csY74" fmla="*/ 573148 h 588387"/>
                    <a:gd name="csX75" fmla="*/ 94666 w 236872"/>
                    <a:gd name="csY75" fmla="*/ 574589 h 588387"/>
                    <a:gd name="csX76" fmla="*/ 100844 w 236872"/>
                    <a:gd name="csY76" fmla="*/ 583297 h 588387"/>
                    <a:gd name="csX77" fmla="*/ 129113 w 236872"/>
                    <a:gd name="csY77" fmla="*/ 588387 h 588387"/>
                    <a:gd name="csX78" fmla="*/ 143647 w 236872"/>
                    <a:gd name="csY78" fmla="*/ 588387 h 588387"/>
                    <a:gd name="csX79" fmla="*/ 145440 w 236872"/>
                    <a:gd name="csY79" fmla="*/ 583297 h 588387"/>
                    <a:gd name="csX80" fmla="*/ 134203 w 236872"/>
                    <a:gd name="csY80" fmla="*/ 578239 h 588387"/>
                    <a:gd name="csX81" fmla="*/ 136028 w 236872"/>
                    <a:gd name="csY81" fmla="*/ 556821 h 588387"/>
                    <a:gd name="csX82" fmla="*/ 128409 w 236872"/>
                    <a:gd name="csY82" fmla="*/ 545584 h 588387"/>
                    <a:gd name="csX83" fmla="*/ 133467 w 236872"/>
                    <a:gd name="csY83" fmla="*/ 537613 h 588387"/>
                    <a:gd name="csX84" fmla="*/ 142175 w 236872"/>
                    <a:gd name="csY84" fmla="*/ 535052 h 588387"/>
                    <a:gd name="csX85" fmla="*/ 146528 w 236872"/>
                    <a:gd name="csY85" fmla="*/ 526728 h 588387"/>
                    <a:gd name="csX86" fmla="*/ 134203 w 236872"/>
                    <a:gd name="csY86" fmla="*/ 507487 h 588387"/>
                    <a:gd name="csX87" fmla="*/ 136732 w 236872"/>
                    <a:gd name="csY87" fmla="*/ 498075 h 588387"/>
                    <a:gd name="csX88" fmla="*/ 122230 w 236872"/>
                    <a:gd name="csY88" fmla="*/ 487191 h 588387"/>
                    <a:gd name="csX89" fmla="*/ 129113 w 236872"/>
                    <a:gd name="csY89" fmla="*/ 481012 h 588387"/>
                    <a:gd name="csX90" fmla="*/ 128409 w 236872"/>
                    <a:gd name="csY90" fmla="*/ 476658 h 588387"/>
                    <a:gd name="csX91" fmla="*/ 124759 w 236872"/>
                    <a:gd name="csY91" fmla="*/ 469038 h 588387"/>
                    <a:gd name="csX92" fmla="*/ 143647 w 236872"/>
                    <a:gd name="csY92" fmla="*/ 453448 h 588387"/>
                    <a:gd name="csX93" fmla="*/ 142175 w 236872"/>
                    <a:gd name="csY93" fmla="*/ 450887 h 588387"/>
                    <a:gd name="csX94" fmla="*/ 149090 w 236872"/>
                    <a:gd name="csY94" fmla="*/ 448358 h 588387"/>
                    <a:gd name="csX95" fmla="*/ 161767 w 236872"/>
                    <a:gd name="csY95" fmla="*/ 427677 h 588387"/>
                    <a:gd name="csX96" fmla="*/ 163592 w 236872"/>
                    <a:gd name="csY96" fmla="*/ 403378 h 588387"/>
                    <a:gd name="csX97" fmla="*/ 174829 w 236872"/>
                    <a:gd name="csY97" fmla="*/ 388875 h 588387"/>
                    <a:gd name="csX98" fmla="*/ 173740 w 236872"/>
                    <a:gd name="csY98" fmla="*/ 383081 h 588387"/>
                    <a:gd name="csX99" fmla="*/ 166121 w 236872"/>
                    <a:gd name="csY99" fmla="*/ 377638 h 588387"/>
                    <a:gd name="csX100" fmla="*/ 174829 w 236872"/>
                    <a:gd name="csY100" fmla="*/ 352955 h 588387"/>
                    <a:gd name="csX101" fmla="*/ 180656 w 236872"/>
                    <a:gd name="csY101" fmla="*/ 358750 h 588387"/>
                    <a:gd name="csX102" fmla="*/ 186802 w 236872"/>
                    <a:gd name="csY102" fmla="*/ 356221 h 588387"/>
                    <a:gd name="csX103" fmla="*/ 189331 w 236872"/>
                    <a:gd name="csY103" fmla="*/ 348601 h 588387"/>
                    <a:gd name="csX104" fmla="*/ 206747 w 236872"/>
                    <a:gd name="csY104" fmla="*/ 344248 h 588387"/>
                    <a:gd name="csX105" fmla="*/ 210012 w 236872"/>
                    <a:gd name="csY105" fmla="*/ 335540 h 588387"/>
                    <a:gd name="csX106" fmla="*/ 204218 w 236872"/>
                    <a:gd name="csY106" fmla="*/ 329393 h 588387"/>
                    <a:gd name="csX107" fmla="*/ 208220 w 236872"/>
                    <a:gd name="csY107" fmla="*/ 323567 h 588387"/>
                    <a:gd name="csX108" fmla="*/ 204218 w 236872"/>
                    <a:gd name="csY108" fmla="*/ 316684 h 588387"/>
                    <a:gd name="csX109" fmla="*/ 215103 w 236872"/>
                    <a:gd name="csY109" fmla="*/ 294178 h 588387"/>
                    <a:gd name="csX110" fmla="*/ 228164 w 236872"/>
                    <a:gd name="csY110" fmla="*/ 289824 h 588387"/>
                    <a:gd name="csX111" fmla="*/ 230694 w 236872"/>
                    <a:gd name="csY111" fmla="*/ 280412 h 588387"/>
                    <a:gd name="csX112" fmla="*/ 235048 w 236872"/>
                    <a:gd name="csY112" fmla="*/ 270967 h 588387"/>
                    <a:gd name="csX113" fmla="*/ 236872 w 236872"/>
                    <a:gd name="csY113" fmla="*/ 261555 h 588387"/>
                    <a:gd name="csX114" fmla="*/ 230694 w 236872"/>
                    <a:gd name="csY114" fmla="*/ 249582 h 588387"/>
                    <a:gd name="csX115" fmla="*/ 204954 w 236872"/>
                    <a:gd name="csY115" fmla="*/ 232166 h 588387"/>
                    <a:gd name="csX116" fmla="*/ 200600 w 236872"/>
                    <a:gd name="csY116" fmla="*/ 231430 h 588387"/>
                    <a:gd name="csX117" fmla="*/ 191156 w 236872"/>
                    <a:gd name="csY117" fmla="*/ 240138 h 588387"/>
                    <a:gd name="csX118" fmla="*/ 179919 w 236872"/>
                    <a:gd name="csY118" fmla="*/ 233255 h 588387"/>
                    <a:gd name="csX119" fmla="*/ 172300 w 236872"/>
                    <a:gd name="csY119" fmla="*/ 236520 h 588387"/>
                    <a:gd name="csX120" fmla="*/ 167210 w 236872"/>
                    <a:gd name="csY120" fmla="*/ 233959 h 588387"/>
                    <a:gd name="csX121" fmla="*/ 173740 w 236872"/>
                    <a:gd name="csY121" fmla="*/ 219457 h 588387"/>
                    <a:gd name="csX122" fmla="*/ 158502 w 236872"/>
                    <a:gd name="csY122" fmla="*/ 199512 h 588387"/>
                    <a:gd name="csX123" fmla="*/ 163592 w 236872"/>
                    <a:gd name="csY123" fmla="*/ 182448 h 588387"/>
                    <a:gd name="csX124" fmla="*/ 172300 w 236872"/>
                    <a:gd name="csY124" fmla="*/ 181744 h 588387"/>
                    <a:gd name="csX125" fmla="*/ 174829 w 236872"/>
                    <a:gd name="csY125" fmla="*/ 175566 h 588387"/>
                    <a:gd name="csX126" fmla="*/ 171211 w 236872"/>
                    <a:gd name="csY126" fmla="*/ 171211 h 588387"/>
                    <a:gd name="csX127" fmla="*/ 173740 w 236872"/>
                    <a:gd name="csY127" fmla="*/ 167946 h 588387"/>
                    <a:gd name="csX128" fmla="*/ 163592 w 236872"/>
                    <a:gd name="csY128" fmla="*/ 157445 h 588387"/>
                    <a:gd name="csX129" fmla="*/ 170475 w 236872"/>
                    <a:gd name="csY129" fmla="*/ 136028 h 588387"/>
                    <a:gd name="csX130" fmla="*/ 167210 w 236872"/>
                    <a:gd name="csY130" fmla="*/ 115347 h 588387"/>
                    <a:gd name="csX131" fmla="*/ 172300 w 236872"/>
                    <a:gd name="csY131" fmla="*/ 111729 h 588387"/>
                    <a:gd name="csX132" fmla="*/ 170475 w 236872"/>
                    <a:gd name="csY132" fmla="*/ 95402 h 588387"/>
                    <a:gd name="csX133" fmla="*/ 160327 w 236872"/>
                    <a:gd name="csY133" fmla="*/ 90312 h 588387"/>
                    <a:gd name="csX134" fmla="*/ 161767 w 236872"/>
                    <a:gd name="csY134" fmla="*/ 77634 h 588387"/>
                    <a:gd name="csX135" fmla="*/ 153444 w 236872"/>
                    <a:gd name="csY135" fmla="*/ 71456 h 588387"/>
                    <a:gd name="csX136" fmla="*/ 151619 w 236872"/>
                    <a:gd name="csY136" fmla="*/ 64573 h 588387"/>
                    <a:gd name="csX137" fmla="*/ 156709 w 236872"/>
                    <a:gd name="csY137" fmla="*/ 63836 h 588387"/>
                    <a:gd name="csX138" fmla="*/ 160327 w 236872"/>
                    <a:gd name="csY138" fmla="*/ 48982 h 588387"/>
                    <a:gd name="csX139" fmla="*/ 145440 w 236872"/>
                    <a:gd name="csY139" fmla="*/ 39537 h 588387"/>
                    <a:gd name="csX140" fmla="*/ 136028 w 236872"/>
                    <a:gd name="csY140" fmla="*/ 43155 h 588387"/>
                    <a:gd name="csX141" fmla="*/ 136028 w 236872"/>
                    <a:gd name="csY141" fmla="*/ 29389 h 58838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</a:cxnLst>
                  <a:rect l="l" t="t" r="r" b="b"/>
                  <a:pathLst>
                    <a:path w="236872" h="588387">
                      <a:moveTo>
                        <a:pt x="136028" y="29389"/>
                      </a:moveTo>
                      <a:lnTo>
                        <a:pt x="123318" y="20681"/>
                      </a:lnTo>
                      <a:lnTo>
                        <a:pt x="132762" y="14502"/>
                      </a:lnTo>
                      <a:lnTo>
                        <a:pt x="124759" y="4354"/>
                      </a:lnTo>
                      <a:lnTo>
                        <a:pt x="121494" y="2529"/>
                      </a:lnTo>
                      <a:lnTo>
                        <a:pt x="116435" y="0"/>
                      </a:lnTo>
                      <a:lnTo>
                        <a:pt x="104110" y="10501"/>
                      </a:lnTo>
                      <a:lnTo>
                        <a:pt x="105198" y="17416"/>
                      </a:lnTo>
                      <a:lnTo>
                        <a:pt x="106639" y="31918"/>
                      </a:lnTo>
                      <a:lnTo>
                        <a:pt x="102637" y="42067"/>
                      </a:lnTo>
                      <a:lnTo>
                        <a:pt x="108464" y="52599"/>
                      </a:lnTo>
                      <a:lnTo>
                        <a:pt x="108464" y="59482"/>
                      </a:lnTo>
                      <a:lnTo>
                        <a:pt x="90312" y="69631"/>
                      </a:lnTo>
                      <a:lnTo>
                        <a:pt x="92137" y="76546"/>
                      </a:lnTo>
                      <a:lnTo>
                        <a:pt x="64572" y="77634"/>
                      </a:lnTo>
                      <a:lnTo>
                        <a:pt x="62011" y="81604"/>
                      </a:lnTo>
                      <a:lnTo>
                        <a:pt x="71455" y="87047"/>
                      </a:lnTo>
                      <a:lnTo>
                        <a:pt x="68926" y="93961"/>
                      </a:lnTo>
                      <a:lnTo>
                        <a:pt x="79427" y="92873"/>
                      </a:lnTo>
                      <a:lnTo>
                        <a:pt x="81956" y="117908"/>
                      </a:lnTo>
                      <a:lnTo>
                        <a:pt x="73985" y="122230"/>
                      </a:lnTo>
                      <a:lnTo>
                        <a:pt x="66365" y="117908"/>
                      </a:lnTo>
                      <a:lnTo>
                        <a:pt x="57657" y="129849"/>
                      </a:lnTo>
                      <a:lnTo>
                        <a:pt x="50774" y="119701"/>
                      </a:lnTo>
                      <a:lnTo>
                        <a:pt x="44980" y="122966"/>
                      </a:lnTo>
                      <a:lnTo>
                        <a:pt x="43891" y="136764"/>
                      </a:lnTo>
                      <a:lnTo>
                        <a:pt x="58746" y="147265"/>
                      </a:lnTo>
                      <a:lnTo>
                        <a:pt x="73985" y="147265"/>
                      </a:lnTo>
                      <a:lnTo>
                        <a:pt x="85958" y="141118"/>
                      </a:lnTo>
                      <a:lnTo>
                        <a:pt x="92137" y="143647"/>
                      </a:lnTo>
                      <a:lnTo>
                        <a:pt x="92841" y="158534"/>
                      </a:lnTo>
                      <a:lnTo>
                        <a:pt x="78339" y="169387"/>
                      </a:lnTo>
                      <a:lnTo>
                        <a:pt x="72544" y="186802"/>
                      </a:lnTo>
                      <a:lnTo>
                        <a:pt x="63836" y="193717"/>
                      </a:lnTo>
                      <a:lnTo>
                        <a:pt x="54392" y="186802"/>
                      </a:lnTo>
                      <a:lnTo>
                        <a:pt x="40626" y="188627"/>
                      </a:lnTo>
                      <a:lnTo>
                        <a:pt x="32622" y="206395"/>
                      </a:lnTo>
                      <a:lnTo>
                        <a:pt x="18120" y="204954"/>
                      </a:lnTo>
                      <a:lnTo>
                        <a:pt x="16295" y="210749"/>
                      </a:lnTo>
                      <a:lnTo>
                        <a:pt x="10501" y="224547"/>
                      </a:lnTo>
                      <a:lnTo>
                        <a:pt x="29357" y="225283"/>
                      </a:lnTo>
                      <a:lnTo>
                        <a:pt x="31918" y="231430"/>
                      </a:lnTo>
                      <a:lnTo>
                        <a:pt x="23210" y="247757"/>
                      </a:lnTo>
                      <a:lnTo>
                        <a:pt x="3618" y="252847"/>
                      </a:lnTo>
                      <a:lnTo>
                        <a:pt x="25003" y="263348"/>
                      </a:lnTo>
                      <a:lnTo>
                        <a:pt x="43891" y="269175"/>
                      </a:lnTo>
                      <a:lnTo>
                        <a:pt x="43891" y="272792"/>
                      </a:lnTo>
                      <a:lnTo>
                        <a:pt x="36272" y="284029"/>
                      </a:lnTo>
                      <a:lnTo>
                        <a:pt x="30093" y="285854"/>
                      </a:lnTo>
                      <a:lnTo>
                        <a:pt x="29357" y="296003"/>
                      </a:lnTo>
                      <a:lnTo>
                        <a:pt x="25739" y="307976"/>
                      </a:lnTo>
                      <a:lnTo>
                        <a:pt x="6147" y="339157"/>
                      </a:lnTo>
                      <a:lnTo>
                        <a:pt x="0" y="358046"/>
                      </a:lnTo>
                      <a:lnTo>
                        <a:pt x="5058" y="370019"/>
                      </a:lnTo>
                      <a:lnTo>
                        <a:pt x="6147" y="375077"/>
                      </a:lnTo>
                      <a:lnTo>
                        <a:pt x="9412" y="383785"/>
                      </a:lnTo>
                      <a:lnTo>
                        <a:pt x="27564" y="380167"/>
                      </a:lnTo>
                      <a:lnTo>
                        <a:pt x="30093" y="391404"/>
                      </a:lnTo>
                      <a:lnTo>
                        <a:pt x="25003" y="396494"/>
                      </a:lnTo>
                      <a:lnTo>
                        <a:pt x="21738" y="398287"/>
                      </a:lnTo>
                      <a:lnTo>
                        <a:pt x="33711" y="407731"/>
                      </a:lnTo>
                      <a:lnTo>
                        <a:pt x="48245" y="432767"/>
                      </a:lnTo>
                      <a:lnTo>
                        <a:pt x="67102" y="436384"/>
                      </a:lnTo>
                      <a:lnTo>
                        <a:pt x="73985" y="440386"/>
                      </a:lnTo>
                      <a:lnTo>
                        <a:pt x="68926" y="452711"/>
                      </a:lnTo>
                      <a:lnTo>
                        <a:pt x="64572" y="453448"/>
                      </a:lnTo>
                      <a:lnTo>
                        <a:pt x="55865" y="479187"/>
                      </a:lnTo>
                      <a:lnTo>
                        <a:pt x="59482" y="491160"/>
                      </a:lnTo>
                      <a:lnTo>
                        <a:pt x="65661" y="480275"/>
                      </a:lnTo>
                      <a:lnTo>
                        <a:pt x="91400" y="481748"/>
                      </a:lnTo>
                      <a:lnTo>
                        <a:pt x="93929" y="489720"/>
                      </a:lnTo>
                      <a:lnTo>
                        <a:pt x="85958" y="517284"/>
                      </a:lnTo>
                      <a:lnTo>
                        <a:pt x="95754" y="527432"/>
                      </a:lnTo>
                      <a:lnTo>
                        <a:pt x="73280" y="566265"/>
                      </a:lnTo>
                      <a:lnTo>
                        <a:pt x="82692" y="573148"/>
                      </a:lnTo>
                      <a:lnTo>
                        <a:pt x="94666" y="574589"/>
                      </a:lnTo>
                      <a:lnTo>
                        <a:pt x="100844" y="583297"/>
                      </a:lnTo>
                      <a:lnTo>
                        <a:pt x="129113" y="588387"/>
                      </a:lnTo>
                      <a:lnTo>
                        <a:pt x="143647" y="588387"/>
                      </a:lnTo>
                      <a:lnTo>
                        <a:pt x="145440" y="583297"/>
                      </a:lnTo>
                      <a:lnTo>
                        <a:pt x="134203" y="578239"/>
                      </a:lnTo>
                      <a:lnTo>
                        <a:pt x="136028" y="556821"/>
                      </a:lnTo>
                      <a:lnTo>
                        <a:pt x="128409" y="545584"/>
                      </a:lnTo>
                      <a:lnTo>
                        <a:pt x="133467" y="537613"/>
                      </a:lnTo>
                      <a:lnTo>
                        <a:pt x="142175" y="535052"/>
                      </a:lnTo>
                      <a:lnTo>
                        <a:pt x="146528" y="526728"/>
                      </a:lnTo>
                      <a:lnTo>
                        <a:pt x="134203" y="507487"/>
                      </a:lnTo>
                      <a:lnTo>
                        <a:pt x="136732" y="498075"/>
                      </a:lnTo>
                      <a:lnTo>
                        <a:pt x="122230" y="487191"/>
                      </a:lnTo>
                      <a:lnTo>
                        <a:pt x="129113" y="481012"/>
                      </a:lnTo>
                      <a:lnTo>
                        <a:pt x="128409" y="476658"/>
                      </a:lnTo>
                      <a:lnTo>
                        <a:pt x="124759" y="469038"/>
                      </a:lnTo>
                      <a:lnTo>
                        <a:pt x="143647" y="453448"/>
                      </a:lnTo>
                      <a:lnTo>
                        <a:pt x="142175" y="450887"/>
                      </a:lnTo>
                      <a:lnTo>
                        <a:pt x="149090" y="448358"/>
                      </a:lnTo>
                      <a:lnTo>
                        <a:pt x="161767" y="427677"/>
                      </a:lnTo>
                      <a:lnTo>
                        <a:pt x="163592" y="403378"/>
                      </a:lnTo>
                      <a:lnTo>
                        <a:pt x="174829" y="388875"/>
                      </a:lnTo>
                      <a:lnTo>
                        <a:pt x="173740" y="383081"/>
                      </a:lnTo>
                      <a:lnTo>
                        <a:pt x="166121" y="377638"/>
                      </a:lnTo>
                      <a:lnTo>
                        <a:pt x="174829" y="352955"/>
                      </a:lnTo>
                      <a:lnTo>
                        <a:pt x="180656" y="358750"/>
                      </a:lnTo>
                      <a:lnTo>
                        <a:pt x="186802" y="356221"/>
                      </a:lnTo>
                      <a:lnTo>
                        <a:pt x="189331" y="348601"/>
                      </a:lnTo>
                      <a:lnTo>
                        <a:pt x="206747" y="344248"/>
                      </a:lnTo>
                      <a:lnTo>
                        <a:pt x="210012" y="335540"/>
                      </a:lnTo>
                      <a:lnTo>
                        <a:pt x="204218" y="329393"/>
                      </a:lnTo>
                      <a:lnTo>
                        <a:pt x="208220" y="323567"/>
                      </a:lnTo>
                      <a:lnTo>
                        <a:pt x="204218" y="316684"/>
                      </a:lnTo>
                      <a:lnTo>
                        <a:pt x="215103" y="294178"/>
                      </a:lnTo>
                      <a:lnTo>
                        <a:pt x="228164" y="289824"/>
                      </a:lnTo>
                      <a:lnTo>
                        <a:pt x="230694" y="280412"/>
                      </a:lnTo>
                      <a:lnTo>
                        <a:pt x="235048" y="270967"/>
                      </a:lnTo>
                      <a:lnTo>
                        <a:pt x="236872" y="261555"/>
                      </a:lnTo>
                      <a:lnTo>
                        <a:pt x="230694" y="249582"/>
                      </a:lnTo>
                      <a:lnTo>
                        <a:pt x="204954" y="232166"/>
                      </a:lnTo>
                      <a:lnTo>
                        <a:pt x="200600" y="231430"/>
                      </a:lnTo>
                      <a:lnTo>
                        <a:pt x="191156" y="240138"/>
                      </a:lnTo>
                      <a:lnTo>
                        <a:pt x="179919" y="233255"/>
                      </a:lnTo>
                      <a:lnTo>
                        <a:pt x="172300" y="236520"/>
                      </a:lnTo>
                      <a:lnTo>
                        <a:pt x="167210" y="233959"/>
                      </a:lnTo>
                      <a:lnTo>
                        <a:pt x="173740" y="219457"/>
                      </a:lnTo>
                      <a:lnTo>
                        <a:pt x="158502" y="199512"/>
                      </a:lnTo>
                      <a:lnTo>
                        <a:pt x="163592" y="182448"/>
                      </a:lnTo>
                      <a:lnTo>
                        <a:pt x="172300" y="181744"/>
                      </a:lnTo>
                      <a:lnTo>
                        <a:pt x="174829" y="175566"/>
                      </a:lnTo>
                      <a:lnTo>
                        <a:pt x="171211" y="171211"/>
                      </a:lnTo>
                      <a:lnTo>
                        <a:pt x="173740" y="167946"/>
                      </a:lnTo>
                      <a:lnTo>
                        <a:pt x="163592" y="157445"/>
                      </a:lnTo>
                      <a:lnTo>
                        <a:pt x="170475" y="136028"/>
                      </a:lnTo>
                      <a:lnTo>
                        <a:pt x="167210" y="115347"/>
                      </a:lnTo>
                      <a:lnTo>
                        <a:pt x="172300" y="111729"/>
                      </a:lnTo>
                      <a:lnTo>
                        <a:pt x="170475" y="95402"/>
                      </a:lnTo>
                      <a:lnTo>
                        <a:pt x="160327" y="90312"/>
                      </a:lnTo>
                      <a:lnTo>
                        <a:pt x="161767" y="77634"/>
                      </a:lnTo>
                      <a:lnTo>
                        <a:pt x="153444" y="71456"/>
                      </a:lnTo>
                      <a:lnTo>
                        <a:pt x="151619" y="64573"/>
                      </a:lnTo>
                      <a:lnTo>
                        <a:pt x="156709" y="63836"/>
                      </a:lnTo>
                      <a:lnTo>
                        <a:pt x="160327" y="48982"/>
                      </a:lnTo>
                      <a:lnTo>
                        <a:pt x="145440" y="39537"/>
                      </a:lnTo>
                      <a:lnTo>
                        <a:pt x="136028" y="43155"/>
                      </a:lnTo>
                      <a:lnTo>
                        <a:pt x="136028" y="2938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3" name="Forma Livre: Forma 402">
                  <a:extLst>
                    <a:ext uri="{FF2B5EF4-FFF2-40B4-BE49-F238E27FC236}">
                      <a16:creationId xmlns:a16="http://schemas.microsoft.com/office/drawing/2014/main" id="{530792C2-2B94-5EF0-5B60-221F8AF22E60}"/>
                    </a:ext>
                  </a:extLst>
                </p:cNvPr>
                <p:cNvSpPr/>
                <p:nvPr/>
              </p:nvSpPr>
              <p:spPr>
                <a:xfrm>
                  <a:off x="2613546" y="5394634"/>
                  <a:ext cx="236872" cy="588387"/>
                </a:xfrm>
                <a:custGeom>
                  <a:avLst/>
                  <a:gdLst>
                    <a:gd name="csX0" fmla="*/ 136028 w 236872"/>
                    <a:gd name="csY0" fmla="*/ 29389 h 588387"/>
                    <a:gd name="csX1" fmla="*/ 123318 w 236872"/>
                    <a:gd name="csY1" fmla="*/ 20681 h 588387"/>
                    <a:gd name="csX2" fmla="*/ 132762 w 236872"/>
                    <a:gd name="csY2" fmla="*/ 14502 h 588387"/>
                    <a:gd name="csX3" fmla="*/ 124759 w 236872"/>
                    <a:gd name="csY3" fmla="*/ 4354 h 588387"/>
                    <a:gd name="csX4" fmla="*/ 121494 w 236872"/>
                    <a:gd name="csY4" fmla="*/ 2529 h 588387"/>
                    <a:gd name="csX5" fmla="*/ 116435 w 236872"/>
                    <a:gd name="csY5" fmla="*/ 0 h 588387"/>
                    <a:gd name="csX6" fmla="*/ 104110 w 236872"/>
                    <a:gd name="csY6" fmla="*/ 10501 h 588387"/>
                    <a:gd name="csX7" fmla="*/ 105198 w 236872"/>
                    <a:gd name="csY7" fmla="*/ 17416 h 588387"/>
                    <a:gd name="csX8" fmla="*/ 106639 w 236872"/>
                    <a:gd name="csY8" fmla="*/ 31918 h 588387"/>
                    <a:gd name="csX9" fmla="*/ 102637 w 236872"/>
                    <a:gd name="csY9" fmla="*/ 42067 h 588387"/>
                    <a:gd name="csX10" fmla="*/ 108464 w 236872"/>
                    <a:gd name="csY10" fmla="*/ 52599 h 588387"/>
                    <a:gd name="csX11" fmla="*/ 108464 w 236872"/>
                    <a:gd name="csY11" fmla="*/ 59482 h 588387"/>
                    <a:gd name="csX12" fmla="*/ 90312 w 236872"/>
                    <a:gd name="csY12" fmla="*/ 69631 h 588387"/>
                    <a:gd name="csX13" fmla="*/ 92137 w 236872"/>
                    <a:gd name="csY13" fmla="*/ 76546 h 588387"/>
                    <a:gd name="csX14" fmla="*/ 64572 w 236872"/>
                    <a:gd name="csY14" fmla="*/ 77634 h 588387"/>
                    <a:gd name="csX15" fmla="*/ 62011 w 236872"/>
                    <a:gd name="csY15" fmla="*/ 81604 h 588387"/>
                    <a:gd name="csX16" fmla="*/ 71455 w 236872"/>
                    <a:gd name="csY16" fmla="*/ 87047 h 588387"/>
                    <a:gd name="csX17" fmla="*/ 68926 w 236872"/>
                    <a:gd name="csY17" fmla="*/ 93961 h 588387"/>
                    <a:gd name="csX18" fmla="*/ 79427 w 236872"/>
                    <a:gd name="csY18" fmla="*/ 92873 h 588387"/>
                    <a:gd name="csX19" fmla="*/ 81956 w 236872"/>
                    <a:gd name="csY19" fmla="*/ 117908 h 588387"/>
                    <a:gd name="csX20" fmla="*/ 73985 w 236872"/>
                    <a:gd name="csY20" fmla="*/ 122230 h 588387"/>
                    <a:gd name="csX21" fmla="*/ 66365 w 236872"/>
                    <a:gd name="csY21" fmla="*/ 117908 h 588387"/>
                    <a:gd name="csX22" fmla="*/ 57657 w 236872"/>
                    <a:gd name="csY22" fmla="*/ 129849 h 588387"/>
                    <a:gd name="csX23" fmla="*/ 50774 w 236872"/>
                    <a:gd name="csY23" fmla="*/ 119701 h 588387"/>
                    <a:gd name="csX24" fmla="*/ 44980 w 236872"/>
                    <a:gd name="csY24" fmla="*/ 122966 h 588387"/>
                    <a:gd name="csX25" fmla="*/ 43891 w 236872"/>
                    <a:gd name="csY25" fmla="*/ 136764 h 588387"/>
                    <a:gd name="csX26" fmla="*/ 58746 w 236872"/>
                    <a:gd name="csY26" fmla="*/ 147265 h 588387"/>
                    <a:gd name="csX27" fmla="*/ 73985 w 236872"/>
                    <a:gd name="csY27" fmla="*/ 147265 h 588387"/>
                    <a:gd name="csX28" fmla="*/ 85958 w 236872"/>
                    <a:gd name="csY28" fmla="*/ 141118 h 588387"/>
                    <a:gd name="csX29" fmla="*/ 92137 w 236872"/>
                    <a:gd name="csY29" fmla="*/ 143647 h 588387"/>
                    <a:gd name="csX30" fmla="*/ 92841 w 236872"/>
                    <a:gd name="csY30" fmla="*/ 158534 h 588387"/>
                    <a:gd name="csX31" fmla="*/ 78339 w 236872"/>
                    <a:gd name="csY31" fmla="*/ 169387 h 588387"/>
                    <a:gd name="csX32" fmla="*/ 72544 w 236872"/>
                    <a:gd name="csY32" fmla="*/ 186802 h 588387"/>
                    <a:gd name="csX33" fmla="*/ 63836 w 236872"/>
                    <a:gd name="csY33" fmla="*/ 193717 h 588387"/>
                    <a:gd name="csX34" fmla="*/ 54392 w 236872"/>
                    <a:gd name="csY34" fmla="*/ 186802 h 588387"/>
                    <a:gd name="csX35" fmla="*/ 40626 w 236872"/>
                    <a:gd name="csY35" fmla="*/ 188627 h 588387"/>
                    <a:gd name="csX36" fmla="*/ 32622 w 236872"/>
                    <a:gd name="csY36" fmla="*/ 206395 h 588387"/>
                    <a:gd name="csX37" fmla="*/ 18120 w 236872"/>
                    <a:gd name="csY37" fmla="*/ 204954 h 588387"/>
                    <a:gd name="csX38" fmla="*/ 16295 w 236872"/>
                    <a:gd name="csY38" fmla="*/ 210749 h 588387"/>
                    <a:gd name="csX39" fmla="*/ 10501 w 236872"/>
                    <a:gd name="csY39" fmla="*/ 224547 h 588387"/>
                    <a:gd name="csX40" fmla="*/ 29357 w 236872"/>
                    <a:gd name="csY40" fmla="*/ 225283 h 588387"/>
                    <a:gd name="csX41" fmla="*/ 31918 w 236872"/>
                    <a:gd name="csY41" fmla="*/ 231430 h 588387"/>
                    <a:gd name="csX42" fmla="*/ 23210 w 236872"/>
                    <a:gd name="csY42" fmla="*/ 247757 h 588387"/>
                    <a:gd name="csX43" fmla="*/ 3618 w 236872"/>
                    <a:gd name="csY43" fmla="*/ 252847 h 588387"/>
                    <a:gd name="csX44" fmla="*/ 25003 w 236872"/>
                    <a:gd name="csY44" fmla="*/ 263348 h 588387"/>
                    <a:gd name="csX45" fmla="*/ 43891 w 236872"/>
                    <a:gd name="csY45" fmla="*/ 269175 h 588387"/>
                    <a:gd name="csX46" fmla="*/ 43891 w 236872"/>
                    <a:gd name="csY46" fmla="*/ 272792 h 588387"/>
                    <a:gd name="csX47" fmla="*/ 36272 w 236872"/>
                    <a:gd name="csY47" fmla="*/ 284029 h 588387"/>
                    <a:gd name="csX48" fmla="*/ 30093 w 236872"/>
                    <a:gd name="csY48" fmla="*/ 285854 h 588387"/>
                    <a:gd name="csX49" fmla="*/ 29357 w 236872"/>
                    <a:gd name="csY49" fmla="*/ 296003 h 588387"/>
                    <a:gd name="csX50" fmla="*/ 25739 w 236872"/>
                    <a:gd name="csY50" fmla="*/ 307976 h 588387"/>
                    <a:gd name="csX51" fmla="*/ 6147 w 236872"/>
                    <a:gd name="csY51" fmla="*/ 339157 h 588387"/>
                    <a:gd name="csX52" fmla="*/ 0 w 236872"/>
                    <a:gd name="csY52" fmla="*/ 358046 h 588387"/>
                    <a:gd name="csX53" fmla="*/ 5058 w 236872"/>
                    <a:gd name="csY53" fmla="*/ 370019 h 588387"/>
                    <a:gd name="csX54" fmla="*/ 6147 w 236872"/>
                    <a:gd name="csY54" fmla="*/ 375077 h 588387"/>
                    <a:gd name="csX55" fmla="*/ 9412 w 236872"/>
                    <a:gd name="csY55" fmla="*/ 383785 h 588387"/>
                    <a:gd name="csX56" fmla="*/ 27564 w 236872"/>
                    <a:gd name="csY56" fmla="*/ 380167 h 588387"/>
                    <a:gd name="csX57" fmla="*/ 30093 w 236872"/>
                    <a:gd name="csY57" fmla="*/ 391404 h 588387"/>
                    <a:gd name="csX58" fmla="*/ 25003 w 236872"/>
                    <a:gd name="csY58" fmla="*/ 396494 h 588387"/>
                    <a:gd name="csX59" fmla="*/ 21738 w 236872"/>
                    <a:gd name="csY59" fmla="*/ 398287 h 588387"/>
                    <a:gd name="csX60" fmla="*/ 33711 w 236872"/>
                    <a:gd name="csY60" fmla="*/ 407731 h 588387"/>
                    <a:gd name="csX61" fmla="*/ 48245 w 236872"/>
                    <a:gd name="csY61" fmla="*/ 432767 h 588387"/>
                    <a:gd name="csX62" fmla="*/ 67102 w 236872"/>
                    <a:gd name="csY62" fmla="*/ 436384 h 588387"/>
                    <a:gd name="csX63" fmla="*/ 73985 w 236872"/>
                    <a:gd name="csY63" fmla="*/ 440386 h 588387"/>
                    <a:gd name="csX64" fmla="*/ 68926 w 236872"/>
                    <a:gd name="csY64" fmla="*/ 452711 h 588387"/>
                    <a:gd name="csX65" fmla="*/ 64572 w 236872"/>
                    <a:gd name="csY65" fmla="*/ 453448 h 588387"/>
                    <a:gd name="csX66" fmla="*/ 55865 w 236872"/>
                    <a:gd name="csY66" fmla="*/ 479187 h 588387"/>
                    <a:gd name="csX67" fmla="*/ 59482 w 236872"/>
                    <a:gd name="csY67" fmla="*/ 491160 h 588387"/>
                    <a:gd name="csX68" fmla="*/ 65661 w 236872"/>
                    <a:gd name="csY68" fmla="*/ 480275 h 588387"/>
                    <a:gd name="csX69" fmla="*/ 91400 w 236872"/>
                    <a:gd name="csY69" fmla="*/ 481748 h 588387"/>
                    <a:gd name="csX70" fmla="*/ 93929 w 236872"/>
                    <a:gd name="csY70" fmla="*/ 489720 h 588387"/>
                    <a:gd name="csX71" fmla="*/ 85958 w 236872"/>
                    <a:gd name="csY71" fmla="*/ 517284 h 588387"/>
                    <a:gd name="csX72" fmla="*/ 95754 w 236872"/>
                    <a:gd name="csY72" fmla="*/ 527432 h 588387"/>
                    <a:gd name="csX73" fmla="*/ 73280 w 236872"/>
                    <a:gd name="csY73" fmla="*/ 566265 h 588387"/>
                    <a:gd name="csX74" fmla="*/ 82692 w 236872"/>
                    <a:gd name="csY74" fmla="*/ 573148 h 588387"/>
                    <a:gd name="csX75" fmla="*/ 94666 w 236872"/>
                    <a:gd name="csY75" fmla="*/ 574589 h 588387"/>
                    <a:gd name="csX76" fmla="*/ 100844 w 236872"/>
                    <a:gd name="csY76" fmla="*/ 583297 h 588387"/>
                    <a:gd name="csX77" fmla="*/ 129113 w 236872"/>
                    <a:gd name="csY77" fmla="*/ 588387 h 588387"/>
                    <a:gd name="csX78" fmla="*/ 143647 w 236872"/>
                    <a:gd name="csY78" fmla="*/ 588387 h 588387"/>
                    <a:gd name="csX79" fmla="*/ 145440 w 236872"/>
                    <a:gd name="csY79" fmla="*/ 583297 h 588387"/>
                    <a:gd name="csX80" fmla="*/ 134203 w 236872"/>
                    <a:gd name="csY80" fmla="*/ 578239 h 588387"/>
                    <a:gd name="csX81" fmla="*/ 136028 w 236872"/>
                    <a:gd name="csY81" fmla="*/ 556821 h 588387"/>
                    <a:gd name="csX82" fmla="*/ 128409 w 236872"/>
                    <a:gd name="csY82" fmla="*/ 545584 h 588387"/>
                    <a:gd name="csX83" fmla="*/ 133467 w 236872"/>
                    <a:gd name="csY83" fmla="*/ 537613 h 588387"/>
                    <a:gd name="csX84" fmla="*/ 142175 w 236872"/>
                    <a:gd name="csY84" fmla="*/ 535052 h 588387"/>
                    <a:gd name="csX85" fmla="*/ 146528 w 236872"/>
                    <a:gd name="csY85" fmla="*/ 526728 h 588387"/>
                    <a:gd name="csX86" fmla="*/ 134203 w 236872"/>
                    <a:gd name="csY86" fmla="*/ 507487 h 588387"/>
                    <a:gd name="csX87" fmla="*/ 136732 w 236872"/>
                    <a:gd name="csY87" fmla="*/ 498075 h 588387"/>
                    <a:gd name="csX88" fmla="*/ 122230 w 236872"/>
                    <a:gd name="csY88" fmla="*/ 487191 h 588387"/>
                    <a:gd name="csX89" fmla="*/ 129113 w 236872"/>
                    <a:gd name="csY89" fmla="*/ 481012 h 588387"/>
                    <a:gd name="csX90" fmla="*/ 128409 w 236872"/>
                    <a:gd name="csY90" fmla="*/ 476658 h 588387"/>
                    <a:gd name="csX91" fmla="*/ 124759 w 236872"/>
                    <a:gd name="csY91" fmla="*/ 469038 h 588387"/>
                    <a:gd name="csX92" fmla="*/ 143647 w 236872"/>
                    <a:gd name="csY92" fmla="*/ 453448 h 588387"/>
                    <a:gd name="csX93" fmla="*/ 142175 w 236872"/>
                    <a:gd name="csY93" fmla="*/ 450887 h 588387"/>
                    <a:gd name="csX94" fmla="*/ 149090 w 236872"/>
                    <a:gd name="csY94" fmla="*/ 448358 h 588387"/>
                    <a:gd name="csX95" fmla="*/ 161767 w 236872"/>
                    <a:gd name="csY95" fmla="*/ 427677 h 588387"/>
                    <a:gd name="csX96" fmla="*/ 163592 w 236872"/>
                    <a:gd name="csY96" fmla="*/ 403378 h 588387"/>
                    <a:gd name="csX97" fmla="*/ 174829 w 236872"/>
                    <a:gd name="csY97" fmla="*/ 388875 h 588387"/>
                    <a:gd name="csX98" fmla="*/ 173740 w 236872"/>
                    <a:gd name="csY98" fmla="*/ 383081 h 588387"/>
                    <a:gd name="csX99" fmla="*/ 166121 w 236872"/>
                    <a:gd name="csY99" fmla="*/ 377638 h 588387"/>
                    <a:gd name="csX100" fmla="*/ 174829 w 236872"/>
                    <a:gd name="csY100" fmla="*/ 352955 h 588387"/>
                    <a:gd name="csX101" fmla="*/ 180656 w 236872"/>
                    <a:gd name="csY101" fmla="*/ 358750 h 588387"/>
                    <a:gd name="csX102" fmla="*/ 186802 w 236872"/>
                    <a:gd name="csY102" fmla="*/ 356221 h 588387"/>
                    <a:gd name="csX103" fmla="*/ 189331 w 236872"/>
                    <a:gd name="csY103" fmla="*/ 348601 h 588387"/>
                    <a:gd name="csX104" fmla="*/ 206747 w 236872"/>
                    <a:gd name="csY104" fmla="*/ 344248 h 588387"/>
                    <a:gd name="csX105" fmla="*/ 210012 w 236872"/>
                    <a:gd name="csY105" fmla="*/ 335540 h 588387"/>
                    <a:gd name="csX106" fmla="*/ 204218 w 236872"/>
                    <a:gd name="csY106" fmla="*/ 329393 h 588387"/>
                    <a:gd name="csX107" fmla="*/ 208220 w 236872"/>
                    <a:gd name="csY107" fmla="*/ 323567 h 588387"/>
                    <a:gd name="csX108" fmla="*/ 204218 w 236872"/>
                    <a:gd name="csY108" fmla="*/ 316684 h 588387"/>
                    <a:gd name="csX109" fmla="*/ 215103 w 236872"/>
                    <a:gd name="csY109" fmla="*/ 294178 h 588387"/>
                    <a:gd name="csX110" fmla="*/ 228164 w 236872"/>
                    <a:gd name="csY110" fmla="*/ 289824 h 588387"/>
                    <a:gd name="csX111" fmla="*/ 230694 w 236872"/>
                    <a:gd name="csY111" fmla="*/ 280412 h 588387"/>
                    <a:gd name="csX112" fmla="*/ 235048 w 236872"/>
                    <a:gd name="csY112" fmla="*/ 270967 h 588387"/>
                    <a:gd name="csX113" fmla="*/ 236872 w 236872"/>
                    <a:gd name="csY113" fmla="*/ 261555 h 588387"/>
                    <a:gd name="csX114" fmla="*/ 230694 w 236872"/>
                    <a:gd name="csY114" fmla="*/ 249582 h 588387"/>
                    <a:gd name="csX115" fmla="*/ 204954 w 236872"/>
                    <a:gd name="csY115" fmla="*/ 232166 h 588387"/>
                    <a:gd name="csX116" fmla="*/ 200600 w 236872"/>
                    <a:gd name="csY116" fmla="*/ 231430 h 588387"/>
                    <a:gd name="csX117" fmla="*/ 191156 w 236872"/>
                    <a:gd name="csY117" fmla="*/ 240138 h 588387"/>
                    <a:gd name="csX118" fmla="*/ 179919 w 236872"/>
                    <a:gd name="csY118" fmla="*/ 233255 h 588387"/>
                    <a:gd name="csX119" fmla="*/ 172300 w 236872"/>
                    <a:gd name="csY119" fmla="*/ 236520 h 588387"/>
                    <a:gd name="csX120" fmla="*/ 167210 w 236872"/>
                    <a:gd name="csY120" fmla="*/ 233959 h 588387"/>
                    <a:gd name="csX121" fmla="*/ 173740 w 236872"/>
                    <a:gd name="csY121" fmla="*/ 219457 h 588387"/>
                    <a:gd name="csX122" fmla="*/ 158502 w 236872"/>
                    <a:gd name="csY122" fmla="*/ 199512 h 588387"/>
                    <a:gd name="csX123" fmla="*/ 163592 w 236872"/>
                    <a:gd name="csY123" fmla="*/ 182448 h 588387"/>
                    <a:gd name="csX124" fmla="*/ 172300 w 236872"/>
                    <a:gd name="csY124" fmla="*/ 181744 h 588387"/>
                    <a:gd name="csX125" fmla="*/ 174829 w 236872"/>
                    <a:gd name="csY125" fmla="*/ 175566 h 588387"/>
                    <a:gd name="csX126" fmla="*/ 171211 w 236872"/>
                    <a:gd name="csY126" fmla="*/ 171211 h 588387"/>
                    <a:gd name="csX127" fmla="*/ 173740 w 236872"/>
                    <a:gd name="csY127" fmla="*/ 167946 h 588387"/>
                    <a:gd name="csX128" fmla="*/ 163592 w 236872"/>
                    <a:gd name="csY128" fmla="*/ 157445 h 588387"/>
                    <a:gd name="csX129" fmla="*/ 170475 w 236872"/>
                    <a:gd name="csY129" fmla="*/ 136028 h 588387"/>
                    <a:gd name="csX130" fmla="*/ 167210 w 236872"/>
                    <a:gd name="csY130" fmla="*/ 115347 h 588387"/>
                    <a:gd name="csX131" fmla="*/ 172300 w 236872"/>
                    <a:gd name="csY131" fmla="*/ 111729 h 588387"/>
                    <a:gd name="csX132" fmla="*/ 170475 w 236872"/>
                    <a:gd name="csY132" fmla="*/ 95402 h 588387"/>
                    <a:gd name="csX133" fmla="*/ 160327 w 236872"/>
                    <a:gd name="csY133" fmla="*/ 90312 h 588387"/>
                    <a:gd name="csX134" fmla="*/ 161767 w 236872"/>
                    <a:gd name="csY134" fmla="*/ 77634 h 588387"/>
                    <a:gd name="csX135" fmla="*/ 153444 w 236872"/>
                    <a:gd name="csY135" fmla="*/ 71456 h 588387"/>
                    <a:gd name="csX136" fmla="*/ 151619 w 236872"/>
                    <a:gd name="csY136" fmla="*/ 64573 h 588387"/>
                    <a:gd name="csX137" fmla="*/ 156709 w 236872"/>
                    <a:gd name="csY137" fmla="*/ 63836 h 588387"/>
                    <a:gd name="csX138" fmla="*/ 160327 w 236872"/>
                    <a:gd name="csY138" fmla="*/ 48982 h 588387"/>
                    <a:gd name="csX139" fmla="*/ 145440 w 236872"/>
                    <a:gd name="csY139" fmla="*/ 39537 h 588387"/>
                    <a:gd name="csX140" fmla="*/ 136028 w 236872"/>
                    <a:gd name="csY140" fmla="*/ 43155 h 588387"/>
                    <a:gd name="csX141" fmla="*/ 136028 w 236872"/>
                    <a:gd name="csY141" fmla="*/ 29389 h 58838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</a:cxnLst>
                  <a:rect l="l" t="t" r="r" b="b"/>
                  <a:pathLst>
                    <a:path w="236872" h="588387">
                      <a:moveTo>
                        <a:pt x="136028" y="29389"/>
                      </a:moveTo>
                      <a:lnTo>
                        <a:pt x="123318" y="20681"/>
                      </a:lnTo>
                      <a:lnTo>
                        <a:pt x="132762" y="14502"/>
                      </a:lnTo>
                      <a:lnTo>
                        <a:pt x="124759" y="4354"/>
                      </a:lnTo>
                      <a:lnTo>
                        <a:pt x="121494" y="2529"/>
                      </a:lnTo>
                      <a:lnTo>
                        <a:pt x="116435" y="0"/>
                      </a:lnTo>
                      <a:lnTo>
                        <a:pt x="104110" y="10501"/>
                      </a:lnTo>
                      <a:lnTo>
                        <a:pt x="105198" y="17416"/>
                      </a:lnTo>
                      <a:lnTo>
                        <a:pt x="106639" y="31918"/>
                      </a:lnTo>
                      <a:lnTo>
                        <a:pt x="102637" y="42067"/>
                      </a:lnTo>
                      <a:lnTo>
                        <a:pt x="108464" y="52599"/>
                      </a:lnTo>
                      <a:lnTo>
                        <a:pt x="108464" y="59482"/>
                      </a:lnTo>
                      <a:lnTo>
                        <a:pt x="90312" y="69631"/>
                      </a:lnTo>
                      <a:lnTo>
                        <a:pt x="92137" y="76546"/>
                      </a:lnTo>
                      <a:lnTo>
                        <a:pt x="64572" y="77634"/>
                      </a:lnTo>
                      <a:lnTo>
                        <a:pt x="62011" y="81604"/>
                      </a:lnTo>
                      <a:lnTo>
                        <a:pt x="71455" y="87047"/>
                      </a:lnTo>
                      <a:lnTo>
                        <a:pt x="68926" y="93961"/>
                      </a:lnTo>
                      <a:lnTo>
                        <a:pt x="79427" y="92873"/>
                      </a:lnTo>
                      <a:lnTo>
                        <a:pt x="81956" y="117908"/>
                      </a:lnTo>
                      <a:lnTo>
                        <a:pt x="73985" y="122230"/>
                      </a:lnTo>
                      <a:lnTo>
                        <a:pt x="66365" y="117908"/>
                      </a:lnTo>
                      <a:lnTo>
                        <a:pt x="57657" y="129849"/>
                      </a:lnTo>
                      <a:lnTo>
                        <a:pt x="50774" y="119701"/>
                      </a:lnTo>
                      <a:lnTo>
                        <a:pt x="44980" y="122966"/>
                      </a:lnTo>
                      <a:lnTo>
                        <a:pt x="43891" y="136764"/>
                      </a:lnTo>
                      <a:lnTo>
                        <a:pt x="58746" y="147265"/>
                      </a:lnTo>
                      <a:lnTo>
                        <a:pt x="73985" y="147265"/>
                      </a:lnTo>
                      <a:lnTo>
                        <a:pt x="85958" y="141118"/>
                      </a:lnTo>
                      <a:lnTo>
                        <a:pt x="92137" y="143647"/>
                      </a:lnTo>
                      <a:lnTo>
                        <a:pt x="92841" y="158534"/>
                      </a:lnTo>
                      <a:lnTo>
                        <a:pt x="78339" y="169387"/>
                      </a:lnTo>
                      <a:lnTo>
                        <a:pt x="72544" y="186802"/>
                      </a:lnTo>
                      <a:lnTo>
                        <a:pt x="63836" y="193717"/>
                      </a:lnTo>
                      <a:lnTo>
                        <a:pt x="54392" y="186802"/>
                      </a:lnTo>
                      <a:lnTo>
                        <a:pt x="40626" y="188627"/>
                      </a:lnTo>
                      <a:lnTo>
                        <a:pt x="32622" y="206395"/>
                      </a:lnTo>
                      <a:lnTo>
                        <a:pt x="18120" y="204954"/>
                      </a:lnTo>
                      <a:lnTo>
                        <a:pt x="16295" y="210749"/>
                      </a:lnTo>
                      <a:lnTo>
                        <a:pt x="10501" y="224547"/>
                      </a:lnTo>
                      <a:lnTo>
                        <a:pt x="29357" y="225283"/>
                      </a:lnTo>
                      <a:lnTo>
                        <a:pt x="31918" y="231430"/>
                      </a:lnTo>
                      <a:lnTo>
                        <a:pt x="23210" y="247757"/>
                      </a:lnTo>
                      <a:lnTo>
                        <a:pt x="3618" y="252847"/>
                      </a:lnTo>
                      <a:lnTo>
                        <a:pt x="25003" y="263348"/>
                      </a:lnTo>
                      <a:lnTo>
                        <a:pt x="43891" y="269175"/>
                      </a:lnTo>
                      <a:lnTo>
                        <a:pt x="43891" y="272792"/>
                      </a:lnTo>
                      <a:lnTo>
                        <a:pt x="36272" y="284029"/>
                      </a:lnTo>
                      <a:lnTo>
                        <a:pt x="30093" y="285854"/>
                      </a:lnTo>
                      <a:lnTo>
                        <a:pt x="29357" y="296003"/>
                      </a:lnTo>
                      <a:lnTo>
                        <a:pt x="25739" y="307976"/>
                      </a:lnTo>
                      <a:lnTo>
                        <a:pt x="6147" y="339157"/>
                      </a:lnTo>
                      <a:lnTo>
                        <a:pt x="0" y="358046"/>
                      </a:lnTo>
                      <a:lnTo>
                        <a:pt x="5058" y="370019"/>
                      </a:lnTo>
                      <a:lnTo>
                        <a:pt x="6147" y="375077"/>
                      </a:lnTo>
                      <a:lnTo>
                        <a:pt x="9412" y="383785"/>
                      </a:lnTo>
                      <a:lnTo>
                        <a:pt x="27564" y="380167"/>
                      </a:lnTo>
                      <a:lnTo>
                        <a:pt x="30093" y="391404"/>
                      </a:lnTo>
                      <a:lnTo>
                        <a:pt x="25003" y="396494"/>
                      </a:lnTo>
                      <a:lnTo>
                        <a:pt x="21738" y="398287"/>
                      </a:lnTo>
                      <a:lnTo>
                        <a:pt x="33711" y="407731"/>
                      </a:lnTo>
                      <a:lnTo>
                        <a:pt x="48245" y="432767"/>
                      </a:lnTo>
                      <a:lnTo>
                        <a:pt x="67102" y="436384"/>
                      </a:lnTo>
                      <a:lnTo>
                        <a:pt x="73985" y="440386"/>
                      </a:lnTo>
                      <a:lnTo>
                        <a:pt x="68926" y="452711"/>
                      </a:lnTo>
                      <a:lnTo>
                        <a:pt x="64572" y="453448"/>
                      </a:lnTo>
                      <a:lnTo>
                        <a:pt x="55865" y="479187"/>
                      </a:lnTo>
                      <a:lnTo>
                        <a:pt x="59482" y="491160"/>
                      </a:lnTo>
                      <a:lnTo>
                        <a:pt x="65661" y="480275"/>
                      </a:lnTo>
                      <a:lnTo>
                        <a:pt x="91400" y="481748"/>
                      </a:lnTo>
                      <a:lnTo>
                        <a:pt x="93929" y="489720"/>
                      </a:lnTo>
                      <a:lnTo>
                        <a:pt x="85958" y="517284"/>
                      </a:lnTo>
                      <a:lnTo>
                        <a:pt x="95754" y="527432"/>
                      </a:lnTo>
                      <a:lnTo>
                        <a:pt x="73280" y="566265"/>
                      </a:lnTo>
                      <a:lnTo>
                        <a:pt x="82692" y="573148"/>
                      </a:lnTo>
                      <a:lnTo>
                        <a:pt x="94666" y="574589"/>
                      </a:lnTo>
                      <a:lnTo>
                        <a:pt x="100844" y="583297"/>
                      </a:lnTo>
                      <a:lnTo>
                        <a:pt x="129113" y="588387"/>
                      </a:lnTo>
                      <a:lnTo>
                        <a:pt x="143647" y="588387"/>
                      </a:lnTo>
                      <a:lnTo>
                        <a:pt x="145440" y="583297"/>
                      </a:lnTo>
                      <a:lnTo>
                        <a:pt x="134203" y="578239"/>
                      </a:lnTo>
                      <a:lnTo>
                        <a:pt x="136028" y="556821"/>
                      </a:lnTo>
                      <a:lnTo>
                        <a:pt x="128409" y="545584"/>
                      </a:lnTo>
                      <a:lnTo>
                        <a:pt x="133467" y="537613"/>
                      </a:lnTo>
                      <a:lnTo>
                        <a:pt x="142175" y="535052"/>
                      </a:lnTo>
                      <a:lnTo>
                        <a:pt x="146528" y="526728"/>
                      </a:lnTo>
                      <a:lnTo>
                        <a:pt x="134203" y="507487"/>
                      </a:lnTo>
                      <a:lnTo>
                        <a:pt x="136732" y="498075"/>
                      </a:lnTo>
                      <a:lnTo>
                        <a:pt x="122230" y="487191"/>
                      </a:lnTo>
                      <a:lnTo>
                        <a:pt x="129113" y="481012"/>
                      </a:lnTo>
                      <a:lnTo>
                        <a:pt x="128409" y="476658"/>
                      </a:lnTo>
                      <a:lnTo>
                        <a:pt x="124759" y="469038"/>
                      </a:lnTo>
                      <a:lnTo>
                        <a:pt x="143647" y="453448"/>
                      </a:lnTo>
                      <a:lnTo>
                        <a:pt x="142175" y="450887"/>
                      </a:lnTo>
                      <a:lnTo>
                        <a:pt x="149090" y="448358"/>
                      </a:lnTo>
                      <a:lnTo>
                        <a:pt x="161767" y="427677"/>
                      </a:lnTo>
                      <a:lnTo>
                        <a:pt x="163592" y="403378"/>
                      </a:lnTo>
                      <a:lnTo>
                        <a:pt x="174829" y="388875"/>
                      </a:lnTo>
                      <a:lnTo>
                        <a:pt x="173740" y="383081"/>
                      </a:lnTo>
                      <a:lnTo>
                        <a:pt x="166121" y="377638"/>
                      </a:lnTo>
                      <a:lnTo>
                        <a:pt x="174829" y="352955"/>
                      </a:lnTo>
                      <a:lnTo>
                        <a:pt x="180656" y="358750"/>
                      </a:lnTo>
                      <a:lnTo>
                        <a:pt x="186802" y="356221"/>
                      </a:lnTo>
                      <a:lnTo>
                        <a:pt x="189331" y="348601"/>
                      </a:lnTo>
                      <a:lnTo>
                        <a:pt x="206747" y="344248"/>
                      </a:lnTo>
                      <a:lnTo>
                        <a:pt x="210012" y="335540"/>
                      </a:lnTo>
                      <a:lnTo>
                        <a:pt x="204218" y="329393"/>
                      </a:lnTo>
                      <a:lnTo>
                        <a:pt x="208220" y="323567"/>
                      </a:lnTo>
                      <a:lnTo>
                        <a:pt x="204218" y="316684"/>
                      </a:lnTo>
                      <a:lnTo>
                        <a:pt x="215103" y="294178"/>
                      </a:lnTo>
                      <a:lnTo>
                        <a:pt x="228164" y="289824"/>
                      </a:lnTo>
                      <a:lnTo>
                        <a:pt x="230694" y="280412"/>
                      </a:lnTo>
                      <a:lnTo>
                        <a:pt x="235048" y="270967"/>
                      </a:lnTo>
                      <a:lnTo>
                        <a:pt x="236872" y="261555"/>
                      </a:lnTo>
                      <a:lnTo>
                        <a:pt x="230694" y="249582"/>
                      </a:lnTo>
                      <a:lnTo>
                        <a:pt x="204954" y="232166"/>
                      </a:lnTo>
                      <a:lnTo>
                        <a:pt x="200600" y="231430"/>
                      </a:lnTo>
                      <a:lnTo>
                        <a:pt x="191156" y="240138"/>
                      </a:lnTo>
                      <a:lnTo>
                        <a:pt x="179919" y="233255"/>
                      </a:lnTo>
                      <a:lnTo>
                        <a:pt x="172300" y="236520"/>
                      </a:lnTo>
                      <a:lnTo>
                        <a:pt x="167210" y="233959"/>
                      </a:lnTo>
                      <a:lnTo>
                        <a:pt x="173740" y="219457"/>
                      </a:lnTo>
                      <a:lnTo>
                        <a:pt x="158502" y="199512"/>
                      </a:lnTo>
                      <a:lnTo>
                        <a:pt x="163592" y="182448"/>
                      </a:lnTo>
                      <a:lnTo>
                        <a:pt x="172300" y="181744"/>
                      </a:lnTo>
                      <a:lnTo>
                        <a:pt x="174829" y="175566"/>
                      </a:lnTo>
                      <a:lnTo>
                        <a:pt x="171211" y="171211"/>
                      </a:lnTo>
                      <a:lnTo>
                        <a:pt x="173740" y="167946"/>
                      </a:lnTo>
                      <a:lnTo>
                        <a:pt x="163592" y="157445"/>
                      </a:lnTo>
                      <a:lnTo>
                        <a:pt x="170475" y="136028"/>
                      </a:lnTo>
                      <a:lnTo>
                        <a:pt x="167210" y="115347"/>
                      </a:lnTo>
                      <a:lnTo>
                        <a:pt x="172300" y="111729"/>
                      </a:lnTo>
                      <a:lnTo>
                        <a:pt x="170475" y="95402"/>
                      </a:lnTo>
                      <a:lnTo>
                        <a:pt x="160327" y="90312"/>
                      </a:lnTo>
                      <a:lnTo>
                        <a:pt x="161767" y="77634"/>
                      </a:lnTo>
                      <a:lnTo>
                        <a:pt x="153444" y="71456"/>
                      </a:lnTo>
                      <a:lnTo>
                        <a:pt x="151619" y="64573"/>
                      </a:lnTo>
                      <a:lnTo>
                        <a:pt x="156709" y="63836"/>
                      </a:lnTo>
                      <a:lnTo>
                        <a:pt x="160327" y="48982"/>
                      </a:lnTo>
                      <a:lnTo>
                        <a:pt x="145440" y="39537"/>
                      </a:lnTo>
                      <a:lnTo>
                        <a:pt x="136028" y="43155"/>
                      </a:lnTo>
                      <a:lnTo>
                        <a:pt x="136028" y="29389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4" name="Forma Livre: Forma 403">
                  <a:extLst>
                    <a:ext uri="{FF2B5EF4-FFF2-40B4-BE49-F238E27FC236}">
                      <a16:creationId xmlns:a16="http://schemas.microsoft.com/office/drawing/2014/main" id="{95335899-5950-0083-4EC8-391B4C9C14D2}"/>
                    </a:ext>
                  </a:extLst>
                </p:cNvPr>
                <p:cNvSpPr/>
                <p:nvPr/>
              </p:nvSpPr>
              <p:spPr>
                <a:xfrm>
                  <a:off x="2613546" y="5394634"/>
                  <a:ext cx="236872" cy="588387"/>
                </a:xfrm>
                <a:custGeom>
                  <a:avLst/>
                  <a:gdLst>
                    <a:gd name="csX0" fmla="*/ 136028 w 236872"/>
                    <a:gd name="csY0" fmla="*/ 29389 h 588387"/>
                    <a:gd name="csX1" fmla="*/ 123318 w 236872"/>
                    <a:gd name="csY1" fmla="*/ 20681 h 588387"/>
                    <a:gd name="csX2" fmla="*/ 132762 w 236872"/>
                    <a:gd name="csY2" fmla="*/ 14502 h 588387"/>
                    <a:gd name="csX3" fmla="*/ 124759 w 236872"/>
                    <a:gd name="csY3" fmla="*/ 4354 h 588387"/>
                    <a:gd name="csX4" fmla="*/ 121494 w 236872"/>
                    <a:gd name="csY4" fmla="*/ 2529 h 588387"/>
                    <a:gd name="csX5" fmla="*/ 116435 w 236872"/>
                    <a:gd name="csY5" fmla="*/ 0 h 588387"/>
                    <a:gd name="csX6" fmla="*/ 104110 w 236872"/>
                    <a:gd name="csY6" fmla="*/ 10501 h 588387"/>
                    <a:gd name="csX7" fmla="*/ 105198 w 236872"/>
                    <a:gd name="csY7" fmla="*/ 17416 h 588387"/>
                    <a:gd name="csX8" fmla="*/ 106639 w 236872"/>
                    <a:gd name="csY8" fmla="*/ 31918 h 588387"/>
                    <a:gd name="csX9" fmla="*/ 102637 w 236872"/>
                    <a:gd name="csY9" fmla="*/ 42067 h 588387"/>
                    <a:gd name="csX10" fmla="*/ 108464 w 236872"/>
                    <a:gd name="csY10" fmla="*/ 52599 h 588387"/>
                    <a:gd name="csX11" fmla="*/ 108464 w 236872"/>
                    <a:gd name="csY11" fmla="*/ 59482 h 588387"/>
                    <a:gd name="csX12" fmla="*/ 90312 w 236872"/>
                    <a:gd name="csY12" fmla="*/ 69631 h 588387"/>
                    <a:gd name="csX13" fmla="*/ 92137 w 236872"/>
                    <a:gd name="csY13" fmla="*/ 76546 h 588387"/>
                    <a:gd name="csX14" fmla="*/ 64572 w 236872"/>
                    <a:gd name="csY14" fmla="*/ 77634 h 588387"/>
                    <a:gd name="csX15" fmla="*/ 62011 w 236872"/>
                    <a:gd name="csY15" fmla="*/ 81604 h 588387"/>
                    <a:gd name="csX16" fmla="*/ 71455 w 236872"/>
                    <a:gd name="csY16" fmla="*/ 87047 h 588387"/>
                    <a:gd name="csX17" fmla="*/ 68926 w 236872"/>
                    <a:gd name="csY17" fmla="*/ 93961 h 588387"/>
                    <a:gd name="csX18" fmla="*/ 79427 w 236872"/>
                    <a:gd name="csY18" fmla="*/ 92873 h 588387"/>
                    <a:gd name="csX19" fmla="*/ 81956 w 236872"/>
                    <a:gd name="csY19" fmla="*/ 117908 h 588387"/>
                    <a:gd name="csX20" fmla="*/ 73985 w 236872"/>
                    <a:gd name="csY20" fmla="*/ 122230 h 588387"/>
                    <a:gd name="csX21" fmla="*/ 66365 w 236872"/>
                    <a:gd name="csY21" fmla="*/ 117908 h 588387"/>
                    <a:gd name="csX22" fmla="*/ 57657 w 236872"/>
                    <a:gd name="csY22" fmla="*/ 129849 h 588387"/>
                    <a:gd name="csX23" fmla="*/ 50774 w 236872"/>
                    <a:gd name="csY23" fmla="*/ 119701 h 588387"/>
                    <a:gd name="csX24" fmla="*/ 44980 w 236872"/>
                    <a:gd name="csY24" fmla="*/ 122966 h 588387"/>
                    <a:gd name="csX25" fmla="*/ 43891 w 236872"/>
                    <a:gd name="csY25" fmla="*/ 136764 h 588387"/>
                    <a:gd name="csX26" fmla="*/ 58746 w 236872"/>
                    <a:gd name="csY26" fmla="*/ 147265 h 588387"/>
                    <a:gd name="csX27" fmla="*/ 73985 w 236872"/>
                    <a:gd name="csY27" fmla="*/ 147265 h 588387"/>
                    <a:gd name="csX28" fmla="*/ 85958 w 236872"/>
                    <a:gd name="csY28" fmla="*/ 141118 h 588387"/>
                    <a:gd name="csX29" fmla="*/ 92137 w 236872"/>
                    <a:gd name="csY29" fmla="*/ 143647 h 588387"/>
                    <a:gd name="csX30" fmla="*/ 92841 w 236872"/>
                    <a:gd name="csY30" fmla="*/ 158534 h 588387"/>
                    <a:gd name="csX31" fmla="*/ 78339 w 236872"/>
                    <a:gd name="csY31" fmla="*/ 169387 h 588387"/>
                    <a:gd name="csX32" fmla="*/ 72544 w 236872"/>
                    <a:gd name="csY32" fmla="*/ 186802 h 588387"/>
                    <a:gd name="csX33" fmla="*/ 63836 w 236872"/>
                    <a:gd name="csY33" fmla="*/ 193717 h 588387"/>
                    <a:gd name="csX34" fmla="*/ 54392 w 236872"/>
                    <a:gd name="csY34" fmla="*/ 186802 h 588387"/>
                    <a:gd name="csX35" fmla="*/ 40626 w 236872"/>
                    <a:gd name="csY35" fmla="*/ 188627 h 588387"/>
                    <a:gd name="csX36" fmla="*/ 32622 w 236872"/>
                    <a:gd name="csY36" fmla="*/ 206395 h 588387"/>
                    <a:gd name="csX37" fmla="*/ 18120 w 236872"/>
                    <a:gd name="csY37" fmla="*/ 204954 h 588387"/>
                    <a:gd name="csX38" fmla="*/ 16295 w 236872"/>
                    <a:gd name="csY38" fmla="*/ 210749 h 588387"/>
                    <a:gd name="csX39" fmla="*/ 10501 w 236872"/>
                    <a:gd name="csY39" fmla="*/ 224547 h 588387"/>
                    <a:gd name="csX40" fmla="*/ 29357 w 236872"/>
                    <a:gd name="csY40" fmla="*/ 225283 h 588387"/>
                    <a:gd name="csX41" fmla="*/ 31918 w 236872"/>
                    <a:gd name="csY41" fmla="*/ 231430 h 588387"/>
                    <a:gd name="csX42" fmla="*/ 23210 w 236872"/>
                    <a:gd name="csY42" fmla="*/ 247757 h 588387"/>
                    <a:gd name="csX43" fmla="*/ 3618 w 236872"/>
                    <a:gd name="csY43" fmla="*/ 252847 h 588387"/>
                    <a:gd name="csX44" fmla="*/ 25003 w 236872"/>
                    <a:gd name="csY44" fmla="*/ 263348 h 588387"/>
                    <a:gd name="csX45" fmla="*/ 43891 w 236872"/>
                    <a:gd name="csY45" fmla="*/ 269175 h 588387"/>
                    <a:gd name="csX46" fmla="*/ 43891 w 236872"/>
                    <a:gd name="csY46" fmla="*/ 272792 h 588387"/>
                    <a:gd name="csX47" fmla="*/ 36272 w 236872"/>
                    <a:gd name="csY47" fmla="*/ 284029 h 588387"/>
                    <a:gd name="csX48" fmla="*/ 30093 w 236872"/>
                    <a:gd name="csY48" fmla="*/ 285854 h 588387"/>
                    <a:gd name="csX49" fmla="*/ 29357 w 236872"/>
                    <a:gd name="csY49" fmla="*/ 296003 h 588387"/>
                    <a:gd name="csX50" fmla="*/ 25739 w 236872"/>
                    <a:gd name="csY50" fmla="*/ 307976 h 588387"/>
                    <a:gd name="csX51" fmla="*/ 6147 w 236872"/>
                    <a:gd name="csY51" fmla="*/ 339157 h 588387"/>
                    <a:gd name="csX52" fmla="*/ 0 w 236872"/>
                    <a:gd name="csY52" fmla="*/ 358046 h 588387"/>
                    <a:gd name="csX53" fmla="*/ 5058 w 236872"/>
                    <a:gd name="csY53" fmla="*/ 370019 h 588387"/>
                    <a:gd name="csX54" fmla="*/ 6147 w 236872"/>
                    <a:gd name="csY54" fmla="*/ 375077 h 588387"/>
                    <a:gd name="csX55" fmla="*/ 9412 w 236872"/>
                    <a:gd name="csY55" fmla="*/ 383785 h 588387"/>
                    <a:gd name="csX56" fmla="*/ 27564 w 236872"/>
                    <a:gd name="csY56" fmla="*/ 380167 h 588387"/>
                    <a:gd name="csX57" fmla="*/ 30093 w 236872"/>
                    <a:gd name="csY57" fmla="*/ 391404 h 588387"/>
                    <a:gd name="csX58" fmla="*/ 25003 w 236872"/>
                    <a:gd name="csY58" fmla="*/ 396494 h 588387"/>
                    <a:gd name="csX59" fmla="*/ 21738 w 236872"/>
                    <a:gd name="csY59" fmla="*/ 398287 h 588387"/>
                    <a:gd name="csX60" fmla="*/ 33711 w 236872"/>
                    <a:gd name="csY60" fmla="*/ 407731 h 588387"/>
                    <a:gd name="csX61" fmla="*/ 48245 w 236872"/>
                    <a:gd name="csY61" fmla="*/ 432767 h 588387"/>
                    <a:gd name="csX62" fmla="*/ 67102 w 236872"/>
                    <a:gd name="csY62" fmla="*/ 436384 h 588387"/>
                    <a:gd name="csX63" fmla="*/ 73985 w 236872"/>
                    <a:gd name="csY63" fmla="*/ 440386 h 588387"/>
                    <a:gd name="csX64" fmla="*/ 68926 w 236872"/>
                    <a:gd name="csY64" fmla="*/ 452711 h 588387"/>
                    <a:gd name="csX65" fmla="*/ 64572 w 236872"/>
                    <a:gd name="csY65" fmla="*/ 453448 h 588387"/>
                    <a:gd name="csX66" fmla="*/ 55865 w 236872"/>
                    <a:gd name="csY66" fmla="*/ 479187 h 588387"/>
                    <a:gd name="csX67" fmla="*/ 59482 w 236872"/>
                    <a:gd name="csY67" fmla="*/ 491160 h 588387"/>
                    <a:gd name="csX68" fmla="*/ 65661 w 236872"/>
                    <a:gd name="csY68" fmla="*/ 480275 h 588387"/>
                    <a:gd name="csX69" fmla="*/ 91400 w 236872"/>
                    <a:gd name="csY69" fmla="*/ 481748 h 588387"/>
                    <a:gd name="csX70" fmla="*/ 93929 w 236872"/>
                    <a:gd name="csY70" fmla="*/ 489720 h 588387"/>
                    <a:gd name="csX71" fmla="*/ 85958 w 236872"/>
                    <a:gd name="csY71" fmla="*/ 517284 h 588387"/>
                    <a:gd name="csX72" fmla="*/ 95754 w 236872"/>
                    <a:gd name="csY72" fmla="*/ 527432 h 588387"/>
                    <a:gd name="csX73" fmla="*/ 73280 w 236872"/>
                    <a:gd name="csY73" fmla="*/ 566265 h 588387"/>
                    <a:gd name="csX74" fmla="*/ 82692 w 236872"/>
                    <a:gd name="csY74" fmla="*/ 573148 h 588387"/>
                    <a:gd name="csX75" fmla="*/ 94666 w 236872"/>
                    <a:gd name="csY75" fmla="*/ 574589 h 588387"/>
                    <a:gd name="csX76" fmla="*/ 100844 w 236872"/>
                    <a:gd name="csY76" fmla="*/ 583297 h 588387"/>
                    <a:gd name="csX77" fmla="*/ 129113 w 236872"/>
                    <a:gd name="csY77" fmla="*/ 588387 h 588387"/>
                    <a:gd name="csX78" fmla="*/ 143647 w 236872"/>
                    <a:gd name="csY78" fmla="*/ 588387 h 588387"/>
                    <a:gd name="csX79" fmla="*/ 145440 w 236872"/>
                    <a:gd name="csY79" fmla="*/ 583297 h 588387"/>
                    <a:gd name="csX80" fmla="*/ 134203 w 236872"/>
                    <a:gd name="csY80" fmla="*/ 578239 h 588387"/>
                    <a:gd name="csX81" fmla="*/ 136028 w 236872"/>
                    <a:gd name="csY81" fmla="*/ 556821 h 588387"/>
                    <a:gd name="csX82" fmla="*/ 128409 w 236872"/>
                    <a:gd name="csY82" fmla="*/ 545584 h 588387"/>
                    <a:gd name="csX83" fmla="*/ 133467 w 236872"/>
                    <a:gd name="csY83" fmla="*/ 537613 h 588387"/>
                    <a:gd name="csX84" fmla="*/ 142175 w 236872"/>
                    <a:gd name="csY84" fmla="*/ 535052 h 588387"/>
                    <a:gd name="csX85" fmla="*/ 146528 w 236872"/>
                    <a:gd name="csY85" fmla="*/ 526728 h 588387"/>
                    <a:gd name="csX86" fmla="*/ 134203 w 236872"/>
                    <a:gd name="csY86" fmla="*/ 507487 h 588387"/>
                    <a:gd name="csX87" fmla="*/ 136732 w 236872"/>
                    <a:gd name="csY87" fmla="*/ 498075 h 588387"/>
                    <a:gd name="csX88" fmla="*/ 122230 w 236872"/>
                    <a:gd name="csY88" fmla="*/ 487191 h 588387"/>
                    <a:gd name="csX89" fmla="*/ 129113 w 236872"/>
                    <a:gd name="csY89" fmla="*/ 481012 h 588387"/>
                    <a:gd name="csX90" fmla="*/ 128409 w 236872"/>
                    <a:gd name="csY90" fmla="*/ 476658 h 588387"/>
                    <a:gd name="csX91" fmla="*/ 124759 w 236872"/>
                    <a:gd name="csY91" fmla="*/ 469038 h 588387"/>
                    <a:gd name="csX92" fmla="*/ 143647 w 236872"/>
                    <a:gd name="csY92" fmla="*/ 453448 h 588387"/>
                    <a:gd name="csX93" fmla="*/ 142175 w 236872"/>
                    <a:gd name="csY93" fmla="*/ 450887 h 588387"/>
                    <a:gd name="csX94" fmla="*/ 149090 w 236872"/>
                    <a:gd name="csY94" fmla="*/ 448358 h 588387"/>
                    <a:gd name="csX95" fmla="*/ 161767 w 236872"/>
                    <a:gd name="csY95" fmla="*/ 427677 h 588387"/>
                    <a:gd name="csX96" fmla="*/ 163592 w 236872"/>
                    <a:gd name="csY96" fmla="*/ 403378 h 588387"/>
                    <a:gd name="csX97" fmla="*/ 174829 w 236872"/>
                    <a:gd name="csY97" fmla="*/ 388875 h 588387"/>
                    <a:gd name="csX98" fmla="*/ 173740 w 236872"/>
                    <a:gd name="csY98" fmla="*/ 383081 h 588387"/>
                    <a:gd name="csX99" fmla="*/ 166121 w 236872"/>
                    <a:gd name="csY99" fmla="*/ 377638 h 588387"/>
                    <a:gd name="csX100" fmla="*/ 174829 w 236872"/>
                    <a:gd name="csY100" fmla="*/ 352955 h 588387"/>
                    <a:gd name="csX101" fmla="*/ 180656 w 236872"/>
                    <a:gd name="csY101" fmla="*/ 358750 h 588387"/>
                    <a:gd name="csX102" fmla="*/ 186802 w 236872"/>
                    <a:gd name="csY102" fmla="*/ 356221 h 588387"/>
                    <a:gd name="csX103" fmla="*/ 189331 w 236872"/>
                    <a:gd name="csY103" fmla="*/ 348601 h 588387"/>
                    <a:gd name="csX104" fmla="*/ 206747 w 236872"/>
                    <a:gd name="csY104" fmla="*/ 344248 h 588387"/>
                    <a:gd name="csX105" fmla="*/ 210012 w 236872"/>
                    <a:gd name="csY105" fmla="*/ 335540 h 588387"/>
                    <a:gd name="csX106" fmla="*/ 204218 w 236872"/>
                    <a:gd name="csY106" fmla="*/ 329393 h 588387"/>
                    <a:gd name="csX107" fmla="*/ 208220 w 236872"/>
                    <a:gd name="csY107" fmla="*/ 323567 h 588387"/>
                    <a:gd name="csX108" fmla="*/ 204218 w 236872"/>
                    <a:gd name="csY108" fmla="*/ 316684 h 588387"/>
                    <a:gd name="csX109" fmla="*/ 215103 w 236872"/>
                    <a:gd name="csY109" fmla="*/ 294178 h 588387"/>
                    <a:gd name="csX110" fmla="*/ 228164 w 236872"/>
                    <a:gd name="csY110" fmla="*/ 289824 h 588387"/>
                    <a:gd name="csX111" fmla="*/ 230694 w 236872"/>
                    <a:gd name="csY111" fmla="*/ 280412 h 588387"/>
                    <a:gd name="csX112" fmla="*/ 235048 w 236872"/>
                    <a:gd name="csY112" fmla="*/ 270967 h 588387"/>
                    <a:gd name="csX113" fmla="*/ 236872 w 236872"/>
                    <a:gd name="csY113" fmla="*/ 261555 h 588387"/>
                    <a:gd name="csX114" fmla="*/ 230694 w 236872"/>
                    <a:gd name="csY114" fmla="*/ 249582 h 588387"/>
                    <a:gd name="csX115" fmla="*/ 204954 w 236872"/>
                    <a:gd name="csY115" fmla="*/ 232166 h 588387"/>
                    <a:gd name="csX116" fmla="*/ 200600 w 236872"/>
                    <a:gd name="csY116" fmla="*/ 231430 h 588387"/>
                    <a:gd name="csX117" fmla="*/ 191156 w 236872"/>
                    <a:gd name="csY117" fmla="*/ 240138 h 588387"/>
                    <a:gd name="csX118" fmla="*/ 179919 w 236872"/>
                    <a:gd name="csY118" fmla="*/ 233255 h 588387"/>
                    <a:gd name="csX119" fmla="*/ 172300 w 236872"/>
                    <a:gd name="csY119" fmla="*/ 236520 h 588387"/>
                    <a:gd name="csX120" fmla="*/ 167210 w 236872"/>
                    <a:gd name="csY120" fmla="*/ 233959 h 588387"/>
                    <a:gd name="csX121" fmla="*/ 173740 w 236872"/>
                    <a:gd name="csY121" fmla="*/ 219457 h 588387"/>
                    <a:gd name="csX122" fmla="*/ 158502 w 236872"/>
                    <a:gd name="csY122" fmla="*/ 199512 h 588387"/>
                    <a:gd name="csX123" fmla="*/ 163592 w 236872"/>
                    <a:gd name="csY123" fmla="*/ 182448 h 588387"/>
                    <a:gd name="csX124" fmla="*/ 172300 w 236872"/>
                    <a:gd name="csY124" fmla="*/ 181744 h 588387"/>
                    <a:gd name="csX125" fmla="*/ 174829 w 236872"/>
                    <a:gd name="csY125" fmla="*/ 175566 h 588387"/>
                    <a:gd name="csX126" fmla="*/ 171211 w 236872"/>
                    <a:gd name="csY126" fmla="*/ 171211 h 588387"/>
                    <a:gd name="csX127" fmla="*/ 173740 w 236872"/>
                    <a:gd name="csY127" fmla="*/ 167946 h 588387"/>
                    <a:gd name="csX128" fmla="*/ 163592 w 236872"/>
                    <a:gd name="csY128" fmla="*/ 157445 h 588387"/>
                    <a:gd name="csX129" fmla="*/ 170475 w 236872"/>
                    <a:gd name="csY129" fmla="*/ 136028 h 588387"/>
                    <a:gd name="csX130" fmla="*/ 167210 w 236872"/>
                    <a:gd name="csY130" fmla="*/ 115347 h 588387"/>
                    <a:gd name="csX131" fmla="*/ 172300 w 236872"/>
                    <a:gd name="csY131" fmla="*/ 111729 h 588387"/>
                    <a:gd name="csX132" fmla="*/ 170475 w 236872"/>
                    <a:gd name="csY132" fmla="*/ 95402 h 588387"/>
                    <a:gd name="csX133" fmla="*/ 160327 w 236872"/>
                    <a:gd name="csY133" fmla="*/ 90312 h 588387"/>
                    <a:gd name="csX134" fmla="*/ 161767 w 236872"/>
                    <a:gd name="csY134" fmla="*/ 77634 h 588387"/>
                    <a:gd name="csX135" fmla="*/ 153444 w 236872"/>
                    <a:gd name="csY135" fmla="*/ 71456 h 588387"/>
                    <a:gd name="csX136" fmla="*/ 151619 w 236872"/>
                    <a:gd name="csY136" fmla="*/ 64573 h 588387"/>
                    <a:gd name="csX137" fmla="*/ 156709 w 236872"/>
                    <a:gd name="csY137" fmla="*/ 63836 h 588387"/>
                    <a:gd name="csX138" fmla="*/ 160327 w 236872"/>
                    <a:gd name="csY138" fmla="*/ 48982 h 588387"/>
                    <a:gd name="csX139" fmla="*/ 145440 w 236872"/>
                    <a:gd name="csY139" fmla="*/ 39537 h 588387"/>
                    <a:gd name="csX140" fmla="*/ 136028 w 236872"/>
                    <a:gd name="csY140" fmla="*/ 43155 h 588387"/>
                    <a:gd name="csX141" fmla="*/ 136028 w 236872"/>
                    <a:gd name="csY141" fmla="*/ 29389 h 58838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  <a:cxn ang="0">
                      <a:pos x="csX114" y="csY114"/>
                    </a:cxn>
                    <a:cxn ang="0">
                      <a:pos x="csX115" y="csY115"/>
                    </a:cxn>
                    <a:cxn ang="0">
                      <a:pos x="csX116" y="csY116"/>
                    </a:cxn>
                    <a:cxn ang="0">
                      <a:pos x="csX117" y="csY117"/>
                    </a:cxn>
                    <a:cxn ang="0">
                      <a:pos x="csX118" y="csY118"/>
                    </a:cxn>
                    <a:cxn ang="0">
                      <a:pos x="csX119" y="csY119"/>
                    </a:cxn>
                    <a:cxn ang="0">
                      <a:pos x="csX120" y="csY120"/>
                    </a:cxn>
                    <a:cxn ang="0">
                      <a:pos x="csX121" y="csY121"/>
                    </a:cxn>
                    <a:cxn ang="0">
                      <a:pos x="csX122" y="csY122"/>
                    </a:cxn>
                    <a:cxn ang="0">
                      <a:pos x="csX123" y="csY123"/>
                    </a:cxn>
                    <a:cxn ang="0">
                      <a:pos x="csX124" y="csY124"/>
                    </a:cxn>
                    <a:cxn ang="0">
                      <a:pos x="csX125" y="csY125"/>
                    </a:cxn>
                    <a:cxn ang="0">
                      <a:pos x="csX126" y="csY126"/>
                    </a:cxn>
                    <a:cxn ang="0">
                      <a:pos x="csX127" y="csY127"/>
                    </a:cxn>
                    <a:cxn ang="0">
                      <a:pos x="csX128" y="csY128"/>
                    </a:cxn>
                    <a:cxn ang="0">
                      <a:pos x="csX129" y="csY129"/>
                    </a:cxn>
                    <a:cxn ang="0">
                      <a:pos x="csX130" y="csY130"/>
                    </a:cxn>
                    <a:cxn ang="0">
                      <a:pos x="csX131" y="csY131"/>
                    </a:cxn>
                    <a:cxn ang="0">
                      <a:pos x="csX132" y="csY132"/>
                    </a:cxn>
                    <a:cxn ang="0">
                      <a:pos x="csX133" y="csY133"/>
                    </a:cxn>
                    <a:cxn ang="0">
                      <a:pos x="csX134" y="csY134"/>
                    </a:cxn>
                    <a:cxn ang="0">
                      <a:pos x="csX135" y="csY135"/>
                    </a:cxn>
                    <a:cxn ang="0">
                      <a:pos x="csX136" y="csY136"/>
                    </a:cxn>
                    <a:cxn ang="0">
                      <a:pos x="csX137" y="csY137"/>
                    </a:cxn>
                    <a:cxn ang="0">
                      <a:pos x="csX138" y="csY138"/>
                    </a:cxn>
                    <a:cxn ang="0">
                      <a:pos x="csX139" y="csY139"/>
                    </a:cxn>
                    <a:cxn ang="0">
                      <a:pos x="csX140" y="csY140"/>
                    </a:cxn>
                    <a:cxn ang="0">
                      <a:pos x="csX141" y="csY141"/>
                    </a:cxn>
                  </a:cxnLst>
                  <a:rect l="l" t="t" r="r" b="b"/>
                  <a:pathLst>
                    <a:path w="236872" h="588387">
                      <a:moveTo>
                        <a:pt x="136028" y="29389"/>
                      </a:moveTo>
                      <a:lnTo>
                        <a:pt x="123318" y="20681"/>
                      </a:lnTo>
                      <a:lnTo>
                        <a:pt x="132762" y="14502"/>
                      </a:lnTo>
                      <a:lnTo>
                        <a:pt x="124759" y="4354"/>
                      </a:lnTo>
                      <a:lnTo>
                        <a:pt x="121494" y="2529"/>
                      </a:lnTo>
                      <a:lnTo>
                        <a:pt x="116435" y="0"/>
                      </a:lnTo>
                      <a:lnTo>
                        <a:pt x="104110" y="10501"/>
                      </a:lnTo>
                      <a:lnTo>
                        <a:pt x="105198" y="17416"/>
                      </a:lnTo>
                      <a:lnTo>
                        <a:pt x="106639" y="31918"/>
                      </a:lnTo>
                      <a:lnTo>
                        <a:pt x="102637" y="42067"/>
                      </a:lnTo>
                      <a:lnTo>
                        <a:pt x="108464" y="52599"/>
                      </a:lnTo>
                      <a:lnTo>
                        <a:pt x="108464" y="59482"/>
                      </a:lnTo>
                      <a:lnTo>
                        <a:pt x="90312" y="69631"/>
                      </a:lnTo>
                      <a:lnTo>
                        <a:pt x="92137" y="76546"/>
                      </a:lnTo>
                      <a:lnTo>
                        <a:pt x="64572" y="77634"/>
                      </a:lnTo>
                      <a:lnTo>
                        <a:pt x="62011" y="81604"/>
                      </a:lnTo>
                      <a:lnTo>
                        <a:pt x="71455" y="87047"/>
                      </a:lnTo>
                      <a:lnTo>
                        <a:pt x="68926" y="93961"/>
                      </a:lnTo>
                      <a:lnTo>
                        <a:pt x="79427" y="92873"/>
                      </a:lnTo>
                      <a:lnTo>
                        <a:pt x="81956" y="117908"/>
                      </a:lnTo>
                      <a:lnTo>
                        <a:pt x="73985" y="122230"/>
                      </a:lnTo>
                      <a:lnTo>
                        <a:pt x="66365" y="117908"/>
                      </a:lnTo>
                      <a:lnTo>
                        <a:pt x="57657" y="129849"/>
                      </a:lnTo>
                      <a:lnTo>
                        <a:pt x="50774" y="119701"/>
                      </a:lnTo>
                      <a:lnTo>
                        <a:pt x="44980" y="122966"/>
                      </a:lnTo>
                      <a:lnTo>
                        <a:pt x="43891" y="136764"/>
                      </a:lnTo>
                      <a:lnTo>
                        <a:pt x="58746" y="147265"/>
                      </a:lnTo>
                      <a:lnTo>
                        <a:pt x="73985" y="147265"/>
                      </a:lnTo>
                      <a:lnTo>
                        <a:pt x="85958" y="141118"/>
                      </a:lnTo>
                      <a:lnTo>
                        <a:pt x="92137" y="143647"/>
                      </a:lnTo>
                      <a:lnTo>
                        <a:pt x="92841" y="158534"/>
                      </a:lnTo>
                      <a:lnTo>
                        <a:pt x="78339" y="169387"/>
                      </a:lnTo>
                      <a:lnTo>
                        <a:pt x="72544" y="186802"/>
                      </a:lnTo>
                      <a:lnTo>
                        <a:pt x="63836" y="193717"/>
                      </a:lnTo>
                      <a:lnTo>
                        <a:pt x="54392" y="186802"/>
                      </a:lnTo>
                      <a:lnTo>
                        <a:pt x="40626" y="188627"/>
                      </a:lnTo>
                      <a:lnTo>
                        <a:pt x="32622" y="206395"/>
                      </a:lnTo>
                      <a:lnTo>
                        <a:pt x="18120" y="204954"/>
                      </a:lnTo>
                      <a:lnTo>
                        <a:pt x="16295" y="210749"/>
                      </a:lnTo>
                      <a:lnTo>
                        <a:pt x="10501" y="224547"/>
                      </a:lnTo>
                      <a:lnTo>
                        <a:pt x="29357" y="225283"/>
                      </a:lnTo>
                      <a:lnTo>
                        <a:pt x="31918" y="231430"/>
                      </a:lnTo>
                      <a:lnTo>
                        <a:pt x="23210" y="247757"/>
                      </a:lnTo>
                      <a:lnTo>
                        <a:pt x="3618" y="252847"/>
                      </a:lnTo>
                      <a:lnTo>
                        <a:pt x="25003" y="263348"/>
                      </a:lnTo>
                      <a:lnTo>
                        <a:pt x="43891" y="269175"/>
                      </a:lnTo>
                      <a:lnTo>
                        <a:pt x="43891" y="272792"/>
                      </a:lnTo>
                      <a:lnTo>
                        <a:pt x="36272" y="284029"/>
                      </a:lnTo>
                      <a:lnTo>
                        <a:pt x="30093" y="285854"/>
                      </a:lnTo>
                      <a:lnTo>
                        <a:pt x="29357" y="296003"/>
                      </a:lnTo>
                      <a:lnTo>
                        <a:pt x="25739" y="307976"/>
                      </a:lnTo>
                      <a:lnTo>
                        <a:pt x="6147" y="339157"/>
                      </a:lnTo>
                      <a:lnTo>
                        <a:pt x="0" y="358046"/>
                      </a:lnTo>
                      <a:lnTo>
                        <a:pt x="5058" y="370019"/>
                      </a:lnTo>
                      <a:lnTo>
                        <a:pt x="6147" y="375077"/>
                      </a:lnTo>
                      <a:lnTo>
                        <a:pt x="9412" y="383785"/>
                      </a:lnTo>
                      <a:lnTo>
                        <a:pt x="27564" y="380167"/>
                      </a:lnTo>
                      <a:lnTo>
                        <a:pt x="30093" y="391404"/>
                      </a:lnTo>
                      <a:lnTo>
                        <a:pt x="25003" y="396494"/>
                      </a:lnTo>
                      <a:lnTo>
                        <a:pt x="21738" y="398287"/>
                      </a:lnTo>
                      <a:lnTo>
                        <a:pt x="33711" y="407731"/>
                      </a:lnTo>
                      <a:lnTo>
                        <a:pt x="48245" y="432767"/>
                      </a:lnTo>
                      <a:lnTo>
                        <a:pt x="67102" y="436384"/>
                      </a:lnTo>
                      <a:lnTo>
                        <a:pt x="73985" y="440386"/>
                      </a:lnTo>
                      <a:lnTo>
                        <a:pt x="68926" y="452711"/>
                      </a:lnTo>
                      <a:lnTo>
                        <a:pt x="64572" y="453448"/>
                      </a:lnTo>
                      <a:lnTo>
                        <a:pt x="55865" y="479187"/>
                      </a:lnTo>
                      <a:lnTo>
                        <a:pt x="59482" y="491160"/>
                      </a:lnTo>
                      <a:lnTo>
                        <a:pt x="65661" y="480275"/>
                      </a:lnTo>
                      <a:lnTo>
                        <a:pt x="91400" y="481748"/>
                      </a:lnTo>
                      <a:lnTo>
                        <a:pt x="93929" y="489720"/>
                      </a:lnTo>
                      <a:lnTo>
                        <a:pt x="85958" y="517284"/>
                      </a:lnTo>
                      <a:lnTo>
                        <a:pt x="95754" y="527432"/>
                      </a:lnTo>
                      <a:lnTo>
                        <a:pt x="73280" y="566265"/>
                      </a:lnTo>
                      <a:lnTo>
                        <a:pt x="82692" y="573148"/>
                      </a:lnTo>
                      <a:lnTo>
                        <a:pt x="94666" y="574589"/>
                      </a:lnTo>
                      <a:lnTo>
                        <a:pt x="100844" y="583297"/>
                      </a:lnTo>
                      <a:lnTo>
                        <a:pt x="129113" y="588387"/>
                      </a:lnTo>
                      <a:lnTo>
                        <a:pt x="143647" y="588387"/>
                      </a:lnTo>
                      <a:lnTo>
                        <a:pt x="145440" y="583297"/>
                      </a:lnTo>
                      <a:lnTo>
                        <a:pt x="134203" y="578239"/>
                      </a:lnTo>
                      <a:lnTo>
                        <a:pt x="136028" y="556821"/>
                      </a:lnTo>
                      <a:lnTo>
                        <a:pt x="128409" y="545584"/>
                      </a:lnTo>
                      <a:lnTo>
                        <a:pt x="133467" y="537613"/>
                      </a:lnTo>
                      <a:lnTo>
                        <a:pt x="142175" y="535052"/>
                      </a:lnTo>
                      <a:lnTo>
                        <a:pt x="146528" y="526728"/>
                      </a:lnTo>
                      <a:lnTo>
                        <a:pt x="134203" y="507487"/>
                      </a:lnTo>
                      <a:lnTo>
                        <a:pt x="136732" y="498075"/>
                      </a:lnTo>
                      <a:lnTo>
                        <a:pt x="122230" y="487191"/>
                      </a:lnTo>
                      <a:lnTo>
                        <a:pt x="129113" y="481012"/>
                      </a:lnTo>
                      <a:lnTo>
                        <a:pt x="128409" y="476658"/>
                      </a:lnTo>
                      <a:lnTo>
                        <a:pt x="124759" y="469038"/>
                      </a:lnTo>
                      <a:lnTo>
                        <a:pt x="143647" y="453448"/>
                      </a:lnTo>
                      <a:lnTo>
                        <a:pt x="142175" y="450887"/>
                      </a:lnTo>
                      <a:lnTo>
                        <a:pt x="149090" y="448358"/>
                      </a:lnTo>
                      <a:lnTo>
                        <a:pt x="161767" y="427677"/>
                      </a:lnTo>
                      <a:lnTo>
                        <a:pt x="163592" y="403378"/>
                      </a:lnTo>
                      <a:lnTo>
                        <a:pt x="174829" y="388875"/>
                      </a:lnTo>
                      <a:lnTo>
                        <a:pt x="173740" y="383081"/>
                      </a:lnTo>
                      <a:lnTo>
                        <a:pt x="166121" y="377638"/>
                      </a:lnTo>
                      <a:lnTo>
                        <a:pt x="174829" y="352955"/>
                      </a:lnTo>
                      <a:lnTo>
                        <a:pt x="180656" y="358750"/>
                      </a:lnTo>
                      <a:lnTo>
                        <a:pt x="186802" y="356221"/>
                      </a:lnTo>
                      <a:lnTo>
                        <a:pt x="189331" y="348601"/>
                      </a:lnTo>
                      <a:lnTo>
                        <a:pt x="206747" y="344248"/>
                      </a:lnTo>
                      <a:lnTo>
                        <a:pt x="210012" y="335540"/>
                      </a:lnTo>
                      <a:lnTo>
                        <a:pt x="204218" y="329393"/>
                      </a:lnTo>
                      <a:lnTo>
                        <a:pt x="208220" y="323567"/>
                      </a:lnTo>
                      <a:lnTo>
                        <a:pt x="204218" y="316684"/>
                      </a:lnTo>
                      <a:lnTo>
                        <a:pt x="215103" y="294178"/>
                      </a:lnTo>
                      <a:lnTo>
                        <a:pt x="228164" y="289824"/>
                      </a:lnTo>
                      <a:lnTo>
                        <a:pt x="230694" y="280412"/>
                      </a:lnTo>
                      <a:lnTo>
                        <a:pt x="235048" y="270967"/>
                      </a:lnTo>
                      <a:lnTo>
                        <a:pt x="236872" y="261555"/>
                      </a:lnTo>
                      <a:lnTo>
                        <a:pt x="230694" y="249582"/>
                      </a:lnTo>
                      <a:lnTo>
                        <a:pt x="204954" y="232166"/>
                      </a:lnTo>
                      <a:lnTo>
                        <a:pt x="200600" y="231430"/>
                      </a:lnTo>
                      <a:lnTo>
                        <a:pt x="191156" y="240138"/>
                      </a:lnTo>
                      <a:lnTo>
                        <a:pt x="179919" y="233255"/>
                      </a:lnTo>
                      <a:lnTo>
                        <a:pt x="172300" y="236520"/>
                      </a:lnTo>
                      <a:lnTo>
                        <a:pt x="167210" y="233959"/>
                      </a:lnTo>
                      <a:lnTo>
                        <a:pt x="173740" y="219457"/>
                      </a:lnTo>
                      <a:lnTo>
                        <a:pt x="158502" y="199512"/>
                      </a:lnTo>
                      <a:lnTo>
                        <a:pt x="163592" y="182448"/>
                      </a:lnTo>
                      <a:lnTo>
                        <a:pt x="172300" y="181744"/>
                      </a:lnTo>
                      <a:lnTo>
                        <a:pt x="174829" y="175566"/>
                      </a:lnTo>
                      <a:lnTo>
                        <a:pt x="171211" y="171211"/>
                      </a:lnTo>
                      <a:lnTo>
                        <a:pt x="173740" y="167946"/>
                      </a:lnTo>
                      <a:lnTo>
                        <a:pt x="163592" y="157445"/>
                      </a:lnTo>
                      <a:lnTo>
                        <a:pt x="170475" y="136028"/>
                      </a:lnTo>
                      <a:lnTo>
                        <a:pt x="167210" y="115347"/>
                      </a:lnTo>
                      <a:lnTo>
                        <a:pt x="172300" y="111729"/>
                      </a:lnTo>
                      <a:lnTo>
                        <a:pt x="170475" y="95402"/>
                      </a:lnTo>
                      <a:lnTo>
                        <a:pt x="160327" y="90312"/>
                      </a:lnTo>
                      <a:lnTo>
                        <a:pt x="161767" y="77634"/>
                      </a:lnTo>
                      <a:lnTo>
                        <a:pt x="153444" y="71456"/>
                      </a:lnTo>
                      <a:lnTo>
                        <a:pt x="151619" y="64573"/>
                      </a:lnTo>
                      <a:lnTo>
                        <a:pt x="156709" y="63836"/>
                      </a:lnTo>
                      <a:lnTo>
                        <a:pt x="160327" y="48982"/>
                      </a:lnTo>
                      <a:lnTo>
                        <a:pt x="145440" y="39537"/>
                      </a:lnTo>
                      <a:lnTo>
                        <a:pt x="136028" y="43155"/>
                      </a:lnTo>
                      <a:lnTo>
                        <a:pt x="136028" y="29389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5" name="Forma Livre: Forma 404">
                  <a:extLst>
                    <a:ext uri="{FF2B5EF4-FFF2-40B4-BE49-F238E27FC236}">
                      <a16:creationId xmlns:a16="http://schemas.microsoft.com/office/drawing/2014/main" id="{E06D1048-E4C1-C5B9-9C86-437754A2E839}"/>
                    </a:ext>
                  </a:extLst>
                </p:cNvPr>
                <p:cNvSpPr/>
                <p:nvPr/>
              </p:nvSpPr>
              <p:spPr>
                <a:xfrm>
                  <a:off x="3217876" y="5200180"/>
                  <a:ext cx="346808" cy="300388"/>
                </a:xfrm>
                <a:custGeom>
                  <a:avLst/>
                  <a:gdLst>
                    <a:gd name="csX0" fmla="*/ 85990 w 346808"/>
                    <a:gd name="csY0" fmla="*/ 26860 h 300388"/>
                    <a:gd name="csX1" fmla="*/ 86726 w 346808"/>
                    <a:gd name="csY1" fmla="*/ 16327 h 300388"/>
                    <a:gd name="csX2" fmla="*/ 79107 w 346808"/>
                    <a:gd name="csY2" fmla="*/ 9444 h 300388"/>
                    <a:gd name="csX3" fmla="*/ 79811 w 346808"/>
                    <a:gd name="csY3" fmla="*/ 736 h 300388"/>
                    <a:gd name="csX4" fmla="*/ 74753 w 346808"/>
                    <a:gd name="csY4" fmla="*/ 0 h 300388"/>
                    <a:gd name="csX5" fmla="*/ 66045 w 346808"/>
                    <a:gd name="csY5" fmla="*/ 17416 h 300388"/>
                    <a:gd name="csX6" fmla="*/ 66045 w 346808"/>
                    <a:gd name="csY6" fmla="*/ 34479 h 300388"/>
                    <a:gd name="csX7" fmla="*/ 70399 w 346808"/>
                    <a:gd name="csY7" fmla="*/ 56953 h 300388"/>
                    <a:gd name="csX8" fmla="*/ 62780 w 346808"/>
                    <a:gd name="csY8" fmla="*/ 73280 h 300388"/>
                    <a:gd name="csX9" fmla="*/ 62780 w 346808"/>
                    <a:gd name="csY9" fmla="*/ 82724 h 300388"/>
                    <a:gd name="csX10" fmla="*/ 66045 w 346808"/>
                    <a:gd name="csY10" fmla="*/ 85254 h 300388"/>
                    <a:gd name="csX11" fmla="*/ 58426 w 346808"/>
                    <a:gd name="csY11" fmla="*/ 92873 h 300388"/>
                    <a:gd name="csX12" fmla="*/ 49718 w 346808"/>
                    <a:gd name="csY12" fmla="*/ 110289 h 300388"/>
                    <a:gd name="csX13" fmla="*/ 52247 w 346808"/>
                    <a:gd name="csY13" fmla="*/ 116083 h 300388"/>
                    <a:gd name="csX14" fmla="*/ 62043 w 346808"/>
                    <a:gd name="csY14" fmla="*/ 117171 h 300388"/>
                    <a:gd name="csX15" fmla="*/ 69663 w 346808"/>
                    <a:gd name="csY15" fmla="*/ 110289 h 300388"/>
                    <a:gd name="csX16" fmla="*/ 69663 w 346808"/>
                    <a:gd name="csY16" fmla="*/ 118644 h 300388"/>
                    <a:gd name="csX17" fmla="*/ 79811 w 346808"/>
                    <a:gd name="csY17" fmla="*/ 124087 h 300388"/>
                    <a:gd name="csX18" fmla="*/ 83461 w 346808"/>
                    <a:gd name="csY18" fmla="*/ 130970 h 300388"/>
                    <a:gd name="csX19" fmla="*/ 96138 w 346808"/>
                    <a:gd name="csY19" fmla="*/ 124087 h 300388"/>
                    <a:gd name="csX20" fmla="*/ 92136 w 346808"/>
                    <a:gd name="csY20" fmla="*/ 141855 h 300388"/>
                    <a:gd name="csX21" fmla="*/ 94698 w 346808"/>
                    <a:gd name="csY21" fmla="*/ 145472 h 300388"/>
                    <a:gd name="csX22" fmla="*/ 105935 w 346808"/>
                    <a:gd name="csY22" fmla="*/ 145472 h 300388"/>
                    <a:gd name="csX23" fmla="*/ 116819 w 346808"/>
                    <a:gd name="csY23" fmla="*/ 140382 h 300388"/>
                    <a:gd name="csX24" fmla="*/ 130617 w 346808"/>
                    <a:gd name="csY24" fmla="*/ 146209 h 300388"/>
                    <a:gd name="csX25" fmla="*/ 111729 w 346808"/>
                    <a:gd name="csY25" fmla="*/ 159270 h 300388"/>
                    <a:gd name="csX26" fmla="*/ 117908 w 346808"/>
                    <a:gd name="csY26" fmla="*/ 163624 h 300388"/>
                    <a:gd name="csX27" fmla="*/ 109200 w 346808"/>
                    <a:gd name="csY27" fmla="*/ 166153 h 300388"/>
                    <a:gd name="csX28" fmla="*/ 99052 w 346808"/>
                    <a:gd name="csY28" fmla="*/ 171948 h 300388"/>
                    <a:gd name="csX29" fmla="*/ 59130 w 346808"/>
                    <a:gd name="csY29" fmla="*/ 180656 h 300388"/>
                    <a:gd name="csX30" fmla="*/ 23242 w 346808"/>
                    <a:gd name="csY30" fmla="*/ 178126 h 300388"/>
                    <a:gd name="csX31" fmla="*/ 21417 w 346808"/>
                    <a:gd name="csY31" fmla="*/ 189363 h 300388"/>
                    <a:gd name="csX32" fmla="*/ 9444 w 346808"/>
                    <a:gd name="csY32" fmla="*/ 192629 h 300388"/>
                    <a:gd name="csX33" fmla="*/ 13798 w 346808"/>
                    <a:gd name="csY33" fmla="*/ 207516 h 300388"/>
                    <a:gd name="csX34" fmla="*/ 0 w 346808"/>
                    <a:gd name="csY34" fmla="*/ 242699 h 300388"/>
                    <a:gd name="csX35" fmla="*/ 8356 w 346808"/>
                    <a:gd name="csY35" fmla="*/ 250318 h 300388"/>
                    <a:gd name="csX36" fmla="*/ 37008 w 346808"/>
                    <a:gd name="csY36" fmla="*/ 276057 h 300388"/>
                    <a:gd name="csX37" fmla="*/ 43891 w 346808"/>
                    <a:gd name="csY37" fmla="*/ 269175 h 300388"/>
                    <a:gd name="csX38" fmla="*/ 55160 w 346808"/>
                    <a:gd name="csY38" fmla="*/ 270263 h 300388"/>
                    <a:gd name="csX39" fmla="*/ 67838 w 346808"/>
                    <a:gd name="csY39" fmla="*/ 262292 h 300388"/>
                    <a:gd name="csX40" fmla="*/ 76546 w 346808"/>
                    <a:gd name="csY40" fmla="*/ 265173 h 300388"/>
                    <a:gd name="csX41" fmla="*/ 106671 w 346808"/>
                    <a:gd name="csY41" fmla="*/ 258290 h 300388"/>
                    <a:gd name="csX42" fmla="*/ 113554 w 346808"/>
                    <a:gd name="csY42" fmla="*/ 261555 h 300388"/>
                    <a:gd name="csX43" fmla="*/ 125527 w 346808"/>
                    <a:gd name="csY43" fmla="*/ 256465 h 300388"/>
                    <a:gd name="csX44" fmla="*/ 196278 w 346808"/>
                    <a:gd name="csY44" fmla="*/ 300388 h 300388"/>
                    <a:gd name="csX45" fmla="*/ 212573 w 346808"/>
                    <a:gd name="csY45" fmla="*/ 242699 h 300388"/>
                    <a:gd name="csX46" fmla="*/ 223843 w 346808"/>
                    <a:gd name="csY46" fmla="*/ 203162 h 300388"/>
                    <a:gd name="csX47" fmla="*/ 229637 w 346808"/>
                    <a:gd name="csY47" fmla="*/ 203162 h 300388"/>
                    <a:gd name="csX48" fmla="*/ 259026 w 346808"/>
                    <a:gd name="csY48" fmla="*/ 203866 h 300388"/>
                    <a:gd name="csX49" fmla="*/ 271704 w 346808"/>
                    <a:gd name="csY49" fmla="*/ 194454 h 300388"/>
                    <a:gd name="csX50" fmla="*/ 313066 w 346808"/>
                    <a:gd name="csY50" fmla="*/ 191188 h 300388"/>
                    <a:gd name="csX51" fmla="*/ 319949 w 346808"/>
                    <a:gd name="csY51" fmla="*/ 185746 h 300388"/>
                    <a:gd name="csX52" fmla="*/ 319949 w 346808"/>
                    <a:gd name="csY52" fmla="*/ 178126 h 300388"/>
                    <a:gd name="csX53" fmla="*/ 321037 w 346808"/>
                    <a:gd name="csY53" fmla="*/ 171948 h 300388"/>
                    <a:gd name="csX54" fmla="*/ 342455 w 346808"/>
                    <a:gd name="csY54" fmla="*/ 163624 h 300388"/>
                    <a:gd name="csX55" fmla="*/ 346809 w 346808"/>
                    <a:gd name="csY55" fmla="*/ 159270 h 300388"/>
                    <a:gd name="csX56" fmla="*/ 328657 w 346808"/>
                    <a:gd name="csY56" fmla="*/ 152355 h 300388"/>
                    <a:gd name="csX57" fmla="*/ 315595 w 346808"/>
                    <a:gd name="csY57" fmla="*/ 154916 h 300388"/>
                    <a:gd name="csX58" fmla="*/ 314891 w 346808"/>
                    <a:gd name="csY58" fmla="*/ 148738 h 300388"/>
                    <a:gd name="csX59" fmla="*/ 300388 w 346808"/>
                    <a:gd name="csY59" fmla="*/ 132410 h 300388"/>
                    <a:gd name="csX60" fmla="*/ 302917 w 346808"/>
                    <a:gd name="csY60" fmla="*/ 104846 h 300388"/>
                    <a:gd name="csX61" fmla="*/ 282236 w 346808"/>
                    <a:gd name="csY61" fmla="*/ 81636 h 300388"/>
                    <a:gd name="csX62" fmla="*/ 270263 w 346808"/>
                    <a:gd name="csY62" fmla="*/ 81636 h 300388"/>
                    <a:gd name="csX63" fmla="*/ 261555 w 346808"/>
                    <a:gd name="csY63" fmla="*/ 74017 h 300388"/>
                    <a:gd name="csX64" fmla="*/ 256465 w 346808"/>
                    <a:gd name="csY64" fmla="*/ 71488 h 300388"/>
                    <a:gd name="csX65" fmla="*/ 238345 w 346808"/>
                    <a:gd name="csY65" fmla="*/ 80900 h 300388"/>
                    <a:gd name="csX66" fmla="*/ 231462 w 346808"/>
                    <a:gd name="csY66" fmla="*/ 69663 h 300388"/>
                    <a:gd name="csX67" fmla="*/ 201337 w 346808"/>
                    <a:gd name="csY67" fmla="*/ 85990 h 300388"/>
                    <a:gd name="csX68" fmla="*/ 194454 w 346808"/>
                    <a:gd name="csY68" fmla="*/ 90344 h 300388"/>
                    <a:gd name="csX69" fmla="*/ 155620 w 346808"/>
                    <a:gd name="csY69" fmla="*/ 90344 h 300388"/>
                    <a:gd name="csX70" fmla="*/ 146913 w 346808"/>
                    <a:gd name="csY70" fmla="*/ 60218 h 300388"/>
                    <a:gd name="csX71" fmla="*/ 146913 w 346808"/>
                    <a:gd name="csY71" fmla="*/ 15623 h 300388"/>
                    <a:gd name="csX72" fmla="*/ 133147 w 346808"/>
                    <a:gd name="csY72" fmla="*/ 17416 h 300388"/>
                    <a:gd name="csX73" fmla="*/ 131706 w 346808"/>
                    <a:gd name="csY73" fmla="*/ 15623 h 300388"/>
                    <a:gd name="csX74" fmla="*/ 111025 w 346808"/>
                    <a:gd name="csY74" fmla="*/ 30125 h 300388"/>
                    <a:gd name="csX75" fmla="*/ 95402 w 346808"/>
                    <a:gd name="csY75" fmla="*/ 29389 h 300388"/>
                    <a:gd name="csX76" fmla="*/ 91048 w 346808"/>
                    <a:gd name="csY76" fmla="*/ 32654 h 300388"/>
                    <a:gd name="csX77" fmla="*/ 85990 w 346808"/>
                    <a:gd name="csY77" fmla="*/ 26860 h 30038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</a:cxnLst>
                  <a:rect l="l" t="t" r="r" b="b"/>
                  <a:pathLst>
                    <a:path w="346808" h="300388">
                      <a:moveTo>
                        <a:pt x="85990" y="26860"/>
                      </a:moveTo>
                      <a:lnTo>
                        <a:pt x="86726" y="16327"/>
                      </a:lnTo>
                      <a:lnTo>
                        <a:pt x="79107" y="9444"/>
                      </a:lnTo>
                      <a:lnTo>
                        <a:pt x="79811" y="736"/>
                      </a:lnTo>
                      <a:lnTo>
                        <a:pt x="74753" y="0"/>
                      </a:lnTo>
                      <a:lnTo>
                        <a:pt x="66045" y="17416"/>
                      </a:lnTo>
                      <a:lnTo>
                        <a:pt x="66045" y="34479"/>
                      </a:lnTo>
                      <a:lnTo>
                        <a:pt x="70399" y="56953"/>
                      </a:lnTo>
                      <a:lnTo>
                        <a:pt x="62780" y="73280"/>
                      </a:lnTo>
                      <a:lnTo>
                        <a:pt x="62780" y="82724"/>
                      </a:lnTo>
                      <a:lnTo>
                        <a:pt x="66045" y="85254"/>
                      </a:lnTo>
                      <a:lnTo>
                        <a:pt x="58426" y="92873"/>
                      </a:lnTo>
                      <a:lnTo>
                        <a:pt x="49718" y="110289"/>
                      </a:lnTo>
                      <a:lnTo>
                        <a:pt x="52247" y="116083"/>
                      </a:lnTo>
                      <a:lnTo>
                        <a:pt x="62043" y="117171"/>
                      </a:lnTo>
                      <a:lnTo>
                        <a:pt x="69663" y="110289"/>
                      </a:lnTo>
                      <a:lnTo>
                        <a:pt x="69663" y="118644"/>
                      </a:lnTo>
                      <a:lnTo>
                        <a:pt x="79811" y="124087"/>
                      </a:lnTo>
                      <a:lnTo>
                        <a:pt x="83461" y="130970"/>
                      </a:lnTo>
                      <a:lnTo>
                        <a:pt x="96138" y="124087"/>
                      </a:lnTo>
                      <a:lnTo>
                        <a:pt x="92136" y="141855"/>
                      </a:lnTo>
                      <a:lnTo>
                        <a:pt x="94698" y="145472"/>
                      </a:lnTo>
                      <a:lnTo>
                        <a:pt x="105935" y="145472"/>
                      </a:lnTo>
                      <a:lnTo>
                        <a:pt x="116819" y="140382"/>
                      </a:lnTo>
                      <a:lnTo>
                        <a:pt x="130617" y="146209"/>
                      </a:lnTo>
                      <a:lnTo>
                        <a:pt x="111729" y="159270"/>
                      </a:lnTo>
                      <a:lnTo>
                        <a:pt x="117908" y="163624"/>
                      </a:lnTo>
                      <a:lnTo>
                        <a:pt x="109200" y="166153"/>
                      </a:lnTo>
                      <a:lnTo>
                        <a:pt x="99052" y="171948"/>
                      </a:lnTo>
                      <a:lnTo>
                        <a:pt x="59130" y="180656"/>
                      </a:lnTo>
                      <a:lnTo>
                        <a:pt x="23242" y="178126"/>
                      </a:lnTo>
                      <a:lnTo>
                        <a:pt x="21417" y="189363"/>
                      </a:lnTo>
                      <a:lnTo>
                        <a:pt x="9444" y="192629"/>
                      </a:lnTo>
                      <a:lnTo>
                        <a:pt x="13798" y="207516"/>
                      </a:lnTo>
                      <a:lnTo>
                        <a:pt x="0" y="242699"/>
                      </a:lnTo>
                      <a:lnTo>
                        <a:pt x="8356" y="250318"/>
                      </a:lnTo>
                      <a:lnTo>
                        <a:pt x="37008" y="276057"/>
                      </a:lnTo>
                      <a:lnTo>
                        <a:pt x="43891" y="269175"/>
                      </a:lnTo>
                      <a:lnTo>
                        <a:pt x="55160" y="270263"/>
                      </a:lnTo>
                      <a:lnTo>
                        <a:pt x="67838" y="262292"/>
                      </a:lnTo>
                      <a:lnTo>
                        <a:pt x="76546" y="265173"/>
                      </a:lnTo>
                      <a:lnTo>
                        <a:pt x="106671" y="258290"/>
                      </a:lnTo>
                      <a:lnTo>
                        <a:pt x="113554" y="261555"/>
                      </a:lnTo>
                      <a:lnTo>
                        <a:pt x="125527" y="256465"/>
                      </a:lnTo>
                      <a:lnTo>
                        <a:pt x="196278" y="300388"/>
                      </a:lnTo>
                      <a:lnTo>
                        <a:pt x="212573" y="242699"/>
                      </a:lnTo>
                      <a:lnTo>
                        <a:pt x="223843" y="203162"/>
                      </a:lnTo>
                      <a:lnTo>
                        <a:pt x="229637" y="203162"/>
                      </a:lnTo>
                      <a:lnTo>
                        <a:pt x="259026" y="203866"/>
                      </a:lnTo>
                      <a:lnTo>
                        <a:pt x="271704" y="194454"/>
                      </a:lnTo>
                      <a:lnTo>
                        <a:pt x="313066" y="191188"/>
                      </a:lnTo>
                      <a:lnTo>
                        <a:pt x="319949" y="185746"/>
                      </a:lnTo>
                      <a:lnTo>
                        <a:pt x="319949" y="178126"/>
                      </a:lnTo>
                      <a:lnTo>
                        <a:pt x="321037" y="171948"/>
                      </a:lnTo>
                      <a:lnTo>
                        <a:pt x="342455" y="163624"/>
                      </a:lnTo>
                      <a:lnTo>
                        <a:pt x="346809" y="159270"/>
                      </a:lnTo>
                      <a:lnTo>
                        <a:pt x="328657" y="152355"/>
                      </a:lnTo>
                      <a:lnTo>
                        <a:pt x="315595" y="154916"/>
                      </a:lnTo>
                      <a:lnTo>
                        <a:pt x="314891" y="148738"/>
                      </a:lnTo>
                      <a:lnTo>
                        <a:pt x="300388" y="132410"/>
                      </a:lnTo>
                      <a:lnTo>
                        <a:pt x="302917" y="104846"/>
                      </a:lnTo>
                      <a:lnTo>
                        <a:pt x="282236" y="81636"/>
                      </a:lnTo>
                      <a:lnTo>
                        <a:pt x="270263" y="81636"/>
                      </a:lnTo>
                      <a:lnTo>
                        <a:pt x="261555" y="74017"/>
                      </a:lnTo>
                      <a:lnTo>
                        <a:pt x="256465" y="71488"/>
                      </a:lnTo>
                      <a:lnTo>
                        <a:pt x="238345" y="80900"/>
                      </a:lnTo>
                      <a:lnTo>
                        <a:pt x="231462" y="69663"/>
                      </a:lnTo>
                      <a:lnTo>
                        <a:pt x="201337" y="85990"/>
                      </a:lnTo>
                      <a:lnTo>
                        <a:pt x="194454" y="90344"/>
                      </a:lnTo>
                      <a:lnTo>
                        <a:pt x="155620" y="90344"/>
                      </a:lnTo>
                      <a:lnTo>
                        <a:pt x="146913" y="60218"/>
                      </a:lnTo>
                      <a:lnTo>
                        <a:pt x="146913" y="15623"/>
                      </a:lnTo>
                      <a:lnTo>
                        <a:pt x="133147" y="17416"/>
                      </a:lnTo>
                      <a:lnTo>
                        <a:pt x="131706" y="15623"/>
                      </a:lnTo>
                      <a:lnTo>
                        <a:pt x="111025" y="30125"/>
                      </a:lnTo>
                      <a:lnTo>
                        <a:pt x="95402" y="29389"/>
                      </a:lnTo>
                      <a:lnTo>
                        <a:pt x="91048" y="32654"/>
                      </a:lnTo>
                      <a:lnTo>
                        <a:pt x="85990" y="2686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6" name="Forma Livre: Forma 405">
                  <a:extLst>
                    <a:ext uri="{FF2B5EF4-FFF2-40B4-BE49-F238E27FC236}">
                      <a16:creationId xmlns:a16="http://schemas.microsoft.com/office/drawing/2014/main" id="{27D640F8-1169-B9BF-AF94-5463DE99C215}"/>
                    </a:ext>
                  </a:extLst>
                </p:cNvPr>
                <p:cNvSpPr/>
                <p:nvPr/>
              </p:nvSpPr>
              <p:spPr>
                <a:xfrm>
                  <a:off x="2990448" y="2823038"/>
                  <a:ext cx="426235" cy="318508"/>
                </a:xfrm>
                <a:custGeom>
                  <a:avLst/>
                  <a:gdLst>
                    <a:gd name="csX0" fmla="*/ 336628 w 426235"/>
                    <a:gd name="csY0" fmla="*/ 8708 h 318508"/>
                    <a:gd name="csX1" fmla="*/ 319565 w 426235"/>
                    <a:gd name="csY1" fmla="*/ 0 h 318508"/>
                    <a:gd name="csX2" fmla="*/ 279675 w 426235"/>
                    <a:gd name="csY2" fmla="*/ 5090 h 318508"/>
                    <a:gd name="csX3" fmla="*/ 245580 w 426235"/>
                    <a:gd name="csY3" fmla="*/ 15591 h 318508"/>
                    <a:gd name="csX4" fmla="*/ 242667 w 426235"/>
                    <a:gd name="csY4" fmla="*/ 23947 h 318508"/>
                    <a:gd name="csX5" fmla="*/ 226340 w 426235"/>
                    <a:gd name="csY5" fmla="*/ 29389 h 318508"/>
                    <a:gd name="csX6" fmla="*/ 220545 w 426235"/>
                    <a:gd name="csY6" fmla="*/ 38833 h 318508"/>
                    <a:gd name="csX7" fmla="*/ 203129 w 426235"/>
                    <a:gd name="csY7" fmla="*/ 39537 h 318508"/>
                    <a:gd name="csX8" fmla="*/ 201689 w 426235"/>
                    <a:gd name="csY8" fmla="*/ 34479 h 318508"/>
                    <a:gd name="csX9" fmla="*/ 198776 w 426235"/>
                    <a:gd name="csY9" fmla="*/ 40274 h 318508"/>
                    <a:gd name="csX10" fmla="*/ 191156 w 426235"/>
                    <a:gd name="csY10" fmla="*/ 42099 h 318508"/>
                    <a:gd name="csX11" fmla="*/ 174125 w 426235"/>
                    <a:gd name="csY11" fmla="*/ 50806 h 318508"/>
                    <a:gd name="csX12" fmla="*/ 178479 w 426235"/>
                    <a:gd name="csY12" fmla="*/ 56601 h 318508"/>
                    <a:gd name="csX13" fmla="*/ 163592 w 426235"/>
                    <a:gd name="csY13" fmla="*/ 60218 h 318508"/>
                    <a:gd name="csX14" fmla="*/ 150882 w 426235"/>
                    <a:gd name="csY14" fmla="*/ 80163 h 318508"/>
                    <a:gd name="csX15" fmla="*/ 132762 w 426235"/>
                    <a:gd name="csY15" fmla="*/ 93609 h 318508"/>
                    <a:gd name="csX16" fmla="*/ 130938 w 426235"/>
                    <a:gd name="csY16" fmla="*/ 100492 h 318508"/>
                    <a:gd name="csX17" fmla="*/ 118964 w 426235"/>
                    <a:gd name="csY17" fmla="*/ 104846 h 318508"/>
                    <a:gd name="csX18" fmla="*/ 112081 w 426235"/>
                    <a:gd name="csY18" fmla="*/ 100492 h 318508"/>
                    <a:gd name="csX19" fmla="*/ 100108 w 426235"/>
                    <a:gd name="csY19" fmla="*/ 109200 h 318508"/>
                    <a:gd name="csX20" fmla="*/ 87046 w 426235"/>
                    <a:gd name="csY20" fmla="*/ 109200 h 318508"/>
                    <a:gd name="csX21" fmla="*/ 71455 w 426235"/>
                    <a:gd name="csY21" fmla="*/ 118612 h 318508"/>
                    <a:gd name="csX22" fmla="*/ 58746 w 426235"/>
                    <a:gd name="csY22" fmla="*/ 119701 h 318508"/>
                    <a:gd name="csX23" fmla="*/ 50774 w 426235"/>
                    <a:gd name="csY23" fmla="*/ 125527 h 318508"/>
                    <a:gd name="csX24" fmla="*/ 44980 w 426235"/>
                    <a:gd name="csY24" fmla="*/ 142943 h 318508"/>
                    <a:gd name="csX25" fmla="*/ 31918 w 426235"/>
                    <a:gd name="csY25" fmla="*/ 147297 h 318508"/>
                    <a:gd name="csX26" fmla="*/ 21770 w 426235"/>
                    <a:gd name="csY26" fmla="*/ 145472 h 318508"/>
                    <a:gd name="csX27" fmla="*/ 9796 w 426235"/>
                    <a:gd name="csY27" fmla="*/ 132410 h 318508"/>
                    <a:gd name="csX28" fmla="*/ 4354 w 426235"/>
                    <a:gd name="csY28" fmla="*/ 128056 h 318508"/>
                    <a:gd name="csX29" fmla="*/ 0 w 426235"/>
                    <a:gd name="csY29" fmla="*/ 132410 h 318508"/>
                    <a:gd name="csX30" fmla="*/ 1793 w 426235"/>
                    <a:gd name="csY30" fmla="*/ 139293 h 318508"/>
                    <a:gd name="csX31" fmla="*/ 13062 w 426235"/>
                    <a:gd name="csY31" fmla="*/ 146208 h 318508"/>
                    <a:gd name="csX32" fmla="*/ 8708 w 426235"/>
                    <a:gd name="csY32" fmla="*/ 157445 h 318508"/>
                    <a:gd name="csX33" fmla="*/ 19208 w 426235"/>
                    <a:gd name="csY33" fmla="*/ 177390 h 318508"/>
                    <a:gd name="csX34" fmla="*/ 31182 w 426235"/>
                    <a:gd name="csY34" fmla="*/ 177390 h 318508"/>
                    <a:gd name="csX35" fmla="*/ 38801 w 426235"/>
                    <a:gd name="csY35" fmla="*/ 168682 h 318508"/>
                    <a:gd name="csX36" fmla="*/ 50774 w 426235"/>
                    <a:gd name="csY36" fmla="*/ 167594 h 318508"/>
                    <a:gd name="csX37" fmla="*/ 56953 w 426235"/>
                    <a:gd name="csY37" fmla="*/ 161799 h 318508"/>
                    <a:gd name="csX38" fmla="*/ 51863 w 426235"/>
                    <a:gd name="csY38" fmla="*/ 157445 h 318508"/>
                    <a:gd name="csX39" fmla="*/ 51863 w 426235"/>
                    <a:gd name="csY39" fmla="*/ 141854 h 318508"/>
                    <a:gd name="csX40" fmla="*/ 76898 w 426235"/>
                    <a:gd name="csY40" fmla="*/ 152355 h 318508"/>
                    <a:gd name="csX41" fmla="*/ 75073 w 426235"/>
                    <a:gd name="csY41" fmla="*/ 143647 h 318508"/>
                    <a:gd name="csX42" fmla="*/ 87046 w 426235"/>
                    <a:gd name="csY42" fmla="*/ 134235 h 318508"/>
                    <a:gd name="csX43" fmla="*/ 96490 w 426235"/>
                    <a:gd name="csY43" fmla="*/ 136028 h 318508"/>
                    <a:gd name="csX44" fmla="*/ 101549 w 426235"/>
                    <a:gd name="csY44" fmla="*/ 151267 h 318508"/>
                    <a:gd name="csX45" fmla="*/ 108464 w 426235"/>
                    <a:gd name="csY45" fmla="*/ 153091 h 318508"/>
                    <a:gd name="csX46" fmla="*/ 108464 w 426235"/>
                    <a:gd name="csY46" fmla="*/ 161799 h 318508"/>
                    <a:gd name="csX47" fmla="*/ 108464 w 426235"/>
                    <a:gd name="csY47" fmla="*/ 185009 h 318508"/>
                    <a:gd name="csX48" fmla="*/ 99020 w 426235"/>
                    <a:gd name="csY48" fmla="*/ 229637 h 318508"/>
                    <a:gd name="csX49" fmla="*/ 106991 w 426235"/>
                    <a:gd name="csY49" fmla="*/ 252847 h 318508"/>
                    <a:gd name="csX50" fmla="*/ 117876 w 426235"/>
                    <a:gd name="csY50" fmla="*/ 254672 h 318508"/>
                    <a:gd name="csX51" fmla="*/ 117172 w 426235"/>
                    <a:gd name="csY51" fmla="*/ 259026 h 318508"/>
                    <a:gd name="csX52" fmla="*/ 126584 w 426235"/>
                    <a:gd name="csY52" fmla="*/ 262291 h 318508"/>
                    <a:gd name="csX53" fmla="*/ 135292 w 426235"/>
                    <a:gd name="csY53" fmla="*/ 257938 h 318508"/>
                    <a:gd name="csX54" fmla="*/ 155973 w 426235"/>
                    <a:gd name="csY54" fmla="*/ 261555 h 318508"/>
                    <a:gd name="csX55" fmla="*/ 159238 w 426235"/>
                    <a:gd name="csY55" fmla="*/ 265909 h 318508"/>
                    <a:gd name="csX56" fmla="*/ 161063 w 426235"/>
                    <a:gd name="csY56" fmla="*/ 270999 h 318508"/>
                    <a:gd name="csX57" fmla="*/ 155973 w 426235"/>
                    <a:gd name="csY57" fmla="*/ 276057 h 318508"/>
                    <a:gd name="csX58" fmla="*/ 137853 w 426235"/>
                    <a:gd name="csY58" fmla="*/ 277146 h 318508"/>
                    <a:gd name="csX59" fmla="*/ 142911 w 426235"/>
                    <a:gd name="csY59" fmla="*/ 290944 h 318508"/>
                    <a:gd name="csX60" fmla="*/ 163592 w 426235"/>
                    <a:gd name="csY60" fmla="*/ 287294 h 318508"/>
                    <a:gd name="csX61" fmla="*/ 168682 w 426235"/>
                    <a:gd name="csY61" fmla="*/ 291648 h 318508"/>
                    <a:gd name="csX62" fmla="*/ 179183 w 426235"/>
                    <a:gd name="csY62" fmla="*/ 285502 h 318508"/>
                    <a:gd name="csX63" fmla="*/ 201689 w 426235"/>
                    <a:gd name="csY63" fmla="*/ 291648 h 318508"/>
                    <a:gd name="csX64" fmla="*/ 216191 w 426235"/>
                    <a:gd name="csY64" fmla="*/ 315595 h 318508"/>
                    <a:gd name="csX65" fmla="*/ 235048 w 426235"/>
                    <a:gd name="csY65" fmla="*/ 314891 h 318508"/>
                    <a:gd name="csX66" fmla="*/ 235784 w 426235"/>
                    <a:gd name="csY66" fmla="*/ 318508 h 318508"/>
                    <a:gd name="csX67" fmla="*/ 241963 w 426235"/>
                    <a:gd name="csY67" fmla="*/ 316683 h 318508"/>
                    <a:gd name="csX68" fmla="*/ 256465 w 426235"/>
                    <a:gd name="csY68" fmla="*/ 309800 h 318508"/>
                    <a:gd name="csX69" fmla="*/ 278235 w 426235"/>
                    <a:gd name="csY69" fmla="*/ 308712 h 318508"/>
                    <a:gd name="csX70" fmla="*/ 310152 w 426235"/>
                    <a:gd name="csY70" fmla="*/ 284061 h 318508"/>
                    <a:gd name="csX71" fmla="*/ 347161 w 426235"/>
                    <a:gd name="csY71" fmla="*/ 264821 h 318508"/>
                    <a:gd name="csX72" fmla="*/ 378695 w 426235"/>
                    <a:gd name="csY72" fmla="*/ 236520 h 318508"/>
                    <a:gd name="csX73" fmla="*/ 387403 w 426235"/>
                    <a:gd name="csY73" fmla="*/ 234695 h 318508"/>
                    <a:gd name="csX74" fmla="*/ 397935 w 426235"/>
                    <a:gd name="csY74" fmla="*/ 238345 h 318508"/>
                    <a:gd name="csX75" fmla="*/ 408084 w 426235"/>
                    <a:gd name="csY75" fmla="*/ 230726 h 318508"/>
                    <a:gd name="csX76" fmla="*/ 426236 w 426235"/>
                    <a:gd name="csY76" fmla="*/ 227076 h 318508"/>
                    <a:gd name="csX77" fmla="*/ 408084 w 426235"/>
                    <a:gd name="csY77" fmla="*/ 217664 h 318508"/>
                    <a:gd name="csX78" fmla="*/ 414262 w 426235"/>
                    <a:gd name="csY78" fmla="*/ 195158 h 318508"/>
                    <a:gd name="csX79" fmla="*/ 403025 w 426235"/>
                    <a:gd name="csY79" fmla="*/ 178126 h 318508"/>
                    <a:gd name="csX80" fmla="*/ 378695 w 426235"/>
                    <a:gd name="csY80" fmla="*/ 181392 h 318508"/>
                    <a:gd name="csX81" fmla="*/ 359838 w 426235"/>
                    <a:gd name="csY81" fmla="*/ 162503 h 318508"/>
                    <a:gd name="csX82" fmla="*/ 354044 w 426235"/>
                    <a:gd name="csY82" fmla="*/ 149826 h 318508"/>
                    <a:gd name="csX83" fmla="*/ 355485 w 426235"/>
                    <a:gd name="csY83" fmla="*/ 136028 h 318508"/>
                    <a:gd name="csX84" fmla="*/ 336628 w 426235"/>
                    <a:gd name="csY84" fmla="*/ 127320 h 318508"/>
                    <a:gd name="csX85" fmla="*/ 329745 w 426235"/>
                    <a:gd name="csY85" fmla="*/ 111729 h 318508"/>
                    <a:gd name="csX86" fmla="*/ 318476 w 426235"/>
                    <a:gd name="csY86" fmla="*/ 104110 h 318508"/>
                    <a:gd name="csX87" fmla="*/ 315211 w 426235"/>
                    <a:gd name="csY87" fmla="*/ 85254 h 318508"/>
                    <a:gd name="csX88" fmla="*/ 321037 w 426235"/>
                    <a:gd name="csY88" fmla="*/ 59482 h 318508"/>
                    <a:gd name="csX89" fmla="*/ 317772 w 426235"/>
                    <a:gd name="csY89" fmla="*/ 48245 h 318508"/>
                    <a:gd name="csX90" fmla="*/ 316683 w 426235"/>
                    <a:gd name="csY90" fmla="*/ 34479 h 318508"/>
                    <a:gd name="csX91" fmla="*/ 336628 w 426235"/>
                    <a:gd name="csY91" fmla="*/ 8708 h 3185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</a:cxnLst>
                  <a:rect l="l" t="t" r="r" b="b"/>
                  <a:pathLst>
                    <a:path w="426235" h="318508">
                      <a:moveTo>
                        <a:pt x="336628" y="8708"/>
                      </a:moveTo>
                      <a:lnTo>
                        <a:pt x="319565" y="0"/>
                      </a:lnTo>
                      <a:lnTo>
                        <a:pt x="279675" y="5090"/>
                      </a:lnTo>
                      <a:lnTo>
                        <a:pt x="245580" y="15591"/>
                      </a:lnTo>
                      <a:lnTo>
                        <a:pt x="242667" y="23947"/>
                      </a:lnTo>
                      <a:lnTo>
                        <a:pt x="226340" y="29389"/>
                      </a:lnTo>
                      <a:lnTo>
                        <a:pt x="220545" y="38833"/>
                      </a:lnTo>
                      <a:lnTo>
                        <a:pt x="203129" y="39537"/>
                      </a:lnTo>
                      <a:lnTo>
                        <a:pt x="201689" y="34479"/>
                      </a:lnTo>
                      <a:lnTo>
                        <a:pt x="198776" y="40274"/>
                      </a:lnTo>
                      <a:lnTo>
                        <a:pt x="191156" y="42099"/>
                      </a:lnTo>
                      <a:lnTo>
                        <a:pt x="174125" y="50806"/>
                      </a:lnTo>
                      <a:lnTo>
                        <a:pt x="178479" y="56601"/>
                      </a:lnTo>
                      <a:lnTo>
                        <a:pt x="163592" y="60218"/>
                      </a:lnTo>
                      <a:lnTo>
                        <a:pt x="150882" y="80163"/>
                      </a:lnTo>
                      <a:lnTo>
                        <a:pt x="132762" y="93609"/>
                      </a:lnTo>
                      <a:lnTo>
                        <a:pt x="130938" y="100492"/>
                      </a:lnTo>
                      <a:lnTo>
                        <a:pt x="118964" y="104846"/>
                      </a:lnTo>
                      <a:lnTo>
                        <a:pt x="112081" y="100492"/>
                      </a:lnTo>
                      <a:lnTo>
                        <a:pt x="100108" y="109200"/>
                      </a:lnTo>
                      <a:lnTo>
                        <a:pt x="87046" y="109200"/>
                      </a:lnTo>
                      <a:lnTo>
                        <a:pt x="71455" y="118612"/>
                      </a:lnTo>
                      <a:lnTo>
                        <a:pt x="58746" y="119701"/>
                      </a:lnTo>
                      <a:lnTo>
                        <a:pt x="50774" y="125527"/>
                      </a:lnTo>
                      <a:lnTo>
                        <a:pt x="44980" y="142943"/>
                      </a:lnTo>
                      <a:lnTo>
                        <a:pt x="31918" y="147297"/>
                      </a:lnTo>
                      <a:lnTo>
                        <a:pt x="21770" y="145472"/>
                      </a:lnTo>
                      <a:lnTo>
                        <a:pt x="9796" y="132410"/>
                      </a:lnTo>
                      <a:lnTo>
                        <a:pt x="4354" y="128056"/>
                      </a:lnTo>
                      <a:lnTo>
                        <a:pt x="0" y="132410"/>
                      </a:lnTo>
                      <a:lnTo>
                        <a:pt x="1793" y="139293"/>
                      </a:lnTo>
                      <a:lnTo>
                        <a:pt x="13062" y="146208"/>
                      </a:lnTo>
                      <a:lnTo>
                        <a:pt x="8708" y="157445"/>
                      </a:lnTo>
                      <a:lnTo>
                        <a:pt x="19208" y="177390"/>
                      </a:lnTo>
                      <a:lnTo>
                        <a:pt x="31182" y="177390"/>
                      </a:lnTo>
                      <a:lnTo>
                        <a:pt x="38801" y="168682"/>
                      </a:lnTo>
                      <a:lnTo>
                        <a:pt x="50774" y="167594"/>
                      </a:lnTo>
                      <a:lnTo>
                        <a:pt x="56953" y="161799"/>
                      </a:lnTo>
                      <a:lnTo>
                        <a:pt x="51863" y="157445"/>
                      </a:lnTo>
                      <a:lnTo>
                        <a:pt x="51863" y="141854"/>
                      </a:lnTo>
                      <a:lnTo>
                        <a:pt x="76898" y="152355"/>
                      </a:lnTo>
                      <a:lnTo>
                        <a:pt x="75073" y="143647"/>
                      </a:lnTo>
                      <a:lnTo>
                        <a:pt x="87046" y="134235"/>
                      </a:lnTo>
                      <a:lnTo>
                        <a:pt x="96490" y="136028"/>
                      </a:lnTo>
                      <a:lnTo>
                        <a:pt x="101549" y="151267"/>
                      </a:lnTo>
                      <a:lnTo>
                        <a:pt x="108464" y="153091"/>
                      </a:lnTo>
                      <a:lnTo>
                        <a:pt x="108464" y="161799"/>
                      </a:lnTo>
                      <a:lnTo>
                        <a:pt x="108464" y="185009"/>
                      </a:lnTo>
                      <a:lnTo>
                        <a:pt x="99020" y="229637"/>
                      </a:lnTo>
                      <a:lnTo>
                        <a:pt x="106991" y="252847"/>
                      </a:lnTo>
                      <a:lnTo>
                        <a:pt x="117876" y="254672"/>
                      </a:lnTo>
                      <a:lnTo>
                        <a:pt x="117172" y="259026"/>
                      </a:lnTo>
                      <a:lnTo>
                        <a:pt x="126584" y="262291"/>
                      </a:lnTo>
                      <a:lnTo>
                        <a:pt x="135292" y="257938"/>
                      </a:lnTo>
                      <a:lnTo>
                        <a:pt x="155973" y="261555"/>
                      </a:lnTo>
                      <a:lnTo>
                        <a:pt x="159238" y="265909"/>
                      </a:lnTo>
                      <a:lnTo>
                        <a:pt x="161063" y="270999"/>
                      </a:lnTo>
                      <a:lnTo>
                        <a:pt x="155973" y="276057"/>
                      </a:lnTo>
                      <a:lnTo>
                        <a:pt x="137853" y="277146"/>
                      </a:lnTo>
                      <a:lnTo>
                        <a:pt x="142911" y="290944"/>
                      </a:lnTo>
                      <a:lnTo>
                        <a:pt x="163592" y="287294"/>
                      </a:lnTo>
                      <a:lnTo>
                        <a:pt x="168682" y="291648"/>
                      </a:lnTo>
                      <a:lnTo>
                        <a:pt x="179183" y="285502"/>
                      </a:lnTo>
                      <a:lnTo>
                        <a:pt x="201689" y="291648"/>
                      </a:lnTo>
                      <a:lnTo>
                        <a:pt x="216191" y="315595"/>
                      </a:lnTo>
                      <a:lnTo>
                        <a:pt x="235048" y="314891"/>
                      </a:lnTo>
                      <a:lnTo>
                        <a:pt x="235784" y="318508"/>
                      </a:lnTo>
                      <a:lnTo>
                        <a:pt x="241963" y="316683"/>
                      </a:lnTo>
                      <a:lnTo>
                        <a:pt x="256465" y="309800"/>
                      </a:lnTo>
                      <a:lnTo>
                        <a:pt x="278235" y="308712"/>
                      </a:lnTo>
                      <a:lnTo>
                        <a:pt x="310152" y="284061"/>
                      </a:lnTo>
                      <a:lnTo>
                        <a:pt x="347161" y="264821"/>
                      </a:lnTo>
                      <a:lnTo>
                        <a:pt x="378695" y="236520"/>
                      </a:lnTo>
                      <a:lnTo>
                        <a:pt x="387403" y="234695"/>
                      </a:lnTo>
                      <a:lnTo>
                        <a:pt x="397935" y="238345"/>
                      </a:lnTo>
                      <a:lnTo>
                        <a:pt x="408084" y="230726"/>
                      </a:lnTo>
                      <a:lnTo>
                        <a:pt x="426236" y="227076"/>
                      </a:lnTo>
                      <a:lnTo>
                        <a:pt x="408084" y="217664"/>
                      </a:lnTo>
                      <a:lnTo>
                        <a:pt x="414262" y="195158"/>
                      </a:lnTo>
                      <a:lnTo>
                        <a:pt x="403025" y="178126"/>
                      </a:lnTo>
                      <a:lnTo>
                        <a:pt x="378695" y="181392"/>
                      </a:lnTo>
                      <a:lnTo>
                        <a:pt x="359838" y="162503"/>
                      </a:lnTo>
                      <a:lnTo>
                        <a:pt x="354044" y="149826"/>
                      </a:lnTo>
                      <a:lnTo>
                        <a:pt x="355485" y="136028"/>
                      </a:lnTo>
                      <a:lnTo>
                        <a:pt x="336628" y="127320"/>
                      </a:lnTo>
                      <a:lnTo>
                        <a:pt x="329745" y="111729"/>
                      </a:lnTo>
                      <a:lnTo>
                        <a:pt x="318476" y="104110"/>
                      </a:lnTo>
                      <a:lnTo>
                        <a:pt x="315211" y="85254"/>
                      </a:lnTo>
                      <a:lnTo>
                        <a:pt x="321037" y="59482"/>
                      </a:lnTo>
                      <a:lnTo>
                        <a:pt x="317772" y="48245"/>
                      </a:lnTo>
                      <a:lnTo>
                        <a:pt x="316683" y="34479"/>
                      </a:lnTo>
                      <a:lnTo>
                        <a:pt x="336628" y="870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7" name="Forma Livre: Forma 406">
                  <a:extLst>
                    <a:ext uri="{FF2B5EF4-FFF2-40B4-BE49-F238E27FC236}">
                      <a16:creationId xmlns:a16="http://schemas.microsoft.com/office/drawing/2014/main" id="{1BF24833-0672-597C-FA45-F3731C1762F0}"/>
                    </a:ext>
                  </a:extLst>
                </p:cNvPr>
                <p:cNvSpPr/>
                <p:nvPr/>
              </p:nvSpPr>
              <p:spPr>
                <a:xfrm>
                  <a:off x="2990448" y="2823038"/>
                  <a:ext cx="426235" cy="318508"/>
                </a:xfrm>
                <a:custGeom>
                  <a:avLst/>
                  <a:gdLst>
                    <a:gd name="csX0" fmla="*/ 336628 w 426235"/>
                    <a:gd name="csY0" fmla="*/ 8708 h 318508"/>
                    <a:gd name="csX1" fmla="*/ 319565 w 426235"/>
                    <a:gd name="csY1" fmla="*/ 0 h 318508"/>
                    <a:gd name="csX2" fmla="*/ 279675 w 426235"/>
                    <a:gd name="csY2" fmla="*/ 5090 h 318508"/>
                    <a:gd name="csX3" fmla="*/ 245580 w 426235"/>
                    <a:gd name="csY3" fmla="*/ 15591 h 318508"/>
                    <a:gd name="csX4" fmla="*/ 242667 w 426235"/>
                    <a:gd name="csY4" fmla="*/ 23947 h 318508"/>
                    <a:gd name="csX5" fmla="*/ 226340 w 426235"/>
                    <a:gd name="csY5" fmla="*/ 29389 h 318508"/>
                    <a:gd name="csX6" fmla="*/ 220545 w 426235"/>
                    <a:gd name="csY6" fmla="*/ 38833 h 318508"/>
                    <a:gd name="csX7" fmla="*/ 203129 w 426235"/>
                    <a:gd name="csY7" fmla="*/ 39537 h 318508"/>
                    <a:gd name="csX8" fmla="*/ 201689 w 426235"/>
                    <a:gd name="csY8" fmla="*/ 34479 h 318508"/>
                    <a:gd name="csX9" fmla="*/ 198776 w 426235"/>
                    <a:gd name="csY9" fmla="*/ 40274 h 318508"/>
                    <a:gd name="csX10" fmla="*/ 191156 w 426235"/>
                    <a:gd name="csY10" fmla="*/ 42099 h 318508"/>
                    <a:gd name="csX11" fmla="*/ 174125 w 426235"/>
                    <a:gd name="csY11" fmla="*/ 50806 h 318508"/>
                    <a:gd name="csX12" fmla="*/ 178479 w 426235"/>
                    <a:gd name="csY12" fmla="*/ 56601 h 318508"/>
                    <a:gd name="csX13" fmla="*/ 163592 w 426235"/>
                    <a:gd name="csY13" fmla="*/ 60218 h 318508"/>
                    <a:gd name="csX14" fmla="*/ 150882 w 426235"/>
                    <a:gd name="csY14" fmla="*/ 80163 h 318508"/>
                    <a:gd name="csX15" fmla="*/ 132762 w 426235"/>
                    <a:gd name="csY15" fmla="*/ 93609 h 318508"/>
                    <a:gd name="csX16" fmla="*/ 130938 w 426235"/>
                    <a:gd name="csY16" fmla="*/ 100492 h 318508"/>
                    <a:gd name="csX17" fmla="*/ 118964 w 426235"/>
                    <a:gd name="csY17" fmla="*/ 104846 h 318508"/>
                    <a:gd name="csX18" fmla="*/ 112081 w 426235"/>
                    <a:gd name="csY18" fmla="*/ 100492 h 318508"/>
                    <a:gd name="csX19" fmla="*/ 100108 w 426235"/>
                    <a:gd name="csY19" fmla="*/ 109200 h 318508"/>
                    <a:gd name="csX20" fmla="*/ 87046 w 426235"/>
                    <a:gd name="csY20" fmla="*/ 109200 h 318508"/>
                    <a:gd name="csX21" fmla="*/ 71455 w 426235"/>
                    <a:gd name="csY21" fmla="*/ 118612 h 318508"/>
                    <a:gd name="csX22" fmla="*/ 58746 w 426235"/>
                    <a:gd name="csY22" fmla="*/ 119701 h 318508"/>
                    <a:gd name="csX23" fmla="*/ 50774 w 426235"/>
                    <a:gd name="csY23" fmla="*/ 125527 h 318508"/>
                    <a:gd name="csX24" fmla="*/ 44980 w 426235"/>
                    <a:gd name="csY24" fmla="*/ 142943 h 318508"/>
                    <a:gd name="csX25" fmla="*/ 31918 w 426235"/>
                    <a:gd name="csY25" fmla="*/ 147297 h 318508"/>
                    <a:gd name="csX26" fmla="*/ 21770 w 426235"/>
                    <a:gd name="csY26" fmla="*/ 145472 h 318508"/>
                    <a:gd name="csX27" fmla="*/ 9796 w 426235"/>
                    <a:gd name="csY27" fmla="*/ 132410 h 318508"/>
                    <a:gd name="csX28" fmla="*/ 4354 w 426235"/>
                    <a:gd name="csY28" fmla="*/ 128056 h 318508"/>
                    <a:gd name="csX29" fmla="*/ 0 w 426235"/>
                    <a:gd name="csY29" fmla="*/ 132410 h 318508"/>
                    <a:gd name="csX30" fmla="*/ 1793 w 426235"/>
                    <a:gd name="csY30" fmla="*/ 139293 h 318508"/>
                    <a:gd name="csX31" fmla="*/ 13062 w 426235"/>
                    <a:gd name="csY31" fmla="*/ 146208 h 318508"/>
                    <a:gd name="csX32" fmla="*/ 8708 w 426235"/>
                    <a:gd name="csY32" fmla="*/ 157445 h 318508"/>
                    <a:gd name="csX33" fmla="*/ 19208 w 426235"/>
                    <a:gd name="csY33" fmla="*/ 177390 h 318508"/>
                    <a:gd name="csX34" fmla="*/ 31182 w 426235"/>
                    <a:gd name="csY34" fmla="*/ 177390 h 318508"/>
                    <a:gd name="csX35" fmla="*/ 38801 w 426235"/>
                    <a:gd name="csY35" fmla="*/ 168682 h 318508"/>
                    <a:gd name="csX36" fmla="*/ 50774 w 426235"/>
                    <a:gd name="csY36" fmla="*/ 167594 h 318508"/>
                    <a:gd name="csX37" fmla="*/ 56953 w 426235"/>
                    <a:gd name="csY37" fmla="*/ 161799 h 318508"/>
                    <a:gd name="csX38" fmla="*/ 51863 w 426235"/>
                    <a:gd name="csY38" fmla="*/ 157445 h 318508"/>
                    <a:gd name="csX39" fmla="*/ 51863 w 426235"/>
                    <a:gd name="csY39" fmla="*/ 141854 h 318508"/>
                    <a:gd name="csX40" fmla="*/ 76898 w 426235"/>
                    <a:gd name="csY40" fmla="*/ 152355 h 318508"/>
                    <a:gd name="csX41" fmla="*/ 75073 w 426235"/>
                    <a:gd name="csY41" fmla="*/ 143647 h 318508"/>
                    <a:gd name="csX42" fmla="*/ 87046 w 426235"/>
                    <a:gd name="csY42" fmla="*/ 134235 h 318508"/>
                    <a:gd name="csX43" fmla="*/ 96490 w 426235"/>
                    <a:gd name="csY43" fmla="*/ 136028 h 318508"/>
                    <a:gd name="csX44" fmla="*/ 101549 w 426235"/>
                    <a:gd name="csY44" fmla="*/ 151267 h 318508"/>
                    <a:gd name="csX45" fmla="*/ 108464 w 426235"/>
                    <a:gd name="csY45" fmla="*/ 153091 h 318508"/>
                    <a:gd name="csX46" fmla="*/ 108464 w 426235"/>
                    <a:gd name="csY46" fmla="*/ 161799 h 318508"/>
                    <a:gd name="csX47" fmla="*/ 108464 w 426235"/>
                    <a:gd name="csY47" fmla="*/ 185009 h 318508"/>
                    <a:gd name="csX48" fmla="*/ 99020 w 426235"/>
                    <a:gd name="csY48" fmla="*/ 229637 h 318508"/>
                    <a:gd name="csX49" fmla="*/ 106991 w 426235"/>
                    <a:gd name="csY49" fmla="*/ 252847 h 318508"/>
                    <a:gd name="csX50" fmla="*/ 117876 w 426235"/>
                    <a:gd name="csY50" fmla="*/ 254672 h 318508"/>
                    <a:gd name="csX51" fmla="*/ 117172 w 426235"/>
                    <a:gd name="csY51" fmla="*/ 259026 h 318508"/>
                    <a:gd name="csX52" fmla="*/ 126584 w 426235"/>
                    <a:gd name="csY52" fmla="*/ 262291 h 318508"/>
                    <a:gd name="csX53" fmla="*/ 135292 w 426235"/>
                    <a:gd name="csY53" fmla="*/ 257938 h 318508"/>
                    <a:gd name="csX54" fmla="*/ 155973 w 426235"/>
                    <a:gd name="csY54" fmla="*/ 261555 h 318508"/>
                    <a:gd name="csX55" fmla="*/ 159238 w 426235"/>
                    <a:gd name="csY55" fmla="*/ 265909 h 318508"/>
                    <a:gd name="csX56" fmla="*/ 161063 w 426235"/>
                    <a:gd name="csY56" fmla="*/ 270999 h 318508"/>
                    <a:gd name="csX57" fmla="*/ 155973 w 426235"/>
                    <a:gd name="csY57" fmla="*/ 276057 h 318508"/>
                    <a:gd name="csX58" fmla="*/ 137853 w 426235"/>
                    <a:gd name="csY58" fmla="*/ 277146 h 318508"/>
                    <a:gd name="csX59" fmla="*/ 142911 w 426235"/>
                    <a:gd name="csY59" fmla="*/ 290944 h 318508"/>
                    <a:gd name="csX60" fmla="*/ 163592 w 426235"/>
                    <a:gd name="csY60" fmla="*/ 287294 h 318508"/>
                    <a:gd name="csX61" fmla="*/ 168682 w 426235"/>
                    <a:gd name="csY61" fmla="*/ 291648 h 318508"/>
                    <a:gd name="csX62" fmla="*/ 179183 w 426235"/>
                    <a:gd name="csY62" fmla="*/ 285502 h 318508"/>
                    <a:gd name="csX63" fmla="*/ 201689 w 426235"/>
                    <a:gd name="csY63" fmla="*/ 291648 h 318508"/>
                    <a:gd name="csX64" fmla="*/ 216191 w 426235"/>
                    <a:gd name="csY64" fmla="*/ 315595 h 318508"/>
                    <a:gd name="csX65" fmla="*/ 235048 w 426235"/>
                    <a:gd name="csY65" fmla="*/ 314891 h 318508"/>
                    <a:gd name="csX66" fmla="*/ 235784 w 426235"/>
                    <a:gd name="csY66" fmla="*/ 318508 h 318508"/>
                    <a:gd name="csX67" fmla="*/ 241963 w 426235"/>
                    <a:gd name="csY67" fmla="*/ 316683 h 318508"/>
                    <a:gd name="csX68" fmla="*/ 256465 w 426235"/>
                    <a:gd name="csY68" fmla="*/ 309800 h 318508"/>
                    <a:gd name="csX69" fmla="*/ 278235 w 426235"/>
                    <a:gd name="csY69" fmla="*/ 308712 h 318508"/>
                    <a:gd name="csX70" fmla="*/ 310152 w 426235"/>
                    <a:gd name="csY70" fmla="*/ 284061 h 318508"/>
                    <a:gd name="csX71" fmla="*/ 347161 w 426235"/>
                    <a:gd name="csY71" fmla="*/ 264821 h 318508"/>
                    <a:gd name="csX72" fmla="*/ 378695 w 426235"/>
                    <a:gd name="csY72" fmla="*/ 236520 h 318508"/>
                    <a:gd name="csX73" fmla="*/ 387403 w 426235"/>
                    <a:gd name="csY73" fmla="*/ 234695 h 318508"/>
                    <a:gd name="csX74" fmla="*/ 397935 w 426235"/>
                    <a:gd name="csY74" fmla="*/ 238345 h 318508"/>
                    <a:gd name="csX75" fmla="*/ 408084 w 426235"/>
                    <a:gd name="csY75" fmla="*/ 230726 h 318508"/>
                    <a:gd name="csX76" fmla="*/ 426236 w 426235"/>
                    <a:gd name="csY76" fmla="*/ 227076 h 318508"/>
                    <a:gd name="csX77" fmla="*/ 408084 w 426235"/>
                    <a:gd name="csY77" fmla="*/ 217664 h 318508"/>
                    <a:gd name="csX78" fmla="*/ 414262 w 426235"/>
                    <a:gd name="csY78" fmla="*/ 195158 h 318508"/>
                    <a:gd name="csX79" fmla="*/ 403025 w 426235"/>
                    <a:gd name="csY79" fmla="*/ 178126 h 318508"/>
                    <a:gd name="csX80" fmla="*/ 378695 w 426235"/>
                    <a:gd name="csY80" fmla="*/ 181392 h 318508"/>
                    <a:gd name="csX81" fmla="*/ 359838 w 426235"/>
                    <a:gd name="csY81" fmla="*/ 162503 h 318508"/>
                    <a:gd name="csX82" fmla="*/ 354044 w 426235"/>
                    <a:gd name="csY82" fmla="*/ 149826 h 318508"/>
                    <a:gd name="csX83" fmla="*/ 355485 w 426235"/>
                    <a:gd name="csY83" fmla="*/ 136028 h 318508"/>
                    <a:gd name="csX84" fmla="*/ 336628 w 426235"/>
                    <a:gd name="csY84" fmla="*/ 127320 h 318508"/>
                    <a:gd name="csX85" fmla="*/ 329745 w 426235"/>
                    <a:gd name="csY85" fmla="*/ 111729 h 318508"/>
                    <a:gd name="csX86" fmla="*/ 318476 w 426235"/>
                    <a:gd name="csY86" fmla="*/ 104110 h 318508"/>
                    <a:gd name="csX87" fmla="*/ 315211 w 426235"/>
                    <a:gd name="csY87" fmla="*/ 85254 h 318508"/>
                    <a:gd name="csX88" fmla="*/ 321037 w 426235"/>
                    <a:gd name="csY88" fmla="*/ 59482 h 318508"/>
                    <a:gd name="csX89" fmla="*/ 317772 w 426235"/>
                    <a:gd name="csY89" fmla="*/ 48245 h 318508"/>
                    <a:gd name="csX90" fmla="*/ 316683 w 426235"/>
                    <a:gd name="csY90" fmla="*/ 34479 h 318508"/>
                    <a:gd name="csX91" fmla="*/ 336628 w 426235"/>
                    <a:gd name="csY91" fmla="*/ 8708 h 3185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</a:cxnLst>
                  <a:rect l="l" t="t" r="r" b="b"/>
                  <a:pathLst>
                    <a:path w="426235" h="318508">
                      <a:moveTo>
                        <a:pt x="336628" y="8708"/>
                      </a:moveTo>
                      <a:lnTo>
                        <a:pt x="319565" y="0"/>
                      </a:lnTo>
                      <a:lnTo>
                        <a:pt x="279675" y="5090"/>
                      </a:lnTo>
                      <a:lnTo>
                        <a:pt x="245580" y="15591"/>
                      </a:lnTo>
                      <a:lnTo>
                        <a:pt x="242667" y="23947"/>
                      </a:lnTo>
                      <a:lnTo>
                        <a:pt x="226340" y="29389"/>
                      </a:lnTo>
                      <a:lnTo>
                        <a:pt x="220545" y="38833"/>
                      </a:lnTo>
                      <a:lnTo>
                        <a:pt x="203129" y="39537"/>
                      </a:lnTo>
                      <a:lnTo>
                        <a:pt x="201689" y="34479"/>
                      </a:lnTo>
                      <a:lnTo>
                        <a:pt x="198776" y="40274"/>
                      </a:lnTo>
                      <a:lnTo>
                        <a:pt x="191156" y="42099"/>
                      </a:lnTo>
                      <a:lnTo>
                        <a:pt x="174125" y="50806"/>
                      </a:lnTo>
                      <a:lnTo>
                        <a:pt x="178479" y="56601"/>
                      </a:lnTo>
                      <a:lnTo>
                        <a:pt x="163592" y="60218"/>
                      </a:lnTo>
                      <a:lnTo>
                        <a:pt x="150882" y="80163"/>
                      </a:lnTo>
                      <a:lnTo>
                        <a:pt x="132762" y="93609"/>
                      </a:lnTo>
                      <a:lnTo>
                        <a:pt x="130938" y="100492"/>
                      </a:lnTo>
                      <a:lnTo>
                        <a:pt x="118964" y="104846"/>
                      </a:lnTo>
                      <a:lnTo>
                        <a:pt x="112081" y="100492"/>
                      </a:lnTo>
                      <a:lnTo>
                        <a:pt x="100108" y="109200"/>
                      </a:lnTo>
                      <a:lnTo>
                        <a:pt x="87046" y="109200"/>
                      </a:lnTo>
                      <a:lnTo>
                        <a:pt x="71455" y="118612"/>
                      </a:lnTo>
                      <a:lnTo>
                        <a:pt x="58746" y="119701"/>
                      </a:lnTo>
                      <a:lnTo>
                        <a:pt x="50774" y="125527"/>
                      </a:lnTo>
                      <a:lnTo>
                        <a:pt x="44980" y="142943"/>
                      </a:lnTo>
                      <a:lnTo>
                        <a:pt x="31918" y="147297"/>
                      </a:lnTo>
                      <a:lnTo>
                        <a:pt x="21770" y="145472"/>
                      </a:lnTo>
                      <a:lnTo>
                        <a:pt x="9796" y="132410"/>
                      </a:lnTo>
                      <a:lnTo>
                        <a:pt x="4354" y="128056"/>
                      </a:lnTo>
                      <a:lnTo>
                        <a:pt x="0" y="132410"/>
                      </a:lnTo>
                      <a:lnTo>
                        <a:pt x="1793" y="139293"/>
                      </a:lnTo>
                      <a:lnTo>
                        <a:pt x="13062" y="146208"/>
                      </a:lnTo>
                      <a:lnTo>
                        <a:pt x="8708" y="157445"/>
                      </a:lnTo>
                      <a:lnTo>
                        <a:pt x="19208" y="177390"/>
                      </a:lnTo>
                      <a:lnTo>
                        <a:pt x="31182" y="177390"/>
                      </a:lnTo>
                      <a:lnTo>
                        <a:pt x="38801" y="168682"/>
                      </a:lnTo>
                      <a:lnTo>
                        <a:pt x="50774" y="167594"/>
                      </a:lnTo>
                      <a:lnTo>
                        <a:pt x="56953" y="161799"/>
                      </a:lnTo>
                      <a:lnTo>
                        <a:pt x="51863" y="157445"/>
                      </a:lnTo>
                      <a:lnTo>
                        <a:pt x="51863" y="141854"/>
                      </a:lnTo>
                      <a:lnTo>
                        <a:pt x="76898" y="152355"/>
                      </a:lnTo>
                      <a:lnTo>
                        <a:pt x="75073" y="143647"/>
                      </a:lnTo>
                      <a:lnTo>
                        <a:pt x="87046" y="134235"/>
                      </a:lnTo>
                      <a:lnTo>
                        <a:pt x="96490" y="136028"/>
                      </a:lnTo>
                      <a:lnTo>
                        <a:pt x="101549" y="151267"/>
                      </a:lnTo>
                      <a:lnTo>
                        <a:pt x="108464" y="153091"/>
                      </a:lnTo>
                      <a:lnTo>
                        <a:pt x="108464" y="161799"/>
                      </a:lnTo>
                      <a:lnTo>
                        <a:pt x="108464" y="185009"/>
                      </a:lnTo>
                      <a:lnTo>
                        <a:pt x="99020" y="229637"/>
                      </a:lnTo>
                      <a:lnTo>
                        <a:pt x="106991" y="252847"/>
                      </a:lnTo>
                      <a:lnTo>
                        <a:pt x="117876" y="254672"/>
                      </a:lnTo>
                      <a:lnTo>
                        <a:pt x="117172" y="259026"/>
                      </a:lnTo>
                      <a:lnTo>
                        <a:pt x="126584" y="262291"/>
                      </a:lnTo>
                      <a:lnTo>
                        <a:pt x="135292" y="257938"/>
                      </a:lnTo>
                      <a:lnTo>
                        <a:pt x="155973" y="261555"/>
                      </a:lnTo>
                      <a:lnTo>
                        <a:pt x="159238" y="265909"/>
                      </a:lnTo>
                      <a:lnTo>
                        <a:pt x="161063" y="270999"/>
                      </a:lnTo>
                      <a:lnTo>
                        <a:pt x="155973" y="276057"/>
                      </a:lnTo>
                      <a:lnTo>
                        <a:pt x="137853" y="277146"/>
                      </a:lnTo>
                      <a:lnTo>
                        <a:pt x="142911" y="290944"/>
                      </a:lnTo>
                      <a:lnTo>
                        <a:pt x="163592" y="287294"/>
                      </a:lnTo>
                      <a:lnTo>
                        <a:pt x="168682" y="291648"/>
                      </a:lnTo>
                      <a:lnTo>
                        <a:pt x="179183" y="285502"/>
                      </a:lnTo>
                      <a:lnTo>
                        <a:pt x="201689" y="291648"/>
                      </a:lnTo>
                      <a:lnTo>
                        <a:pt x="216191" y="315595"/>
                      </a:lnTo>
                      <a:lnTo>
                        <a:pt x="235048" y="314891"/>
                      </a:lnTo>
                      <a:lnTo>
                        <a:pt x="235784" y="318508"/>
                      </a:lnTo>
                      <a:lnTo>
                        <a:pt x="241963" y="316683"/>
                      </a:lnTo>
                      <a:lnTo>
                        <a:pt x="256465" y="309800"/>
                      </a:lnTo>
                      <a:lnTo>
                        <a:pt x="278235" y="308712"/>
                      </a:lnTo>
                      <a:lnTo>
                        <a:pt x="310152" y="284061"/>
                      </a:lnTo>
                      <a:lnTo>
                        <a:pt x="347161" y="264821"/>
                      </a:lnTo>
                      <a:lnTo>
                        <a:pt x="378695" y="236520"/>
                      </a:lnTo>
                      <a:lnTo>
                        <a:pt x="387403" y="234695"/>
                      </a:lnTo>
                      <a:lnTo>
                        <a:pt x="397935" y="238345"/>
                      </a:lnTo>
                      <a:lnTo>
                        <a:pt x="408084" y="230726"/>
                      </a:lnTo>
                      <a:lnTo>
                        <a:pt x="426236" y="227076"/>
                      </a:lnTo>
                      <a:lnTo>
                        <a:pt x="408084" y="217664"/>
                      </a:lnTo>
                      <a:lnTo>
                        <a:pt x="414262" y="195158"/>
                      </a:lnTo>
                      <a:lnTo>
                        <a:pt x="403025" y="178126"/>
                      </a:lnTo>
                      <a:lnTo>
                        <a:pt x="378695" y="181392"/>
                      </a:lnTo>
                      <a:lnTo>
                        <a:pt x="359838" y="162503"/>
                      </a:lnTo>
                      <a:lnTo>
                        <a:pt x="354044" y="149826"/>
                      </a:lnTo>
                      <a:lnTo>
                        <a:pt x="355485" y="136028"/>
                      </a:lnTo>
                      <a:lnTo>
                        <a:pt x="336628" y="127320"/>
                      </a:lnTo>
                      <a:lnTo>
                        <a:pt x="329745" y="111729"/>
                      </a:lnTo>
                      <a:lnTo>
                        <a:pt x="318476" y="104110"/>
                      </a:lnTo>
                      <a:lnTo>
                        <a:pt x="315211" y="85254"/>
                      </a:lnTo>
                      <a:lnTo>
                        <a:pt x="321037" y="59482"/>
                      </a:lnTo>
                      <a:lnTo>
                        <a:pt x="317772" y="48245"/>
                      </a:lnTo>
                      <a:lnTo>
                        <a:pt x="316683" y="34479"/>
                      </a:lnTo>
                      <a:lnTo>
                        <a:pt x="336628" y="870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8" name="Forma Livre: Forma 407">
                  <a:extLst>
                    <a:ext uri="{FF2B5EF4-FFF2-40B4-BE49-F238E27FC236}">
                      <a16:creationId xmlns:a16="http://schemas.microsoft.com/office/drawing/2014/main" id="{BE44BD6D-99C6-2B1F-9B7E-0916F6DEADE2}"/>
                    </a:ext>
                  </a:extLst>
                </p:cNvPr>
                <p:cNvSpPr/>
                <p:nvPr/>
              </p:nvSpPr>
              <p:spPr>
                <a:xfrm>
                  <a:off x="2990448" y="2823038"/>
                  <a:ext cx="426235" cy="318508"/>
                </a:xfrm>
                <a:custGeom>
                  <a:avLst/>
                  <a:gdLst>
                    <a:gd name="csX0" fmla="*/ 336628 w 426235"/>
                    <a:gd name="csY0" fmla="*/ 8708 h 318508"/>
                    <a:gd name="csX1" fmla="*/ 319565 w 426235"/>
                    <a:gd name="csY1" fmla="*/ 0 h 318508"/>
                    <a:gd name="csX2" fmla="*/ 279675 w 426235"/>
                    <a:gd name="csY2" fmla="*/ 5090 h 318508"/>
                    <a:gd name="csX3" fmla="*/ 245580 w 426235"/>
                    <a:gd name="csY3" fmla="*/ 15591 h 318508"/>
                    <a:gd name="csX4" fmla="*/ 242667 w 426235"/>
                    <a:gd name="csY4" fmla="*/ 23947 h 318508"/>
                    <a:gd name="csX5" fmla="*/ 226340 w 426235"/>
                    <a:gd name="csY5" fmla="*/ 29389 h 318508"/>
                    <a:gd name="csX6" fmla="*/ 220545 w 426235"/>
                    <a:gd name="csY6" fmla="*/ 38833 h 318508"/>
                    <a:gd name="csX7" fmla="*/ 203129 w 426235"/>
                    <a:gd name="csY7" fmla="*/ 39537 h 318508"/>
                    <a:gd name="csX8" fmla="*/ 201689 w 426235"/>
                    <a:gd name="csY8" fmla="*/ 34479 h 318508"/>
                    <a:gd name="csX9" fmla="*/ 198776 w 426235"/>
                    <a:gd name="csY9" fmla="*/ 40274 h 318508"/>
                    <a:gd name="csX10" fmla="*/ 191156 w 426235"/>
                    <a:gd name="csY10" fmla="*/ 42099 h 318508"/>
                    <a:gd name="csX11" fmla="*/ 174125 w 426235"/>
                    <a:gd name="csY11" fmla="*/ 50806 h 318508"/>
                    <a:gd name="csX12" fmla="*/ 178479 w 426235"/>
                    <a:gd name="csY12" fmla="*/ 56601 h 318508"/>
                    <a:gd name="csX13" fmla="*/ 163592 w 426235"/>
                    <a:gd name="csY13" fmla="*/ 60218 h 318508"/>
                    <a:gd name="csX14" fmla="*/ 150882 w 426235"/>
                    <a:gd name="csY14" fmla="*/ 80163 h 318508"/>
                    <a:gd name="csX15" fmla="*/ 132762 w 426235"/>
                    <a:gd name="csY15" fmla="*/ 93609 h 318508"/>
                    <a:gd name="csX16" fmla="*/ 130938 w 426235"/>
                    <a:gd name="csY16" fmla="*/ 100492 h 318508"/>
                    <a:gd name="csX17" fmla="*/ 118964 w 426235"/>
                    <a:gd name="csY17" fmla="*/ 104846 h 318508"/>
                    <a:gd name="csX18" fmla="*/ 112081 w 426235"/>
                    <a:gd name="csY18" fmla="*/ 100492 h 318508"/>
                    <a:gd name="csX19" fmla="*/ 100108 w 426235"/>
                    <a:gd name="csY19" fmla="*/ 109200 h 318508"/>
                    <a:gd name="csX20" fmla="*/ 87046 w 426235"/>
                    <a:gd name="csY20" fmla="*/ 109200 h 318508"/>
                    <a:gd name="csX21" fmla="*/ 71455 w 426235"/>
                    <a:gd name="csY21" fmla="*/ 118612 h 318508"/>
                    <a:gd name="csX22" fmla="*/ 58746 w 426235"/>
                    <a:gd name="csY22" fmla="*/ 119701 h 318508"/>
                    <a:gd name="csX23" fmla="*/ 50774 w 426235"/>
                    <a:gd name="csY23" fmla="*/ 125527 h 318508"/>
                    <a:gd name="csX24" fmla="*/ 44980 w 426235"/>
                    <a:gd name="csY24" fmla="*/ 142943 h 318508"/>
                    <a:gd name="csX25" fmla="*/ 31918 w 426235"/>
                    <a:gd name="csY25" fmla="*/ 147297 h 318508"/>
                    <a:gd name="csX26" fmla="*/ 21770 w 426235"/>
                    <a:gd name="csY26" fmla="*/ 145472 h 318508"/>
                    <a:gd name="csX27" fmla="*/ 9796 w 426235"/>
                    <a:gd name="csY27" fmla="*/ 132410 h 318508"/>
                    <a:gd name="csX28" fmla="*/ 4354 w 426235"/>
                    <a:gd name="csY28" fmla="*/ 128056 h 318508"/>
                    <a:gd name="csX29" fmla="*/ 0 w 426235"/>
                    <a:gd name="csY29" fmla="*/ 132410 h 318508"/>
                    <a:gd name="csX30" fmla="*/ 1793 w 426235"/>
                    <a:gd name="csY30" fmla="*/ 139293 h 318508"/>
                    <a:gd name="csX31" fmla="*/ 13062 w 426235"/>
                    <a:gd name="csY31" fmla="*/ 146208 h 318508"/>
                    <a:gd name="csX32" fmla="*/ 8708 w 426235"/>
                    <a:gd name="csY32" fmla="*/ 157445 h 318508"/>
                    <a:gd name="csX33" fmla="*/ 19208 w 426235"/>
                    <a:gd name="csY33" fmla="*/ 177390 h 318508"/>
                    <a:gd name="csX34" fmla="*/ 31182 w 426235"/>
                    <a:gd name="csY34" fmla="*/ 177390 h 318508"/>
                    <a:gd name="csX35" fmla="*/ 38801 w 426235"/>
                    <a:gd name="csY35" fmla="*/ 168682 h 318508"/>
                    <a:gd name="csX36" fmla="*/ 50774 w 426235"/>
                    <a:gd name="csY36" fmla="*/ 167594 h 318508"/>
                    <a:gd name="csX37" fmla="*/ 56953 w 426235"/>
                    <a:gd name="csY37" fmla="*/ 161799 h 318508"/>
                    <a:gd name="csX38" fmla="*/ 51863 w 426235"/>
                    <a:gd name="csY38" fmla="*/ 157445 h 318508"/>
                    <a:gd name="csX39" fmla="*/ 51863 w 426235"/>
                    <a:gd name="csY39" fmla="*/ 141854 h 318508"/>
                    <a:gd name="csX40" fmla="*/ 76898 w 426235"/>
                    <a:gd name="csY40" fmla="*/ 152355 h 318508"/>
                    <a:gd name="csX41" fmla="*/ 75073 w 426235"/>
                    <a:gd name="csY41" fmla="*/ 143647 h 318508"/>
                    <a:gd name="csX42" fmla="*/ 87046 w 426235"/>
                    <a:gd name="csY42" fmla="*/ 134235 h 318508"/>
                    <a:gd name="csX43" fmla="*/ 96490 w 426235"/>
                    <a:gd name="csY43" fmla="*/ 136028 h 318508"/>
                    <a:gd name="csX44" fmla="*/ 101549 w 426235"/>
                    <a:gd name="csY44" fmla="*/ 151267 h 318508"/>
                    <a:gd name="csX45" fmla="*/ 108464 w 426235"/>
                    <a:gd name="csY45" fmla="*/ 153091 h 318508"/>
                    <a:gd name="csX46" fmla="*/ 108464 w 426235"/>
                    <a:gd name="csY46" fmla="*/ 161799 h 318508"/>
                    <a:gd name="csX47" fmla="*/ 108464 w 426235"/>
                    <a:gd name="csY47" fmla="*/ 185009 h 318508"/>
                    <a:gd name="csX48" fmla="*/ 99020 w 426235"/>
                    <a:gd name="csY48" fmla="*/ 229637 h 318508"/>
                    <a:gd name="csX49" fmla="*/ 106991 w 426235"/>
                    <a:gd name="csY49" fmla="*/ 252847 h 318508"/>
                    <a:gd name="csX50" fmla="*/ 117876 w 426235"/>
                    <a:gd name="csY50" fmla="*/ 254672 h 318508"/>
                    <a:gd name="csX51" fmla="*/ 117172 w 426235"/>
                    <a:gd name="csY51" fmla="*/ 259026 h 318508"/>
                    <a:gd name="csX52" fmla="*/ 126584 w 426235"/>
                    <a:gd name="csY52" fmla="*/ 262291 h 318508"/>
                    <a:gd name="csX53" fmla="*/ 135292 w 426235"/>
                    <a:gd name="csY53" fmla="*/ 257938 h 318508"/>
                    <a:gd name="csX54" fmla="*/ 155973 w 426235"/>
                    <a:gd name="csY54" fmla="*/ 261555 h 318508"/>
                    <a:gd name="csX55" fmla="*/ 159238 w 426235"/>
                    <a:gd name="csY55" fmla="*/ 265909 h 318508"/>
                    <a:gd name="csX56" fmla="*/ 161063 w 426235"/>
                    <a:gd name="csY56" fmla="*/ 270999 h 318508"/>
                    <a:gd name="csX57" fmla="*/ 155973 w 426235"/>
                    <a:gd name="csY57" fmla="*/ 276057 h 318508"/>
                    <a:gd name="csX58" fmla="*/ 137853 w 426235"/>
                    <a:gd name="csY58" fmla="*/ 277146 h 318508"/>
                    <a:gd name="csX59" fmla="*/ 142911 w 426235"/>
                    <a:gd name="csY59" fmla="*/ 290944 h 318508"/>
                    <a:gd name="csX60" fmla="*/ 163592 w 426235"/>
                    <a:gd name="csY60" fmla="*/ 287294 h 318508"/>
                    <a:gd name="csX61" fmla="*/ 168682 w 426235"/>
                    <a:gd name="csY61" fmla="*/ 291648 h 318508"/>
                    <a:gd name="csX62" fmla="*/ 179183 w 426235"/>
                    <a:gd name="csY62" fmla="*/ 285502 h 318508"/>
                    <a:gd name="csX63" fmla="*/ 201689 w 426235"/>
                    <a:gd name="csY63" fmla="*/ 291648 h 318508"/>
                    <a:gd name="csX64" fmla="*/ 216191 w 426235"/>
                    <a:gd name="csY64" fmla="*/ 315595 h 318508"/>
                    <a:gd name="csX65" fmla="*/ 235048 w 426235"/>
                    <a:gd name="csY65" fmla="*/ 314891 h 318508"/>
                    <a:gd name="csX66" fmla="*/ 235784 w 426235"/>
                    <a:gd name="csY66" fmla="*/ 318508 h 318508"/>
                    <a:gd name="csX67" fmla="*/ 241963 w 426235"/>
                    <a:gd name="csY67" fmla="*/ 316683 h 318508"/>
                    <a:gd name="csX68" fmla="*/ 256465 w 426235"/>
                    <a:gd name="csY68" fmla="*/ 309800 h 318508"/>
                    <a:gd name="csX69" fmla="*/ 278235 w 426235"/>
                    <a:gd name="csY69" fmla="*/ 308712 h 318508"/>
                    <a:gd name="csX70" fmla="*/ 310152 w 426235"/>
                    <a:gd name="csY70" fmla="*/ 284061 h 318508"/>
                    <a:gd name="csX71" fmla="*/ 347161 w 426235"/>
                    <a:gd name="csY71" fmla="*/ 264821 h 318508"/>
                    <a:gd name="csX72" fmla="*/ 378695 w 426235"/>
                    <a:gd name="csY72" fmla="*/ 236520 h 318508"/>
                    <a:gd name="csX73" fmla="*/ 387403 w 426235"/>
                    <a:gd name="csY73" fmla="*/ 234695 h 318508"/>
                    <a:gd name="csX74" fmla="*/ 397935 w 426235"/>
                    <a:gd name="csY74" fmla="*/ 238345 h 318508"/>
                    <a:gd name="csX75" fmla="*/ 408084 w 426235"/>
                    <a:gd name="csY75" fmla="*/ 230726 h 318508"/>
                    <a:gd name="csX76" fmla="*/ 426236 w 426235"/>
                    <a:gd name="csY76" fmla="*/ 227076 h 318508"/>
                    <a:gd name="csX77" fmla="*/ 408084 w 426235"/>
                    <a:gd name="csY77" fmla="*/ 217664 h 318508"/>
                    <a:gd name="csX78" fmla="*/ 414262 w 426235"/>
                    <a:gd name="csY78" fmla="*/ 195158 h 318508"/>
                    <a:gd name="csX79" fmla="*/ 403025 w 426235"/>
                    <a:gd name="csY79" fmla="*/ 178126 h 318508"/>
                    <a:gd name="csX80" fmla="*/ 378695 w 426235"/>
                    <a:gd name="csY80" fmla="*/ 181392 h 318508"/>
                    <a:gd name="csX81" fmla="*/ 359838 w 426235"/>
                    <a:gd name="csY81" fmla="*/ 162503 h 318508"/>
                    <a:gd name="csX82" fmla="*/ 354044 w 426235"/>
                    <a:gd name="csY82" fmla="*/ 149826 h 318508"/>
                    <a:gd name="csX83" fmla="*/ 355485 w 426235"/>
                    <a:gd name="csY83" fmla="*/ 136028 h 318508"/>
                    <a:gd name="csX84" fmla="*/ 336628 w 426235"/>
                    <a:gd name="csY84" fmla="*/ 127320 h 318508"/>
                    <a:gd name="csX85" fmla="*/ 329745 w 426235"/>
                    <a:gd name="csY85" fmla="*/ 111729 h 318508"/>
                    <a:gd name="csX86" fmla="*/ 318476 w 426235"/>
                    <a:gd name="csY86" fmla="*/ 104110 h 318508"/>
                    <a:gd name="csX87" fmla="*/ 315211 w 426235"/>
                    <a:gd name="csY87" fmla="*/ 85254 h 318508"/>
                    <a:gd name="csX88" fmla="*/ 321037 w 426235"/>
                    <a:gd name="csY88" fmla="*/ 59482 h 318508"/>
                    <a:gd name="csX89" fmla="*/ 317772 w 426235"/>
                    <a:gd name="csY89" fmla="*/ 48245 h 318508"/>
                    <a:gd name="csX90" fmla="*/ 316683 w 426235"/>
                    <a:gd name="csY90" fmla="*/ 34479 h 318508"/>
                    <a:gd name="csX91" fmla="*/ 336628 w 426235"/>
                    <a:gd name="csY91" fmla="*/ 8708 h 3185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</a:cxnLst>
                  <a:rect l="l" t="t" r="r" b="b"/>
                  <a:pathLst>
                    <a:path w="426235" h="318508">
                      <a:moveTo>
                        <a:pt x="336628" y="8708"/>
                      </a:moveTo>
                      <a:lnTo>
                        <a:pt x="319565" y="0"/>
                      </a:lnTo>
                      <a:lnTo>
                        <a:pt x="279675" y="5090"/>
                      </a:lnTo>
                      <a:lnTo>
                        <a:pt x="245580" y="15591"/>
                      </a:lnTo>
                      <a:lnTo>
                        <a:pt x="242667" y="23947"/>
                      </a:lnTo>
                      <a:lnTo>
                        <a:pt x="226340" y="29389"/>
                      </a:lnTo>
                      <a:lnTo>
                        <a:pt x="220545" y="38833"/>
                      </a:lnTo>
                      <a:lnTo>
                        <a:pt x="203129" y="39537"/>
                      </a:lnTo>
                      <a:lnTo>
                        <a:pt x="201689" y="34479"/>
                      </a:lnTo>
                      <a:lnTo>
                        <a:pt x="198776" y="40274"/>
                      </a:lnTo>
                      <a:lnTo>
                        <a:pt x="191156" y="42099"/>
                      </a:lnTo>
                      <a:lnTo>
                        <a:pt x="174125" y="50806"/>
                      </a:lnTo>
                      <a:lnTo>
                        <a:pt x="178479" y="56601"/>
                      </a:lnTo>
                      <a:lnTo>
                        <a:pt x="163592" y="60218"/>
                      </a:lnTo>
                      <a:lnTo>
                        <a:pt x="150882" y="80163"/>
                      </a:lnTo>
                      <a:lnTo>
                        <a:pt x="132762" y="93609"/>
                      </a:lnTo>
                      <a:lnTo>
                        <a:pt x="130938" y="100492"/>
                      </a:lnTo>
                      <a:lnTo>
                        <a:pt x="118964" y="104846"/>
                      </a:lnTo>
                      <a:lnTo>
                        <a:pt x="112081" y="100492"/>
                      </a:lnTo>
                      <a:lnTo>
                        <a:pt x="100108" y="109200"/>
                      </a:lnTo>
                      <a:lnTo>
                        <a:pt x="87046" y="109200"/>
                      </a:lnTo>
                      <a:lnTo>
                        <a:pt x="71455" y="118612"/>
                      </a:lnTo>
                      <a:lnTo>
                        <a:pt x="58746" y="119701"/>
                      </a:lnTo>
                      <a:lnTo>
                        <a:pt x="50774" y="125527"/>
                      </a:lnTo>
                      <a:lnTo>
                        <a:pt x="44980" y="142943"/>
                      </a:lnTo>
                      <a:lnTo>
                        <a:pt x="31918" y="147297"/>
                      </a:lnTo>
                      <a:lnTo>
                        <a:pt x="21770" y="145472"/>
                      </a:lnTo>
                      <a:lnTo>
                        <a:pt x="9796" y="132410"/>
                      </a:lnTo>
                      <a:lnTo>
                        <a:pt x="4354" y="128056"/>
                      </a:lnTo>
                      <a:lnTo>
                        <a:pt x="0" y="132410"/>
                      </a:lnTo>
                      <a:lnTo>
                        <a:pt x="1793" y="139293"/>
                      </a:lnTo>
                      <a:lnTo>
                        <a:pt x="13062" y="146208"/>
                      </a:lnTo>
                      <a:lnTo>
                        <a:pt x="8708" y="157445"/>
                      </a:lnTo>
                      <a:lnTo>
                        <a:pt x="19208" y="177390"/>
                      </a:lnTo>
                      <a:lnTo>
                        <a:pt x="31182" y="177390"/>
                      </a:lnTo>
                      <a:lnTo>
                        <a:pt x="38801" y="168682"/>
                      </a:lnTo>
                      <a:lnTo>
                        <a:pt x="50774" y="167594"/>
                      </a:lnTo>
                      <a:lnTo>
                        <a:pt x="56953" y="161799"/>
                      </a:lnTo>
                      <a:lnTo>
                        <a:pt x="51863" y="157445"/>
                      </a:lnTo>
                      <a:lnTo>
                        <a:pt x="51863" y="141854"/>
                      </a:lnTo>
                      <a:lnTo>
                        <a:pt x="76898" y="152355"/>
                      </a:lnTo>
                      <a:lnTo>
                        <a:pt x="75073" y="143647"/>
                      </a:lnTo>
                      <a:lnTo>
                        <a:pt x="87046" y="134235"/>
                      </a:lnTo>
                      <a:lnTo>
                        <a:pt x="96490" y="136028"/>
                      </a:lnTo>
                      <a:lnTo>
                        <a:pt x="101549" y="151267"/>
                      </a:lnTo>
                      <a:lnTo>
                        <a:pt x="108464" y="153091"/>
                      </a:lnTo>
                      <a:lnTo>
                        <a:pt x="108464" y="161799"/>
                      </a:lnTo>
                      <a:lnTo>
                        <a:pt x="108464" y="185009"/>
                      </a:lnTo>
                      <a:lnTo>
                        <a:pt x="99020" y="229637"/>
                      </a:lnTo>
                      <a:lnTo>
                        <a:pt x="106991" y="252847"/>
                      </a:lnTo>
                      <a:lnTo>
                        <a:pt x="117876" y="254672"/>
                      </a:lnTo>
                      <a:lnTo>
                        <a:pt x="117172" y="259026"/>
                      </a:lnTo>
                      <a:lnTo>
                        <a:pt x="126584" y="262291"/>
                      </a:lnTo>
                      <a:lnTo>
                        <a:pt x="135292" y="257938"/>
                      </a:lnTo>
                      <a:lnTo>
                        <a:pt x="155973" y="261555"/>
                      </a:lnTo>
                      <a:lnTo>
                        <a:pt x="159238" y="265909"/>
                      </a:lnTo>
                      <a:lnTo>
                        <a:pt x="161063" y="270999"/>
                      </a:lnTo>
                      <a:lnTo>
                        <a:pt x="155973" y="276057"/>
                      </a:lnTo>
                      <a:lnTo>
                        <a:pt x="137853" y="277146"/>
                      </a:lnTo>
                      <a:lnTo>
                        <a:pt x="142911" y="290944"/>
                      </a:lnTo>
                      <a:lnTo>
                        <a:pt x="163592" y="287294"/>
                      </a:lnTo>
                      <a:lnTo>
                        <a:pt x="168682" y="291648"/>
                      </a:lnTo>
                      <a:lnTo>
                        <a:pt x="179183" y="285502"/>
                      </a:lnTo>
                      <a:lnTo>
                        <a:pt x="201689" y="291648"/>
                      </a:lnTo>
                      <a:lnTo>
                        <a:pt x="216191" y="315595"/>
                      </a:lnTo>
                      <a:lnTo>
                        <a:pt x="235048" y="314891"/>
                      </a:lnTo>
                      <a:lnTo>
                        <a:pt x="235784" y="318508"/>
                      </a:lnTo>
                      <a:lnTo>
                        <a:pt x="241963" y="316683"/>
                      </a:lnTo>
                      <a:lnTo>
                        <a:pt x="256465" y="309800"/>
                      </a:lnTo>
                      <a:lnTo>
                        <a:pt x="278235" y="308712"/>
                      </a:lnTo>
                      <a:lnTo>
                        <a:pt x="310152" y="284061"/>
                      </a:lnTo>
                      <a:lnTo>
                        <a:pt x="347161" y="264821"/>
                      </a:lnTo>
                      <a:lnTo>
                        <a:pt x="378695" y="236520"/>
                      </a:lnTo>
                      <a:lnTo>
                        <a:pt x="387403" y="234695"/>
                      </a:lnTo>
                      <a:lnTo>
                        <a:pt x="397935" y="238345"/>
                      </a:lnTo>
                      <a:lnTo>
                        <a:pt x="408084" y="230726"/>
                      </a:lnTo>
                      <a:lnTo>
                        <a:pt x="426236" y="227076"/>
                      </a:lnTo>
                      <a:lnTo>
                        <a:pt x="408084" y="217664"/>
                      </a:lnTo>
                      <a:lnTo>
                        <a:pt x="414262" y="195158"/>
                      </a:lnTo>
                      <a:lnTo>
                        <a:pt x="403025" y="178126"/>
                      </a:lnTo>
                      <a:lnTo>
                        <a:pt x="378695" y="181392"/>
                      </a:lnTo>
                      <a:lnTo>
                        <a:pt x="359838" y="162503"/>
                      </a:lnTo>
                      <a:lnTo>
                        <a:pt x="354044" y="149826"/>
                      </a:lnTo>
                      <a:lnTo>
                        <a:pt x="355485" y="136028"/>
                      </a:lnTo>
                      <a:lnTo>
                        <a:pt x="336628" y="127320"/>
                      </a:lnTo>
                      <a:lnTo>
                        <a:pt x="329745" y="111729"/>
                      </a:lnTo>
                      <a:lnTo>
                        <a:pt x="318476" y="104110"/>
                      </a:lnTo>
                      <a:lnTo>
                        <a:pt x="315211" y="85254"/>
                      </a:lnTo>
                      <a:lnTo>
                        <a:pt x="321037" y="59482"/>
                      </a:lnTo>
                      <a:lnTo>
                        <a:pt x="317772" y="48245"/>
                      </a:lnTo>
                      <a:lnTo>
                        <a:pt x="316683" y="34479"/>
                      </a:lnTo>
                      <a:lnTo>
                        <a:pt x="336628" y="8708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09" name="Forma Livre: Forma 408">
                  <a:extLst>
                    <a:ext uri="{FF2B5EF4-FFF2-40B4-BE49-F238E27FC236}">
                      <a16:creationId xmlns:a16="http://schemas.microsoft.com/office/drawing/2014/main" id="{0368FFD9-ACCA-DB34-BFBE-B81B1D34FE9C}"/>
                    </a:ext>
                  </a:extLst>
                </p:cNvPr>
                <p:cNvSpPr/>
                <p:nvPr/>
              </p:nvSpPr>
              <p:spPr>
                <a:xfrm>
                  <a:off x="2990448" y="2823038"/>
                  <a:ext cx="426235" cy="318508"/>
                </a:xfrm>
                <a:custGeom>
                  <a:avLst/>
                  <a:gdLst>
                    <a:gd name="csX0" fmla="*/ 336628 w 426235"/>
                    <a:gd name="csY0" fmla="*/ 8708 h 318508"/>
                    <a:gd name="csX1" fmla="*/ 319565 w 426235"/>
                    <a:gd name="csY1" fmla="*/ 0 h 318508"/>
                    <a:gd name="csX2" fmla="*/ 279675 w 426235"/>
                    <a:gd name="csY2" fmla="*/ 5090 h 318508"/>
                    <a:gd name="csX3" fmla="*/ 245580 w 426235"/>
                    <a:gd name="csY3" fmla="*/ 15591 h 318508"/>
                    <a:gd name="csX4" fmla="*/ 242667 w 426235"/>
                    <a:gd name="csY4" fmla="*/ 23947 h 318508"/>
                    <a:gd name="csX5" fmla="*/ 226340 w 426235"/>
                    <a:gd name="csY5" fmla="*/ 29389 h 318508"/>
                    <a:gd name="csX6" fmla="*/ 220545 w 426235"/>
                    <a:gd name="csY6" fmla="*/ 38833 h 318508"/>
                    <a:gd name="csX7" fmla="*/ 203129 w 426235"/>
                    <a:gd name="csY7" fmla="*/ 39537 h 318508"/>
                    <a:gd name="csX8" fmla="*/ 201689 w 426235"/>
                    <a:gd name="csY8" fmla="*/ 34479 h 318508"/>
                    <a:gd name="csX9" fmla="*/ 198776 w 426235"/>
                    <a:gd name="csY9" fmla="*/ 40274 h 318508"/>
                    <a:gd name="csX10" fmla="*/ 191156 w 426235"/>
                    <a:gd name="csY10" fmla="*/ 42099 h 318508"/>
                    <a:gd name="csX11" fmla="*/ 174125 w 426235"/>
                    <a:gd name="csY11" fmla="*/ 50806 h 318508"/>
                    <a:gd name="csX12" fmla="*/ 178479 w 426235"/>
                    <a:gd name="csY12" fmla="*/ 56601 h 318508"/>
                    <a:gd name="csX13" fmla="*/ 163592 w 426235"/>
                    <a:gd name="csY13" fmla="*/ 60218 h 318508"/>
                    <a:gd name="csX14" fmla="*/ 150882 w 426235"/>
                    <a:gd name="csY14" fmla="*/ 80163 h 318508"/>
                    <a:gd name="csX15" fmla="*/ 132762 w 426235"/>
                    <a:gd name="csY15" fmla="*/ 93609 h 318508"/>
                    <a:gd name="csX16" fmla="*/ 130938 w 426235"/>
                    <a:gd name="csY16" fmla="*/ 100492 h 318508"/>
                    <a:gd name="csX17" fmla="*/ 118964 w 426235"/>
                    <a:gd name="csY17" fmla="*/ 104846 h 318508"/>
                    <a:gd name="csX18" fmla="*/ 112081 w 426235"/>
                    <a:gd name="csY18" fmla="*/ 100492 h 318508"/>
                    <a:gd name="csX19" fmla="*/ 100108 w 426235"/>
                    <a:gd name="csY19" fmla="*/ 109200 h 318508"/>
                    <a:gd name="csX20" fmla="*/ 87046 w 426235"/>
                    <a:gd name="csY20" fmla="*/ 109200 h 318508"/>
                    <a:gd name="csX21" fmla="*/ 71455 w 426235"/>
                    <a:gd name="csY21" fmla="*/ 118612 h 318508"/>
                    <a:gd name="csX22" fmla="*/ 58746 w 426235"/>
                    <a:gd name="csY22" fmla="*/ 119701 h 318508"/>
                    <a:gd name="csX23" fmla="*/ 50774 w 426235"/>
                    <a:gd name="csY23" fmla="*/ 125527 h 318508"/>
                    <a:gd name="csX24" fmla="*/ 44980 w 426235"/>
                    <a:gd name="csY24" fmla="*/ 142943 h 318508"/>
                    <a:gd name="csX25" fmla="*/ 31918 w 426235"/>
                    <a:gd name="csY25" fmla="*/ 147297 h 318508"/>
                    <a:gd name="csX26" fmla="*/ 21770 w 426235"/>
                    <a:gd name="csY26" fmla="*/ 145472 h 318508"/>
                    <a:gd name="csX27" fmla="*/ 9796 w 426235"/>
                    <a:gd name="csY27" fmla="*/ 132410 h 318508"/>
                    <a:gd name="csX28" fmla="*/ 4354 w 426235"/>
                    <a:gd name="csY28" fmla="*/ 128056 h 318508"/>
                    <a:gd name="csX29" fmla="*/ 0 w 426235"/>
                    <a:gd name="csY29" fmla="*/ 132410 h 318508"/>
                    <a:gd name="csX30" fmla="*/ 1793 w 426235"/>
                    <a:gd name="csY30" fmla="*/ 139293 h 318508"/>
                    <a:gd name="csX31" fmla="*/ 13062 w 426235"/>
                    <a:gd name="csY31" fmla="*/ 146208 h 318508"/>
                    <a:gd name="csX32" fmla="*/ 8708 w 426235"/>
                    <a:gd name="csY32" fmla="*/ 157445 h 318508"/>
                    <a:gd name="csX33" fmla="*/ 19208 w 426235"/>
                    <a:gd name="csY33" fmla="*/ 177390 h 318508"/>
                    <a:gd name="csX34" fmla="*/ 31182 w 426235"/>
                    <a:gd name="csY34" fmla="*/ 177390 h 318508"/>
                    <a:gd name="csX35" fmla="*/ 38801 w 426235"/>
                    <a:gd name="csY35" fmla="*/ 168682 h 318508"/>
                    <a:gd name="csX36" fmla="*/ 50774 w 426235"/>
                    <a:gd name="csY36" fmla="*/ 167594 h 318508"/>
                    <a:gd name="csX37" fmla="*/ 56953 w 426235"/>
                    <a:gd name="csY37" fmla="*/ 161799 h 318508"/>
                    <a:gd name="csX38" fmla="*/ 51863 w 426235"/>
                    <a:gd name="csY38" fmla="*/ 157445 h 318508"/>
                    <a:gd name="csX39" fmla="*/ 51863 w 426235"/>
                    <a:gd name="csY39" fmla="*/ 141854 h 318508"/>
                    <a:gd name="csX40" fmla="*/ 76898 w 426235"/>
                    <a:gd name="csY40" fmla="*/ 152355 h 318508"/>
                    <a:gd name="csX41" fmla="*/ 75073 w 426235"/>
                    <a:gd name="csY41" fmla="*/ 143647 h 318508"/>
                    <a:gd name="csX42" fmla="*/ 87046 w 426235"/>
                    <a:gd name="csY42" fmla="*/ 134235 h 318508"/>
                    <a:gd name="csX43" fmla="*/ 96490 w 426235"/>
                    <a:gd name="csY43" fmla="*/ 136028 h 318508"/>
                    <a:gd name="csX44" fmla="*/ 101549 w 426235"/>
                    <a:gd name="csY44" fmla="*/ 151267 h 318508"/>
                    <a:gd name="csX45" fmla="*/ 108464 w 426235"/>
                    <a:gd name="csY45" fmla="*/ 153091 h 318508"/>
                    <a:gd name="csX46" fmla="*/ 108464 w 426235"/>
                    <a:gd name="csY46" fmla="*/ 161799 h 318508"/>
                    <a:gd name="csX47" fmla="*/ 108464 w 426235"/>
                    <a:gd name="csY47" fmla="*/ 185009 h 318508"/>
                    <a:gd name="csX48" fmla="*/ 99020 w 426235"/>
                    <a:gd name="csY48" fmla="*/ 229637 h 318508"/>
                    <a:gd name="csX49" fmla="*/ 106991 w 426235"/>
                    <a:gd name="csY49" fmla="*/ 252847 h 318508"/>
                    <a:gd name="csX50" fmla="*/ 117876 w 426235"/>
                    <a:gd name="csY50" fmla="*/ 254672 h 318508"/>
                    <a:gd name="csX51" fmla="*/ 117172 w 426235"/>
                    <a:gd name="csY51" fmla="*/ 259026 h 318508"/>
                    <a:gd name="csX52" fmla="*/ 126584 w 426235"/>
                    <a:gd name="csY52" fmla="*/ 262291 h 318508"/>
                    <a:gd name="csX53" fmla="*/ 135292 w 426235"/>
                    <a:gd name="csY53" fmla="*/ 257938 h 318508"/>
                    <a:gd name="csX54" fmla="*/ 155973 w 426235"/>
                    <a:gd name="csY54" fmla="*/ 261555 h 318508"/>
                    <a:gd name="csX55" fmla="*/ 159238 w 426235"/>
                    <a:gd name="csY55" fmla="*/ 265909 h 318508"/>
                    <a:gd name="csX56" fmla="*/ 161063 w 426235"/>
                    <a:gd name="csY56" fmla="*/ 270999 h 318508"/>
                    <a:gd name="csX57" fmla="*/ 155973 w 426235"/>
                    <a:gd name="csY57" fmla="*/ 276057 h 318508"/>
                    <a:gd name="csX58" fmla="*/ 137853 w 426235"/>
                    <a:gd name="csY58" fmla="*/ 277146 h 318508"/>
                    <a:gd name="csX59" fmla="*/ 142911 w 426235"/>
                    <a:gd name="csY59" fmla="*/ 290944 h 318508"/>
                    <a:gd name="csX60" fmla="*/ 163592 w 426235"/>
                    <a:gd name="csY60" fmla="*/ 287294 h 318508"/>
                    <a:gd name="csX61" fmla="*/ 168682 w 426235"/>
                    <a:gd name="csY61" fmla="*/ 291648 h 318508"/>
                    <a:gd name="csX62" fmla="*/ 179183 w 426235"/>
                    <a:gd name="csY62" fmla="*/ 285502 h 318508"/>
                    <a:gd name="csX63" fmla="*/ 201689 w 426235"/>
                    <a:gd name="csY63" fmla="*/ 291648 h 318508"/>
                    <a:gd name="csX64" fmla="*/ 216191 w 426235"/>
                    <a:gd name="csY64" fmla="*/ 315595 h 318508"/>
                    <a:gd name="csX65" fmla="*/ 235048 w 426235"/>
                    <a:gd name="csY65" fmla="*/ 314891 h 318508"/>
                    <a:gd name="csX66" fmla="*/ 235784 w 426235"/>
                    <a:gd name="csY66" fmla="*/ 318508 h 318508"/>
                    <a:gd name="csX67" fmla="*/ 241963 w 426235"/>
                    <a:gd name="csY67" fmla="*/ 316683 h 318508"/>
                    <a:gd name="csX68" fmla="*/ 256465 w 426235"/>
                    <a:gd name="csY68" fmla="*/ 309800 h 318508"/>
                    <a:gd name="csX69" fmla="*/ 278235 w 426235"/>
                    <a:gd name="csY69" fmla="*/ 308712 h 318508"/>
                    <a:gd name="csX70" fmla="*/ 310152 w 426235"/>
                    <a:gd name="csY70" fmla="*/ 284061 h 318508"/>
                    <a:gd name="csX71" fmla="*/ 347161 w 426235"/>
                    <a:gd name="csY71" fmla="*/ 264821 h 318508"/>
                    <a:gd name="csX72" fmla="*/ 378695 w 426235"/>
                    <a:gd name="csY72" fmla="*/ 236520 h 318508"/>
                    <a:gd name="csX73" fmla="*/ 387403 w 426235"/>
                    <a:gd name="csY73" fmla="*/ 234695 h 318508"/>
                    <a:gd name="csX74" fmla="*/ 397935 w 426235"/>
                    <a:gd name="csY74" fmla="*/ 238345 h 318508"/>
                    <a:gd name="csX75" fmla="*/ 408084 w 426235"/>
                    <a:gd name="csY75" fmla="*/ 230726 h 318508"/>
                    <a:gd name="csX76" fmla="*/ 426236 w 426235"/>
                    <a:gd name="csY76" fmla="*/ 227076 h 318508"/>
                    <a:gd name="csX77" fmla="*/ 408084 w 426235"/>
                    <a:gd name="csY77" fmla="*/ 217664 h 318508"/>
                    <a:gd name="csX78" fmla="*/ 414262 w 426235"/>
                    <a:gd name="csY78" fmla="*/ 195158 h 318508"/>
                    <a:gd name="csX79" fmla="*/ 403025 w 426235"/>
                    <a:gd name="csY79" fmla="*/ 178126 h 318508"/>
                    <a:gd name="csX80" fmla="*/ 378695 w 426235"/>
                    <a:gd name="csY80" fmla="*/ 181392 h 318508"/>
                    <a:gd name="csX81" fmla="*/ 359838 w 426235"/>
                    <a:gd name="csY81" fmla="*/ 162503 h 318508"/>
                    <a:gd name="csX82" fmla="*/ 354044 w 426235"/>
                    <a:gd name="csY82" fmla="*/ 149826 h 318508"/>
                    <a:gd name="csX83" fmla="*/ 355485 w 426235"/>
                    <a:gd name="csY83" fmla="*/ 136028 h 318508"/>
                    <a:gd name="csX84" fmla="*/ 336628 w 426235"/>
                    <a:gd name="csY84" fmla="*/ 127320 h 318508"/>
                    <a:gd name="csX85" fmla="*/ 329745 w 426235"/>
                    <a:gd name="csY85" fmla="*/ 111729 h 318508"/>
                    <a:gd name="csX86" fmla="*/ 318476 w 426235"/>
                    <a:gd name="csY86" fmla="*/ 104110 h 318508"/>
                    <a:gd name="csX87" fmla="*/ 315211 w 426235"/>
                    <a:gd name="csY87" fmla="*/ 85254 h 318508"/>
                    <a:gd name="csX88" fmla="*/ 321037 w 426235"/>
                    <a:gd name="csY88" fmla="*/ 59482 h 318508"/>
                    <a:gd name="csX89" fmla="*/ 317772 w 426235"/>
                    <a:gd name="csY89" fmla="*/ 48245 h 318508"/>
                    <a:gd name="csX90" fmla="*/ 316683 w 426235"/>
                    <a:gd name="csY90" fmla="*/ 34479 h 318508"/>
                    <a:gd name="csX91" fmla="*/ 336628 w 426235"/>
                    <a:gd name="csY91" fmla="*/ 8708 h 3185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</a:cxnLst>
                  <a:rect l="l" t="t" r="r" b="b"/>
                  <a:pathLst>
                    <a:path w="426235" h="318508">
                      <a:moveTo>
                        <a:pt x="336628" y="8708"/>
                      </a:moveTo>
                      <a:lnTo>
                        <a:pt x="319565" y="0"/>
                      </a:lnTo>
                      <a:lnTo>
                        <a:pt x="279675" y="5090"/>
                      </a:lnTo>
                      <a:lnTo>
                        <a:pt x="245580" y="15591"/>
                      </a:lnTo>
                      <a:lnTo>
                        <a:pt x="242667" y="23947"/>
                      </a:lnTo>
                      <a:lnTo>
                        <a:pt x="226340" y="29389"/>
                      </a:lnTo>
                      <a:lnTo>
                        <a:pt x="220545" y="38833"/>
                      </a:lnTo>
                      <a:lnTo>
                        <a:pt x="203129" y="39537"/>
                      </a:lnTo>
                      <a:lnTo>
                        <a:pt x="201689" y="34479"/>
                      </a:lnTo>
                      <a:lnTo>
                        <a:pt x="198776" y="40274"/>
                      </a:lnTo>
                      <a:lnTo>
                        <a:pt x="191156" y="42099"/>
                      </a:lnTo>
                      <a:lnTo>
                        <a:pt x="174125" y="50806"/>
                      </a:lnTo>
                      <a:lnTo>
                        <a:pt x="178479" y="56601"/>
                      </a:lnTo>
                      <a:lnTo>
                        <a:pt x="163592" y="60218"/>
                      </a:lnTo>
                      <a:lnTo>
                        <a:pt x="150882" y="80163"/>
                      </a:lnTo>
                      <a:lnTo>
                        <a:pt x="132762" y="93609"/>
                      </a:lnTo>
                      <a:lnTo>
                        <a:pt x="130938" y="100492"/>
                      </a:lnTo>
                      <a:lnTo>
                        <a:pt x="118964" y="104846"/>
                      </a:lnTo>
                      <a:lnTo>
                        <a:pt x="112081" y="100492"/>
                      </a:lnTo>
                      <a:lnTo>
                        <a:pt x="100108" y="109200"/>
                      </a:lnTo>
                      <a:lnTo>
                        <a:pt x="87046" y="109200"/>
                      </a:lnTo>
                      <a:lnTo>
                        <a:pt x="71455" y="118612"/>
                      </a:lnTo>
                      <a:lnTo>
                        <a:pt x="58746" y="119701"/>
                      </a:lnTo>
                      <a:lnTo>
                        <a:pt x="50774" y="125527"/>
                      </a:lnTo>
                      <a:lnTo>
                        <a:pt x="44980" y="142943"/>
                      </a:lnTo>
                      <a:lnTo>
                        <a:pt x="31918" y="147297"/>
                      </a:lnTo>
                      <a:lnTo>
                        <a:pt x="21770" y="145472"/>
                      </a:lnTo>
                      <a:lnTo>
                        <a:pt x="9796" y="132410"/>
                      </a:lnTo>
                      <a:lnTo>
                        <a:pt x="4354" y="128056"/>
                      </a:lnTo>
                      <a:lnTo>
                        <a:pt x="0" y="132410"/>
                      </a:lnTo>
                      <a:lnTo>
                        <a:pt x="1793" y="139293"/>
                      </a:lnTo>
                      <a:lnTo>
                        <a:pt x="13062" y="146208"/>
                      </a:lnTo>
                      <a:lnTo>
                        <a:pt x="8708" y="157445"/>
                      </a:lnTo>
                      <a:lnTo>
                        <a:pt x="19208" y="177390"/>
                      </a:lnTo>
                      <a:lnTo>
                        <a:pt x="31182" y="177390"/>
                      </a:lnTo>
                      <a:lnTo>
                        <a:pt x="38801" y="168682"/>
                      </a:lnTo>
                      <a:lnTo>
                        <a:pt x="50774" y="167594"/>
                      </a:lnTo>
                      <a:lnTo>
                        <a:pt x="56953" y="161799"/>
                      </a:lnTo>
                      <a:lnTo>
                        <a:pt x="51863" y="157445"/>
                      </a:lnTo>
                      <a:lnTo>
                        <a:pt x="51863" y="141854"/>
                      </a:lnTo>
                      <a:lnTo>
                        <a:pt x="76898" y="152355"/>
                      </a:lnTo>
                      <a:lnTo>
                        <a:pt x="75073" y="143647"/>
                      </a:lnTo>
                      <a:lnTo>
                        <a:pt x="87046" y="134235"/>
                      </a:lnTo>
                      <a:lnTo>
                        <a:pt x="96490" y="136028"/>
                      </a:lnTo>
                      <a:lnTo>
                        <a:pt x="101549" y="151267"/>
                      </a:lnTo>
                      <a:lnTo>
                        <a:pt x="108464" y="153091"/>
                      </a:lnTo>
                      <a:lnTo>
                        <a:pt x="108464" y="161799"/>
                      </a:lnTo>
                      <a:lnTo>
                        <a:pt x="108464" y="185009"/>
                      </a:lnTo>
                      <a:lnTo>
                        <a:pt x="99020" y="229637"/>
                      </a:lnTo>
                      <a:lnTo>
                        <a:pt x="106991" y="252847"/>
                      </a:lnTo>
                      <a:lnTo>
                        <a:pt x="117876" y="254672"/>
                      </a:lnTo>
                      <a:lnTo>
                        <a:pt x="117172" y="259026"/>
                      </a:lnTo>
                      <a:lnTo>
                        <a:pt x="126584" y="262291"/>
                      </a:lnTo>
                      <a:lnTo>
                        <a:pt x="135292" y="257938"/>
                      </a:lnTo>
                      <a:lnTo>
                        <a:pt x="155973" y="261555"/>
                      </a:lnTo>
                      <a:lnTo>
                        <a:pt x="159238" y="265909"/>
                      </a:lnTo>
                      <a:lnTo>
                        <a:pt x="161063" y="270999"/>
                      </a:lnTo>
                      <a:lnTo>
                        <a:pt x="155973" y="276057"/>
                      </a:lnTo>
                      <a:lnTo>
                        <a:pt x="137853" y="277146"/>
                      </a:lnTo>
                      <a:lnTo>
                        <a:pt x="142911" y="290944"/>
                      </a:lnTo>
                      <a:lnTo>
                        <a:pt x="163592" y="287294"/>
                      </a:lnTo>
                      <a:lnTo>
                        <a:pt x="168682" y="291648"/>
                      </a:lnTo>
                      <a:lnTo>
                        <a:pt x="179183" y="285502"/>
                      </a:lnTo>
                      <a:lnTo>
                        <a:pt x="201689" y="291648"/>
                      </a:lnTo>
                      <a:lnTo>
                        <a:pt x="216191" y="315595"/>
                      </a:lnTo>
                      <a:lnTo>
                        <a:pt x="235048" y="314891"/>
                      </a:lnTo>
                      <a:lnTo>
                        <a:pt x="235784" y="318508"/>
                      </a:lnTo>
                      <a:lnTo>
                        <a:pt x="241963" y="316683"/>
                      </a:lnTo>
                      <a:lnTo>
                        <a:pt x="256465" y="309800"/>
                      </a:lnTo>
                      <a:lnTo>
                        <a:pt x="278235" y="308712"/>
                      </a:lnTo>
                      <a:lnTo>
                        <a:pt x="310152" y="284061"/>
                      </a:lnTo>
                      <a:lnTo>
                        <a:pt x="347161" y="264821"/>
                      </a:lnTo>
                      <a:lnTo>
                        <a:pt x="378695" y="236520"/>
                      </a:lnTo>
                      <a:lnTo>
                        <a:pt x="387403" y="234695"/>
                      </a:lnTo>
                      <a:lnTo>
                        <a:pt x="397935" y="238345"/>
                      </a:lnTo>
                      <a:lnTo>
                        <a:pt x="408084" y="230726"/>
                      </a:lnTo>
                      <a:lnTo>
                        <a:pt x="426236" y="227076"/>
                      </a:lnTo>
                      <a:lnTo>
                        <a:pt x="408084" y="217664"/>
                      </a:lnTo>
                      <a:lnTo>
                        <a:pt x="414262" y="195158"/>
                      </a:lnTo>
                      <a:lnTo>
                        <a:pt x="403025" y="178126"/>
                      </a:lnTo>
                      <a:lnTo>
                        <a:pt x="378695" y="181392"/>
                      </a:lnTo>
                      <a:lnTo>
                        <a:pt x="359838" y="162503"/>
                      </a:lnTo>
                      <a:lnTo>
                        <a:pt x="354044" y="149826"/>
                      </a:lnTo>
                      <a:lnTo>
                        <a:pt x="355485" y="136028"/>
                      </a:lnTo>
                      <a:lnTo>
                        <a:pt x="336628" y="127320"/>
                      </a:lnTo>
                      <a:lnTo>
                        <a:pt x="329745" y="111729"/>
                      </a:lnTo>
                      <a:lnTo>
                        <a:pt x="318476" y="104110"/>
                      </a:lnTo>
                      <a:lnTo>
                        <a:pt x="315211" y="85254"/>
                      </a:lnTo>
                      <a:lnTo>
                        <a:pt x="321037" y="59482"/>
                      </a:lnTo>
                      <a:lnTo>
                        <a:pt x="317772" y="48245"/>
                      </a:lnTo>
                      <a:lnTo>
                        <a:pt x="316683" y="34479"/>
                      </a:lnTo>
                      <a:lnTo>
                        <a:pt x="336628" y="8708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1F815B46-9C61-10B6-95EA-5A25C9E0114B}"/>
                    </a:ext>
                  </a:extLst>
                </p:cNvPr>
                <p:cNvSpPr/>
                <p:nvPr/>
              </p:nvSpPr>
              <p:spPr>
                <a:xfrm>
                  <a:off x="3439894" y="3292077"/>
                  <a:ext cx="344983" cy="325039"/>
                </a:xfrm>
                <a:custGeom>
                  <a:avLst/>
                  <a:gdLst>
                    <a:gd name="csX0" fmla="*/ 147265 w 344983"/>
                    <a:gd name="csY0" fmla="*/ 6915 h 325039"/>
                    <a:gd name="csX1" fmla="*/ 137501 w 344983"/>
                    <a:gd name="csY1" fmla="*/ 11973 h 325039"/>
                    <a:gd name="csX2" fmla="*/ 122966 w 344983"/>
                    <a:gd name="csY2" fmla="*/ 10885 h 325039"/>
                    <a:gd name="csX3" fmla="*/ 122262 w 344983"/>
                    <a:gd name="csY3" fmla="*/ 47893 h 325039"/>
                    <a:gd name="csX4" fmla="*/ 122262 w 344983"/>
                    <a:gd name="csY4" fmla="*/ 65309 h 325039"/>
                    <a:gd name="csX5" fmla="*/ 121173 w 344983"/>
                    <a:gd name="csY5" fmla="*/ 125527 h 325039"/>
                    <a:gd name="csX6" fmla="*/ 121173 w 344983"/>
                    <a:gd name="csY6" fmla="*/ 142591 h 325039"/>
                    <a:gd name="csX7" fmla="*/ 109200 w 344983"/>
                    <a:gd name="csY7" fmla="*/ 134971 h 325039"/>
                    <a:gd name="csX8" fmla="*/ 94666 w 344983"/>
                    <a:gd name="csY8" fmla="*/ 141118 h 325039"/>
                    <a:gd name="csX9" fmla="*/ 80163 w 344983"/>
                    <a:gd name="csY9" fmla="*/ 141118 h 325039"/>
                    <a:gd name="csX10" fmla="*/ 76546 w 344983"/>
                    <a:gd name="csY10" fmla="*/ 149474 h 325039"/>
                    <a:gd name="csX11" fmla="*/ 62748 w 344983"/>
                    <a:gd name="csY11" fmla="*/ 159974 h 325039"/>
                    <a:gd name="csX12" fmla="*/ 60219 w 344983"/>
                    <a:gd name="csY12" fmla="*/ 154532 h 325039"/>
                    <a:gd name="csX13" fmla="*/ 65309 w 344983"/>
                    <a:gd name="csY13" fmla="*/ 146208 h 325039"/>
                    <a:gd name="csX14" fmla="*/ 59482 w 344983"/>
                    <a:gd name="csY14" fmla="*/ 140030 h 325039"/>
                    <a:gd name="csX15" fmla="*/ 46420 w 344983"/>
                    <a:gd name="csY15" fmla="*/ 141118 h 325039"/>
                    <a:gd name="csX16" fmla="*/ 20681 w 344983"/>
                    <a:gd name="csY16" fmla="*/ 153828 h 325039"/>
                    <a:gd name="csX17" fmla="*/ 0 w 344983"/>
                    <a:gd name="csY17" fmla="*/ 165065 h 325039"/>
                    <a:gd name="csX18" fmla="*/ 7619 w 344983"/>
                    <a:gd name="csY18" fmla="*/ 190100 h 325039"/>
                    <a:gd name="csX19" fmla="*/ 736 w 344983"/>
                    <a:gd name="csY19" fmla="*/ 202809 h 325039"/>
                    <a:gd name="csX20" fmla="*/ 25035 w 344983"/>
                    <a:gd name="csY20" fmla="*/ 197719 h 325039"/>
                    <a:gd name="csX21" fmla="*/ 23210 w 344983"/>
                    <a:gd name="csY21" fmla="*/ 220929 h 325039"/>
                    <a:gd name="csX22" fmla="*/ 39538 w 344983"/>
                    <a:gd name="csY22" fmla="*/ 230373 h 325039"/>
                    <a:gd name="csX23" fmla="*/ 41362 w 344983"/>
                    <a:gd name="csY23" fmla="*/ 237256 h 325039"/>
                    <a:gd name="csX24" fmla="*/ 18152 w 344983"/>
                    <a:gd name="csY24" fmla="*/ 269175 h 325039"/>
                    <a:gd name="csX25" fmla="*/ 10148 w 344983"/>
                    <a:gd name="csY25" fmla="*/ 272440 h 325039"/>
                    <a:gd name="csX26" fmla="*/ 12710 w 344983"/>
                    <a:gd name="csY26" fmla="*/ 281884 h 325039"/>
                    <a:gd name="csX27" fmla="*/ 20681 w 344983"/>
                    <a:gd name="csY27" fmla="*/ 278619 h 325039"/>
                    <a:gd name="csX28" fmla="*/ 28301 w 344983"/>
                    <a:gd name="csY28" fmla="*/ 281884 h 325039"/>
                    <a:gd name="csX29" fmla="*/ 53336 w 344983"/>
                    <a:gd name="csY29" fmla="*/ 313066 h 325039"/>
                    <a:gd name="csX30" fmla="*/ 83429 w 344983"/>
                    <a:gd name="csY30" fmla="*/ 313066 h 325039"/>
                    <a:gd name="csX31" fmla="*/ 92873 w 344983"/>
                    <a:gd name="csY31" fmla="*/ 318156 h 325039"/>
                    <a:gd name="csX32" fmla="*/ 92873 w 344983"/>
                    <a:gd name="csY32" fmla="*/ 325039 h 325039"/>
                    <a:gd name="csX33" fmla="*/ 97931 w 344983"/>
                    <a:gd name="csY33" fmla="*/ 322510 h 325039"/>
                    <a:gd name="csX34" fmla="*/ 115347 w 344983"/>
                    <a:gd name="csY34" fmla="*/ 324303 h 325039"/>
                    <a:gd name="csX35" fmla="*/ 119701 w 344983"/>
                    <a:gd name="csY35" fmla="*/ 318156 h 325039"/>
                    <a:gd name="csX36" fmla="*/ 133499 w 344983"/>
                    <a:gd name="csY36" fmla="*/ 300004 h 325039"/>
                    <a:gd name="csX37" fmla="*/ 149826 w 344983"/>
                    <a:gd name="csY37" fmla="*/ 309448 h 325039"/>
                    <a:gd name="csX38" fmla="*/ 149826 w 344983"/>
                    <a:gd name="csY38" fmla="*/ 319949 h 325039"/>
                    <a:gd name="csX39" fmla="*/ 154180 w 344983"/>
                    <a:gd name="csY39" fmla="*/ 323214 h 325039"/>
                    <a:gd name="csX40" fmla="*/ 161799 w 344983"/>
                    <a:gd name="csY40" fmla="*/ 314891 h 325039"/>
                    <a:gd name="csX41" fmla="*/ 170507 w 344983"/>
                    <a:gd name="csY41" fmla="*/ 316331 h 325039"/>
                    <a:gd name="csX42" fmla="*/ 185009 w 344983"/>
                    <a:gd name="csY42" fmla="*/ 312362 h 325039"/>
                    <a:gd name="csX43" fmla="*/ 191188 w 344983"/>
                    <a:gd name="csY43" fmla="*/ 318860 h 325039"/>
                    <a:gd name="csX44" fmla="*/ 212574 w 344983"/>
                    <a:gd name="csY44" fmla="*/ 322510 h 325039"/>
                    <a:gd name="csX45" fmla="*/ 233991 w 344983"/>
                    <a:gd name="csY45" fmla="*/ 311273 h 325039"/>
                    <a:gd name="csX46" fmla="*/ 259730 w 344983"/>
                    <a:gd name="csY46" fmla="*/ 257201 h 325039"/>
                    <a:gd name="csX47" fmla="*/ 290944 w 344983"/>
                    <a:gd name="csY47" fmla="*/ 192629 h 325039"/>
                    <a:gd name="csX48" fmla="*/ 323567 w 344983"/>
                    <a:gd name="csY48" fmla="*/ 125527 h 325039"/>
                    <a:gd name="csX49" fmla="*/ 332274 w 344983"/>
                    <a:gd name="csY49" fmla="*/ 106671 h 325039"/>
                    <a:gd name="csX50" fmla="*/ 333011 w 344983"/>
                    <a:gd name="csY50" fmla="*/ 105583 h 325039"/>
                    <a:gd name="csX51" fmla="*/ 342455 w 344983"/>
                    <a:gd name="csY51" fmla="*/ 85990 h 325039"/>
                    <a:gd name="csX52" fmla="*/ 344984 w 344983"/>
                    <a:gd name="csY52" fmla="*/ 76546 h 325039"/>
                    <a:gd name="csX53" fmla="*/ 341718 w 344983"/>
                    <a:gd name="csY53" fmla="*/ 57337 h 325039"/>
                    <a:gd name="csX54" fmla="*/ 340630 w 344983"/>
                    <a:gd name="csY54" fmla="*/ 54776 h 325039"/>
                    <a:gd name="csX55" fmla="*/ 330481 w 344983"/>
                    <a:gd name="csY55" fmla="*/ 48982 h 325039"/>
                    <a:gd name="csX56" fmla="*/ 317420 w 344983"/>
                    <a:gd name="csY56" fmla="*/ 48982 h 325039"/>
                    <a:gd name="csX57" fmla="*/ 293473 w 344983"/>
                    <a:gd name="csY57" fmla="*/ 29037 h 325039"/>
                    <a:gd name="csX58" fmla="*/ 286590 w 344983"/>
                    <a:gd name="csY58" fmla="*/ 31566 h 325039"/>
                    <a:gd name="csX59" fmla="*/ 273528 w 344983"/>
                    <a:gd name="csY59" fmla="*/ 2561 h 325039"/>
                    <a:gd name="csX60" fmla="*/ 263380 w 344983"/>
                    <a:gd name="csY60" fmla="*/ 0 h 325039"/>
                    <a:gd name="csX61" fmla="*/ 247053 w 344983"/>
                    <a:gd name="csY61" fmla="*/ 2561 h 325039"/>
                    <a:gd name="csX62" fmla="*/ 227076 w 344983"/>
                    <a:gd name="csY62" fmla="*/ 2561 h 325039"/>
                    <a:gd name="csX63" fmla="*/ 216928 w 344983"/>
                    <a:gd name="csY63" fmla="*/ 9444 h 325039"/>
                    <a:gd name="csX64" fmla="*/ 203866 w 344983"/>
                    <a:gd name="csY64" fmla="*/ 9444 h 325039"/>
                    <a:gd name="csX65" fmla="*/ 193717 w 344983"/>
                    <a:gd name="csY65" fmla="*/ 13798 h 325039"/>
                    <a:gd name="csX66" fmla="*/ 178126 w 344983"/>
                    <a:gd name="csY66" fmla="*/ 10181 h 325039"/>
                    <a:gd name="csX67" fmla="*/ 170507 w 344983"/>
                    <a:gd name="csY67" fmla="*/ 13798 h 325039"/>
                    <a:gd name="csX68" fmla="*/ 166857 w 344983"/>
                    <a:gd name="csY68" fmla="*/ 10885 h 325039"/>
                    <a:gd name="csX69" fmla="*/ 164328 w 344983"/>
                    <a:gd name="csY69" fmla="*/ 11973 h 325039"/>
                    <a:gd name="csX70" fmla="*/ 147265 w 344983"/>
                    <a:gd name="csY70" fmla="*/ 6915 h 32503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44983" h="325039">
                      <a:moveTo>
                        <a:pt x="147265" y="6915"/>
                      </a:moveTo>
                      <a:lnTo>
                        <a:pt x="137501" y="11973"/>
                      </a:lnTo>
                      <a:lnTo>
                        <a:pt x="122966" y="10885"/>
                      </a:lnTo>
                      <a:lnTo>
                        <a:pt x="122262" y="47893"/>
                      </a:lnTo>
                      <a:lnTo>
                        <a:pt x="122262" y="65309"/>
                      </a:lnTo>
                      <a:lnTo>
                        <a:pt x="121173" y="125527"/>
                      </a:lnTo>
                      <a:lnTo>
                        <a:pt x="121173" y="142591"/>
                      </a:lnTo>
                      <a:lnTo>
                        <a:pt x="109200" y="134971"/>
                      </a:lnTo>
                      <a:lnTo>
                        <a:pt x="94666" y="141118"/>
                      </a:lnTo>
                      <a:lnTo>
                        <a:pt x="80163" y="141118"/>
                      </a:lnTo>
                      <a:lnTo>
                        <a:pt x="76546" y="149474"/>
                      </a:lnTo>
                      <a:lnTo>
                        <a:pt x="62748" y="159974"/>
                      </a:lnTo>
                      <a:lnTo>
                        <a:pt x="60219" y="154532"/>
                      </a:lnTo>
                      <a:lnTo>
                        <a:pt x="65309" y="146208"/>
                      </a:lnTo>
                      <a:lnTo>
                        <a:pt x="59482" y="140030"/>
                      </a:lnTo>
                      <a:lnTo>
                        <a:pt x="46420" y="141118"/>
                      </a:lnTo>
                      <a:lnTo>
                        <a:pt x="20681" y="153828"/>
                      </a:lnTo>
                      <a:lnTo>
                        <a:pt x="0" y="165065"/>
                      </a:lnTo>
                      <a:lnTo>
                        <a:pt x="7619" y="190100"/>
                      </a:lnTo>
                      <a:lnTo>
                        <a:pt x="736" y="202809"/>
                      </a:lnTo>
                      <a:lnTo>
                        <a:pt x="25035" y="197719"/>
                      </a:lnTo>
                      <a:lnTo>
                        <a:pt x="23210" y="220929"/>
                      </a:lnTo>
                      <a:lnTo>
                        <a:pt x="39538" y="230373"/>
                      </a:lnTo>
                      <a:lnTo>
                        <a:pt x="41362" y="237256"/>
                      </a:lnTo>
                      <a:lnTo>
                        <a:pt x="18152" y="269175"/>
                      </a:lnTo>
                      <a:lnTo>
                        <a:pt x="10148" y="272440"/>
                      </a:lnTo>
                      <a:lnTo>
                        <a:pt x="12710" y="281884"/>
                      </a:lnTo>
                      <a:lnTo>
                        <a:pt x="20681" y="278619"/>
                      </a:lnTo>
                      <a:lnTo>
                        <a:pt x="28301" y="281884"/>
                      </a:lnTo>
                      <a:lnTo>
                        <a:pt x="53336" y="313066"/>
                      </a:lnTo>
                      <a:lnTo>
                        <a:pt x="83429" y="313066"/>
                      </a:lnTo>
                      <a:lnTo>
                        <a:pt x="92873" y="318156"/>
                      </a:lnTo>
                      <a:lnTo>
                        <a:pt x="92873" y="325039"/>
                      </a:lnTo>
                      <a:lnTo>
                        <a:pt x="97931" y="322510"/>
                      </a:lnTo>
                      <a:lnTo>
                        <a:pt x="115347" y="324303"/>
                      </a:lnTo>
                      <a:lnTo>
                        <a:pt x="119701" y="318156"/>
                      </a:lnTo>
                      <a:lnTo>
                        <a:pt x="133499" y="300004"/>
                      </a:lnTo>
                      <a:lnTo>
                        <a:pt x="149826" y="309448"/>
                      </a:lnTo>
                      <a:lnTo>
                        <a:pt x="149826" y="319949"/>
                      </a:lnTo>
                      <a:lnTo>
                        <a:pt x="154180" y="323214"/>
                      </a:lnTo>
                      <a:lnTo>
                        <a:pt x="161799" y="314891"/>
                      </a:lnTo>
                      <a:lnTo>
                        <a:pt x="170507" y="316331"/>
                      </a:lnTo>
                      <a:lnTo>
                        <a:pt x="185009" y="312362"/>
                      </a:lnTo>
                      <a:lnTo>
                        <a:pt x="191188" y="318860"/>
                      </a:lnTo>
                      <a:lnTo>
                        <a:pt x="212574" y="322510"/>
                      </a:lnTo>
                      <a:lnTo>
                        <a:pt x="233991" y="311273"/>
                      </a:lnTo>
                      <a:lnTo>
                        <a:pt x="259730" y="257201"/>
                      </a:lnTo>
                      <a:lnTo>
                        <a:pt x="290944" y="192629"/>
                      </a:lnTo>
                      <a:lnTo>
                        <a:pt x="323567" y="125527"/>
                      </a:lnTo>
                      <a:lnTo>
                        <a:pt x="332274" y="106671"/>
                      </a:lnTo>
                      <a:lnTo>
                        <a:pt x="333011" y="105583"/>
                      </a:lnTo>
                      <a:lnTo>
                        <a:pt x="342455" y="85990"/>
                      </a:lnTo>
                      <a:lnTo>
                        <a:pt x="344984" y="76546"/>
                      </a:lnTo>
                      <a:lnTo>
                        <a:pt x="341718" y="57337"/>
                      </a:lnTo>
                      <a:lnTo>
                        <a:pt x="340630" y="54776"/>
                      </a:lnTo>
                      <a:lnTo>
                        <a:pt x="330481" y="48982"/>
                      </a:lnTo>
                      <a:lnTo>
                        <a:pt x="317420" y="48982"/>
                      </a:lnTo>
                      <a:lnTo>
                        <a:pt x="293473" y="29037"/>
                      </a:lnTo>
                      <a:lnTo>
                        <a:pt x="286590" y="31566"/>
                      </a:lnTo>
                      <a:lnTo>
                        <a:pt x="273528" y="2561"/>
                      </a:lnTo>
                      <a:lnTo>
                        <a:pt x="263380" y="0"/>
                      </a:lnTo>
                      <a:lnTo>
                        <a:pt x="247053" y="2561"/>
                      </a:lnTo>
                      <a:lnTo>
                        <a:pt x="227076" y="2561"/>
                      </a:lnTo>
                      <a:lnTo>
                        <a:pt x="216928" y="9444"/>
                      </a:lnTo>
                      <a:lnTo>
                        <a:pt x="203866" y="9444"/>
                      </a:lnTo>
                      <a:lnTo>
                        <a:pt x="193717" y="13798"/>
                      </a:lnTo>
                      <a:lnTo>
                        <a:pt x="178126" y="10181"/>
                      </a:lnTo>
                      <a:lnTo>
                        <a:pt x="170507" y="13798"/>
                      </a:lnTo>
                      <a:lnTo>
                        <a:pt x="166857" y="10885"/>
                      </a:lnTo>
                      <a:lnTo>
                        <a:pt x="164328" y="11973"/>
                      </a:lnTo>
                      <a:lnTo>
                        <a:pt x="147265" y="691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F66BEBC4-11B9-394B-F903-11623569FC16}"/>
                    </a:ext>
                  </a:extLst>
                </p:cNvPr>
                <p:cNvSpPr/>
                <p:nvPr/>
              </p:nvSpPr>
              <p:spPr>
                <a:xfrm>
                  <a:off x="3439894" y="3292077"/>
                  <a:ext cx="344983" cy="325039"/>
                </a:xfrm>
                <a:custGeom>
                  <a:avLst/>
                  <a:gdLst>
                    <a:gd name="csX0" fmla="*/ 147265 w 344983"/>
                    <a:gd name="csY0" fmla="*/ 6915 h 325039"/>
                    <a:gd name="csX1" fmla="*/ 137501 w 344983"/>
                    <a:gd name="csY1" fmla="*/ 11973 h 325039"/>
                    <a:gd name="csX2" fmla="*/ 122966 w 344983"/>
                    <a:gd name="csY2" fmla="*/ 10885 h 325039"/>
                    <a:gd name="csX3" fmla="*/ 122262 w 344983"/>
                    <a:gd name="csY3" fmla="*/ 47893 h 325039"/>
                    <a:gd name="csX4" fmla="*/ 122262 w 344983"/>
                    <a:gd name="csY4" fmla="*/ 65309 h 325039"/>
                    <a:gd name="csX5" fmla="*/ 121173 w 344983"/>
                    <a:gd name="csY5" fmla="*/ 125527 h 325039"/>
                    <a:gd name="csX6" fmla="*/ 121173 w 344983"/>
                    <a:gd name="csY6" fmla="*/ 142591 h 325039"/>
                    <a:gd name="csX7" fmla="*/ 109200 w 344983"/>
                    <a:gd name="csY7" fmla="*/ 134971 h 325039"/>
                    <a:gd name="csX8" fmla="*/ 94666 w 344983"/>
                    <a:gd name="csY8" fmla="*/ 141118 h 325039"/>
                    <a:gd name="csX9" fmla="*/ 80163 w 344983"/>
                    <a:gd name="csY9" fmla="*/ 141118 h 325039"/>
                    <a:gd name="csX10" fmla="*/ 76546 w 344983"/>
                    <a:gd name="csY10" fmla="*/ 149474 h 325039"/>
                    <a:gd name="csX11" fmla="*/ 62748 w 344983"/>
                    <a:gd name="csY11" fmla="*/ 159974 h 325039"/>
                    <a:gd name="csX12" fmla="*/ 60219 w 344983"/>
                    <a:gd name="csY12" fmla="*/ 154532 h 325039"/>
                    <a:gd name="csX13" fmla="*/ 65309 w 344983"/>
                    <a:gd name="csY13" fmla="*/ 146208 h 325039"/>
                    <a:gd name="csX14" fmla="*/ 59482 w 344983"/>
                    <a:gd name="csY14" fmla="*/ 140030 h 325039"/>
                    <a:gd name="csX15" fmla="*/ 46420 w 344983"/>
                    <a:gd name="csY15" fmla="*/ 141118 h 325039"/>
                    <a:gd name="csX16" fmla="*/ 20681 w 344983"/>
                    <a:gd name="csY16" fmla="*/ 153828 h 325039"/>
                    <a:gd name="csX17" fmla="*/ 0 w 344983"/>
                    <a:gd name="csY17" fmla="*/ 165065 h 325039"/>
                    <a:gd name="csX18" fmla="*/ 7619 w 344983"/>
                    <a:gd name="csY18" fmla="*/ 190100 h 325039"/>
                    <a:gd name="csX19" fmla="*/ 736 w 344983"/>
                    <a:gd name="csY19" fmla="*/ 202809 h 325039"/>
                    <a:gd name="csX20" fmla="*/ 25035 w 344983"/>
                    <a:gd name="csY20" fmla="*/ 197719 h 325039"/>
                    <a:gd name="csX21" fmla="*/ 23210 w 344983"/>
                    <a:gd name="csY21" fmla="*/ 220929 h 325039"/>
                    <a:gd name="csX22" fmla="*/ 39538 w 344983"/>
                    <a:gd name="csY22" fmla="*/ 230373 h 325039"/>
                    <a:gd name="csX23" fmla="*/ 41362 w 344983"/>
                    <a:gd name="csY23" fmla="*/ 237256 h 325039"/>
                    <a:gd name="csX24" fmla="*/ 18152 w 344983"/>
                    <a:gd name="csY24" fmla="*/ 269175 h 325039"/>
                    <a:gd name="csX25" fmla="*/ 10148 w 344983"/>
                    <a:gd name="csY25" fmla="*/ 272440 h 325039"/>
                    <a:gd name="csX26" fmla="*/ 12710 w 344983"/>
                    <a:gd name="csY26" fmla="*/ 281884 h 325039"/>
                    <a:gd name="csX27" fmla="*/ 20681 w 344983"/>
                    <a:gd name="csY27" fmla="*/ 278619 h 325039"/>
                    <a:gd name="csX28" fmla="*/ 28301 w 344983"/>
                    <a:gd name="csY28" fmla="*/ 281884 h 325039"/>
                    <a:gd name="csX29" fmla="*/ 53336 w 344983"/>
                    <a:gd name="csY29" fmla="*/ 313066 h 325039"/>
                    <a:gd name="csX30" fmla="*/ 83429 w 344983"/>
                    <a:gd name="csY30" fmla="*/ 313066 h 325039"/>
                    <a:gd name="csX31" fmla="*/ 92873 w 344983"/>
                    <a:gd name="csY31" fmla="*/ 318156 h 325039"/>
                    <a:gd name="csX32" fmla="*/ 92873 w 344983"/>
                    <a:gd name="csY32" fmla="*/ 325039 h 325039"/>
                    <a:gd name="csX33" fmla="*/ 97931 w 344983"/>
                    <a:gd name="csY33" fmla="*/ 322510 h 325039"/>
                    <a:gd name="csX34" fmla="*/ 115347 w 344983"/>
                    <a:gd name="csY34" fmla="*/ 324303 h 325039"/>
                    <a:gd name="csX35" fmla="*/ 119701 w 344983"/>
                    <a:gd name="csY35" fmla="*/ 318156 h 325039"/>
                    <a:gd name="csX36" fmla="*/ 133499 w 344983"/>
                    <a:gd name="csY36" fmla="*/ 300004 h 325039"/>
                    <a:gd name="csX37" fmla="*/ 149826 w 344983"/>
                    <a:gd name="csY37" fmla="*/ 309448 h 325039"/>
                    <a:gd name="csX38" fmla="*/ 149826 w 344983"/>
                    <a:gd name="csY38" fmla="*/ 319949 h 325039"/>
                    <a:gd name="csX39" fmla="*/ 154180 w 344983"/>
                    <a:gd name="csY39" fmla="*/ 323214 h 325039"/>
                    <a:gd name="csX40" fmla="*/ 161799 w 344983"/>
                    <a:gd name="csY40" fmla="*/ 314891 h 325039"/>
                    <a:gd name="csX41" fmla="*/ 170507 w 344983"/>
                    <a:gd name="csY41" fmla="*/ 316331 h 325039"/>
                    <a:gd name="csX42" fmla="*/ 185009 w 344983"/>
                    <a:gd name="csY42" fmla="*/ 312362 h 325039"/>
                    <a:gd name="csX43" fmla="*/ 191188 w 344983"/>
                    <a:gd name="csY43" fmla="*/ 318860 h 325039"/>
                    <a:gd name="csX44" fmla="*/ 212574 w 344983"/>
                    <a:gd name="csY44" fmla="*/ 322510 h 325039"/>
                    <a:gd name="csX45" fmla="*/ 233991 w 344983"/>
                    <a:gd name="csY45" fmla="*/ 311273 h 325039"/>
                    <a:gd name="csX46" fmla="*/ 259730 w 344983"/>
                    <a:gd name="csY46" fmla="*/ 257201 h 325039"/>
                    <a:gd name="csX47" fmla="*/ 290944 w 344983"/>
                    <a:gd name="csY47" fmla="*/ 192629 h 325039"/>
                    <a:gd name="csX48" fmla="*/ 323567 w 344983"/>
                    <a:gd name="csY48" fmla="*/ 125527 h 325039"/>
                    <a:gd name="csX49" fmla="*/ 332274 w 344983"/>
                    <a:gd name="csY49" fmla="*/ 106671 h 325039"/>
                    <a:gd name="csX50" fmla="*/ 333011 w 344983"/>
                    <a:gd name="csY50" fmla="*/ 105583 h 325039"/>
                    <a:gd name="csX51" fmla="*/ 342455 w 344983"/>
                    <a:gd name="csY51" fmla="*/ 85990 h 325039"/>
                    <a:gd name="csX52" fmla="*/ 344984 w 344983"/>
                    <a:gd name="csY52" fmla="*/ 76546 h 325039"/>
                    <a:gd name="csX53" fmla="*/ 341718 w 344983"/>
                    <a:gd name="csY53" fmla="*/ 57337 h 325039"/>
                    <a:gd name="csX54" fmla="*/ 340630 w 344983"/>
                    <a:gd name="csY54" fmla="*/ 54776 h 325039"/>
                    <a:gd name="csX55" fmla="*/ 330481 w 344983"/>
                    <a:gd name="csY55" fmla="*/ 48982 h 325039"/>
                    <a:gd name="csX56" fmla="*/ 317420 w 344983"/>
                    <a:gd name="csY56" fmla="*/ 48982 h 325039"/>
                    <a:gd name="csX57" fmla="*/ 293473 w 344983"/>
                    <a:gd name="csY57" fmla="*/ 29037 h 325039"/>
                    <a:gd name="csX58" fmla="*/ 286590 w 344983"/>
                    <a:gd name="csY58" fmla="*/ 31566 h 325039"/>
                    <a:gd name="csX59" fmla="*/ 273528 w 344983"/>
                    <a:gd name="csY59" fmla="*/ 2561 h 325039"/>
                    <a:gd name="csX60" fmla="*/ 263380 w 344983"/>
                    <a:gd name="csY60" fmla="*/ 0 h 325039"/>
                    <a:gd name="csX61" fmla="*/ 247053 w 344983"/>
                    <a:gd name="csY61" fmla="*/ 2561 h 325039"/>
                    <a:gd name="csX62" fmla="*/ 227076 w 344983"/>
                    <a:gd name="csY62" fmla="*/ 2561 h 325039"/>
                    <a:gd name="csX63" fmla="*/ 216928 w 344983"/>
                    <a:gd name="csY63" fmla="*/ 9444 h 325039"/>
                    <a:gd name="csX64" fmla="*/ 203866 w 344983"/>
                    <a:gd name="csY64" fmla="*/ 9444 h 325039"/>
                    <a:gd name="csX65" fmla="*/ 193717 w 344983"/>
                    <a:gd name="csY65" fmla="*/ 13798 h 325039"/>
                    <a:gd name="csX66" fmla="*/ 178126 w 344983"/>
                    <a:gd name="csY66" fmla="*/ 10181 h 325039"/>
                    <a:gd name="csX67" fmla="*/ 170507 w 344983"/>
                    <a:gd name="csY67" fmla="*/ 13798 h 325039"/>
                    <a:gd name="csX68" fmla="*/ 166857 w 344983"/>
                    <a:gd name="csY68" fmla="*/ 10885 h 325039"/>
                    <a:gd name="csX69" fmla="*/ 164328 w 344983"/>
                    <a:gd name="csY69" fmla="*/ 11973 h 325039"/>
                    <a:gd name="csX70" fmla="*/ 147265 w 344983"/>
                    <a:gd name="csY70" fmla="*/ 6915 h 32503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44983" h="325039">
                      <a:moveTo>
                        <a:pt x="147265" y="6915"/>
                      </a:moveTo>
                      <a:lnTo>
                        <a:pt x="137501" y="11973"/>
                      </a:lnTo>
                      <a:lnTo>
                        <a:pt x="122966" y="10885"/>
                      </a:lnTo>
                      <a:lnTo>
                        <a:pt x="122262" y="47893"/>
                      </a:lnTo>
                      <a:lnTo>
                        <a:pt x="122262" y="65309"/>
                      </a:lnTo>
                      <a:lnTo>
                        <a:pt x="121173" y="125527"/>
                      </a:lnTo>
                      <a:lnTo>
                        <a:pt x="121173" y="142591"/>
                      </a:lnTo>
                      <a:lnTo>
                        <a:pt x="109200" y="134971"/>
                      </a:lnTo>
                      <a:lnTo>
                        <a:pt x="94666" y="141118"/>
                      </a:lnTo>
                      <a:lnTo>
                        <a:pt x="80163" y="141118"/>
                      </a:lnTo>
                      <a:lnTo>
                        <a:pt x="76546" y="149474"/>
                      </a:lnTo>
                      <a:lnTo>
                        <a:pt x="62748" y="159974"/>
                      </a:lnTo>
                      <a:lnTo>
                        <a:pt x="60219" y="154532"/>
                      </a:lnTo>
                      <a:lnTo>
                        <a:pt x="65309" y="146208"/>
                      </a:lnTo>
                      <a:lnTo>
                        <a:pt x="59482" y="140030"/>
                      </a:lnTo>
                      <a:lnTo>
                        <a:pt x="46420" y="141118"/>
                      </a:lnTo>
                      <a:lnTo>
                        <a:pt x="20681" y="153828"/>
                      </a:lnTo>
                      <a:lnTo>
                        <a:pt x="0" y="165065"/>
                      </a:lnTo>
                      <a:lnTo>
                        <a:pt x="7619" y="190100"/>
                      </a:lnTo>
                      <a:lnTo>
                        <a:pt x="736" y="202809"/>
                      </a:lnTo>
                      <a:lnTo>
                        <a:pt x="25035" y="197719"/>
                      </a:lnTo>
                      <a:lnTo>
                        <a:pt x="23210" y="220929"/>
                      </a:lnTo>
                      <a:lnTo>
                        <a:pt x="39538" y="230373"/>
                      </a:lnTo>
                      <a:lnTo>
                        <a:pt x="41362" y="237256"/>
                      </a:lnTo>
                      <a:lnTo>
                        <a:pt x="18152" y="269175"/>
                      </a:lnTo>
                      <a:lnTo>
                        <a:pt x="10148" y="272440"/>
                      </a:lnTo>
                      <a:lnTo>
                        <a:pt x="12710" y="281884"/>
                      </a:lnTo>
                      <a:lnTo>
                        <a:pt x="20681" y="278619"/>
                      </a:lnTo>
                      <a:lnTo>
                        <a:pt x="28301" y="281884"/>
                      </a:lnTo>
                      <a:lnTo>
                        <a:pt x="53336" y="313066"/>
                      </a:lnTo>
                      <a:lnTo>
                        <a:pt x="83429" y="313066"/>
                      </a:lnTo>
                      <a:lnTo>
                        <a:pt x="92873" y="318156"/>
                      </a:lnTo>
                      <a:lnTo>
                        <a:pt x="92873" y="325039"/>
                      </a:lnTo>
                      <a:lnTo>
                        <a:pt x="97931" y="322510"/>
                      </a:lnTo>
                      <a:lnTo>
                        <a:pt x="115347" y="324303"/>
                      </a:lnTo>
                      <a:lnTo>
                        <a:pt x="119701" y="318156"/>
                      </a:lnTo>
                      <a:lnTo>
                        <a:pt x="133499" y="300004"/>
                      </a:lnTo>
                      <a:lnTo>
                        <a:pt x="149826" y="309448"/>
                      </a:lnTo>
                      <a:lnTo>
                        <a:pt x="149826" y="319949"/>
                      </a:lnTo>
                      <a:lnTo>
                        <a:pt x="154180" y="323214"/>
                      </a:lnTo>
                      <a:lnTo>
                        <a:pt x="161799" y="314891"/>
                      </a:lnTo>
                      <a:lnTo>
                        <a:pt x="170507" y="316331"/>
                      </a:lnTo>
                      <a:lnTo>
                        <a:pt x="185009" y="312362"/>
                      </a:lnTo>
                      <a:lnTo>
                        <a:pt x="191188" y="318860"/>
                      </a:lnTo>
                      <a:lnTo>
                        <a:pt x="212574" y="322510"/>
                      </a:lnTo>
                      <a:lnTo>
                        <a:pt x="233991" y="311273"/>
                      </a:lnTo>
                      <a:lnTo>
                        <a:pt x="259730" y="257201"/>
                      </a:lnTo>
                      <a:lnTo>
                        <a:pt x="290944" y="192629"/>
                      </a:lnTo>
                      <a:lnTo>
                        <a:pt x="323567" y="125527"/>
                      </a:lnTo>
                      <a:lnTo>
                        <a:pt x="332274" y="106671"/>
                      </a:lnTo>
                      <a:lnTo>
                        <a:pt x="333011" y="105583"/>
                      </a:lnTo>
                      <a:lnTo>
                        <a:pt x="342455" y="85990"/>
                      </a:lnTo>
                      <a:lnTo>
                        <a:pt x="344984" y="76546"/>
                      </a:lnTo>
                      <a:lnTo>
                        <a:pt x="341718" y="57337"/>
                      </a:lnTo>
                      <a:lnTo>
                        <a:pt x="340630" y="54776"/>
                      </a:lnTo>
                      <a:lnTo>
                        <a:pt x="330481" y="48982"/>
                      </a:lnTo>
                      <a:lnTo>
                        <a:pt x="317420" y="48982"/>
                      </a:lnTo>
                      <a:lnTo>
                        <a:pt x="293473" y="29037"/>
                      </a:lnTo>
                      <a:lnTo>
                        <a:pt x="286590" y="31566"/>
                      </a:lnTo>
                      <a:lnTo>
                        <a:pt x="273528" y="2561"/>
                      </a:lnTo>
                      <a:lnTo>
                        <a:pt x="263380" y="0"/>
                      </a:lnTo>
                      <a:lnTo>
                        <a:pt x="247053" y="2561"/>
                      </a:lnTo>
                      <a:lnTo>
                        <a:pt x="227076" y="2561"/>
                      </a:lnTo>
                      <a:lnTo>
                        <a:pt x="216928" y="9444"/>
                      </a:lnTo>
                      <a:lnTo>
                        <a:pt x="203866" y="9444"/>
                      </a:lnTo>
                      <a:lnTo>
                        <a:pt x="193717" y="13798"/>
                      </a:lnTo>
                      <a:lnTo>
                        <a:pt x="178126" y="10181"/>
                      </a:lnTo>
                      <a:lnTo>
                        <a:pt x="170507" y="13798"/>
                      </a:lnTo>
                      <a:lnTo>
                        <a:pt x="166857" y="10885"/>
                      </a:lnTo>
                      <a:lnTo>
                        <a:pt x="164328" y="11973"/>
                      </a:lnTo>
                      <a:lnTo>
                        <a:pt x="147265" y="691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2" name="Forma Livre: Forma 411">
                  <a:extLst>
                    <a:ext uri="{FF2B5EF4-FFF2-40B4-BE49-F238E27FC236}">
                      <a16:creationId xmlns:a16="http://schemas.microsoft.com/office/drawing/2014/main" id="{25EF197F-2841-4682-B5C8-80C9D11154C2}"/>
                    </a:ext>
                  </a:extLst>
                </p:cNvPr>
                <p:cNvSpPr/>
                <p:nvPr/>
              </p:nvSpPr>
              <p:spPr>
                <a:xfrm>
                  <a:off x="3439894" y="3292077"/>
                  <a:ext cx="344983" cy="325039"/>
                </a:xfrm>
                <a:custGeom>
                  <a:avLst/>
                  <a:gdLst>
                    <a:gd name="csX0" fmla="*/ 147265 w 344983"/>
                    <a:gd name="csY0" fmla="*/ 6915 h 325039"/>
                    <a:gd name="csX1" fmla="*/ 137501 w 344983"/>
                    <a:gd name="csY1" fmla="*/ 11973 h 325039"/>
                    <a:gd name="csX2" fmla="*/ 122966 w 344983"/>
                    <a:gd name="csY2" fmla="*/ 10885 h 325039"/>
                    <a:gd name="csX3" fmla="*/ 122262 w 344983"/>
                    <a:gd name="csY3" fmla="*/ 47893 h 325039"/>
                    <a:gd name="csX4" fmla="*/ 122262 w 344983"/>
                    <a:gd name="csY4" fmla="*/ 65309 h 325039"/>
                    <a:gd name="csX5" fmla="*/ 121173 w 344983"/>
                    <a:gd name="csY5" fmla="*/ 125527 h 325039"/>
                    <a:gd name="csX6" fmla="*/ 121173 w 344983"/>
                    <a:gd name="csY6" fmla="*/ 142591 h 325039"/>
                    <a:gd name="csX7" fmla="*/ 109200 w 344983"/>
                    <a:gd name="csY7" fmla="*/ 134971 h 325039"/>
                    <a:gd name="csX8" fmla="*/ 94666 w 344983"/>
                    <a:gd name="csY8" fmla="*/ 141118 h 325039"/>
                    <a:gd name="csX9" fmla="*/ 80163 w 344983"/>
                    <a:gd name="csY9" fmla="*/ 141118 h 325039"/>
                    <a:gd name="csX10" fmla="*/ 76546 w 344983"/>
                    <a:gd name="csY10" fmla="*/ 149474 h 325039"/>
                    <a:gd name="csX11" fmla="*/ 62748 w 344983"/>
                    <a:gd name="csY11" fmla="*/ 159974 h 325039"/>
                    <a:gd name="csX12" fmla="*/ 60219 w 344983"/>
                    <a:gd name="csY12" fmla="*/ 154532 h 325039"/>
                    <a:gd name="csX13" fmla="*/ 65309 w 344983"/>
                    <a:gd name="csY13" fmla="*/ 146208 h 325039"/>
                    <a:gd name="csX14" fmla="*/ 59482 w 344983"/>
                    <a:gd name="csY14" fmla="*/ 140030 h 325039"/>
                    <a:gd name="csX15" fmla="*/ 46420 w 344983"/>
                    <a:gd name="csY15" fmla="*/ 141118 h 325039"/>
                    <a:gd name="csX16" fmla="*/ 20681 w 344983"/>
                    <a:gd name="csY16" fmla="*/ 153828 h 325039"/>
                    <a:gd name="csX17" fmla="*/ 0 w 344983"/>
                    <a:gd name="csY17" fmla="*/ 165065 h 325039"/>
                    <a:gd name="csX18" fmla="*/ 7619 w 344983"/>
                    <a:gd name="csY18" fmla="*/ 190100 h 325039"/>
                    <a:gd name="csX19" fmla="*/ 736 w 344983"/>
                    <a:gd name="csY19" fmla="*/ 202809 h 325039"/>
                    <a:gd name="csX20" fmla="*/ 25035 w 344983"/>
                    <a:gd name="csY20" fmla="*/ 197719 h 325039"/>
                    <a:gd name="csX21" fmla="*/ 23210 w 344983"/>
                    <a:gd name="csY21" fmla="*/ 220929 h 325039"/>
                    <a:gd name="csX22" fmla="*/ 39538 w 344983"/>
                    <a:gd name="csY22" fmla="*/ 230373 h 325039"/>
                    <a:gd name="csX23" fmla="*/ 41362 w 344983"/>
                    <a:gd name="csY23" fmla="*/ 237256 h 325039"/>
                    <a:gd name="csX24" fmla="*/ 18152 w 344983"/>
                    <a:gd name="csY24" fmla="*/ 269175 h 325039"/>
                    <a:gd name="csX25" fmla="*/ 10148 w 344983"/>
                    <a:gd name="csY25" fmla="*/ 272440 h 325039"/>
                    <a:gd name="csX26" fmla="*/ 12710 w 344983"/>
                    <a:gd name="csY26" fmla="*/ 281884 h 325039"/>
                    <a:gd name="csX27" fmla="*/ 20681 w 344983"/>
                    <a:gd name="csY27" fmla="*/ 278619 h 325039"/>
                    <a:gd name="csX28" fmla="*/ 28301 w 344983"/>
                    <a:gd name="csY28" fmla="*/ 281884 h 325039"/>
                    <a:gd name="csX29" fmla="*/ 53336 w 344983"/>
                    <a:gd name="csY29" fmla="*/ 313066 h 325039"/>
                    <a:gd name="csX30" fmla="*/ 83429 w 344983"/>
                    <a:gd name="csY30" fmla="*/ 313066 h 325039"/>
                    <a:gd name="csX31" fmla="*/ 92873 w 344983"/>
                    <a:gd name="csY31" fmla="*/ 318156 h 325039"/>
                    <a:gd name="csX32" fmla="*/ 92873 w 344983"/>
                    <a:gd name="csY32" fmla="*/ 325039 h 325039"/>
                    <a:gd name="csX33" fmla="*/ 97931 w 344983"/>
                    <a:gd name="csY33" fmla="*/ 322510 h 325039"/>
                    <a:gd name="csX34" fmla="*/ 115347 w 344983"/>
                    <a:gd name="csY34" fmla="*/ 324303 h 325039"/>
                    <a:gd name="csX35" fmla="*/ 119701 w 344983"/>
                    <a:gd name="csY35" fmla="*/ 318156 h 325039"/>
                    <a:gd name="csX36" fmla="*/ 133499 w 344983"/>
                    <a:gd name="csY36" fmla="*/ 300004 h 325039"/>
                    <a:gd name="csX37" fmla="*/ 149826 w 344983"/>
                    <a:gd name="csY37" fmla="*/ 309448 h 325039"/>
                    <a:gd name="csX38" fmla="*/ 149826 w 344983"/>
                    <a:gd name="csY38" fmla="*/ 319949 h 325039"/>
                    <a:gd name="csX39" fmla="*/ 154180 w 344983"/>
                    <a:gd name="csY39" fmla="*/ 323214 h 325039"/>
                    <a:gd name="csX40" fmla="*/ 161799 w 344983"/>
                    <a:gd name="csY40" fmla="*/ 314891 h 325039"/>
                    <a:gd name="csX41" fmla="*/ 170507 w 344983"/>
                    <a:gd name="csY41" fmla="*/ 316331 h 325039"/>
                    <a:gd name="csX42" fmla="*/ 185009 w 344983"/>
                    <a:gd name="csY42" fmla="*/ 312362 h 325039"/>
                    <a:gd name="csX43" fmla="*/ 191188 w 344983"/>
                    <a:gd name="csY43" fmla="*/ 318860 h 325039"/>
                    <a:gd name="csX44" fmla="*/ 212574 w 344983"/>
                    <a:gd name="csY44" fmla="*/ 322510 h 325039"/>
                    <a:gd name="csX45" fmla="*/ 233991 w 344983"/>
                    <a:gd name="csY45" fmla="*/ 311273 h 325039"/>
                    <a:gd name="csX46" fmla="*/ 259730 w 344983"/>
                    <a:gd name="csY46" fmla="*/ 257201 h 325039"/>
                    <a:gd name="csX47" fmla="*/ 290944 w 344983"/>
                    <a:gd name="csY47" fmla="*/ 192629 h 325039"/>
                    <a:gd name="csX48" fmla="*/ 323567 w 344983"/>
                    <a:gd name="csY48" fmla="*/ 125527 h 325039"/>
                    <a:gd name="csX49" fmla="*/ 332274 w 344983"/>
                    <a:gd name="csY49" fmla="*/ 106671 h 325039"/>
                    <a:gd name="csX50" fmla="*/ 333011 w 344983"/>
                    <a:gd name="csY50" fmla="*/ 105583 h 325039"/>
                    <a:gd name="csX51" fmla="*/ 342455 w 344983"/>
                    <a:gd name="csY51" fmla="*/ 85990 h 325039"/>
                    <a:gd name="csX52" fmla="*/ 344984 w 344983"/>
                    <a:gd name="csY52" fmla="*/ 76546 h 325039"/>
                    <a:gd name="csX53" fmla="*/ 341718 w 344983"/>
                    <a:gd name="csY53" fmla="*/ 57337 h 325039"/>
                    <a:gd name="csX54" fmla="*/ 340630 w 344983"/>
                    <a:gd name="csY54" fmla="*/ 54776 h 325039"/>
                    <a:gd name="csX55" fmla="*/ 330481 w 344983"/>
                    <a:gd name="csY55" fmla="*/ 48982 h 325039"/>
                    <a:gd name="csX56" fmla="*/ 317420 w 344983"/>
                    <a:gd name="csY56" fmla="*/ 48982 h 325039"/>
                    <a:gd name="csX57" fmla="*/ 293473 w 344983"/>
                    <a:gd name="csY57" fmla="*/ 29037 h 325039"/>
                    <a:gd name="csX58" fmla="*/ 286590 w 344983"/>
                    <a:gd name="csY58" fmla="*/ 31566 h 325039"/>
                    <a:gd name="csX59" fmla="*/ 273528 w 344983"/>
                    <a:gd name="csY59" fmla="*/ 2561 h 325039"/>
                    <a:gd name="csX60" fmla="*/ 263380 w 344983"/>
                    <a:gd name="csY60" fmla="*/ 0 h 325039"/>
                    <a:gd name="csX61" fmla="*/ 247053 w 344983"/>
                    <a:gd name="csY61" fmla="*/ 2561 h 325039"/>
                    <a:gd name="csX62" fmla="*/ 227076 w 344983"/>
                    <a:gd name="csY62" fmla="*/ 2561 h 325039"/>
                    <a:gd name="csX63" fmla="*/ 216928 w 344983"/>
                    <a:gd name="csY63" fmla="*/ 9444 h 325039"/>
                    <a:gd name="csX64" fmla="*/ 203866 w 344983"/>
                    <a:gd name="csY64" fmla="*/ 9444 h 325039"/>
                    <a:gd name="csX65" fmla="*/ 193717 w 344983"/>
                    <a:gd name="csY65" fmla="*/ 13798 h 325039"/>
                    <a:gd name="csX66" fmla="*/ 178126 w 344983"/>
                    <a:gd name="csY66" fmla="*/ 10181 h 325039"/>
                    <a:gd name="csX67" fmla="*/ 170507 w 344983"/>
                    <a:gd name="csY67" fmla="*/ 13798 h 325039"/>
                    <a:gd name="csX68" fmla="*/ 166857 w 344983"/>
                    <a:gd name="csY68" fmla="*/ 10885 h 325039"/>
                    <a:gd name="csX69" fmla="*/ 164328 w 344983"/>
                    <a:gd name="csY69" fmla="*/ 11973 h 325039"/>
                    <a:gd name="csX70" fmla="*/ 147265 w 344983"/>
                    <a:gd name="csY70" fmla="*/ 6915 h 32503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44983" h="325039">
                      <a:moveTo>
                        <a:pt x="147265" y="6915"/>
                      </a:moveTo>
                      <a:lnTo>
                        <a:pt x="137501" y="11973"/>
                      </a:lnTo>
                      <a:lnTo>
                        <a:pt x="122966" y="10885"/>
                      </a:lnTo>
                      <a:lnTo>
                        <a:pt x="122262" y="47893"/>
                      </a:lnTo>
                      <a:lnTo>
                        <a:pt x="122262" y="65309"/>
                      </a:lnTo>
                      <a:lnTo>
                        <a:pt x="121173" y="125527"/>
                      </a:lnTo>
                      <a:lnTo>
                        <a:pt x="121173" y="142591"/>
                      </a:lnTo>
                      <a:lnTo>
                        <a:pt x="109200" y="134971"/>
                      </a:lnTo>
                      <a:lnTo>
                        <a:pt x="94666" y="141118"/>
                      </a:lnTo>
                      <a:lnTo>
                        <a:pt x="80163" y="141118"/>
                      </a:lnTo>
                      <a:lnTo>
                        <a:pt x="76546" y="149474"/>
                      </a:lnTo>
                      <a:lnTo>
                        <a:pt x="62748" y="159974"/>
                      </a:lnTo>
                      <a:lnTo>
                        <a:pt x="60219" y="154532"/>
                      </a:lnTo>
                      <a:lnTo>
                        <a:pt x="65309" y="146208"/>
                      </a:lnTo>
                      <a:lnTo>
                        <a:pt x="59482" y="140030"/>
                      </a:lnTo>
                      <a:lnTo>
                        <a:pt x="46420" y="141118"/>
                      </a:lnTo>
                      <a:lnTo>
                        <a:pt x="20681" y="153828"/>
                      </a:lnTo>
                      <a:lnTo>
                        <a:pt x="0" y="165065"/>
                      </a:lnTo>
                      <a:lnTo>
                        <a:pt x="7619" y="190100"/>
                      </a:lnTo>
                      <a:lnTo>
                        <a:pt x="736" y="202809"/>
                      </a:lnTo>
                      <a:lnTo>
                        <a:pt x="25035" y="197719"/>
                      </a:lnTo>
                      <a:lnTo>
                        <a:pt x="23210" y="220929"/>
                      </a:lnTo>
                      <a:lnTo>
                        <a:pt x="39538" y="230373"/>
                      </a:lnTo>
                      <a:lnTo>
                        <a:pt x="41362" y="237256"/>
                      </a:lnTo>
                      <a:lnTo>
                        <a:pt x="18152" y="269175"/>
                      </a:lnTo>
                      <a:lnTo>
                        <a:pt x="10148" y="272440"/>
                      </a:lnTo>
                      <a:lnTo>
                        <a:pt x="12710" y="281884"/>
                      </a:lnTo>
                      <a:lnTo>
                        <a:pt x="20681" y="278619"/>
                      </a:lnTo>
                      <a:lnTo>
                        <a:pt x="28301" y="281884"/>
                      </a:lnTo>
                      <a:lnTo>
                        <a:pt x="53336" y="313066"/>
                      </a:lnTo>
                      <a:lnTo>
                        <a:pt x="83429" y="313066"/>
                      </a:lnTo>
                      <a:lnTo>
                        <a:pt x="92873" y="318156"/>
                      </a:lnTo>
                      <a:lnTo>
                        <a:pt x="92873" y="325039"/>
                      </a:lnTo>
                      <a:lnTo>
                        <a:pt x="97931" y="322510"/>
                      </a:lnTo>
                      <a:lnTo>
                        <a:pt x="115347" y="324303"/>
                      </a:lnTo>
                      <a:lnTo>
                        <a:pt x="119701" y="318156"/>
                      </a:lnTo>
                      <a:lnTo>
                        <a:pt x="133499" y="300004"/>
                      </a:lnTo>
                      <a:lnTo>
                        <a:pt x="149826" y="309448"/>
                      </a:lnTo>
                      <a:lnTo>
                        <a:pt x="149826" y="319949"/>
                      </a:lnTo>
                      <a:lnTo>
                        <a:pt x="154180" y="323214"/>
                      </a:lnTo>
                      <a:lnTo>
                        <a:pt x="161799" y="314891"/>
                      </a:lnTo>
                      <a:lnTo>
                        <a:pt x="170507" y="316331"/>
                      </a:lnTo>
                      <a:lnTo>
                        <a:pt x="185009" y="312362"/>
                      </a:lnTo>
                      <a:lnTo>
                        <a:pt x="191188" y="318860"/>
                      </a:lnTo>
                      <a:lnTo>
                        <a:pt x="212574" y="322510"/>
                      </a:lnTo>
                      <a:lnTo>
                        <a:pt x="233991" y="311273"/>
                      </a:lnTo>
                      <a:lnTo>
                        <a:pt x="259730" y="257201"/>
                      </a:lnTo>
                      <a:lnTo>
                        <a:pt x="290944" y="192629"/>
                      </a:lnTo>
                      <a:lnTo>
                        <a:pt x="323567" y="125527"/>
                      </a:lnTo>
                      <a:lnTo>
                        <a:pt x="332274" y="106671"/>
                      </a:lnTo>
                      <a:lnTo>
                        <a:pt x="333011" y="105583"/>
                      </a:lnTo>
                      <a:lnTo>
                        <a:pt x="342455" y="85990"/>
                      </a:lnTo>
                      <a:lnTo>
                        <a:pt x="344984" y="76546"/>
                      </a:lnTo>
                      <a:lnTo>
                        <a:pt x="341718" y="57337"/>
                      </a:lnTo>
                      <a:lnTo>
                        <a:pt x="340630" y="54776"/>
                      </a:lnTo>
                      <a:lnTo>
                        <a:pt x="330481" y="48982"/>
                      </a:lnTo>
                      <a:lnTo>
                        <a:pt x="317420" y="48982"/>
                      </a:lnTo>
                      <a:lnTo>
                        <a:pt x="293473" y="29037"/>
                      </a:lnTo>
                      <a:lnTo>
                        <a:pt x="286590" y="31566"/>
                      </a:lnTo>
                      <a:lnTo>
                        <a:pt x="273528" y="2561"/>
                      </a:lnTo>
                      <a:lnTo>
                        <a:pt x="263380" y="0"/>
                      </a:lnTo>
                      <a:lnTo>
                        <a:pt x="247053" y="2561"/>
                      </a:lnTo>
                      <a:lnTo>
                        <a:pt x="227076" y="2561"/>
                      </a:lnTo>
                      <a:lnTo>
                        <a:pt x="216928" y="9444"/>
                      </a:lnTo>
                      <a:lnTo>
                        <a:pt x="203866" y="9444"/>
                      </a:lnTo>
                      <a:lnTo>
                        <a:pt x="193717" y="13798"/>
                      </a:lnTo>
                      <a:lnTo>
                        <a:pt x="178126" y="10181"/>
                      </a:lnTo>
                      <a:lnTo>
                        <a:pt x="170507" y="13798"/>
                      </a:lnTo>
                      <a:lnTo>
                        <a:pt x="166857" y="10885"/>
                      </a:lnTo>
                      <a:lnTo>
                        <a:pt x="164328" y="11973"/>
                      </a:lnTo>
                      <a:lnTo>
                        <a:pt x="147265" y="6915"/>
                      </a:lnTo>
                      <a:close/>
                    </a:path>
                  </a:pathLst>
                </a:custGeom>
                <a:grpFill/>
                <a:ln w="4430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F048CB44-F0D3-1843-F455-8CFF5A3818FF}"/>
                    </a:ext>
                  </a:extLst>
                </p:cNvPr>
                <p:cNvSpPr/>
                <p:nvPr/>
              </p:nvSpPr>
              <p:spPr>
                <a:xfrm>
                  <a:off x="3439894" y="3292077"/>
                  <a:ext cx="344983" cy="325039"/>
                </a:xfrm>
                <a:custGeom>
                  <a:avLst/>
                  <a:gdLst>
                    <a:gd name="csX0" fmla="*/ 147265 w 344983"/>
                    <a:gd name="csY0" fmla="*/ 6915 h 325039"/>
                    <a:gd name="csX1" fmla="*/ 137501 w 344983"/>
                    <a:gd name="csY1" fmla="*/ 11973 h 325039"/>
                    <a:gd name="csX2" fmla="*/ 122966 w 344983"/>
                    <a:gd name="csY2" fmla="*/ 10885 h 325039"/>
                    <a:gd name="csX3" fmla="*/ 122262 w 344983"/>
                    <a:gd name="csY3" fmla="*/ 47893 h 325039"/>
                    <a:gd name="csX4" fmla="*/ 122262 w 344983"/>
                    <a:gd name="csY4" fmla="*/ 65309 h 325039"/>
                    <a:gd name="csX5" fmla="*/ 121173 w 344983"/>
                    <a:gd name="csY5" fmla="*/ 125527 h 325039"/>
                    <a:gd name="csX6" fmla="*/ 121173 w 344983"/>
                    <a:gd name="csY6" fmla="*/ 142591 h 325039"/>
                    <a:gd name="csX7" fmla="*/ 109200 w 344983"/>
                    <a:gd name="csY7" fmla="*/ 134971 h 325039"/>
                    <a:gd name="csX8" fmla="*/ 94666 w 344983"/>
                    <a:gd name="csY8" fmla="*/ 141118 h 325039"/>
                    <a:gd name="csX9" fmla="*/ 80163 w 344983"/>
                    <a:gd name="csY9" fmla="*/ 141118 h 325039"/>
                    <a:gd name="csX10" fmla="*/ 76546 w 344983"/>
                    <a:gd name="csY10" fmla="*/ 149474 h 325039"/>
                    <a:gd name="csX11" fmla="*/ 62748 w 344983"/>
                    <a:gd name="csY11" fmla="*/ 159974 h 325039"/>
                    <a:gd name="csX12" fmla="*/ 60219 w 344983"/>
                    <a:gd name="csY12" fmla="*/ 154532 h 325039"/>
                    <a:gd name="csX13" fmla="*/ 65309 w 344983"/>
                    <a:gd name="csY13" fmla="*/ 146208 h 325039"/>
                    <a:gd name="csX14" fmla="*/ 59482 w 344983"/>
                    <a:gd name="csY14" fmla="*/ 140030 h 325039"/>
                    <a:gd name="csX15" fmla="*/ 46420 w 344983"/>
                    <a:gd name="csY15" fmla="*/ 141118 h 325039"/>
                    <a:gd name="csX16" fmla="*/ 20681 w 344983"/>
                    <a:gd name="csY16" fmla="*/ 153828 h 325039"/>
                    <a:gd name="csX17" fmla="*/ 0 w 344983"/>
                    <a:gd name="csY17" fmla="*/ 165065 h 325039"/>
                    <a:gd name="csX18" fmla="*/ 7619 w 344983"/>
                    <a:gd name="csY18" fmla="*/ 190100 h 325039"/>
                    <a:gd name="csX19" fmla="*/ 736 w 344983"/>
                    <a:gd name="csY19" fmla="*/ 202809 h 325039"/>
                    <a:gd name="csX20" fmla="*/ 25035 w 344983"/>
                    <a:gd name="csY20" fmla="*/ 197719 h 325039"/>
                    <a:gd name="csX21" fmla="*/ 23210 w 344983"/>
                    <a:gd name="csY21" fmla="*/ 220929 h 325039"/>
                    <a:gd name="csX22" fmla="*/ 39538 w 344983"/>
                    <a:gd name="csY22" fmla="*/ 230373 h 325039"/>
                    <a:gd name="csX23" fmla="*/ 41362 w 344983"/>
                    <a:gd name="csY23" fmla="*/ 237256 h 325039"/>
                    <a:gd name="csX24" fmla="*/ 18152 w 344983"/>
                    <a:gd name="csY24" fmla="*/ 269175 h 325039"/>
                    <a:gd name="csX25" fmla="*/ 10148 w 344983"/>
                    <a:gd name="csY25" fmla="*/ 272440 h 325039"/>
                    <a:gd name="csX26" fmla="*/ 12710 w 344983"/>
                    <a:gd name="csY26" fmla="*/ 281884 h 325039"/>
                    <a:gd name="csX27" fmla="*/ 20681 w 344983"/>
                    <a:gd name="csY27" fmla="*/ 278619 h 325039"/>
                    <a:gd name="csX28" fmla="*/ 28301 w 344983"/>
                    <a:gd name="csY28" fmla="*/ 281884 h 325039"/>
                    <a:gd name="csX29" fmla="*/ 53336 w 344983"/>
                    <a:gd name="csY29" fmla="*/ 313066 h 325039"/>
                    <a:gd name="csX30" fmla="*/ 83429 w 344983"/>
                    <a:gd name="csY30" fmla="*/ 313066 h 325039"/>
                    <a:gd name="csX31" fmla="*/ 92873 w 344983"/>
                    <a:gd name="csY31" fmla="*/ 318156 h 325039"/>
                    <a:gd name="csX32" fmla="*/ 92873 w 344983"/>
                    <a:gd name="csY32" fmla="*/ 325039 h 325039"/>
                    <a:gd name="csX33" fmla="*/ 97931 w 344983"/>
                    <a:gd name="csY33" fmla="*/ 322510 h 325039"/>
                    <a:gd name="csX34" fmla="*/ 115347 w 344983"/>
                    <a:gd name="csY34" fmla="*/ 324303 h 325039"/>
                    <a:gd name="csX35" fmla="*/ 119701 w 344983"/>
                    <a:gd name="csY35" fmla="*/ 318156 h 325039"/>
                    <a:gd name="csX36" fmla="*/ 133499 w 344983"/>
                    <a:gd name="csY36" fmla="*/ 300004 h 325039"/>
                    <a:gd name="csX37" fmla="*/ 149826 w 344983"/>
                    <a:gd name="csY37" fmla="*/ 309448 h 325039"/>
                    <a:gd name="csX38" fmla="*/ 149826 w 344983"/>
                    <a:gd name="csY38" fmla="*/ 319949 h 325039"/>
                    <a:gd name="csX39" fmla="*/ 154180 w 344983"/>
                    <a:gd name="csY39" fmla="*/ 323214 h 325039"/>
                    <a:gd name="csX40" fmla="*/ 161799 w 344983"/>
                    <a:gd name="csY40" fmla="*/ 314891 h 325039"/>
                    <a:gd name="csX41" fmla="*/ 170507 w 344983"/>
                    <a:gd name="csY41" fmla="*/ 316331 h 325039"/>
                    <a:gd name="csX42" fmla="*/ 185009 w 344983"/>
                    <a:gd name="csY42" fmla="*/ 312362 h 325039"/>
                    <a:gd name="csX43" fmla="*/ 191188 w 344983"/>
                    <a:gd name="csY43" fmla="*/ 318860 h 325039"/>
                    <a:gd name="csX44" fmla="*/ 212574 w 344983"/>
                    <a:gd name="csY44" fmla="*/ 322510 h 325039"/>
                    <a:gd name="csX45" fmla="*/ 233991 w 344983"/>
                    <a:gd name="csY45" fmla="*/ 311273 h 325039"/>
                    <a:gd name="csX46" fmla="*/ 259730 w 344983"/>
                    <a:gd name="csY46" fmla="*/ 257201 h 325039"/>
                    <a:gd name="csX47" fmla="*/ 290944 w 344983"/>
                    <a:gd name="csY47" fmla="*/ 192629 h 325039"/>
                    <a:gd name="csX48" fmla="*/ 323567 w 344983"/>
                    <a:gd name="csY48" fmla="*/ 125527 h 325039"/>
                    <a:gd name="csX49" fmla="*/ 332274 w 344983"/>
                    <a:gd name="csY49" fmla="*/ 106671 h 325039"/>
                    <a:gd name="csX50" fmla="*/ 333011 w 344983"/>
                    <a:gd name="csY50" fmla="*/ 105583 h 325039"/>
                    <a:gd name="csX51" fmla="*/ 342455 w 344983"/>
                    <a:gd name="csY51" fmla="*/ 85990 h 325039"/>
                    <a:gd name="csX52" fmla="*/ 344984 w 344983"/>
                    <a:gd name="csY52" fmla="*/ 76546 h 325039"/>
                    <a:gd name="csX53" fmla="*/ 341718 w 344983"/>
                    <a:gd name="csY53" fmla="*/ 57337 h 325039"/>
                    <a:gd name="csX54" fmla="*/ 340630 w 344983"/>
                    <a:gd name="csY54" fmla="*/ 54776 h 325039"/>
                    <a:gd name="csX55" fmla="*/ 330481 w 344983"/>
                    <a:gd name="csY55" fmla="*/ 48982 h 325039"/>
                    <a:gd name="csX56" fmla="*/ 317420 w 344983"/>
                    <a:gd name="csY56" fmla="*/ 48982 h 325039"/>
                    <a:gd name="csX57" fmla="*/ 293473 w 344983"/>
                    <a:gd name="csY57" fmla="*/ 29037 h 325039"/>
                    <a:gd name="csX58" fmla="*/ 286590 w 344983"/>
                    <a:gd name="csY58" fmla="*/ 31566 h 325039"/>
                    <a:gd name="csX59" fmla="*/ 273528 w 344983"/>
                    <a:gd name="csY59" fmla="*/ 2561 h 325039"/>
                    <a:gd name="csX60" fmla="*/ 263380 w 344983"/>
                    <a:gd name="csY60" fmla="*/ 0 h 325039"/>
                    <a:gd name="csX61" fmla="*/ 247053 w 344983"/>
                    <a:gd name="csY61" fmla="*/ 2561 h 325039"/>
                    <a:gd name="csX62" fmla="*/ 227076 w 344983"/>
                    <a:gd name="csY62" fmla="*/ 2561 h 325039"/>
                    <a:gd name="csX63" fmla="*/ 216928 w 344983"/>
                    <a:gd name="csY63" fmla="*/ 9444 h 325039"/>
                    <a:gd name="csX64" fmla="*/ 203866 w 344983"/>
                    <a:gd name="csY64" fmla="*/ 9444 h 325039"/>
                    <a:gd name="csX65" fmla="*/ 193717 w 344983"/>
                    <a:gd name="csY65" fmla="*/ 13798 h 325039"/>
                    <a:gd name="csX66" fmla="*/ 178126 w 344983"/>
                    <a:gd name="csY66" fmla="*/ 10181 h 325039"/>
                    <a:gd name="csX67" fmla="*/ 170507 w 344983"/>
                    <a:gd name="csY67" fmla="*/ 13798 h 325039"/>
                    <a:gd name="csX68" fmla="*/ 166857 w 344983"/>
                    <a:gd name="csY68" fmla="*/ 10885 h 325039"/>
                    <a:gd name="csX69" fmla="*/ 164328 w 344983"/>
                    <a:gd name="csY69" fmla="*/ 11973 h 325039"/>
                    <a:gd name="csX70" fmla="*/ 147265 w 344983"/>
                    <a:gd name="csY70" fmla="*/ 6915 h 32503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</a:cxnLst>
                  <a:rect l="l" t="t" r="r" b="b"/>
                  <a:pathLst>
                    <a:path w="344983" h="325039">
                      <a:moveTo>
                        <a:pt x="147265" y="6915"/>
                      </a:moveTo>
                      <a:lnTo>
                        <a:pt x="137501" y="11973"/>
                      </a:lnTo>
                      <a:lnTo>
                        <a:pt x="122966" y="10885"/>
                      </a:lnTo>
                      <a:lnTo>
                        <a:pt x="122262" y="47893"/>
                      </a:lnTo>
                      <a:lnTo>
                        <a:pt x="122262" y="65309"/>
                      </a:lnTo>
                      <a:lnTo>
                        <a:pt x="121173" y="125527"/>
                      </a:lnTo>
                      <a:lnTo>
                        <a:pt x="121173" y="142591"/>
                      </a:lnTo>
                      <a:lnTo>
                        <a:pt x="109200" y="134971"/>
                      </a:lnTo>
                      <a:lnTo>
                        <a:pt x="94666" y="141118"/>
                      </a:lnTo>
                      <a:lnTo>
                        <a:pt x="80163" y="141118"/>
                      </a:lnTo>
                      <a:lnTo>
                        <a:pt x="76546" y="149474"/>
                      </a:lnTo>
                      <a:lnTo>
                        <a:pt x="62748" y="159974"/>
                      </a:lnTo>
                      <a:lnTo>
                        <a:pt x="60219" y="154532"/>
                      </a:lnTo>
                      <a:lnTo>
                        <a:pt x="65309" y="146208"/>
                      </a:lnTo>
                      <a:lnTo>
                        <a:pt x="59482" y="140030"/>
                      </a:lnTo>
                      <a:lnTo>
                        <a:pt x="46420" y="141118"/>
                      </a:lnTo>
                      <a:lnTo>
                        <a:pt x="20681" y="153828"/>
                      </a:lnTo>
                      <a:lnTo>
                        <a:pt x="0" y="165065"/>
                      </a:lnTo>
                      <a:lnTo>
                        <a:pt x="7619" y="190100"/>
                      </a:lnTo>
                      <a:lnTo>
                        <a:pt x="736" y="202809"/>
                      </a:lnTo>
                      <a:lnTo>
                        <a:pt x="25035" y="197719"/>
                      </a:lnTo>
                      <a:lnTo>
                        <a:pt x="23210" y="220929"/>
                      </a:lnTo>
                      <a:lnTo>
                        <a:pt x="39538" y="230373"/>
                      </a:lnTo>
                      <a:lnTo>
                        <a:pt x="41362" y="237256"/>
                      </a:lnTo>
                      <a:lnTo>
                        <a:pt x="18152" y="269175"/>
                      </a:lnTo>
                      <a:lnTo>
                        <a:pt x="10148" y="272440"/>
                      </a:lnTo>
                      <a:lnTo>
                        <a:pt x="12710" y="281884"/>
                      </a:lnTo>
                      <a:lnTo>
                        <a:pt x="20681" y="278619"/>
                      </a:lnTo>
                      <a:lnTo>
                        <a:pt x="28301" y="281884"/>
                      </a:lnTo>
                      <a:lnTo>
                        <a:pt x="53336" y="313066"/>
                      </a:lnTo>
                      <a:lnTo>
                        <a:pt x="83429" y="313066"/>
                      </a:lnTo>
                      <a:lnTo>
                        <a:pt x="92873" y="318156"/>
                      </a:lnTo>
                      <a:lnTo>
                        <a:pt x="92873" y="325039"/>
                      </a:lnTo>
                      <a:lnTo>
                        <a:pt x="97931" y="322510"/>
                      </a:lnTo>
                      <a:lnTo>
                        <a:pt x="115347" y="324303"/>
                      </a:lnTo>
                      <a:lnTo>
                        <a:pt x="119701" y="318156"/>
                      </a:lnTo>
                      <a:lnTo>
                        <a:pt x="133499" y="300004"/>
                      </a:lnTo>
                      <a:lnTo>
                        <a:pt x="149826" y="309448"/>
                      </a:lnTo>
                      <a:lnTo>
                        <a:pt x="149826" y="319949"/>
                      </a:lnTo>
                      <a:lnTo>
                        <a:pt x="154180" y="323214"/>
                      </a:lnTo>
                      <a:lnTo>
                        <a:pt x="161799" y="314891"/>
                      </a:lnTo>
                      <a:lnTo>
                        <a:pt x="170507" y="316331"/>
                      </a:lnTo>
                      <a:lnTo>
                        <a:pt x="185009" y="312362"/>
                      </a:lnTo>
                      <a:lnTo>
                        <a:pt x="191188" y="318860"/>
                      </a:lnTo>
                      <a:lnTo>
                        <a:pt x="212574" y="322510"/>
                      </a:lnTo>
                      <a:lnTo>
                        <a:pt x="233991" y="311273"/>
                      </a:lnTo>
                      <a:lnTo>
                        <a:pt x="259730" y="257201"/>
                      </a:lnTo>
                      <a:lnTo>
                        <a:pt x="290944" y="192629"/>
                      </a:lnTo>
                      <a:lnTo>
                        <a:pt x="323567" y="125527"/>
                      </a:lnTo>
                      <a:lnTo>
                        <a:pt x="332274" y="106671"/>
                      </a:lnTo>
                      <a:lnTo>
                        <a:pt x="333011" y="105583"/>
                      </a:lnTo>
                      <a:lnTo>
                        <a:pt x="342455" y="85990"/>
                      </a:lnTo>
                      <a:lnTo>
                        <a:pt x="344984" y="76546"/>
                      </a:lnTo>
                      <a:lnTo>
                        <a:pt x="341718" y="57337"/>
                      </a:lnTo>
                      <a:lnTo>
                        <a:pt x="340630" y="54776"/>
                      </a:lnTo>
                      <a:lnTo>
                        <a:pt x="330481" y="48982"/>
                      </a:lnTo>
                      <a:lnTo>
                        <a:pt x="317420" y="48982"/>
                      </a:lnTo>
                      <a:lnTo>
                        <a:pt x="293473" y="29037"/>
                      </a:lnTo>
                      <a:lnTo>
                        <a:pt x="286590" y="31566"/>
                      </a:lnTo>
                      <a:lnTo>
                        <a:pt x="273528" y="2561"/>
                      </a:lnTo>
                      <a:lnTo>
                        <a:pt x="263380" y="0"/>
                      </a:lnTo>
                      <a:lnTo>
                        <a:pt x="247053" y="2561"/>
                      </a:lnTo>
                      <a:lnTo>
                        <a:pt x="227076" y="2561"/>
                      </a:lnTo>
                      <a:lnTo>
                        <a:pt x="216928" y="9444"/>
                      </a:lnTo>
                      <a:lnTo>
                        <a:pt x="203866" y="9444"/>
                      </a:lnTo>
                      <a:lnTo>
                        <a:pt x="193717" y="13798"/>
                      </a:lnTo>
                      <a:lnTo>
                        <a:pt x="178126" y="10181"/>
                      </a:lnTo>
                      <a:lnTo>
                        <a:pt x="170507" y="13798"/>
                      </a:lnTo>
                      <a:lnTo>
                        <a:pt x="166857" y="10885"/>
                      </a:lnTo>
                      <a:lnTo>
                        <a:pt x="164328" y="11973"/>
                      </a:lnTo>
                      <a:lnTo>
                        <a:pt x="147265" y="691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380BFEB0-1CDF-BA08-CAAD-2B3EDF8385DD}"/>
                    </a:ext>
                  </a:extLst>
                </p:cNvPr>
                <p:cNvSpPr/>
                <p:nvPr/>
              </p:nvSpPr>
              <p:spPr>
                <a:xfrm>
                  <a:off x="3414187" y="5253548"/>
                  <a:ext cx="307943" cy="288350"/>
                </a:xfrm>
                <a:custGeom>
                  <a:avLst/>
                  <a:gdLst>
                    <a:gd name="csX0" fmla="*/ 210717 w 307943"/>
                    <a:gd name="csY0" fmla="*/ 4322 h 288350"/>
                    <a:gd name="csX1" fmla="*/ 215807 w 307943"/>
                    <a:gd name="csY1" fmla="*/ 8676 h 288350"/>
                    <a:gd name="csX2" fmla="*/ 216896 w 307943"/>
                    <a:gd name="csY2" fmla="*/ 8676 h 288350"/>
                    <a:gd name="csX3" fmla="*/ 220897 w 307943"/>
                    <a:gd name="csY3" fmla="*/ 6147 h 288350"/>
                    <a:gd name="csX4" fmla="*/ 228869 w 307943"/>
                    <a:gd name="csY4" fmla="*/ 13766 h 288350"/>
                    <a:gd name="csX5" fmla="*/ 240842 w 307943"/>
                    <a:gd name="csY5" fmla="*/ 5058 h 288350"/>
                    <a:gd name="csX6" fmla="*/ 253904 w 307943"/>
                    <a:gd name="csY6" fmla="*/ 9412 h 288350"/>
                    <a:gd name="csX7" fmla="*/ 252815 w 307943"/>
                    <a:gd name="csY7" fmla="*/ 13030 h 288350"/>
                    <a:gd name="csX8" fmla="*/ 258994 w 307943"/>
                    <a:gd name="csY8" fmla="*/ 5058 h 288350"/>
                    <a:gd name="csX9" fmla="*/ 266613 w 307943"/>
                    <a:gd name="csY9" fmla="*/ 6883 h 288350"/>
                    <a:gd name="csX10" fmla="*/ 277146 w 307943"/>
                    <a:gd name="csY10" fmla="*/ 1088 h 288350"/>
                    <a:gd name="csX11" fmla="*/ 279675 w 307943"/>
                    <a:gd name="csY11" fmla="*/ 7619 h 288350"/>
                    <a:gd name="csX12" fmla="*/ 286558 w 307943"/>
                    <a:gd name="csY12" fmla="*/ 6883 h 288350"/>
                    <a:gd name="csX13" fmla="*/ 284029 w 307943"/>
                    <a:gd name="csY13" fmla="*/ 14502 h 288350"/>
                    <a:gd name="csX14" fmla="*/ 277850 w 307943"/>
                    <a:gd name="csY14" fmla="*/ 14502 h 288350"/>
                    <a:gd name="csX15" fmla="*/ 278587 w 307943"/>
                    <a:gd name="csY15" fmla="*/ 19945 h 288350"/>
                    <a:gd name="csX16" fmla="*/ 275321 w 307943"/>
                    <a:gd name="csY16" fmla="*/ 17416 h 288350"/>
                    <a:gd name="csX17" fmla="*/ 268438 w 307943"/>
                    <a:gd name="csY17" fmla="*/ 22506 h 288350"/>
                    <a:gd name="csX18" fmla="*/ 264821 w 307943"/>
                    <a:gd name="csY18" fmla="*/ 43891 h 288350"/>
                    <a:gd name="csX19" fmla="*/ 249582 w 307943"/>
                    <a:gd name="csY19" fmla="*/ 55128 h 288350"/>
                    <a:gd name="csX20" fmla="*/ 232166 w 307943"/>
                    <a:gd name="csY20" fmla="*/ 81604 h 288350"/>
                    <a:gd name="csX21" fmla="*/ 215135 w 307943"/>
                    <a:gd name="csY21" fmla="*/ 120405 h 288350"/>
                    <a:gd name="csX22" fmla="*/ 214046 w 307943"/>
                    <a:gd name="csY22" fmla="*/ 136732 h 288350"/>
                    <a:gd name="csX23" fmla="*/ 217664 w 307943"/>
                    <a:gd name="csY23" fmla="*/ 141822 h 288350"/>
                    <a:gd name="csX24" fmla="*/ 179951 w 307943"/>
                    <a:gd name="csY24" fmla="*/ 208924 h 288350"/>
                    <a:gd name="csX25" fmla="*/ 169419 w 307943"/>
                    <a:gd name="csY25" fmla="*/ 237576 h 288350"/>
                    <a:gd name="csX26" fmla="*/ 166890 w 307943"/>
                    <a:gd name="csY26" fmla="*/ 264052 h 288350"/>
                    <a:gd name="csX27" fmla="*/ 157445 w 307943"/>
                    <a:gd name="csY27" fmla="*/ 266581 h 288350"/>
                    <a:gd name="csX28" fmla="*/ 143647 w 307943"/>
                    <a:gd name="csY28" fmla="*/ 288351 h 288350"/>
                    <a:gd name="csX29" fmla="*/ 145472 w 307943"/>
                    <a:gd name="csY29" fmla="*/ 277818 h 288350"/>
                    <a:gd name="csX30" fmla="*/ 140030 w 307943"/>
                    <a:gd name="csY30" fmla="*/ 273464 h 288350"/>
                    <a:gd name="csX31" fmla="*/ 138589 w 307943"/>
                    <a:gd name="csY31" fmla="*/ 265108 h 288350"/>
                    <a:gd name="csX32" fmla="*/ 124791 w 307943"/>
                    <a:gd name="csY32" fmla="*/ 263284 h 288350"/>
                    <a:gd name="csX33" fmla="*/ 38449 w 307943"/>
                    <a:gd name="csY33" fmla="*/ 252047 h 288350"/>
                    <a:gd name="csX34" fmla="*/ 12710 w 307943"/>
                    <a:gd name="csY34" fmla="*/ 248781 h 288350"/>
                    <a:gd name="csX35" fmla="*/ 0 w 307943"/>
                    <a:gd name="csY35" fmla="*/ 246957 h 288350"/>
                    <a:gd name="csX36" fmla="*/ 16327 w 307943"/>
                    <a:gd name="csY36" fmla="*/ 189267 h 288350"/>
                    <a:gd name="csX37" fmla="*/ 27564 w 307943"/>
                    <a:gd name="csY37" fmla="*/ 149730 h 288350"/>
                    <a:gd name="csX38" fmla="*/ 33359 w 307943"/>
                    <a:gd name="csY38" fmla="*/ 149730 h 288350"/>
                    <a:gd name="csX39" fmla="*/ 62748 w 307943"/>
                    <a:gd name="csY39" fmla="*/ 150466 h 288350"/>
                    <a:gd name="csX40" fmla="*/ 75457 w 307943"/>
                    <a:gd name="csY40" fmla="*/ 141022 h 288350"/>
                    <a:gd name="csX41" fmla="*/ 116819 w 307943"/>
                    <a:gd name="csY41" fmla="*/ 137757 h 288350"/>
                    <a:gd name="csX42" fmla="*/ 123702 w 307943"/>
                    <a:gd name="csY42" fmla="*/ 132314 h 288350"/>
                    <a:gd name="csX43" fmla="*/ 123702 w 307943"/>
                    <a:gd name="csY43" fmla="*/ 124695 h 288350"/>
                    <a:gd name="csX44" fmla="*/ 124791 w 307943"/>
                    <a:gd name="csY44" fmla="*/ 118516 h 288350"/>
                    <a:gd name="csX45" fmla="*/ 146208 w 307943"/>
                    <a:gd name="csY45" fmla="*/ 110161 h 288350"/>
                    <a:gd name="csX46" fmla="*/ 150562 w 307943"/>
                    <a:gd name="csY46" fmla="*/ 105806 h 288350"/>
                    <a:gd name="csX47" fmla="*/ 157445 w 307943"/>
                    <a:gd name="csY47" fmla="*/ 100716 h 288350"/>
                    <a:gd name="csX48" fmla="*/ 158182 w 307943"/>
                    <a:gd name="csY48" fmla="*/ 68062 h 288350"/>
                    <a:gd name="csX49" fmla="*/ 167626 w 307943"/>
                    <a:gd name="csY49" fmla="*/ 39409 h 288350"/>
                    <a:gd name="csX50" fmla="*/ 171243 w 307943"/>
                    <a:gd name="csY50" fmla="*/ 9316 h 288350"/>
                    <a:gd name="csX51" fmla="*/ 176334 w 307943"/>
                    <a:gd name="csY51" fmla="*/ 10405 h 288350"/>
                    <a:gd name="csX52" fmla="*/ 185041 w 307943"/>
                    <a:gd name="csY52" fmla="*/ 9316 h 288350"/>
                    <a:gd name="csX53" fmla="*/ 210781 w 307943"/>
                    <a:gd name="csY53" fmla="*/ 4226 h 288350"/>
                    <a:gd name="csX54" fmla="*/ 286526 w 307943"/>
                    <a:gd name="csY54" fmla="*/ 1793 h 288350"/>
                    <a:gd name="csX55" fmla="*/ 285438 w 307943"/>
                    <a:gd name="csY55" fmla="*/ 2529 h 288350"/>
                    <a:gd name="csX56" fmla="*/ 283997 w 307943"/>
                    <a:gd name="csY56" fmla="*/ 1088 h 288350"/>
                    <a:gd name="csX57" fmla="*/ 286526 w 307943"/>
                    <a:gd name="csY57" fmla="*/ 0 h 288350"/>
                    <a:gd name="csX58" fmla="*/ 286526 w 307943"/>
                    <a:gd name="csY58" fmla="*/ 1825 h 288350"/>
                    <a:gd name="csX59" fmla="*/ 282909 w 307943"/>
                    <a:gd name="csY59" fmla="*/ 3586 h 288350"/>
                    <a:gd name="csX60" fmla="*/ 281468 w 307943"/>
                    <a:gd name="csY60" fmla="*/ 3586 h 288350"/>
                    <a:gd name="csX61" fmla="*/ 280379 w 307943"/>
                    <a:gd name="csY61" fmla="*/ 1761 h 288350"/>
                    <a:gd name="csX62" fmla="*/ 282909 w 307943"/>
                    <a:gd name="csY62" fmla="*/ 1024 h 288350"/>
                    <a:gd name="csX63" fmla="*/ 282909 w 307943"/>
                    <a:gd name="csY63" fmla="*/ 3554 h 288350"/>
                    <a:gd name="csX64" fmla="*/ 287262 w 307943"/>
                    <a:gd name="csY64" fmla="*/ 17384 h 288350"/>
                    <a:gd name="csX65" fmla="*/ 285438 w 307943"/>
                    <a:gd name="csY65" fmla="*/ 17384 h 288350"/>
                    <a:gd name="csX66" fmla="*/ 284701 w 307943"/>
                    <a:gd name="csY66" fmla="*/ 15559 h 288350"/>
                    <a:gd name="csX67" fmla="*/ 287230 w 307943"/>
                    <a:gd name="csY67" fmla="*/ 15559 h 288350"/>
                    <a:gd name="csX68" fmla="*/ 287230 w 307943"/>
                    <a:gd name="csY68" fmla="*/ 17384 h 288350"/>
                    <a:gd name="csX69" fmla="*/ 283997 w 307943"/>
                    <a:gd name="csY69" fmla="*/ 18120 h 288350"/>
                    <a:gd name="csX70" fmla="*/ 282909 w 307943"/>
                    <a:gd name="csY70" fmla="*/ 18120 h 288350"/>
                    <a:gd name="csX71" fmla="*/ 282172 w 307943"/>
                    <a:gd name="csY71" fmla="*/ 17384 h 288350"/>
                    <a:gd name="csX72" fmla="*/ 282909 w 307943"/>
                    <a:gd name="csY72" fmla="*/ 16295 h 288350"/>
                    <a:gd name="csX73" fmla="*/ 283997 w 307943"/>
                    <a:gd name="csY73" fmla="*/ 18120 h 288350"/>
                    <a:gd name="csX74" fmla="*/ 282909 w 307943"/>
                    <a:gd name="csY74" fmla="*/ 19913 h 288350"/>
                    <a:gd name="csX75" fmla="*/ 281468 w 307943"/>
                    <a:gd name="csY75" fmla="*/ 21353 h 288350"/>
                    <a:gd name="csX76" fmla="*/ 281468 w 307943"/>
                    <a:gd name="csY76" fmla="*/ 19913 h 288350"/>
                    <a:gd name="csX77" fmla="*/ 282909 w 307943"/>
                    <a:gd name="csY77" fmla="*/ 18824 h 288350"/>
                    <a:gd name="csX78" fmla="*/ 282909 w 307943"/>
                    <a:gd name="csY78" fmla="*/ 19913 h 288350"/>
                    <a:gd name="csX79" fmla="*/ 270935 w 307943"/>
                    <a:gd name="csY79" fmla="*/ 46388 h 288350"/>
                    <a:gd name="csX80" fmla="*/ 268406 w 307943"/>
                    <a:gd name="csY80" fmla="*/ 46388 h 288350"/>
                    <a:gd name="csX81" fmla="*/ 269142 w 307943"/>
                    <a:gd name="csY81" fmla="*/ 45652 h 288350"/>
                    <a:gd name="csX82" fmla="*/ 270967 w 307943"/>
                    <a:gd name="csY82" fmla="*/ 45652 h 288350"/>
                    <a:gd name="csX83" fmla="*/ 270967 w 307943"/>
                    <a:gd name="csY83" fmla="*/ 46388 h 288350"/>
                    <a:gd name="csX84" fmla="*/ 307944 w 307943"/>
                    <a:gd name="csY84" fmla="*/ 44596 h 288350"/>
                    <a:gd name="csX85" fmla="*/ 306119 w 307943"/>
                    <a:gd name="csY85" fmla="*/ 45684 h 288350"/>
                    <a:gd name="csX86" fmla="*/ 305382 w 307943"/>
                    <a:gd name="csY86" fmla="*/ 43859 h 288350"/>
                    <a:gd name="csX87" fmla="*/ 307207 w 307943"/>
                    <a:gd name="csY87" fmla="*/ 43859 h 288350"/>
                    <a:gd name="csX88" fmla="*/ 307944 w 307943"/>
                    <a:gd name="csY88" fmla="*/ 44596 h 288350"/>
                    <a:gd name="csX89" fmla="*/ 272760 w 307943"/>
                    <a:gd name="csY89" fmla="*/ 58362 h 288350"/>
                    <a:gd name="csX90" fmla="*/ 270935 w 307943"/>
                    <a:gd name="csY90" fmla="*/ 58362 h 288350"/>
                    <a:gd name="csX91" fmla="*/ 270199 w 307943"/>
                    <a:gd name="csY91" fmla="*/ 56921 h 288350"/>
                    <a:gd name="csX92" fmla="*/ 271640 w 307943"/>
                    <a:gd name="csY92" fmla="*/ 56921 h 288350"/>
                    <a:gd name="csX93" fmla="*/ 272728 w 307943"/>
                    <a:gd name="csY93" fmla="*/ 58362 h 288350"/>
                    <a:gd name="csX94" fmla="*/ 274553 w 307943"/>
                    <a:gd name="csY94" fmla="*/ 60186 h 288350"/>
                    <a:gd name="csX95" fmla="*/ 272728 w 307943"/>
                    <a:gd name="csY95" fmla="*/ 61275 h 288350"/>
                    <a:gd name="csX96" fmla="*/ 271640 w 307943"/>
                    <a:gd name="csY96" fmla="*/ 59450 h 288350"/>
                    <a:gd name="csX97" fmla="*/ 274553 w 307943"/>
                    <a:gd name="csY97" fmla="*/ 59450 h 288350"/>
                    <a:gd name="csX98" fmla="*/ 274553 w 307943"/>
                    <a:gd name="csY98" fmla="*/ 60186 h 288350"/>
                    <a:gd name="csX99" fmla="*/ 250990 w 307943"/>
                    <a:gd name="csY99" fmla="*/ 81604 h 288350"/>
                    <a:gd name="csX100" fmla="*/ 247725 w 307943"/>
                    <a:gd name="csY100" fmla="*/ 82692 h 288350"/>
                    <a:gd name="csX101" fmla="*/ 248461 w 307943"/>
                    <a:gd name="csY101" fmla="*/ 80163 h 288350"/>
                    <a:gd name="csX102" fmla="*/ 250990 w 307943"/>
                    <a:gd name="csY102" fmla="*/ 80900 h 288350"/>
                    <a:gd name="csX103" fmla="*/ 250990 w 307943"/>
                    <a:gd name="csY103" fmla="*/ 81636 h 288350"/>
                    <a:gd name="csX104" fmla="*/ 231398 w 307943"/>
                    <a:gd name="csY104" fmla="*/ 134907 h 288350"/>
                    <a:gd name="csX105" fmla="*/ 228869 w 307943"/>
                    <a:gd name="csY105" fmla="*/ 134907 h 288350"/>
                    <a:gd name="csX106" fmla="*/ 228869 w 307943"/>
                    <a:gd name="csY106" fmla="*/ 134171 h 288350"/>
                    <a:gd name="csX107" fmla="*/ 231398 w 307943"/>
                    <a:gd name="csY107" fmla="*/ 134171 h 288350"/>
                    <a:gd name="csX108" fmla="*/ 231398 w 307943"/>
                    <a:gd name="csY108" fmla="*/ 134907 h 288350"/>
                    <a:gd name="csX109" fmla="*/ 169354 w 307943"/>
                    <a:gd name="csY109" fmla="*/ 270935 h 288350"/>
                    <a:gd name="csX110" fmla="*/ 167530 w 307943"/>
                    <a:gd name="csY110" fmla="*/ 270935 h 288350"/>
                    <a:gd name="csX111" fmla="*/ 168618 w 307943"/>
                    <a:gd name="csY111" fmla="*/ 272024 h 288350"/>
                    <a:gd name="csX112" fmla="*/ 169354 w 307943"/>
                    <a:gd name="csY112" fmla="*/ 272024 h 288350"/>
                    <a:gd name="csX113" fmla="*/ 169354 w 307943"/>
                    <a:gd name="csY113" fmla="*/ 270935 h 2883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  <a:cxn ang="0">
                      <a:pos x="csX57" y="csY57"/>
                    </a:cxn>
                    <a:cxn ang="0">
                      <a:pos x="csX58" y="csY58"/>
                    </a:cxn>
                    <a:cxn ang="0">
                      <a:pos x="csX59" y="csY59"/>
                    </a:cxn>
                    <a:cxn ang="0">
                      <a:pos x="csX60" y="csY60"/>
                    </a:cxn>
                    <a:cxn ang="0">
                      <a:pos x="csX61" y="csY61"/>
                    </a:cxn>
                    <a:cxn ang="0">
                      <a:pos x="csX62" y="csY62"/>
                    </a:cxn>
                    <a:cxn ang="0">
                      <a:pos x="csX63" y="csY63"/>
                    </a:cxn>
                    <a:cxn ang="0">
                      <a:pos x="csX64" y="csY64"/>
                    </a:cxn>
                    <a:cxn ang="0">
                      <a:pos x="csX65" y="csY65"/>
                    </a:cxn>
                    <a:cxn ang="0">
                      <a:pos x="csX66" y="csY66"/>
                    </a:cxn>
                    <a:cxn ang="0">
                      <a:pos x="csX67" y="csY67"/>
                    </a:cxn>
                    <a:cxn ang="0">
                      <a:pos x="csX68" y="csY68"/>
                    </a:cxn>
                    <a:cxn ang="0">
                      <a:pos x="csX69" y="csY69"/>
                    </a:cxn>
                    <a:cxn ang="0">
                      <a:pos x="csX70" y="csY70"/>
                    </a:cxn>
                    <a:cxn ang="0">
                      <a:pos x="csX71" y="csY71"/>
                    </a:cxn>
                    <a:cxn ang="0">
                      <a:pos x="csX72" y="csY72"/>
                    </a:cxn>
                    <a:cxn ang="0">
                      <a:pos x="csX73" y="csY73"/>
                    </a:cxn>
                    <a:cxn ang="0">
                      <a:pos x="csX74" y="csY74"/>
                    </a:cxn>
                    <a:cxn ang="0">
                      <a:pos x="csX75" y="csY75"/>
                    </a:cxn>
                    <a:cxn ang="0">
                      <a:pos x="csX76" y="csY76"/>
                    </a:cxn>
                    <a:cxn ang="0">
                      <a:pos x="csX77" y="csY77"/>
                    </a:cxn>
                    <a:cxn ang="0">
                      <a:pos x="csX78" y="csY78"/>
                    </a:cxn>
                    <a:cxn ang="0">
                      <a:pos x="csX79" y="csY79"/>
                    </a:cxn>
                    <a:cxn ang="0">
                      <a:pos x="csX80" y="csY80"/>
                    </a:cxn>
                    <a:cxn ang="0">
                      <a:pos x="csX81" y="csY81"/>
                    </a:cxn>
                    <a:cxn ang="0">
                      <a:pos x="csX82" y="csY82"/>
                    </a:cxn>
                    <a:cxn ang="0">
                      <a:pos x="csX83" y="csY83"/>
                    </a:cxn>
                    <a:cxn ang="0">
                      <a:pos x="csX84" y="csY84"/>
                    </a:cxn>
                    <a:cxn ang="0">
                      <a:pos x="csX85" y="csY85"/>
                    </a:cxn>
                    <a:cxn ang="0">
                      <a:pos x="csX86" y="csY86"/>
                    </a:cxn>
                    <a:cxn ang="0">
                      <a:pos x="csX87" y="csY87"/>
                    </a:cxn>
                    <a:cxn ang="0">
                      <a:pos x="csX88" y="csY88"/>
                    </a:cxn>
                    <a:cxn ang="0">
                      <a:pos x="csX89" y="csY89"/>
                    </a:cxn>
                    <a:cxn ang="0">
                      <a:pos x="csX90" y="csY90"/>
                    </a:cxn>
                    <a:cxn ang="0">
                      <a:pos x="csX91" y="csY91"/>
                    </a:cxn>
                    <a:cxn ang="0">
                      <a:pos x="csX92" y="csY92"/>
                    </a:cxn>
                    <a:cxn ang="0">
                      <a:pos x="csX93" y="csY93"/>
                    </a:cxn>
                    <a:cxn ang="0">
                      <a:pos x="csX94" y="csY94"/>
                    </a:cxn>
                    <a:cxn ang="0">
                      <a:pos x="csX95" y="csY95"/>
                    </a:cxn>
                    <a:cxn ang="0">
                      <a:pos x="csX96" y="csY96"/>
                    </a:cxn>
                    <a:cxn ang="0">
                      <a:pos x="csX97" y="csY97"/>
                    </a:cxn>
                    <a:cxn ang="0">
                      <a:pos x="csX98" y="csY98"/>
                    </a:cxn>
                    <a:cxn ang="0">
                      <a:pos x="csX99" y="csY99"/>
                    </a:cxn>
                    <a:cxn ang="0">
                      <a:pos x="csX100" y="csY100"/>
                    </a:cxn>
                    <a:cxn ang="0">
                      <a:pos x="csX101" y="csY101"/>
                    </a:cxn>
                    <a:cxn ang="0">
                      <a:pos x="csX102" y="csY102"/>
                    </a:cxn>
                    <a:cxn ang="0">
                      <a:pos x="csX103" y="csY103"/>
                    </a:cxn>
                    <a:cxn ang="0">
                      <a:pos x="csX104" y="csY104"/>
                    </a:cxn>
                    <a:cxn ang="0">
                      <a:pos x="csX105" y="csY105"/>
                    </a:cxn>
                    <a:cxn ang="0">
                      <a:pos x="csX106" y="csY106"/>
                    </a:cxn>
                    <a:cxn ang="0">
                      <a:pos x="csX107" y="csY107"/>
                    </a:cxn>
                    <a:cxn ang="0">
                      <a:pos x="csX108" y="csY108"/>
                    </a:cxn>
                    <a:cxn ang="0">
                      <a:pos x="csX109" y="csY109"/>
                    </a:cxn>
                    <a:cxn ang="0">
                      <a:pos x="csX110" y="csY110"/>
                    </a:cxn>
                    <a:cxn ang="0">
                      <a:pos x="csX111" y="csY111"/>
                    </a:cxn>
                    <a:cxn ang="0">
                      <a:pos x="csX112" y="csY112"/>
                    </a:cxn>
                    <a:cxn ang="0">
                      <a:pos x="csX113" y="csY113"/>
                    </a:cxn>
                  </a:cxnLst>
                  <a:rect l="l" t="t" r="r" b="b"/>
                  <a:pathLst>
                    <a:path w="307943" h="288350">
                      <a:moveTo>
                        <a:pt x="210717" y="4322"/>
                      </a:moveTo>
                      <a:lnTo>
                        <a:pt x="215807" y="8676"/>
                      </a:lnTo>
                      <a:lnTo>
                        <a:pt x="216896" y="8676"/>
                      </a:lnTo>
                      <a:lnTo>
                        <a:pt x="220897" y="6147"/>
                      </a:lnTo>
                      <a:lnTo>
                        <a:pt x="228869" y="13766"/>
                      </a:lnTo>
                      <a:lnTo>
                        <a:pt x="240842" y="5058"/>
                      </a:lnTo>
                      <a:lnTo>
                        <a:pt x="253904" y="9412"/>
                      </a:lnTo>
                      <a:lnTo>
                        <a:pt x="252815" y="13030"/>
                      </a:lnTo>
                      <a:lnTo>
                        <a:pt x="258994" y="5058"/>
                      </a:lnTo>
                      <a:lnTo>
                        <a:pt x="266613" y="6883"/>
                      </a:lnTo>
                      <a:lnTo>
                        <a:pt x="277146" y="1088"/>
                      </a:lnTo>
                      <a:lnTo>
                        <a:pt x="279675" y="7619"/>
                      </a:lnTo>
                      <a:lnTo>
                        <a:pt x="286558" y="6883"/>
                      </a:lnTo>
                      <a:lnTo>
                        <a:pt x="284029" y="14502"/>
                      </a:lnTo>
                      <a:lnTo>
                        <a:pt x="277850" y="14502"/>
                      </a:lnTo>
                      <a:lnTo>
                        <a:pt x="278587" y="19945"/>
                      </a:lnTo>
                      <a:lnTo>
                        <a:pt x="275321" y="17416"/>
                      </a:lnTo>
                      <a:lnTo>
                        <a:pt x="268438" y="22506"/>
                      </a:lnTo>
                      <a:lnTo>
                        <a:pt x="264821" y="43891"/>
                      </a:lnTo>
                      <a:lnTo>
                        <a:pt x="249582" y="55128"/>
                      </a:lnTo>
                      <a:lnTo>
                        <a:pt x="232166" y="81604"/>
                      </a:lnTo>
                      <a:lnTo>
                        <a:pt x="215135" y="120405"/>
                      </a:lnTo>
                      <a:lnTo>
                        <a:pt x="214046" y="136732"/>
                      </a:lnTo>
                      <a:lnTo>
                        <a:pt x="217664" y="141822"/>
                      </a:lnTo>
                      <a:lnTo>
                        <a:pt x="179951" y="208924"/>
                      </a:lnTo>
                      <a:lnTo>
                        <a:pt x="169419" y="237576"/>
                      </a:lnTo>
                      <a:lnTo>
                        <a:pt x="166890" y="264052"/>
                      </a:lnTo>
                      <a:lnTo>
                        <a:pt x="157445" y="266581"/>
                      </a:lnTo>
                      <a:lnTo>
                        <a:pt x="143647" y="288351"/>
                      </a:lnTo>
                      <a:lnTo>
                        <a:pt x="145472" y="277818"/>
                      </a:lnTo>
                      <a:lnTo>
                        <a:pt x="140030" y="273464"/>
                      </a:lnTo>
                      <a:lnTo>
                        <a:pt x="138589" y="265108"/>
                      </a:lnTo>
                      <a:lnTo>
                        <a:pt x="124791" y="263284"/>
                      </a:lnTo>
                      <a:lnTo>
                        <a:pt x="38449" y="252047"/>
                      </a:lnTo>
                      <a:lnTo>
                        <a:pt x="12710" y="248781"/>
                      </a:lnTo>
                      <a:lnTo>
                        <a:pt x="0" y="246957"/>
                      </a:lnTo>
                      <a:lnTo>
                        <a:pt x="16327" y="189267"/>
                      </a:lnTo>
                      <a:lnTo>
                        <a:pt x="27564" y="149730"/>
                      </a:lnTo>
                      <a:lnTo>
                        <a:pt x="33359" y="149730"/>
                      </a:lnTo>
                      <a:lnTo>
                        <a:pt x="62748" y="150466"/>
                      </a:lnTo>
                      <a:lnTo>
                        <a:pt x="75457" y="141022"/>
                      </a:lnTo>
                      <a:lnTo>
                        <a:pt x="116819" y="137757"/>
                      </a:lnTo>
                      <a:lnTo>
                        <a:pt x="123702" y="132314"/>
                      </a:lnTo>
                      <a:lnTo>
                        <a:pt x="123702" y="124695"/>
                      </a:lnTo>
                      <a:lnTo>
                        <a:pt x="124791" y="118516"/>
                      </a:lnTo>
                      <a:lnTo>
                        <a:pt x="146208" y="110161"/>
                      </a:lnTo>
                      <a:lnTo>
                        <a:pt x="150562" y="105806"/>
                      </a:lnTo>
                      <a:lnTo>
                        <a:pt x="157445" y="100716"/>
                      </a:lnTo>
                      <a:lnTo>
                        <a:pt x="158182" y="68062"/>
                      </a:lnTo>
                      <a:lnTo>
                        <a:pt x="167626" y="39409"/>
                      </a:lnTo>
                      <a:lnTo>
                        <a:pt x="171243" y="9316"/>
                      </a:lnTo>
                      <a:lnTo>
                        <a:pt x="176334" y="10405"/>
                      </a:lnTo>
                      <a:lnTo>
                        <a:pt x="185041" y="9316"/>
                      </a:lnTo>
                      <a:lnTo>
                        <a:pt x="210781" y="4226"/>
                      </a:lnTo>
                      <a:close/>
                      <a:moveTo>
                        <a:pt x="286526" y="1793"/>
                      </a:moveTo>
                      <a:lnTo>
                        <a:pt x="285438" y="2529"/>
                      </a:lnTo>
                      <a:lnTo>
                        <a:pt x="283997" y="1088"/>
                      </a:lnTo>
                      <a:lnTo>
                        <a:pt x="286526" y="0"/>
                      </a:lnTo>
                      <a:lnTo>
                        <a:pt x="286526" y="1825"/>
                      </a:lnTo>
                      <a:close/>
                      <a:moveTo>
                        <a:pt x="282909" y="3586"/>
                      </a:moveTo>
                      <a:lnTo>
                        <a:pt x="281468" y="3586"/>
                      </a:lnTo>
                      <a:lnTo>
                        <a:pt x="280379" y="1761"/>
                      </a:lnTo>
                      <a:lnTo>
                        <a:pt x="282909" y="1024"/>
                      </a:lnTo>
                      <a:lnTo>
                        <a:pt x="282909" y="3554"/>
                      </a:lnTo>
                      <a:close/>
                      <a:moveTo>
                        <a:pt x="287262" y="17384"/>
                      </a:moveTo>
                      <a:lnTo>
                        <a:pt x="285438" y="17384"/>
                      </a:lnTo>
                      <a:lnTo>
                        <a:pt x="284701" y="15559"/>
                      </a:lnTo>
                      <a:lnTo>
                        <a:pt x="287230" y="15559"/>
                      </a:lnTo>
                      <a:lnTo>
                        <a:pt x="287230" y="17384"/>
                      </a:lnTo>
                      <a:close/>
                      <a:moveTo>
                        <a:pt x="283997" y="18120"/>
                      </a:moveTo>
                      <a:lnTo>
                        <a:pt x="282909" y="18120"/>
                      </a:lnTo>
                      <a:lnTo>
                        <a:pt x="282172" y="17384"/>
                      </a:lnTo>
                      <a:lnTo>
                        <a:pt x="282909" y="16295"/>
                      </a:lnTo>
                      <a:lnTo>
                        <a:pt x="283997" y="18120"/>
                      </a:lnTo>
                      <a:close/>
                      <a:moveTo>
                        <a:pt x="282909" y="19913"/>
                      </a:moveTo>
                      <a:lnTo>
                        <a:pt x="281468" y="21353"/>
                      </a:lnTo>
                      <a:lnTo>
                        <a:pt x="281468" y="19913"/>
                      </a:lnTo>
                      <a:lnTo>
                        <a:pt x="282909" y="18824"/>
                      </a:lnTo>
                      <a:lnTo>
                        <a:pt x="282909" y="19913"/>
                      </a:lnTo>
                      <a:close/>
                      <a:moveTo>
                        <a:pt x="270935" y="46388"/>
                      </a:moveTo>
                      <a:lnTo>
                        <a:pt x="268406" y="46388"/>
                      </a:lnTo>
                      <a:lnTo>
                        <a:pt x="269142" y="45652"/>
                      </a:lnTo>
                      <a:lnTo>
                        <a:pt x="270967" y="45652"/>
                      </a:lnTo>
                      <a:lnTo>
                        <a:pt x="270967" y="46388"/>
                      </a:lnTo>
                      <a:close/>
                      <a:moveTo>
                        <a:pt x="307944" y="44596"/>
                      </a:moveTo>
                      <a:lnTo>
                        <a:pt x="306119" y="45684"/>
                      </a:lnTo>
                      <a:lnTo>
                        <a:pt x="305382" y="43859"/>
                      </a:lnTo>
                      <a:lnTo>
                        <a:pt x="307207" y="43859"/>
                      </a:lnTo>
                      <a:lnTo>
                        <a:pt x="307944" y="44596"/>
                      </a:lnTo>
                      <a:close/>
                      <a:moveTo>
                        <a:pt x="272760" y="58362"/>
                      </a:moveTo>
                      <a:lnTo>
                        <a:pt x="270935" y="58362"/>
                      </a:lnTo>
                      <a:lnTo>
                        <a:pt x="270199" y="56921"/>
                      </a:lnTo>
                      <a:lnTo>
                        <a:pt x="271640" y="56921"/>
                      </a:lnTo>
                      <a:lnTo>
                        <a:pt x="272728" y="58362"/>
                      </a:lnTo>
                      <a:close/>
                      <a:moveTo>
                        <a:pt x="274553" y="60186"/>
                      </a:moveTo>
                      <a:lnTo>
                        <a:pt x="272728" y="61275"/>
                      </a:lnTo>
                      <a:lnTo>
                        <a:pt x="271640" y="59450"/>
                      </a:lnTo>
                      <a:lnTo>
                        <a:pt x="274553" y="59450"/>
                      </a:lnTo>
                      <a:lnTo>
                        <a:pt x="274553" y="60186"/>
                      </a:lnTo>
                      <a:close/>
                      <a:moveTo>
                        <a:pt x="250990" y="81604"/>
                      </a:moveTo>
                      <a:lnTo>
                        <a:pt x="247725" y="82692"/>
                      </a:lnTo>
                      <a:lnTo>
                        <a:pt x="248461" y="80163"/>
                      </a:lnTo>
                      <a:lnTo>
                        <a:pt x="250990" y="80900"/>
                      </a:lnTo>
                      <a:lnTo>
                        <a:pt x="250990" y="81636"/>
                      </a:lnTo>
                      <a:close/>
                      <a:moveTo>
                        <a:pt x="231398" y="134907"/>
                      </a:moveTo>
                      <a:lnTo>
                        <a:pt x="228869" y="134907"/>
                      </a:lnTo>
                      <a:lnTo>
                        <a:pt x="228869" y="134171"/>
                      </a:lnTo>
                      <a:lnTo>
                        <a:pt x="231398" y="134171"/>
                      </a:lnTo>
                      <a:lnTo>
                        <a:pt x="231398" y="134907"/>
                      </a:lnTo>
                      <a:close/>
                      <a:moveTo>
                        <a:pt x="169354" y="270935"/>
                      </a:moveTo>
                      <a:lnTo>
                        <a:pt x="167530" y="270935"/>
                      </a:lnTo>
                      <a:lnTo>
                        <a:pt x="168618" y="272024"/>
                      </a:lnTo>
                      <a:lnTo>
                        <a:pt x="169354" y="272024"/>
                      </a:lnTo>
                      <a:lnTo>
                        <a:pt x="169354" y="270935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15" name="Forma Livre: Forma 414">
                  <a:extLst>
                    <a:ext uri="{FF2B5EF4-FFF2-40B4-BE49-F238E27FC236}">
                      <a16:creationId xmlns:a16="http://schemas.microsoft.com/office/drawing/2014/main" id="{53B35E44-B0E0-DB06-C1C8-3CD0F0995ED5}"/>
                    </a:ext>
                  </a:extLst>
                </p:cNvPr>
                <p:cNvSpPr/>
                <p:nvPr/>
              </p:nvSpPr>
              <p:spPr>
                <a:xfrm>
                  <a:off x="3574737" y="5147581"/>
                  <a:ext cx="199896" cy="149825"/>
                </a:xfrm>
                <a:custGeom>
                  <a:avLst/>
                  <a:gdLst>
                    <a:gd name="csX0" fmla="*/ 177486 w 199896"/>
                    <a:gd name="csY0" fmla="*/ 25035 h 149825"/>
                    <a:gd name="csX1" fmla="*/ 165513 w 199896"/>
                    <a:gd name="csY1" fmla="*/ 54424 h 149825"/>
                    <a:gd name="csX2" fmla="*/ 167338 w 199896"/>
                    <a:gd name="csY2" fmla="*/ 66397 h 149825"/>
                    <a:gd name="csX3" fmla="*/ 149922 w 199896"/>
                    <a:gd name="csY3" fmla="*/ 73280 h 149825"/>
                    <a:gd name="csX4" fmla="*/ 145568 w 199896"/>
                    <a:gd name="csY4" fmla="*/ 66397 h 149825"/>
                    <a:gd name="csX5" fmla="*/ 149922 w 199896"/>
                    <a:gd name="csY5" fmla="*/ 53336 h 149825"/>
                    <a:gd name="csX6" fmla="*/ 142303 w 199896"/>
                    <a:gd name="csY6" fmla="*/ 38097 h 149825"/>
                    <a:gd name="csX7" fmla="*/ 135420 w 199896"/>
                    <a:gd name="csY7" fmla="*/ 35568 h 149825"/>
                    <a:gd name="csX8" fmla="*/ 103502 w 199896"/>
                    <a:gd name="csY8" fmla="*/ 50070 h 149825"/>
                    <a:gd name="csX9" fmla="*/ 94794 w 199896"/>
                    <a:gd name="csY9" fmla="*/ 61307 h 149825"/>
                    <a:gd name="csX10" fmla="*/ 98411 w 199896"/>
                    <a:gd name="csY10" fmla="*/ 71455 h 149825"/>
                    <a:gd name="csX11" fmla="*/ 105294 w 199896"/>
                    <a:gd name="csY11" fmla="*/ 72544 h 149825"/>
                    <a:gd name="csX12" fmla="*/ 95850 w 199896"/>
                    <a:gd name="csY12" fmla="*/ 82692 h 149825"/>
                    <a:gd name="csX13" fmla="*/ 112178 w 199896"/>
                    <a:gd name="csY13" fmla="*/ 78339 h 149825"/>
                    <a:gd name="csX14" fmla="*/ 114707 w 199896"/>
                    <a:gd name="csY14" fmla="*/ 80868 h 149825"/>
                    <a:gd name="csX15" fmla="*/ 107087 w 199896"/>
                    <a:gd name="csY15" fmla="*/ 87046 h 149825"/>
                    <a:gd name="csX16" fmla="*/ 94762 w 199896"/>
                    <a:gd name="csY16" fmla="*/ 87783 h 149825"/>
                    <a:gd name="csX17" fmla="*/ 95850 w 199896"/>
                    <a:gd name="csY17" fmla="*/ 91400 h 149825"/>
                    <a:gd name="csX18" fmla="*/ 110353 w 199896"/>
                    <a:gd name="csY18" fmla="*/ 89576 h 149825"/>
                    <a:gd name="csX19" fmla="*/ 114707 w 199896"/>
                    <a:gd name="csY19" fmla="*/ 94666 h 149825"/>
                    <a:gd name="csX20" fmla="*/ 99116 w 199896"/>
                    <a:gd name="csY20" fmla="*/ 99020 h 149825"/>
                    <a:gd name="csX21" fmla="*/ 98379 w 199896"/>
                    <a:gd name="csY21" fmla="*/ 110993 h 149825"/>
                    <a:gd name="csX22" fmla="*/ 92201 w 199896"/>
                    <a:gd name="csY22" fmla="*/ 118964 h 149825"/>
                    <a:gd name="csX23" fmla="*/ 93289 w 199896"/>
                    <a:gd name="csY23" fmla="*/ 115347 h 149825"/>
                    <a:gd name="csX24" fmla="*/ 80227 w 199896"/>
                    <a:gd name="csY24" fmla="*/ 110993 h 149825"/>
                    <a:gd name="csX25" fmla="*/ 68254 w 199896"/>
                    <a:gd name="csY25" fmla="*/ 119701 h 149825"/>
                    <a:gd name="csX26" fmla="*/ 60283 w 199896"/>
                    <a:gd name="csY26" fmla="*/ 112081 h 149825"/>
                    <a:gd name="csX27" fmla="*/ 56281 w 199896"/>
                    <a:gd name="csY27" fmla="*/ 114610 h 149825"/>
                    <a:gd name="csX28" fmla="*/ 55192 w 199896"/>
                    <a:gd name="csY28" fmla="*/ 114610 h 149825"/>
                    <a:gd name="csX29" fmla="*/ 50102 w 199896"/>
                    <a:gd name="csY29" fmla="*/ 110257 h 149825"/>
                    <a:gd name="csX30" fmla="*/ 24331 w 199896"/>
                    <a:gd name="csY30" fmla="*/ 115347 h 149825"/>
                    <a:gd name="csX31" fmla="*/ 15623 w 199896"/>
                    <a:gd name="csY31" fmla="*/ 116435 h 149825"/>
                    <a:gd name="csX32" fmla="*/ 10533 w 199896"/>
                    <a:gd name="csY32" fmla="*/ 115347 h 149825"/>
                    <a:gd name="csX33" fmla="*/ 0 w 199896"/>
                    <a:gd name="csY33" fmla="*/ 100844 h 149825"/>
                    <a:gd name="csX34" fmla="*/ 0 w 199896"/>
                    <a:gd name="csY34" fmla="*/ 87783 h 149825"/>
                    <a:gd name="csX35" fmla="*/ 11237 w 199896"/>
                    <a:gd name="csY35" fmla="*/ 75809 h 149825"/>
                    <a:gd name="csX36" fmla="*/ 17416 w 199896"/>
                    <a:gd name="csY36" fmla="*/ 60218 h 149825"/>
                    <a:gd name="csX37" fmla="*/ 25035 w 199896"/>
                    <a:gd name="csY37" fmla="*/ 53336 h 149825"/>
                    <a:gd name="csX38" fmla="*/ 42451 w 199896"/>
                    <a:gd name="csY38" fmla="*/ 31918 h 149825"/>
                    <a:gd name="csX39" fmla="*/ 46452 w 199896"/>
                    <a:gd name="csY39" fmla="*/ 24299 h 149825"/>
                    <a:gd name="csX40" fmla="*/ 48277 w 199896"/>
                    <a:gd name="csY40" fmla="*/ 12326 h 149825"/>
                    <a:gd name="csX41" fmla="*/ 45012 w 199896"/>
                    <a:gd name="csY41" fmla="*/ 0 h 149825"/>
                    <a:gd name="csX42" fmla="*/ 92169 w 199896"/>
                    <a:gd name="csY42" fmla="*/ 1089 h 149825"/>
                    <a:gd name="csX43" fmla="*/ 136060 w 199896"/>
                    <a:gd name="csY43" fmla="*/ 1089 h 149825"/>
                    <a:gd name="csX44" fmla="*/ 186834 w 199896"/>
                    <a:gd name="csY44" fmla="*/ 0 h 149825"/>
                    <a:gd name="csX45" fmla="*/ 199896 w 199896"/>
                    <a:gd name="csY45" fmla="*/ 0 h 149825"/>
                    <a:gd name="csX46" fmla="*/ 177422 w 199896"/>
                    <a:gd name="csY46" fmla="*/ 25035 h 149825"/>
                    <a:gd name="csX47" fmla="*/ 161159 w 199896"/>
                    <a:gd name="csY47" fmla="*/ 72576 h 149825"/>
                    <a:gd name="csX48" fmla="*/ 161159 w 199896"/>
                    <a:gd name="csY48" fmla="*/ 73312 h 149825"/>
                    <a:gd name="csX49" fmla="*/ 159334 w 199896"/>
                    <a:gd name="csY49" fmla="*/ 73312 h 149825"/>
                    <a:gd name="csX50" fmla="*/ 160423 w 199896"/>
                    <a:gd name="csY50" fmla="*/ 72576 h 149825"/>
                    <a:gd name="csX51" fmla="*/ 161159 w 199896"/>
                    <a:gd name="csY51" fmla="*/ 72576 h 149825"/>
                    <a:gd name="csX52" fmla="*/ 149922 w 199896"/>
                    <a:gd name="csY52" fmla="*/ 149090 h 149825"/>
                    <a:gd name="csX53" fmla="*/ 149922 w 199896"/>
                    <a:gd name="csY53" fmla="*/ 148001 h 149825"/>
                    <a:gd name="csX54" fmla="*/ 148097 w 199896"/>
                    <a:gd name="csY54" fmla="*/ 148001 h 149825"/>
                    <a:gd name="csX55" fmla="*/ 147361 w 199896"/>
                    <a:gd name="csY55" fmla="*/ 149826 h 149825"/>
                    <a:gd name="csX56" fmla="*/ 149890 w 199896"/>
                    <a:gd name="csY56" fmla="*/ 149090 h 1498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  <a:cxn ang="0">
                      <a:pos x="csX40" y="csY40"/>
                    </a:cxn>
                    <a:cxn ang="0">
                      <a:pos x="csX41" y="csY41"/>
                    </a:cxn>
                    <a:cxn ang="0">
                      <a:pos x="csX42" y="csY42"/>
                    </a:cxn>
                    <a:cxn ang="0">
                      <a:pos x="csX43" y="csY43"/>
                    </a:cxn>
                    <a:cxn ang="0">
                      <a:pos x="csX44" y="csY44"/>
                    </a:cxn>
                    <a:cxn ang="0">
                      <a:pos x="csX45" y="csY45"/>
                    </a:cxn>
                    <a:cxn ang="0">
                      <a:pos x="csX46" y="csY46"/>
                    </a:cxn>
                    <a:cxn ang="0">
                      <a:pos x="csX47" y="csY47"/>
                    </a:cxn>
                    <a:cxn ang="0">
                      <a:pos x="csX48" y="csY48"/>
                    </a:cxn>
                    <a:cxn ang="0">
                      <a:pos x="csX49" y="csY49"/>
                    </a:cxn>
                    <a:cxn ang="0">
                      <a:pos x="csX50" y="csY50"/>
                    </a:cxn>
                    <a:cxn ang="0">
                      <a:pos x="csX51" y="csY51"/>
                    </a:cxn>
                    <a:cxn ang="0">
                      <a:pos x="csX52" y="csY52"/>
                    </a:cxn>
                    <a:cxn ang="0">
                      <a:pos x="csX53" y="csY53"/>
                    </a:cxn>
                    <a:cxn ang="0">
                      <a:pos x="csX54" y="csY54"/>
                    </a:cxn>
                    <a:cxn ang="0">
                      <a:pos x="csX55" y="csY55"/>
                    </a:cxn>
                    <a:cxn ang="0">
                      <a:pos x="csX56" y="csY56"/>
                    </a:cxn>
                  </a:cxnLst>
                  <a:rect l="l" t="t" r="r" b="b"/>
                  <a:pathLst>
                    <a:path w="199896" h="149825">
                      <a:moveTo>
                        <a:pt x="177486" y="25035"/>
                      </a:moveTo>
                      <a:lnTo>
                        <a:pt x="165513" y="54424"/>
                      </a:lnTo>
                      <a:lnTo>
                        <a:pt x="167338" y="66397"/>
                      </a:lnTo>
                      <a:lnTo>
                        <a:pt x="149922" y="73280"/>
                      </a:lnTo>
                      <a:lnTo>
                        <a:pt x="145568" y="66397"/>
                      </a:lnTo>
                      <a:lnTo>
                        <a:pt x="149922" y="53336"/>
                      </a:lnTo>
                      <a:lnTo>
                        <a:pt x="142303" y="38097"/>
                      </a:lnTo>
                      <a:lnTo>
                        <a:pt x="135420" y="35568"/>
                      </a:lnTo>
                      <a:lnTo>
                        <a:pt x="103502" y="50070"/>
                      </a:lnTo>
                      <a:lnTo>
                        <a:pt x="94794" y="61307"/>
                      </a:lnTo>
                      <a:lnTo>
                        <a:pt x="98411" y="71455"/>
                      </a:lnTo>
                      <a:lnTo>
                        <a:pt x="105294" y="72544"/>
                      </a:lnTo>
                      <a:lnTo>
                        <a:pt x="95850" y="82692"/>
                      </a:lnTo>
                      <a:lnTo>
                        <a:pt x="112178" y="78339"/>
                      </a:lnTo>
                      <a:lnTo>
                        <a:pt x="114707" y="80868"/>
                      </a:lnTo>
                      <a:lnTo>
                        <a:pt x="107087" y="87046"/>
                      </a:lnTo>
                      <a:lnTo>
                        <a:pt x="94762" y="87783"/>
                      </a:lnTo>
                      <a:lnTo>
                        <a:pt x="95850" y="91400"/>
                      </a:lnTo>
                      <a:lnTo>
                        <a:pt x="110353" y="89576"/>
                      </a:lnTo>
                      <a:lnTo>
                        <a:pt x="114707" y="94666"/>
                      </a:lnTo>
                      <a:lnTo>
                        <a:pt x="99116" y="99020"/>
                      </a:lnTo>
                      <a:lnTo>
                        <a:pt x="98379" y="110993"/>
                      </a:lnTo>
                      <a:lnTo>
                        <a:pt x="92201" y="118964"/>
                      </a:lnTo>
                      <a:lnTo>
                        <a:pt x="93289" y="115347"/>
                      </a:lnTo>
                      <a:lnTo>
                        <a:pt x="80227" y="110993"/>
                      </a:lnTo>
                      <a:lnTo>
                        <a:pt x="68254" y="119701"/>
                      </a:lnTo>
                      <a:lnTo>
                        <a:pt x="60283" y="112081"/>
                      </a:lnTo>
                      <a:lnTo>
                        <a:pt x="56281" y="114610"/>
                      </a:lnTo>
                      <a:lnTo>
                        <a:pt x="55192" y="114610"/>
                      </a:lnTo>
                      <a:lnTo>
                        <a:pt x="50102" y="110257"/>
                      </a:lnTo>
                      <a:lnTo>
                        <a:pt x="24331" y="115347"/>
                      </a:lnTo>
                      <a:lnTo>
                        <a:pt x="15623" y="116435"/>
                      </a:lnTo>
                      <a:lnTo>
                        <a:pt x="10533" y="115347"/>
                      </a:lnTo>
                      <a:lnTo>
                        <a:pt x="0" y="100844"/>
                      </a:lnTo>
                      <a:lnTo>
                        <a:pt x="0" y="87783"/>
                      </a:lnTo>
                      <a:lnTo>
                        <a:pt x="11237" y="75809"/>
                      </a:lnTo>
                      <a:lnTo>
                        <a:pt x="17416" y="60218"/>
                      </a:lnTo>
                      <a:lnTo>
                        <a:pt x="25035" y="53336"/>
                      </a:lnTo>
                      <a:lnTo>
                        <a:pt x="42451" y="31918"/>
                      </a:lnTo>
                      <a:lnTo>
                        <a:pt x="46452" y="24299"/>
                      </a:lnTo>
                      <a:lnTo>
                        <a:pt x="48277" y="12326"/>
                      </a:lnTo>
                      <a:lnTo>
                        <a:pt x="45012" y="0"/>
                      </a:lnTo>
                      <a:lnTo>
                        <a:pt x="92169" y="1089"/>
                      </a:lnTo>
                      <a:lnTo>
                        <a:pt x="136060" y="1089"/>
                      </a:lnTo>
                      <a:lnTo>
                        <a:pt x="186834" y="0"/>
                      </a:lnTo>
                      <a:lnTo>
                        <a:pt x="199896" y="0"/>
                      </a:lnTo>
                      <a:lnTo>
                        <a:pt x="177422" y="25035"/>
                      </a:lnTo>
                      <a:close/>
                      <a:moveTo>
                        <a:pt x="161159" y="72576"/>
                      </a:moveTo>
                      <a:lnTo>
                        <a:pt x="161159" y="73312"/>
                      </a:lnTo>
                      <a:lnTo>
                        <a:pt x="159334" y="73312"/>
                      </a:lnTo>
                      <a:lnTo>
                        <a:pt x="160423" y="72576"/>
                      </a:lnTo>
                      <a:lnTo>
                        <a:pt x="161159" y="72576"/>
                      </a:lnTo>
                      <a:close/>
                      <a:moveTo>
                        <a:pt x="149922" y="149090"/>
                      </a:moveTo>
                      <a:lnTo>
                        <a:pt x="149922" y="148001"/>
                      </a:lnTo>
                      <a:lnTo>
                        <a:pt x="148097" y="148001"/>
                      </a:lnTo>
                      <a:lnTo>
                        <a:pt x="147361" y="149826"/>
                      </a:lnTo>
                      <a:lnTo>
                        <a:pt x="149890" y="149090"/>
                      </a:lnTo>
                      <a:close/>
                    </a:path>
                  </a:pathLst>
                </a:custGeom>
                <a:grpFill/>
                <a:ln w="3057" cap="flat">
                  <a:solidFill>
                    <a:srgbClr val="7F7F7F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pic>
            <p:nvPicPr>
              <p:cNvPr id="560" name="Gráfico 559" descr="Marcador com preenchimento sólido">
                <a:extLst>
                  <a:ext uri="{FF2B5EF4-FFF2-40B4-BE49-F238E27FC236}">
                    <a16:creationId xmlns:a16="http://schemas.microsoft.com/office/drawing/2014/main" id="{EF6EF538-BE6C-C736-DCEA-BB8ACE3837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903036" y="3013842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1" name="Gráfico 560" descr="Marcador com preenchimento sólido">
                <a:extLst>
                  <a:ext uri="{FF2B5EF4-FFF2-40B4-BE49-F238E27FC236}">
                    <a16:creationId xmlns:a16="http://schemas.microsoft.com/office/drawing/2014/main" id="{4A1AC359-4B06-CA34-5E55-ACD77004A5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284731" y="2913162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3" name="Gráfico 562" descr="Marcador com preenchimento sólido">
                <a:extLst>
                  <a:ext uri="{FF2B5EF4-FFF2-40B4-BE49-F238E27FC236}">
                    <a16:creationId xmlns:a16="http://schemas.microsoft.com/office/drawing/2014/main" id="{8F64FB22-6691-91EF-0B1D-1865F7B9EF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117595" y="1883182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4" name="Gráfico 563" descr="Marcador com preenchimento sólido">
                <a:extLst>
                  <a:ext uri="{FF2B5EF4-FFF2-40B4-BE49-F238E27FC236}">
                    <a16:creationId xmlns:a16="http://schemas.microsoft.com/office/drawing/2014/main" id="{596BAE96-EC73-FDD2-A2FD-111E77CA6F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94903" y="2171203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5" name="Gráfico 564" descr="Marcador com preenchimento sólido">
                <a:extLst>
                  <a:ext uri="{FF2B5EF4-FFF2-40B4-BE49-F238E27FC236}">
                    <a16:creationId xmlns:a16="http://schemas.microsoft.com/office/drawing/2014/main" id="{116ACD3C-EC54-CEDA-EB21-762FCD3275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1844" y="6472237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6" name="Gráfico 565" descr="Marcador com preenchimento sólido">
                <a:extLst>
                  <a:ext uri="{FF2B5EF4-FFF2-40B4-BE49-F238E27FC236}">
                    <a16:creationId xmlns:a16="http://schemas.microsoft.com/office/drawing/2014/main" id="{D47072D1-4117-7513-E2D1-20BFE9E994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87215" y="6551316"/>
                <a:ext cx="554617" cy="554617"/>
              </a:xfrm>
              <a:prstGeom prst="rect">
                <a:avLst/>
              </a:prstGeom>
            </p:spPr>
          </p:pic>
          <p:pic>
            <p:nvPicPr>
              <p:cNvPr id="567" name="Gráfico 566" descr="Marcador com preenchimento sólido">
                <a:extLst>
                  <a:ext uri="{FF2B5EF4-FFF2-40B4-BE49-F238E27FC236}">
                    <a16:creationId xmlns:a16="http://schemas.microsoft.com/office/drawing/2014/main" id="{991875E4-4EB2-36C6-1773-767F976BFD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170218" y="5107858"/>
                <a:ext cx="554617" cy="554617"/>
              </a:xfrm>
              <a:prstGeom prst="rect">
                <a:avLst/>
              </a:prstGeom>
            </p:spPr>
          </p:pic>
        </p:grpSp>
        <p:cxnSp>
          <p:nvCxnSpPr>
            <p:cNvPr id="617" name="Conector: Angulado 616">
              <a:extLst>
                <a:ext uri="{FF2B5EF4-FFF2-40B4-BE49-F238E27FC236}">
                  <a16:creationId xmlns:a16="http://schemas.microsoft.com/office/drawing/2014/main" id="{EA27BB4D-A116-6F98-6B5C-79051823C378}"/>
                </a:ext>
              </a:extLst>
            </p:cNvPr>
            <p:cNvCxnSpPr>
              <a:cxnSpLocks/>
              <a:endCxn id="578" idx="1"/>
            </p:cNvCxnSpPr>
            <p:nvPr/>
          </p:nvCxnSpPr>
          <p:spPr>
            <a:xfrm>
              <a:off x="8694792" y="2696969"/>
              <a:ext cx="511545" cy="221773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15608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9" name="Agrupar 588">
              <a:extLst>
                <a:ext uri="{FF2B5EF4-FFF2-40B4-BE49-F238E27FC236}">
                  <a16:creationId xmlns:a16="http://schemas.microsoft.com/office/drawing/2014/main" id="{60ED9167-2B6E-E7C7-990D-A59F647A28BA}"/>
                </a:ext>
              </a:extLst>
            </p:cNvPr>
            <p:cNvGrpSpPr/>
            <p:nvPr/>
          </p:nvGrpSpPr>
          <p:grpSpPr>
            <a:xfrm>
              <a:off x="9191979" y="4616596"/>
              <a:ext cx="2776189" cy="554617"/>
              <a:chOff x="8272769" y="4637111"/>
              <a:chExt cx="2776189" cy="554617"/>
            </a:xfrm>
          </p:grpSpPr>
          <p:sp>
            <p:nvSpPr>
              <p:cNvPr id="570" name="Retângulo: Cantos Arredondados 569">
                <a:extLst>
                  <a:ext uri="{FF2B5EF4-FFF2-40B4-BE49-F238E27FC236}">
                    <a16:creationId xmlns:a16="http://schemas.microsoft.com/office/drawing/2014/main" id="{7CE52CA2-C26E-1334-FAD8-E5864447C9A8}"/>
                  </a:ext>
                </a:extLst>
              </p:cNvPr>
              <p:cNvSpPr/>
              <p:nvPr/>
            </p:nvSpPr>
            <p:spPr>
              <a:xfrm>
                <a:off x="8272769" y="4637111"/>
                <a:ext cx="2761831" cy="554617"/>
              </a:xfrm>
              <a:prstGeom prst="roundRect">
                <a:avLst/>
              </a:prstGeom>
              <a:solidFill>
                <a:srgbClr val="15608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69" name="CaixaDeTexto 568">
                <a:extLst>
                  <a:ext uri="{FF2B5EF4-FFF2-40B4-BE49-F238E27FC236}">
                    <a16:creationId xmlns:a16="http://schemas.microsoft.com/office/drawing/2014/main" id="{8A1CFAAB-96D5-2AF1-59D2-F4179569CBD8}"/>
                  </a:ext>
                </a:extLst>
              </p:cNvPr>
              <p:cNvSpPr txBox="1"/>
              <p:nvPr/>
            </p:nvSpPr>
            <p:spPr>
              <a:xfrm>
                <a:off x="8287127" y="4651623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Viana – </a:t>
                </a:r>
                <a:r>
                  <a:rPr lang="pt-BR" sz="1600" b="1" err="1">
                    <a:solidFill>
                      <a:prstClr val="white"/>
                    </a:solidFill>
                    <a:latin typeface="Montserrat"/>
                  </a:rPr>
                  <a:t>Ago</a:t>
                </a:r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/2026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37,48 MW</a:t>
                </a:r>
                <a:endParaRPr lang="pt-BR" sz="1200" b="1"/>
              </a:p>
            </p:txBody>
          </p:sp>
        </p:grpSp>
        <p:grpSp>
          <p:nvGrpSpPr>
            <p:cNvPr id="591" name="Agrupar 590">
              <a:extLst>
                <a:ext uri="{FF2B5EF4-FFF2-40B4-BE49-F238E27FC236}">
                  <a16:creationId xmlns:a16="http://schemas.microsoft.com/office/drawing/2014/main" id="{4AAE129D-B9E7-52FE-F631-478809E475EC}"/>
                </a:ext>
              </a:extLst>
            </p:cNvPr>
            <p:cNvGrpSpPr/>
            <p:nvPr/>
          </p:nvGrpSpPr>
          <p:grpSpPr>
            <a:xfrm>
              <a:off x="9191979" y="3300612"/>
              <a:ext cx="2776189" cy="554617"/>
              <a:chOff x="9190137" y="2221552"/>
              <a:chExt cx="2776189" cy="554617"/>
            </a:xfrm>
          </p:grpSpPr>
          <p:sp>
            <p:nvSpPr>
              <p:cNvPr id="571" name="Retângulo: Cantos Arredondados 570">
                <a:extLst>
                  <a:ext uri="{FF2B5EF4-FFF2-40B4-BE49-F238E27FC236}">
                    <a16:creationId xmlns:a16="http://schemas.microsoft.com/office/drawing/2014/main" id="{9E74E8AD-88DC-9A62-BD37-78DD417B932E}"/>
                  </a:ext>
                </a:extLst>
              </p:cNvPr>
              <p:cNvSpPr/>
              <p:nvPr/>
            </p:nvSpPr>
            <p:spPr>
              <a:xfrm>
                <a:off x="9190137" y="2221552"/>
                <a:ext cx="2761831" cy="554617"/>
              </a:xfrm>
              <a:prstGeom prst="roundRect">
                <a:avLst/>
              </a:prstGeom>
              <a:solidFill>
                <a:srgbClr val="15608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72" name="CaixaDeTexto 571">
                <a:extLst>
                  <a:ext uri="{FF2B5EF4-FFF2-40B4-BE49-F238E27FC236}">
                    <a16:creationId xmlns:a16="http://schemas.microsoft.com/office/drawing/2014/main" id="{348219CC-6C49-764C-A2EC-EBA9B99A435B}"/>
                  </a:ext>
                </a:extLst>
              </p:cNvPr>
              <p:cNvSpPr txBox="1"/>
              <p:nvPr/>
            </p:nvSpPr>
            <p:spPr>
              <a:xfrm>
                <a:off x="9204495" y="2236064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Linhares – </a:t>
                </a:r>
                <a:r>
                  <a:rPr lang="pt-BR" sz="1600" b="1" err="1">
                    <a:solidFill>
                      <a:prstClr val="white"/>
                    </a:solidFill>
                    <a:latin typeface="Montserrat"/>
                  </a:rPr>
                  <a:t>Ago</a:t>
                </a:r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/2026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36 MW</a:t>
                </a:r>
                <a:endParaRPr lang="pt-BR" sz="1200" b="1"/>
              </a:p>
            </p:txBody>
          </p:sp>
        </p:grpSp>
        <p:grpSp>
          <p:nvGrpSpPr>
            <p:cNvPr id="590" name="Agrupar 589">
              <a:extLst>
                <a:ext uri="{FF2B5EF4-FFF2-40B4-BE49-F238E27FC236}">
                  <a16:creationId xmlns:a16="http://schemas.microsoft.com/office/drawing/2014/main" id="{70013D77-344E-7B38-2134-BB0DFD14D61E}"/>
                </a:ext>
              </a:extLst>
            </p:cNvPr>
            <p:cNvGrpSpPr/>
            <p:nvPr/>
          </p:nvGrpSpPr>
          <p:grpSpPr>
            <a:xfrm>
              <a:off x="9191979" y="3958604"/>
              <a:ext cx="2776189" cy="554617"/>
              <a:chOff x="9204495" y="2868980"/>
              <a:chExt cx="2776189" cy="554617"/>
            </a:xfrm>
          </p:grpSpPr>
          <p:sp>
            <p:nvSpPr>
              <p:cNvPr id="573" name="Retângulo: Cantos Arredondados 572">
                <a:extLst>
                  <a:ext uri="{FF2B5EF4-FFF2-40B4-BE49-F238E27FC236}">
                    <a16:creationId xmlns:a16="http://schemas.microsoft.com/office/drawing/2014/main" id="{97DE067B-1949-FD41-88C6-BE71EC495A23}"/>
                  </a:ext>
                </a:extLst>
              </p:cNvPr>
              <p:cNvSpPr/>
              <p:nvPr/>
            </p:nvSpPr>
            <p:spPr>
              <a:xfrm>
                <a:off x="9204495" y="2868980"/>
                <a:ext cx="2761831" cy="554617"/>
              </a:xfrm>
              <a:prstGeom prst="roundRect">
                <a:avLst/>
              </a:prstGeom>
              <a:solidFill>
                <a:srgbClr val="F3702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74" name="CaixaDeTexto 573">
                <a:extLst>
                  <a:ext uri="{FF2B5EF4-FFF2-40B4-BE49-F238E27FC236}">
                    <a16:creationId xmlns:a16="http://schemas.microsoft.com/office/drawing/2014/main" id="{E31178B6-46A2-B4C0-3C99-794CB3C3E0BE}"/>
                  </a:ext>
                </a:extLst>
              </p:cNvPr>
              <p:cNvSpPr txBox="1"/>
              <p:nvPr/>
            </p:nvSpPr>
            <p:spPr>
              <a:xfrm>
                <a:off x="9218853" y="2883492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 dirty="0">
                    <a:solidFill>
                      <a:prstClr val="white"/>
                    </a:solidFill>
                    <a:latin typeface="Montserrat"/>
                  </a:rPr>
                  <a:t>Linhares – Jul/2026</a:t>
                </a:r>
              </a:p>
              <a:p>
                <a:r>
                  <a:rPr lang="pt-BR" sz="1200" dirty="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 dirty="0">
                    <a:solidFill>
                      <a:prstClr val="white"/>
                    </a:solidFill>
                    <a:latin typeface="Montserrat"/>
                  </a:rPr>
                  <a:t>204 MW</a:t>
                </a:r>
                <a:endParaRPr lang="pt-BR" sz="1200" b="1" dirty="0"/>
              </a:p>
            </p:txBody>
          </p:sp>
        </p:grpSp>
        <p:grpSp>
          <p:nvGrpSpPr>
            <p:cNvPr id="592" name="Agrupar 591">
              <a:extLst>
                <a:ext uri="{FF2B5EF4-FFF2-40B4-BE49-F238E27FC236}">
                  <a16:creationId xmlns:a16="http://schemas.microsoft.com/office/drawing/2014/main" id="{1DA7A9F9-6692-74A3-93BB-2C641BDD52E2}"/>
                </a:ext>
              </a:extLst>
            </p:cNvPr>
            <p:cNvGrpSpPr/>
            <p:nvPr/>
          </p:nvGrpSpPr>
          <p:grpSpPr>
            <a:xfrm>
              <a:off x="9191979" y="2642620"/>
              <a:ext cx="2776189" cy="554617"/>
              <a:chOff x="9190136" y="2104305"/>
              <a:chExt cx="2776189" cy="554617"/>
            </a:xfrm>
          </p:grpSpPr>
          <p:sp>
            <p:nvSpPr>
              <p:cNvPr id="577" name="Retângulo: Cantos Arredondados 576">
                <a:extLst>
                  <a:ext uri="{FF2B5EF4-FFF2-40B4-BE49-F238E27FC236}">
                    <a16:creationId xmlns:a16="http://schemas.microsoft.com/office/drawing/2014/main" id="{89005D61-0976-CCED-0F62-2B423EAF4999}"/>
                  </a:ext>
                </a:extLst>
              </p:cNvPr>
              <p:cNvSpPr/>
              <p:nvPr/>
            </p:nvSpPr>
            <p:spPr>
              <a:xfrm>
                <a:off x="9190136" y="2104305"/>
                <a:ext cx="2761831" cy="554617"/>
              </a:xfrm>
              <a:prstGeom prst="roundRect">
                <a:avLst/>
              </a:prstGeom>
              <a:solidFill>
                <a:srgbClr val="15608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78" name="CaixaDeTexto 577">
                <a:extLst>
                  <a:ext uri="{FF2B5EF4-FFF2-40B4-BE49-F238E27FC236}">
                    <a16:creationId xmlns:a16="http://schemas.microsoft.com/office/drawing/2014/main" id="{A060DF4F-2A9B-4D92-BDCB-22339D617CE4}"/>
                  </a:ext>
                </a:extLst>
              </p:cNvPr>
              <p:cNvSpPr txBox="1"/>
              <p:nvPr/>
            </p:nvSpPr>
            <p:spPr>
              <a:xfrm>
                <a:off x="9204494" y="2118817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Linhares – </a:t>
                </a:r>
                <a:r>
                  <a:rPr lang="pt-BR" sz="1600" b="1" err="1">
                    <a:solidFill>
                      <a:prstClr val="white"/>
                    </a:solidFill>
                    <a:latin typeface="Montserrat"/>
                  </a:rPr>
                  <a:t>Ago</a:t>
                </a:r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/2026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74,96 MW</a:t>
                </a:r>
                <a:endParaRPr lang="pt-BR" sz="1200" b="1"/>
              </a:p>
            </p:txBody>
          </p:sp>
        </p:grpSp>
        <p:grpSp>
          <p:nvGrpSpPr>
            <p:cNvPr id="594" name="Agrupar 593">
              <a:extLst>
                <a:ext uri="{FF2B5EF4-FFF2-40B4-BE49-F238E27FC236}">
                  <a16:creationId xmlns:a16="http://schemas.microsoft.com/office/drawing/2014/main" id="{9E759257-1080-A3A6-B053-2C60FC9D3CE3}"/>
                </a:ext>
              </a:extLst>
            </p:cNvPr>
            <p:cNvGrpSpPr/>
            <p:nvPr/>
          </p:nvGrpSpPr>
          <p:grpSpPr>
            <a:xfrm>
              <a:off x="9191979" y="1326636"/>
              <a:ext cx="2776189" cy="554617"/>
              <a:chOff x="9231749" y="742956"/>
              <a:chExt cx="2776189" cy="554617"/>
            </a:xfrm>
            <a:solidFill>
              <a:srgbClr val="C2CD23"/>
            </a:solidFill>
          </p:grpSpPr>
          <p:sp>
            <p:nvSpPr>
              <p:cNvPr id="579" name="Retângulo: Cantos Arredondados 578">
                <a:extLst>
                  <a:ext uri="{FF2B5EF4-FFF2-40B4-BE49-F238E27FC236}">
                    <a16:creationId xmlns:a16="http://schemas.microsoft.com/office/drawing/2014/main" id="{00BDC87D-275C-CCB9-71A5-89F61D799F72}"/>
                  </a:ext>
                </a:extLst>
              </p:cNvPr>
              <p:cNvSpPr/>
              <p:nvPr/>
            </p:nvSpPr>
            <p:spPr>
              <a:xfrm>
                <a:off x="9231749" y="742956"/>
                <a:ext cx="2761831" cy="55461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80" name="CaixaDeTexto 579">
                <a:extLst>
                  <a:ext uri="{FF2B5EF4-FFF2-40B4-BE49-F238E27FC236}">
                    <a16:creationId xmlns:a16="http://schemas.microsoft.com/office/drawing/2014/main" id="{4EBA8E8B-8D83-7DB8-5F03-148913BDB00C}"/>
                  </a:ext>
                </a:extLst>
              </p:cNvPr>
              <p:cNvSpPr txBox="1"/>
              <p:nvPr/>
            </p:nvSpPr>
            <p:spPr>
              <a:xfrm>
                <a:off x="9246107" y="757468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São Mateus – 2028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41,2 MW</a:t>
                </a:r>
                <a:endParaRPr lang="pt-BR" sz="1200" b="1"/>
              </a:p>
            </p:txBody>
          </p:sp>
        </p:grpSp>
        <p:grpSp>
          <p:nvGrpSpPr>
            <p:cNvPr id="593" name="Agrupar 592">
              <a:extLst>
                <a:ext uri="{FF2B5EF4-FFF2-40B4-BE49-F238E27FC236}">
                  <a16:creationId xmlns:a16="http://schemas.microsoft.com/office/drawing/2014/main" id="{8341EFAD-49F3-B549-FE7C-28C30EDA92D6}"/>
                </a:ext>
              </a:extLst>
            </p:cNvPr>
            <p:cNvGrpSpPr/>
            <p:nvPr/>
          </p:nvGrpSpPr>
          <p:grpSpPr>
            <a:xfrm>
              <a:off x="9191979" y="1984628"/>
              <a:ext cx="2776189" cy="554617"/>
              <a:chOff x="9218853" y="1420818"/>
              <a:chExt cx="2776189" cy="554617"/>
            </a:xfrm>
            <a:solidFill>
              <a:srgbClr val="C2CD23"/>
            </a:solidFill>
          </p:grpSpPr>
          <p:sp>
            <p:nvSpPr>
              <p:cNvPr id="581" name="Retângulo: Cantos Arredondados 580">
                <a:extLst>
                  <a:ext uri="{FF2B5EF4-FFF2-40B4-BE49-F238E27FC236}">
                    <a16:creationId xmlns:a16="http://schemas.microsoft.com/office/drawing/2014/main" id="{C16111D7-21D5-D4BF-E75B-AA05F4C29A97}"/>
                  </a:ext>
                </a:extLst>
              </p:cNvPr>
              <p:cNvSpPr/>
              <p:nvPr/>
            </p:nvSpPr>
            <p:spPr>
              <a:xfrm>
                <a:off x="9218853" y="1420818"/>
                <a:ext cx="2761831" cy="55461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82" name="CaixaDeTexto 581">
                <a:extLst>
                  <a:ext uri="{FF2B5EF4-FFF2-40B4-BE49-F238E27FC236}">
                    <a16:creationId xmlns:a16="http://schemas.microsoft.com/office/drawing/2014/main" id="{87650C9B-3D85-FA94-80DB-18066A55ED7C}"/>
                  </a:ext>
                </a:extLst>
              </p:cNvPr>
              <p:cNvSpPr txBox="1"/>
              <p:nvPr/>
            </p:nvSpPr>
            <p:spPr>
              <a:xfrm>
                <a:off x="9233211" y="1435330"/>
                <a:ext cx="27618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São Mateus – 2028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41,2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 MW</a:t>
                </a:r>
                <a:endParaRPr lang="pt-BR" sz="1200" b="1"/>
              </a:p>
            </p:txBody>
          </p:sp>
        </p:grpSp>
        <p:grpSp>
          <p:nvGrpSpPr>
            <p:cNvPr id="587" name="Agrupar 586">
              <a:extLst>
                <a:ext uri="{FF2B5EF4-FFF2-40B4-BE49-F238E27FC236}">
                  <a16:creationId xmlns:a16="http://schemas.microsoft.com/office/drawing/2014/main" id="{A7CB201D-C4ED-8BB1-2C23-BE7328470B18}"/>
                </a:ext>
              </a:extLst>
            </p:cNvPr>
            <p:cNvGrpSpPr/>
            <p:nvPr/>
          </p:nvGrpSpPr>
          <p:grpSpPr>
            <a:xfrm>
              <a:off x="9191979" y="5932577"/>
              <a:ext cx="2857249" cy="554617"/>
              <a:chOff x="7203172" y="5932577"/>
              <a:chExt cx="2857249" cy="554617"/>
            </a:xfrm>
            <a:solidFill>
              <a:srgbClr val="C2CD23"/>
            </a:solidFill>
          </p:grpSpPr>
          <p:sp>
            <p:nvSpPr>
              <p:cNvPr id="583" name="Retângulo: Cantos Arredondados 582">
                <a:extLst>
                  <a:ext uri="{FF2B5EF4-FFF2-40B4-BE49-F238E27FC236}">
                    <a16:creationId xmlns:a16="http://schemas.microsoft.com/office/drawing/2014/main" id="{8F938E31-0BA9-530C-4BCF-6F091A5C10D3}"/>
                  </a:ext>
                </a:extLst>
              </p:cNvPr>
              <p:cNvSpPr/>
              <p:nvPr/>
            </p:nvSpPr>
            <p:spPr>
              <a:xfrm>
                <a:off x="7217689" y="5932577"/>
                <a:ext cx="2761831" cy="55461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84" name="CaixaDeTexto 583">
                <a:extLst>
                  <a:ext uri="{FF2B5EF4-FFF2-40B4-BE49-F238E27FC236}">
                    <a16:creationId xmlns:a16="http://schemas.microsoft.com/office/drawing/2014/main" id="{017C2E1B-C975-0611-3A5C-44C5A0D71CA7}"/>
                  </a:ext>
                </a:extLst>
              </p:cNvPr>
              <p:cNvSpPr txBox="1"/>
              <p:nvPr/>
            </p:nvSpPr>
            <p:spPr>
              <a:xfrm>
                <a:off x="7203172" y="5947089"/>
                <a:ext cx="285724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Presid. Kennedy – 2031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441,623 MW</a:t>
                </a:r>
                <a:endParaRPr lang="pt-BR" sz="1200" b="1"/>
              </a:p>
            </p:txBody>
          </p:sp>
        </p:grpSp>
        <p:grpSp>
          <p:nvGrpSpPr>
            <p:cNvPr id="588" name="Agrupar 587">
              <a:extLst>
                <a:ext uri="{FF2B5EF4-FFF2-40B4-BE49-F238E27FC236}">
                  <a16:creationId xmlns:a16="http://schemas.microsoft.com/office/drawing/2014/main" id="{6C97CF79-8BC8-4687-765D-6B304EC5F54C}"/>
                </a:ext>
              </a:extLst>
            </p:cNvPr>
            <p:cNvGrpSpPr/>
            <p:nvPr/>
          </p:nvGrpSpPr>
          <p:grpSpPr>
            <a:xfrm>
              <a:off x="9191979" y="5274588"/>
              <a:ext cx="2871607" cy="554617"/>
              <a:chOff x="8218563" y="5286578"/>
              <a:chExt cx="2871607" cy="554617"/>
            </a:xfrm>
            <a:solidFill>
              <a:srgbClr val="C2CD23"/>
            </a:solidFill>
          </p:grpSpPr>
          <p:sp>
            <p:nvSpPr>
              <p:cNvPr id="585" name="Retângulo: Cantos Arredondados 584">
                <a:extLst>
                  <a:ext uri="{FF2B5EF4-FFF2-40B4-BE49-F238E27FC236}">
                    <a16:creationId xmlns:a16="http://schemas.microsoft.com/office/drawing/2014/main" id="{DA57BC6F-D7E5-AB17-1C87-A6195AC510F6}"/>
                  </a:ext>
                </a:extLst>
              </p:cNvPr>
              <p:cNvSpPr/>
              <p:nvPr/>
            </p:nvSpPr>
            <p:spPr>
              <a:xfrm>
                <a:off x="8218563" y="5286578"/>
                <a:ext cx="2761831" cy="55461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86" name="CaixaDeTexto 585">
                <a:extLst>
                  <a:ext uri="{FF2B5EF4-FFF2-40B4-BE49-F238E27FC236}">
                    <a16:creationId xmlns:a16="http://schemas.microsoft.com/office/drawing/2014/main" id="{BE124AF5-9B88-1463-BAD4-BE52D5DF3070}"/>
                  </a:ext>
                </a:extLst>
              </p:cNvPr>
              <p:cNvSpPr txBox="1"/>
              <p:nvPr/>
            </p:nvSpPr>
            <p:spPr>
              <a:xfrm>
                <a:off x="8223296" y="5301090"/>
                <a:ext cx="286687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>
                    <a:solidFill>
                      <a:prstClr val="white"/>
                    </a:solidFill>
                    <a:latin typeface="Montserrat"/>
                  </a:rPr>
                  <a:t>Presid. Kennedy – 2031</a:t>
                </a:r>
              </a:p>
              <a:p>
                <a:r>
                  <a:rPr lang="pt-BR" sz="1200">
                    <a:solidFill>
                      <a:prstClr val="white"/>
                    </a:solidFill>
                    <a:latin typeface="Montserrat"/>
                  </a:rPr>
                  <a:t>Capacidade Instalada </a:t>
                </a:r>
                <a:r>
                  <a:rPr lang="pt-BR" sz="1200" b="1">
                    <a:solidFill>
                      <a:prstClr val="white"/>
                    </a:solidFill>
                    <a:latin typeface="Montserrat"/>
                  </a:rPr>
                  <a:t>441,623 MW</a:t>
                </a:r>
                <a:endParaRPr lang="pt-BR" sz="1200" b="1"/>
              </a:p>
            </p:txBody>
          </p:sp>
        </p:grpSp>
        <p:cxnSp>
          <p:nvCxnSpPr>
            <p:cNvPr id="602" name="Conector: Angulado 601">
              <a:extLst>
                <a:ext uri="{FF2B5EF4-FFF2-40B4-BE49-F238E27FC236}">
                  <a16:creationId xmlns:a16="http://schemas.microsoft.com/office/drawing/2014/main" id="{F110918B-0F22-CF1E-E261-162040914B9B}"/>
                </a:ext>
              </a:extLst>
            </p:cNvPr>
            <p:cNvCxnSpPr>
              <a:cxnSpLocks/>
              <a:endCxn id="579" idx="1"/>
            </p:cNvCxnSpPr>
            <p:nvPr/>
          </p:nvCxnSpPr>
          <p:spPr>
            <a:xfrm flipV="1">
              <a:off x="8543928" y="1603945"/>
              <a:ext cx="648051" cy="190339"/>
            </a:xfrm>
            <a:prstGeom prst="bentConnector3">
              <a:avLst>
                <a:gd name="adj1" fmla="val 39712"/>
              </a:avLst>
            </a:prstGeom>
            <a:ln w="19050">
              <a:solidFill>
                <a:srgbClr val="C2CD2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Conector: Angulado 604">
              <a:extLst>
                <a:ext uri="{FF2B5EF4-FFF2-40B4-BE49-F238E27FC236}">
                  <a16:creationId xmlns:a16="http://schemas.microsoft.com/office/drawing/2014/main" id="{08892E24-F51B-B24F-C82B-9F43F13104B0}"/>
                </a:ext>
              </a:extLst>
            </p:cNvPr>
            <p:cNvCxnSpPr>
              <a:cxnSpLocks/>
              <a:endCxn id="586" idx="1"/>
            </p:cNvCxnSpPr>
            <p:nvPr/>
          </p:nvCxnSpPr>
          <p:spPr>
            <a:xfrm flipV="1">
              <a:off x="6476007" y="5550710"/>
              <a:ext cx="2720705" cy="832629"/>
            </a:xfrm>
            <a:prstGeom prst="bentConnector3">
              <a:avLst>
                <a:gd name="adj1" fmla="val 46577"/>
              </a:avLst>
            </a:prstGeom>
            <a:ln w="19050">
              <a:solidFill>
                <a:srgbClr val="C2CD2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Conector: Angulado 607">
              <a:extLst>
                <a:ext uri="{FF2B5EF4-FFF2-40B4-BE49-F238E27FC236}">
                  <a16:creationId xmlns:a16="http://schemas.microsoft.com/office/drawing/2014/main" id="{65BC161F-3494-2261-6049-3FC8B844C451}"/>
                </a:ext>
              </a:extLst>
            </p:cNvPr>
            <p:cNvCxnSpPr>
              <a:cxnSpLocks/>
              <a:endCxn id="584" idx="1"/>
            </p:cNvCxnSpPr>
            <p:nvPr/>
          </p:nvCxnSpPr>
          <p:spPr>
            <a:xfrm flipV="1">
              <a:off x="6696645" y="6208699"/>
              <a:ext cx="2495334" cy="276122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C2CD2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Conector: Angulado 609">
              <a:extLst>
                <a:ext uri="{FF2B5EF4-FFF2-40B4-BE49-F238E27FC236}">
                  <a16:creationId xmlns:a16="http://schemas.microsoft.com/office/drawing/2014/main" id="{58BB68C3-0ABF-712C-6902-2164E91C328A}"/>
                </a:ext>
              </a:extLst>
            </p:cNvPr>
            <p:cNvCxnSpPr>
              <a:cxnSpLocks/>
              <a:endCxn id="569" idx="1"/>
            </p:cNvCxnSpPr>
            <p:nvPr/>
          </p:nvCxnSpPr>
          <p:spPr>
            <a:xfrm flipV="1">
              <a:off x="7576975" y="4892718"/>
              <a:ext cx="1629362" cy="138061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15608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Conector: Angulado 610">
              <a:extLst>
                <a:ext uri="{FF2B5EF4-FFF2-40B4-BE49-F238E27FC236}">
                  <a16:creationId xmlns:a16="http://schemas.microsoft.com/office/drawing/2014/main" id="{682A3372-ABA7-62AA-BA37-A88373F048A9}"/>
                </a:ext>
              </a:extLst>
            </p:cNvPr>
            <p:cNvCxnSpPr>
              <a:cxnSpLocks/>
              <a:endCxn id="581" idx="1"/>
            </p:cNvCxnSpPr>
            <p:nvPr/>
          </p:nvCxnSpPr>
          <p:spPr>
            <a:xfrm>
              <a:off x="8804964" y="2102507"/>
              <a:ext cx="387015" cy="159430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C2CD2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Conector: Angulado 613">
              <a:extLst>
                <a:ext uri="{FF2B5EF4-FFF2-40B4-BE49-F238E27FC236}">
                  <a16:creationId xmlns:a16="http://schemas.microsoft.com/office/drawing/2014/main" id="{A9DB8444-4C85-6560-9C30-33E2B108E69A}"/>
                </a:ext>
              </a:extLst>
            </p:cNvPr>
            <p:cNvCxnSpPr>
              <a:cxnSpLocks/>
            </p:cNvCxnSpPr>
            <p:nvPr/>
          </p:nvCxnSpPr>
          <p:spPr>
            <a:xfrm>
              <a:off x="8313097" y="2923659"/>
              <a:ext cx="893240" cy="664298"/>
            </a:xfrm>
            <a:prstGeom prst="bentConnector3">
              <a:avLst>
                <a:gd name="adj1" fmla="val 522"/>
              </a:avLst>
            </a:prstGeom>
            <a:ln w="19050">
              <a:solidFill>
                <a:srgbClr val="15608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9" name="Gráfico 618" descr="Marcador com preenchimento sólido">
              <a:extLst>
                <a:ext uri="{FF2B5EF4-FFF2-40B4-BE49-F238E27FC236}">
                  <a16:creationId xmlns:a16="http://schemas.microsoft.com/office/drawing/2014/main" id="{2CD2FB3A-EC16-6405-F984-1E85AAE35A8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12963" y="2612819"/>
              <a:ext cx="554617" cy="554617"/>
            </a:xfrm>
            <a:prstGeom prst="rect">
              <a:avLst/>
            </a:prstGeom>
          </p:spPr>
        </p:pic>
        <p:cxnSp>
          <p:nvCxnSpPr>
            <p:cNvPr id="620" name="Conector: Angulado 619">
              <a:extLst>
                <a:ext uri="{FF2B5EF4-FFF2-40B4-BE49-F238E27FC236}">
                  <a16:creationId xmlns:a16="http://schemas.microsoft.com/office/drawing/2014/main" id="{273F6A37-503A-32DC-3C30-8D2AC9352AD9}"/>
                </a:ext>
              </a:extLst>
            </p:cNvPr>
            <p:cNvCxnSpPr>
              <a:cxnSpLocks/>
              <a:endCxn id="573" idx="1"/>
            </p:cNvCxnSpPr>
            <p:nvPr/>
          </p:nvCxnSpPr>
          <p:spPr>
            <a:xfrm rot="16200000" flipH="1">
              <a:off x="8471113" y="3515047"/>
              <a:ext cx="1140024" cy="301708"/>
            </a:xfrm>
            <a:prstGeom prst="bentConnector2">
              <a:avLst/>
            </a:prstGeom>
            <a:ln w="19050">
              <a:solidFill>
                <a:srgbClr val="F3702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6" name="CaixaDeTexto 625">
            <a:extLst>
              <a:ext uri="{FF2B5EF4-FFF2-40B4-BE49-F238E27FC236}">
                <a16:creationId xmlns:a16="http://schemas.microsoft.com/office/drawing/2014/main" id="{8A59BC4C-2EDE-7BC3-965B-053EC3034B9E}"/>
              </a:ext>
            </a:extLst>
          </p:cNvPr>
          <p:cNvSpPr txBox="1"/>
          <p:nvPr/>
        </p:nvSpPr>
        <p:spPr>
          <a:xfrm>
            <a:off x="514255" y="2323610"/>
            <a:ext cx="2000343" cy="14388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148,44 MW</a:t>
            </a:r>
            <a:endParaRPr lang="pt-BR" sz="2000" b="1">
              <a:solidFill>
                <a:schemeClr val="bg1"/>
              </a:solidFill>
              <a:latin typeface="Montserrat" pitchFamily="2" charset="0"/>
            </a:endParaRPr>
          </a:p>
          <a:p>
            <a:pPr>
              <a:lnSpc>
                <a:spcPts val="1500"/>
              </a:lnSpc>
            </a:pP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Capacidade Instalada</a:t>
            </a:r>
          </a:p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sz="2000" b="1">
                <a:solidFill>
                  <a:schemeClr val="bg1"/>
                </a:solidFill>
                <a:latin typeface="Montserrat" pitchFamily="2" charset="0"/>
              </a:rPr>
              <a:t>3</a:t>
            </a:r>
            <a:r>
              <a:rPr lang="pt-BR" sz="2400" b="1">
                <a:solidFill>
                  <a:schemeClr val="bg1"/>
                </a:solidFill>
                <a:latin typeface="Montserrat" pitchFamily="2" charset="0"/>
              </a:rPr>
              <a:t> </a:t>
            </a: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Projetos Existentes</a:t>
            </a:r>
          </a:p>
        </p:txBody>
      </p:sp>
      <p:sp>
        <p:nvSpPr>
          <p:cNvPr id="627" name="Retângulo: Cantos Arredondados 626">
            <a:extLst>
              <a:ext uri="{FF2B5EF4-FFF2-40B4-BE49-F238E27FC236}">
                <a16:creationId xmlns:a16="http://schemas.microsoft.com/office/drawing/2014/main" id="{861C4793-EF2D-780D-F8CA-93B871436E04}"/>
              </a:ext>
            </a:extLst>
          </p:cNvPr>
          <p:cNvSpPr/>
          <p:nvPr/>
        </p:nvSpPr>
        <p:spPr>
          <a:xfrm>
            <a:off x="432492" y="3934509"/>
            <a:ext cx="2082106" cy="1888022"/>
          </a:xfrm>
          <a:prstGeom prst="roundRect">
            <a:avLst>
              <a:gd name="adj" fmla="val 15994"/>
            </a:avLst>
          </a:prstGeom>
          <a:solidFill>
            <a:srgbClr val="C2CD2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pt-BR">
                <a:solidFill>
                  <a:schemeClr val="tx1"/>
                </a:solidFill>
              </a:rPr>
            </a:br>
            <a:endParaRPr lang="pt-BR" sz="1200"/>
          </a:p>
        </p:txBody>
      </p:sp>
      <p:pic>
        <p:nvPicPr>
          <p:cNvPr id="628" name="Gráfico 627">
            <a:extLst>
              <a:ext uri="{FF2B5EF4-FFF2-40B4-BE49-F238E27FC236}">
                <a16:creationId xmlns:a16="http://schemas.microsoft.com/office/drawing/2014/main" id="{28960A1C-E7CA-E1C2-EDC9-72887B5A788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7400"/>
          <a:stretch>
            <a:fillRect/>
          </a:stretch>
        </p:blipFill>
        <p:spPr>
          <a:xfrm>
            <a:off x="1967344" y="4024416"/>
            <a:ext cx="416387" cy="429919"/>
          </a:xfrm>
          <a:prstGeom prst="rect">
            <a:avLst/>
          </a:prstGeom>
        </p:spPr>
      </p:pic>
      <p:sp>
        <p:nvSpPr>
          <p:cNvPr id="629" name="CaixaDeTexto 628">
            <a:extLst>
              <a:ext uri="{FF2B5EF4-FFF2-40B4-BE49-F238E27FC236}">
                <a16:creationId xmlns:a16="http://schemas.microsoft.com/office/drawing/2014/main" id="{34B0C77E-7604-A842-001F-D98D244F9363}"/>
              </a:ext>
            </a:extLst>
          </p:cNvPr>
          <p:cNvSpPr txBox="1"/>
          <p:nvPr/>
        </p:nvSpPr>
        <p:spPr>
          <a:xfrm>
            <a:off x="514255" y="4304086"/>
            <a:ext cx="2000343" cy="14388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967,65 MW</a:t>
            </a:r>
            <a:endParaRPr lang="pt-BR" sz="2000" b="1">
              <a:solidFill>
                <a:schemeClr val="bg1"/>
              </a:solidFill>
              <a:latin typeface="Montserrat" pitchFamily="2" charset="0"/>
            </a:endParaRPr>
          </a:p>
          <a:p>
            <a:pPr>
              <a:lnSpc>
                <a:spcPts val="1500"/>
              </a:lnSpc>
            </a:pP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Capacidade Instalada</a:t>
            </a:r>
          </a:p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sz="2000" b="1">
                <a:solidFill>
                  <a:schemeClr val="bg1"/>
                </a:solidFill>
                <a:latin typeface="Montserrat" pitchFamily="2" charset="0"/>
              </a:rPr>
              <a:t>4</a:t>
            </a:r>
            <a:r>
              <a:rPr lang="pt-BR" sz="2400" b="1">
                <a:solidFill>
                  <a:schemeClr val="bg1"/>
                </a:solidFill>
                <a:latin typeface="Montserrat" pitchFamily="2" charset="0"/>
              </a:rPr>
              <a:t> </a:t>
            </a: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Projetos </a:t>
            </a: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Novos</a:t>
            </a:r>
          </a:p>
        </p:txBody>
      </p:sp>
      <p:sp>
        <p:nvSpPr>
          <p:cNvPr id="630" name="Retângulo: Cantos Arredondados 629">
            <a:extLst>
              <a:ext uri="{FF2B5EF4-FFF2-40B4-BE49-F238E27FC236}">
                <a16:creationId xmlns:a16="http://schemas.microsoft.com/office/drawing/2014/main" id="{9352FA33-3E2C-3CC2-630B-58AB03DD9918}"/>
              </a:ext>
            </a:extLst>
          </p:cNvPr>
          <p:cNvSpPr/>
          <p:nvPr/>
        </p:nvSpPr>
        <p:spPr>
          <a:xfrm>
            <a:off x="3340777" y="1950112"/>
            <a:ext cx="2082106" cy="1888022"/>
          </a:xfrm>
          <a:prstGeom prst="roundRect">
            <a:avLst>
              <a:gd name="adj" fmla="val 15994"/>
            </a:avLst>
          </a:prstGeom>
          <a:solidFill>
            <a:srgbClr val="F3702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pt-BR">
                <a:solidFill>
                  <a:schemeClr val="tx1"/>
                </a:solidFill>
              </a:rPr>
            </a:br>
            <a:endParaRPr lang="pt-BR" sz="1200"/>
          </a:p>
        </p:txBody>
      </p:sp>
      <p:pic>
        <p:nvPicPr>
          <p:cNvPr id="631" name="Gráfico 630">
            <a:extLst>
              <a:ext uri="{FF2B5EF4-FFF2-40B4-BE49-F238E27FC236}">
                <a16:creationId xmlns:a16="http://schemas.microsoft.com/office/drawing/2014/main" id="{DC159AF2-C1BE-8630-A738-64BEC6FA62B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7400"/>
          <a:stretch>
            <a:fillRect/>
          </a:stretch>
        </p:blipFill>
        <p:spPr>
          <a:xfrm>
            <a:off x="4900304" y="1998204"/>
            <a:ext cx="416387" cy="429919"/>
          </a:xfrm>
          <a:prstGeom prst="rect">
            <a:avLst/>
          </a:prstGeom>
        </p:spPr>
      </p:pic>
      <p:sp>
        <p:nvSpPr>
          <p:cNvPr id="632" name="CaixaDeTexto 631">
            <a:extLst>
              <a:ext uri="{FF2B5EF4-FFF2-40B4-BE49-F238E27FC236}">
                <a16:creationId xmlns:a16="http://schemas.microsoft.com/office/drawing/2014/main" id="{115ED562-5A95-A569-AAE8-3466C066FCEF}"/>
              </a:ext>
            </a:extLst>
          </p:cNvPr>
          <p:cNvSpPr txBox="1"/>
          <p:nvPr/>
        </p:nvSpPr>
        <p:spPr>
          <a:xfrm>
            <a:off x="3447215" y="2277874"/>
            <a:ext cx="2000343" cy="14388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b="1">
                <a:solidFill>
                  <a:schemeClr val="bg1"/>
                </a:solidFill>
                <a:latin typeface="Montserrat" pitchFamily="2" charset="0"/>
              </a:rPr>
              <a:t>204 MW</a:t>
            </a:r>
            <a:endParaRPr lang="pt-BR" sz="2000" b="1">
              <a:solidFill>
                <a:schemeClr val="bg1"/>
              </a:solidFill>
              <a:latin typeface="Montserrat" pitchFamily="2" charset="0"/>
            </a:endParaRPr>
          </a:p>
          <a:p>
            <a:pPr>
              <a:lnSpc>
                <a:spcPts val="1500"/>
              </a:lnSpc>
            </a:pP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Capacidade Instalada</a:t>
            </a:r>
          </a:p>
          <a:p>
            <a:pPr>
              <a:lnSpc>
                <a:spcPts val="1500"/>
              </a:lnSpc>
            </a:pP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sz="2000" b="1">
                <a:solidFill>
                  <a:schemeClr val="bg1"/>
                </a:solidFill>
                <a:latin typeface="Montserrat" pitchFamily="2" charset="0"/>
              </a:rPr>
              <a:t>1</a:t>
            </a:r>
            <a:r>
              <a:rPr lang="pt-BR" sz="2400" b="1">
                <a:solidFill>
                  <a:schemeClr val="bg1"/>
                </a:solidFill>
                <a:latin typeface="Montserrat" pitchFamily="2" charset="0"/>
              </a:rPr>
              <a:t> </a:t>
            </a: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Projeto </a:t>
            </a:r>
            <a:br>
              <a:rPr lang="pt-BR" sz="1400">
                <a:solidFill>
                  <a:schemeClr val="bg1"/>
                </a:solidFill>
                <a:latin typeface="Montserrat" pitchFamily="2" charset="0"/>
              </a:rPr>
            </a:br>
            <a:r>
              <a:rPr lang="pt-BR" sz="1400">
                <a:solidFill>
                  <a:schemeClr val="bg1"/>
                </a:solidFill>
                <a:latin typeface="Montserrat" pitchFamily="2" charset="0"/>
              </a:rPr>
              <a:t>Leilão 21</a:t>
            </a:r>
          </a:p>
        </p:txBody>
      </p:sp>
      <p:sp>
        <p:nvSpPr>
          <p:cNvPr id="4" name="TextBox 52">
            <a:extLst>
              <a:ext uri="{FF2B5EF4-FFF2-40B4-BE49-F238E27FC236}">
                <a16:creationId xmlns:a16="http://schemas.microsoft.com/office/drawing/2014/main" id="{6019B9A0-CF95-57B4-DDB0-B5BFC35CCBE5}"/>
              </a:ext>
            </a:extLst>
          </p:cNvPr>
          <p:cNvSpPr txBox="1"/>
          <p:nvPr/>
        </p:nvSpPr>
        <p:spPr>
          <a:xfrm>
            <a:off x="446538" y="393211"/>
            <a:ext cx="47780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>
                <a:solidFill>
                  <a:schemeClr val="bg1"/>
                </a:solidFill>
                <a:latin typeface="DM Sans SemiBold" pitchFamily="2" charset="0"/>
              </a:rPr>
              <a:t>Mercado Térmico</a:t>
            </a:r>
            <a:endParaRPr lang="pt-BR" sz="4000">
              <a:solidFill>
                <a:schemeClr val="bg1"/>
              </a:solidFill>
              <a:latin typeface="DM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978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4E3C1-5B99-30D0-61CD-54589F6F5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4">
            <a:extLst>
              <a:ext uri="{FF2B5EF4-FFF2-40B4-BE49-F238E27FC236}">
                <a16:creationId xmlns:a16="http://schemas.microsoft.com/office/drawing/2014/main" id="{DB737F17-D976-CB79-A4F0-F11921026DB3}"/>
              </a:ext>
            </a:extLst>
          </p:cNvPr>
          <p:cNvSpPr/>
          <p:nvPr/>
        </p:nvSpPr>
        <p:spPr>
          <a:xfrm>
            <a:off x="5468394" y="0"/>
            <a:ext cx="6723606" cy="725303"/>
          </a:xfrm>
          <a:prstGeom prst="rect">
            <a:avLst/>
          </a:prstGeom>
          <a:gradFill>
            <a:gsLst>
              <a:gs pos="100000">
                <a:srgbClr val="1F1F4D"/>
              </a:gs>
              <a:gs pos="49000">
                <a:srgbClr val="19193F">
                  <a:alpha val="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0">
              <a:defRPr/>
            </a:pPr>
            <a:endParaRPr lang="pt-BR" sz="1600">
              <a:solidFill>
                <a:prstClr val="white"/>
              </a:solidFill>
              <a:latin typeface="Aptos" panose="020B0004020202020204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B9E1E558-AF31-2549-480F-E75AFE4E5A98}"/>
              </a:ext>
            </a:extLst>
          </p:cNvPr>
          <p:cNvSpPr/>
          <p:nvPr/>
        </p:nvSpPr>
        <p:spPr>
          <a:xfrm>
            <a:off x="531496" y="2316287"/>
            <a:ext cx="11129009" cy="3348840"/>
          </a:xfrm>
          <a:prstGeom prst="roundRect">
            <a:avLst>
              <a:gd name="adj" fmla="val 539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1561D5E-F099-1CEE-E3D7-88BAB8FDE3C2}"/>
              </a:ext>
            </a:extLst>
          </p:cNvPr>
          <p:cNvSpPr txBox="1"/>
          <p:nvPr/>
        </p:nvSpPr>
        <p:spPr>
          <a:xfrm>
            <a:off x="751999" y="453363"/>
            <a:ext cx="89388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>
                <a:solidFill>
                  <a:schemeClr val="bg1"/>
                </a:solidFill>
                <a:latin typeface="DM Sans SemiBold" pitchFamily="2" charset="0"/>
              </a:rPr>
              <a:t>Evolução Mercado Livre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8B844E9-F7B3-AEC8-59CE-F04F6C6BCA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528" y="176263"/>
            <a:ext cx="965200" cy="379645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A8F06DC4-569F-FE9E-47BB-68186DB112E0}"/>
              </a:ext>
            </a:extLst>
          </p:cNvPr>
          <p:cNvSpPr/>
          <p:nvPr/>
        </p:nvSpPr>
        <p:spPr>
          <a:xfrm>
            <a:off x="531495" y="1553057"/>
            <a:ext cx="11129009" cy="680181"/>
          </a:xfrm>
          <a:prstGeom prst="roundRect">
            <a:avLst>
              <a:gd name="adj" fmla="val 28586"/>
            </a:avLst>
          </a:prstGeom>
          <a:solidFill>
            <a:srgbClr val="006199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r>
              <a:rPr lang="pt-BR" sz="1600" b="1">
                <a:solidFill>
                  <a:prstClr val="white"/>
                </a:solidFill>
                <a:latin typeface="Montserrat"/>
              </a:rPr>
              <a:t>Aumento de 33% dos clientes no ML em 2026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7D52D53C-285C-D536-84BE-7A7F48094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94157" y="4868283"/>
            <a:ext cx="320746" cy="92891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24EAE336-0DC4-231A-F247-A63905CE81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5145" y="4858018"/>
            <a:ext cx="189807" cy="103156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27EA72EB-A537-FCB5-FB4D-B2B0B48D18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08" y="2233238"/>
            <a:ext cx="11663184" cy="374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46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1607E-81ED-FAFB-3D52-6C76FACB1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Agrupar 97">
            <a:extLst>
              <a:ext uri="{FF2B5EF4-FFF2-40B4-BE49-F238E27FC236}">
                <a16:creationId xmlns:a16="http://schemas.microsoft.com/office/drawing/2014/main" id="{10A8EDCF-16C4-87A6-FD09-BD4156026200}"/>
              </a:ext>
            </a:extLst>
          </p:cNvPr>
          <p:cNvGrpSpPr/>
          <p:nvPr/>
        </p:nvGrpSpPr>
        <p:grpSpPr>
          <a:xfrm>
            <a:off x="3090701" y="2404298"/>
            <a:ext cx="8553238" cy="4209549"/>
            <a:chOff x="326390" y="354222"/>
            <a:chExt cx="11539220" cy="5679123"/>
          </a:xfrm>
        </p:grpSpPr>
        <p:sp>
          <p:nvSpPr>
            <p:cNvPr id="7" name="Retângulo: Cantos Arredondados 6">
              <a:extLst>
                <a:ext uri="{FF2B5EF4-FFF2-40B4-BE49-F238E27FC236}">
                  <a16:creationId xmlns:a16="http://schemas.microsoft.com/office/drawing/2014/main" id="{33410531-B86D-70CD-3B7B-A3603930E2DB}"/>
                </a:ext>
              </a:extLst>
            </p:cNvPr>
            <p:cNvSpPr/>
            <p:nvPr/>
          </p:nvSpPr>
          <p:spPr>
            <a:xfrm>
              <a:off x="1016117" y="5670815"/>
              <a:ext cx="1616954" cy="362530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1</a:t>
              </a:r>
            </a:p>
          </p:txBody>
        </p:sp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B796CB7C-E52A-81AC-4A1D-C22CFB8B04A7}"/>
                </a:ext>
              </a:extLst>
            </p:cNvPr>
            <p:cNvSpPr/>
            <p:nvPr/>
          </p:nvSpPr>
          <p:spPr>
            <a:xfrm>
              <a:off x="2789048" y="5670813"/>
              <a:ext cx="1616954" cy="362530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2</a:t>
              </a:r>
            </a:p>
          </p:txBody>
        </p:sp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854836C4-2CF0-6C31-769D-D359963CA232}"/>
                </a:ext>
              </a:extLst>
            </p:cNvPr>
            <p:cNvSpPr/>
            <p:nvPr/>
          </p:nvSpPr>
          <p:spPr>
            <a:xfrm>
              <a:off x="4558402" y="5670813"/>
              <a:ext cx="1616954" cy="362530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3</a:t>
              </a:r>
            </a:p>
          </p:txBody>
        </p:sp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58E99FC5-4EC1-073C-6A9C-9B8BB4F2CD01}"/>
                </a:ext>
              </a:extLst>
            </p:cNvPr>
            <p:cNvSpPr/>
            <p:nvPr/>
          </p:nvSpPr>
          <p:spPr>
            <a:xfrm>
              <a:off x="6324527" y="5670813"/>
              <a:ext cx="1629378" cy="362531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4</a:t>
              </a:r>
            </a:p>
          </p:txBody>
        </p:sp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3619B841-FCEB-90ED-3A00-078D213C41A7}"/>
                </a:ext>
              </a:extLst>
            </p:cNvPr>
            <p:cNvSpPr/>
            <p:nvPr/>
          </p:nvSpPr>
          <p:spPr>
            <a:xfrm>
              <a:off x="8090652" y="5667639"/>
              <a:ext cx="1616954" cy="362530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5</a:t>
              </a:r>
            </a:p>
          </p:txBody>
        </p: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5EE247FE-869C-7C78-02BC-667ABD5085E3}"/>
                </a:ext>
              </a:extLst>
            </p:cNvPr>
            <p:cNvSpPr/>
            <p:nvPr/>
          </p:nvSpPr>
          <p:spPr>
            <a:xfrm>
              <a:off x="5246346" y="3614841"/>
              <a:ext cx="1980047" cy="994675"/>
            </a:xfrm>
            <a:prstGeom prst="roundRect">
              <a:avLst/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pic>
          <p:nvPicPr>
            <p:cNvPr id="17" name="Imagem 16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F9B35427-93F1-95E6-2246-852B52894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5953" y="3666045"/>
              <a:ext cx="1602078" cy="630151"/>
            </a:xfrm>
            <a:prstGeom prst="rect">
              <a:avLst/>
            </a:prstGeom>
          </p:spPr>
        </p:pic>
        <p:sp>
          <p:nvSpPr>
            <p:cNvPr id="5" name="Retângulo: Cantos Arredondados 4">
              <a:extLst>
                <a:ext uri="{FF2B5EF4-FFF2-40B4-BE49-F238E27FC236}">
                  <a16:creationId xmlns:a16="http://schemas.microsoft.com/office/drawing/2014/main" id="{293FFF37-CDEE-DE9E-9682-AF38D07948EE}"/>
                </a:ext>
              </a:extLst>
            </p:cNvPr>
            <p:cNvSpPr/>
            <p:nvPr/>
          </p:nvSpPr>
          <p:spPr>
            <a:xfrm>
              <a:off x="4673600" y="4315083"/>
              <a:ext cx="1488440" cy="447039"/>
            </a:xfrm>
            <a:prstGeom prst="roundRect">
              <a:avLst>
                <a:gd name="adj" fmla="val 32576"/>
              </a:avLst>
            </a:prstGeom>
            <a:solidFill>
              <a:srgbClr val="ADC9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>
                  <a:solidFill>
                    <a:srgbClr val="153668"/>
                  </a:solidFill>
                  <a:latin typeface="Montserrat Medium" pitchFamily="2" charset="0"/>
                </a:rPr>
                <a:t>CATIVO</a:t>
              </a:r>
            </a:p>
          </p:txBody>
        </p:sp>
        <p:sp>
          <p:nvSpPr>
            <p:cNvPr id="6" name="Retângulo: Cantos Arredondados 5">
              <a:extLst>
                <a:ext uri="{FF2B5EF4-FFF2-40B4-BE49-F238E27FC236}">
                  <a16:creationId xmlns:a16="http://schemas.microsoft.com/office/drawing/2014/main" id="{0715B60B-75A0-307D-4DF9-49A0D4B950EB}"/>
                </a:ext>
              </a:extLst>
            </p:cNvPr>
            <p:cNvSpPr/>
            <p:nvPr/>
          </p:nvSpPr>
          <p:spPr>
            <a:xfrm>
              <a:off x="6314440" y="4308896"/>
              <a:ext cx="1488440" cy="447039"/>
            </a:xfrm>
            <a:prstGeom prst="roundRect">
              <a:avLst>
                <a:gd name="adj" fmla="val 32576"/>
              </a:avLst>
            </a:prstGeom>
            <a:solidFill>
              <a:srgbClr val="ADC9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>
                  <a:solidFill>
                    <a:srgbClr val="153668"/>
                  </a:solidFill>
                  <a:latin typeface="Montserrat Medium" pitchFamily="2" charset="0"/>
                </a:rPr>
                <a:t>LIVRE</a:t>
              </a:r>
            </a:p>
          </p:txBody>
        </p:sp>
        <p:grpSp>
          <p:nvGrpSpPr>
            <p:cNvPr id="29" name="Agrupar 28">
              <a:extLst>
                <a:ext uri="{FF2B5EF4-FFF2-40B4-BE49-F238E27FC236}">
                  <a16:creationId xmlns:a16="http://schemas.microsoft.com/office/drawing/2014/main" id="{92080F91-6D84-67BC-E979-33ADB25E3E17}"/>
                </a:ext>
              </a:extLst>
            </p:cNvPr>
            <p:cNvGrpSpPr/>
            <p:nvPr/>
          </p:nvGrpSpPr>
          <p:grpSpPr>
            <a:xfrm>
              <a:off x="326390" y="3098046"/>
              <a:ext cx="11539219" cy="473747"/>
              <a:chOff x="1545133" y="3038120"/>
              <a:chExt cx="11539219" cy="473747"/>
            </a:xfrm>
          </p:grpSpPr>
          <p:sp>
            <p:nvSpPr>
              <p:cNvPr id="9" name="Retângulo: Cantos Arredondados 8">
                <a:extLst>
                  <a:ext uri="{FF2B5EF4-FFF2-40B4-BE49-F238E27FC236}">
                    <a16:creationId xmlns:a16="http://schemas.microsoft.com/office/drawing/2014/main" id="{0AB9B859-D692-EBA3-4263-222435E39CB6}"/>
                  </a:ext>
                </a:extLst>
              </p:cNvPr>
              <p:cNvSpPr/>
              <p:nvPr/>
            </p:nvSpPr>
            <p:spPr>
              <a:xfrm>
                <a:off x="1545133" y="3044508"/>
                <a:ext cx="966712" cy="462479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SÃO MATEUS</a:t>
                </a:r>
              </a:p>
            </p:txBody>
          </p:sp>
          <p:sp>
            <p:nvSpPr>
              <p:cNvPr id="12" name="Retângulo: Cantos Arredondados 11">
                <a:extLst>
                  <a:ext uri="{FF2B5EF4-FFF2-40B4-BE49-F238E27FC236}">
                    <a16:creationId xmlns:a16="http://schemas.microsoft.com/office/drawing/2014/main" id="{23B9D95E-5952-3ADA-BB87-F2FD1A6D75A5}"/>
                  </a:ext>
                </a:extLst>
              </p:cNvPr>
              <p:cNvSpPr/>
              <p:nvPr/>
            </p:nvSpPr>
            <p:spPr>
              <a:xfrm>
                <a:off x="2591505" y="3049386"/>
                <a:ext cx="986130" cy="462481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CACHOEIRO</a:t>
                </a:r>
              </a:p>
            </p:txBody>
          </p:sp>
          <p:sp>
            <p:nvSpPr>
              <p:cNvPr id="14" name="Retângulo: Cantos Arredondados 13">
                <a:extLst>
                  <a:ext uri="{FF2B5EF4-FFF2-40B4-BE49-F238E27FC236}">
                    <a16:creationId xmlns:a16="http://schemas.microsoft.com/office/drawing/2014/main" id="{A2A799F7-D54E-B672-69C7-A3BFE2AB4BAE}"/>
                  </a:ext>
                </a:extLst>
              </p:cNvPr>
              <p:cNvSpPr/>
              <p:nvPr/>
            </p:nvSpPr>
            <p:spPr>
              <a:xfrm>
                <a:off x="3658631" y="3044508"/>
                <a:ext cx="966712" cy="462481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ANCHIETA</a:t>
                </a:r>
              </a:p>
            </p:txBody>
          </p:sp>
          <p:sp>
            <p:nvSpPr>
              <p:cNvPr id="16" name="Retângulo: Cantos Arredondados 15">
                <a:extLst>
                  <a:ext uri="{FF2B5EF4-FFF2-40B4-BE49-F238E27FC236}">
                    <a16:creationId xmlns:a16="http://schemas.microsoft.com/office/drawing/2014/main" id="{AE00962D-6011-61A5-1DB7-85303CD91088}"/>
                  </a:ext>
                </a:extLst>
              </p:cNvPr>
              <p:cNvSpPr/>
              <p:nvPr/>
            </p:nvSpPr>
            <p:spPr>
              <a:xfrm>
                <a:off x="4715554" y="3049386"/>
                <a:ext cx="966712" cy="462477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UTE</a:t>
                </a:r>
              </a:p>
            </p:txBody>
          </p:sp>
          <p:sp>
            <p:nvSpPr>
              <p:cNvPr id="22" name="Retângulo: Cantos Arredondados 21">
                <a:extLst>
                  <a:ext uri="{FF2B5EF4-FFF2-40B4-BE49-F238E27FC236}">
                    <a16:creationId xmlns:a16="http://schemas.microsoft.com/office/drawing/2014/main" id="{A2652FA4-EF84-4805-1E75-C567B120A7AD}"/>
                  </a:ext>
                </a:extLst>
              </p:cNvPr>
              <p:cNvSpPr/>
              <p:nvPr/>
            </p:nvSpPr>
            <p:spPr>
              <a:xfrm>
                <a:off x="5777145" y="3042997"/>
                <a:ext cx="966712" cy="462480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LINHARES</a:t>
                </a:r>
              </a:p>
            </p:txBody>
          </p:sp>
          <p:sp>
            <p:nvSpPr>
              <p:cNvPr id="23" name="Retângulo: Cantos Arredondados 22">
                <a:extLst>
                  <a:ext uri="{FF2B5EF4-FFF2-40B4-BE49-F238E27FC236}">
                    <a16:creationId xmlns:a16="http://schemas.microsoft.com/office/drawing/2014/main" id="{333D366B-2E6D-7004-BBE4-FFA7DDFA57B3}"/>
                  </a:ext>
                </a:extLst>
              </p:cNvPr>
              <p:cNvSpPr/>
              <p:nvPr/>
            </p:nvSpPr>
            <p:spPr>
              <a:xfrm>
                <a:off x="6834068" y="3047878"/>
                <a:ext cx="966712" cy="462480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VIANA</a:t>
                </a:r>
              </a:p>
            </p:txBody>
          </p:sp>
          <p:sp>
            <p:nvSpPr>
              <p:cNvPr id="24" name="Retângulo: Cantos Arredondados 23">
                <a:extLst>
                  <a:ext uri="{FF2B5EF4-FFF2-40B4-BE49-F238E27FC236}">
                    <a16:creationId xmlns:a16="http://schemas.microsoft.com/office/drawing/2014/main" id="{FC28EBA5-74BD-C86C-2B7A-CA038E51491A}"/>
                  </a:ext>
                </a:extLst>
              </p:cNvPr>
              <p:cNvSpPr/>
              <p:nvPr/>
            </p:nvSpPr>
            <p:spPr>
              <a:xfrm>
                <a:off x="7890643" y="3042997"/>
                <a:ext cx="966712" cy="462480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VITÓRIA</a:t>
                </a:r>
              </a:p>
            </p:txBody>
          </p:sp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F2AE6378-7014-8E48-AD17-779F0E2090E0}"/>
                  </a:ext>
                </a:extLst>
              </p:cNvPr>
              <p:cNvSpPr/>
              <p:nvPr/>
            </p:nvSpPr>
            <p:spPr>
              <a:xfrm>
                <a:off x="8947566" y="3047878"/>
                <a:ext cx="966712" cy="462480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VALE</a:t>
                </a:r>
              </a:p>
            </p:txBody>
          </p:sp>
          <p:sp>
            <p:nvSpPr>
              <p:cNvPr id="26" name="Retângulo: Cantos Arredondados 25">
                <a:extLst>
                  <a:ext uri="{FF2B5EF4-FFF2-40B4-BE49-F238E27FC236}">
                    <a16:creationId xmlns:a16="http://schemas.microsoft.com/office/drawing/2014/main" id="{2F721E84-C05B-2B0B-449B-C76879342346}"/>
                  </a:ext>
                </a:extLst>
              </p:cNvPr>
              <p:cNvSpPr/>
              <p:nvPr/>
            </p:nvSpPr>
            <p:spPr>
              <a:xfrm>
                <a:off x="10004140" y="3042997"/>
                <a:ext cx="966712" cy="462480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VB-10</a:t>
                </a:r>
              </a:p>
            </p:txBody>
          </p:sp>
          <p:sp>
            <p:nvSpPr>
              <p:cNvPr id="27" name="Retângulo: Cantos Arredondados 26">
                <a:extLst>
                  <a:ext uri="{FF2B5EF4-FFF2-40B4-BE49-F238E27FC236}">
                    <a16:creationId xmlns:a16="http://schemas.microsoft.com/office/drawing/2014/main" id="{A0AEEC87-DA9B-84A2-46AD-B35C24B913D9}"/>
                  </a:ext>
                </a:extLst>
              </p:cNvPr>
              <p:cNvSpPr/>
              <p:nvPr/>
            </p:nvSpPr>
            <p:spPr>
              <a:xfrm>
                <a:off x="11060715" y="3038120"/>
                <a:ext cx="966712" cy="462479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ARACRUZ</a:t>
                </a:r>
              </a:p>
            </p:txBody>
          </p:sp>
          <p:sp>
            <p:nvSpPr>
              <p:cNvPr id="28" name="Retângulo: Cantos Arredondados 27">
                <a:extLst>
                  <a:ext uri="{FF2B5EF4-FFF2-40B4-BE49-F238E27FC236}">
                    <a16:creationId xmlns:a16="http://schemas.microsoft.com/office/drawing/2014/main" id="{8CB2CE1D-D3EF-ACDD-5983-16BA8E43D2BB}"/>
                  </a:ext>
                </a:extLst>
              </p:cNvPr>
              <p:cNvSpPr/>
              <p:nvPr/>
            </p:nvSpPr>
            <p:spPr>
              <a:xfrm>
                <a:off x="12117640" y="3042998"/>
                <a:ext cx="966712" cy="462482"/>
              </a:xfrm>
              <a:prstGeom prst="roundRect">
                <a:avLst/>
              </a:prstGeom>
              <a:noFill/>
              <a:ln>
                <a:solidFill>
                  <a:srgbClr val="15366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600">
                    <a:solidFill>
                      <a:srgbClr val="153668"/>
                    </a:solidFill>
                    <a:latin typeface="Montserrat Medium" pitchFamily="2" charset="0"/>
                  </a:rPr>
                  <a:t>PE BARRA DO RIACHO</a:t>
                </a:r>
              </a:p>
            </p:txBody>
          </p:sp>
        </p:grp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BFE65B04-6EB7-B3A2-E4A1-2A7CDE7FC772}"/>
                </a:ext>
              </a:extLst>
            </p:cNvPr>
            <p:cNvSpPr/>
            <p:nvPr/>
          </p:nvSpPr>
          <p:spPr>
            <a:xfrm>
              <a:off x="326390" y="2569011"/>
              <a:ext cx="6255300" cy="462479"/>
            </a:xfrm>
            <a:prstGeom prst="roundRect">
              <a:avLst/>
            </a:prstGeom>
            <a:solidFill>
              <a:srgbClr val="ADC9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>
                  <a:solidFill>
                    <a:srgbClr val="153668"/>
                  </a:solidFill>
                  <a:latin typeface="Montserrat Medium" pitchFamily="2" charset="0"/>
                </a:rPr>
                <a:t>ZONA 1</a:t>
              </a:r>
            </a:p>
          </p:txBody>
        </p:sp>
        <p:sp>
          <p:nvSpPr>
            <p:cNvPr id="32" name="Retângulo: Cantos Arredondados 31">
              <a:extLst>
                <a:ext uri="{FF2B5EF4-FFF2-40B4-BE49-F238E27FC236}">
                  <a16:creationId xmlns:a16="http://schemas.microsoft.com/office/drawing/2014/main" id="{259012E1-C81F-AC1B-6138-0226F369A5ED}"/>
                </a:ext>
              </a:extLst>
            </p:cNvPr>
            <p:cNvSpPr/>
            <p:nvPr/>
          </p:nvSpPr>
          <p:spPr>
            <a:xfrm>
              <a:off x="6645798" y="2569011"/>
              <a:ext cx="2049738" cy="462479"/>
            </a:xfrm>
            <a:prstGeom prst="roundRect">
              <a:avLst/>
            </a:prstGeom>
            <a:solidFill>
              <a:srgbClr val="ADC9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>
                  <a:solidFill>
                    <a:srgbClr val="153668"/>
                  </a:solidFill>
                  <a:latin typeface="Montserrat Medium" pitchFamily="2" charset="0"/>
                </a:rPr>
                <a:t>ZONA 2</a:t>
              </a:r>
            </a:p>
          </p:txBody>
        </p:sp>
        <p:sp>
          <p:nvSpPr>
            <p:cNvPr id="33" name="Retângulo: Cantos Arredondados 32">
              <a:extLst>
                <a:ext uri="{FF2B5EF4-FFF2-40B4-BE49-F238E27FC236}">
                  <a16:creationId xmlns:a16="http://schemas.microsoft.com/office/drawing/2014/main" id="{ACD657C6-7F23-623E-E872-DD7E4D7E4E63}"/>
                </a:ext>
              </a:extLst>
            </p:cNvPr>
            <p:cNvSpPr/>
            <p:nvPr/>
          </p:nvSpPr>
          <p:spPr>
            <a:xfrm>
              <a:off x="8785397" y="2569011"/>
              <a:ext cx="3080211" cy="462479"/>
            </a:xfrm>
            <a:prstGeom prst="roundRect">
              <a:avLst/>
            </a:prstGeom>
            <a:solidFill>
              <a:srgbClr val="ADC91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>
                  <a:solidFill>
                    <a:srgbClr val="153668"/>
                  </a:solidFill>
                  <a:latin typeface="Montserrat Medium" pitchFamily="2" charset="0"/>
                </a:rPr>
                <a:t>ZONA 3</a:t>
              </a:r>
            </a:p>
          </p:txBody>
        </p:sp>
        <p:sp>
          <p:nvSpPr>
            <p:cNvPr id="37" name="Retângulo: Cantos Arredondados 36">
              <a:extLst>
                <a:ext uri="{FF2B5EF4-FFF2-40B4-BE49-F238E27FC236}">
                  <a16:creationId xmlns:a16="http://schemas.microsoft.com/office/drawing/2014/main" id="{FE0DB226-3E07-F38C-2C55-9383379A4EFA}"/>
                </a:ext>
              </a:extLst>
            </p:cNvPr>
            <p:cNvSpPr/>
            <p:nvPr/>
          </p:nvSpPr>
          <p:spPr>
            <a:xfrm>
              <a:off x="5123431" y="1472330"/>
              <a:ext cx="1980047" cy="820023"/>
            </a:xfrm>
            <a:prstGeom prst="roundRect">
              <a:avLst/>
            </a:prstGeom>
            <a:solidFill>
              <a:srgbClr val="00AD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pic>
          <p:nvPicPr>
            <p:cNvPr id="38" name="Imagem 37">
              <a:extLst>
                <a:ext uri="{FF2B5EF4-FFF2-40B4-BE49-F238E27FC236}">
                  <a16:creationId xmlns:a16="http://schemas.microsoft.com/office/drawing/2014/main" id="{5360B6D2-C267-94B1-3989-541050A68D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46287" y="1613140"/>
              <a:ext cx="1180706" cy="538402"/>
            </a:xfrm>
            <a:prstGeom prst="rect">
              <a:avLst/>
            </a:prstGeom>
          </p:spPr>
        </p:pic>
        <p:sp>
          <p:nvSpPr>
            <p:cNvPr id="56" name="Retângulo: Cantos Arredondados 55">
              <a:extLst>
                <a:ext uri="{FF2B5EF4-FFF2-40B4-BE49-F238E27FC236}">
                  <a16:creationId xmlns:a16="http://schemas.microsoft.com/office/drawing/2014/main" id="{94D65089-E460-85C7-30D7-5A25219E049D}"/>
                </a:ext>
              </a:extLst>
            </p:cNvPr>
            <p:cNvSpPr/>
            <p:nvPr/>
          </p:nvSpPr>
          <p:spPr>
            <a:xfrm>
              <a:off x="9853200" y="5667639"/>
              <a:ext cx="1616954" cy="362530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6</a:t>
              </a:r>
            </a:p>
          </p:txBody>
        </p:sp>
        <p:grpSp>
          <p:nvGrpSpPr>
            <p:cNvPr id="67" name="Agrupar 66">
              <a:extLst>
                <a:ext uri="{FF2B5EF4-FFF2-40B4-BE49-F238E27FC236}">
                  <a16:creationId xmlns:a16="http://schemas.microsoft.com/office/drawing/2014/main" id="{717A8DC9-AA35-B3D1-8E80-A87EBFF2FCAD}"/>
                </a:ext>
              </a:extLst>
            </p:cNvPr>
            <p:cNvGrpSpPr/>
            <p:nvPr/>
          </p:nvGrpSpPr>
          <p:grpSpPr>
            <a:xfrm>
              <a:off x="392431" y="354222"/>
              <a:ext cx="11473179" cy="776178"/>
              <a:chOff x="392430" y="354222"/>
              <a:chExt cx="7312223" cy="494683"/>
            </a:xfrm>
          </p:grpSpPr>
          <p:grpSp>
            <p:nvGrpSpPr>
              <p:cNvPr id="40" name="Agrupar 39">
                <a:extLst>
                  <a:ext uri="{FF2B5EF4-FFF2-40B4-BE49-F238E27FC236}">
                    <a16:creationId xmlns:a16="http://schemas.microsoft.com/office/drawing/2014/main" id="{D1A02242-8A44-75E8-A563-E452E74F94EE}"/>
                  </a:ext>
                </a:extLst>
              </p:cNvPr>
              <p:cNvGrpSpPr/>
              <p:nvPr/>
            </p:nvGrpSpPr>
            <p:grpSpPr>
              <a:xfrm>
                <a:off x="392430" y="369061"/>
                <a:ext cx="7312223" cy="468866"/>
                <a:chOff x="1545133" y="2672913"/>
                <a:chExt cx="7312223" cy="468866"/>
              </a:xfrm>
            </p:grpSpPr>
            <p:sp>
              <p:nvSpPr>
                <p:cNvPr id="41" name="Retângulo: Cantos Arredondados 40">
                  <a:extLst>
                    <a:ext uri="{FF2B5EF4-FFF2-40B4-BE49-F238E27FC236}">
                      <a16:creationId xmlns:a16="http://schemas.microsoft.com/office/drawing/2014/main" id="{66BA8D3F-FE4D-F0B1-FB1A-677A72063744}"/>
                    </a:ext>
                  </a:extLst>
                </p:cNvPr>
                <p:cNvSpPr/>
                <p:nvPr/>
              </p:nvSpPr>
              <p:spPr>
                <a:xfrm>
                  <a:off x="1545133" y="2674421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2" name="Retângulo: Cantos Arredondados 41">
                  <a:extLst>
                    <a:ext uri="{FF2B5EF4-FFF2-40B4-BE49-F238E27FC236}">
                      <a16:creationId xmlns:a16="http://schemas.microsoft.com/office/drawing/2014/main" id="{212EDE7D-6A6F-712E-9D84-D8D9A617CBEA}"/>
                    </a:ext>
                  </a:extLst>
                </p:cNvPr>
                <p:cNvSpPr/>
                <p:nvPr/>
              </p:nvSpPr>
              <p:spPr>
                <a:xfrm>
                  <a:off x="2602056" y="2679300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3" name="Retângulo: Cantos Arredondados 42">
                  <a:extLst>
                    <a:ext uri="{FF2B5EF4-FFF2-40B4-BE49-F238E27FC236}">
                      <a16:creationId xmlns:a16="http://schemas.microsoft.com/office/drawing/2014/main" id="{C4265D27-D41C-3C98-F812-9C2DC5C81C75}"/>
                    </a:ext>
                  </a:extLst>
                </p:cNvPr>
                <p:cNvSpPr/>
                <p:nvPr/>
              </p:nvSpPr>
              <p:spPr>
                <a:xfrm>
                  <a:off x="3658631" y="2674421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4" name="Retângulo: Cantos Arredondados 43">
                  <a:extLst>
                    <a:ext uri="{FF2B5EF4-FFF2-40B4-BE49-F238E27FC236}">
                      <a16:creationId xmlns:a16="http://schemas.microsoft.com/office/drawing/2014/main" id="{D8E6336F-3FED-409D-29D9-24F2A244CF7D}"/>
                    </a:ext>
                  </a:extLst>
                </p:cNvPr>
                <p:cNvSpPr/>
                <p:nvPr/>
              </p:nvSpPr>
              <p:spPr>
                <a:xfrm>
                  <a:off x="4715554" y="2679300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5" name="Retângulo: Cantos Arredondados 44">
                  <a:extLst>
                    <a:ext uri="{FF2B5EF4-FFF2-40B4-BE49-F238E27FC236}">
                      <a16:creationId xmlns:a16="http://schemas.microsoft.com/office/drawing/2014/main" id="{13C52D54-3834-814E-A030-16592971AB72}"/>
                    </a:ext>
                  </a:extLst>
                </p:cNvPr>
                <p:cNvSpPr/>
                <p:nvPr/>
              </p:nvSpPr>
              <p:spPr>
                <a:xfrm>
                  <a:off x="5777145" y="2672913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6" name="Retângulo: Cantos Arredondados 45">
                  <a:extLst>
                    <a:ext uri="{FF2B5EF4-FFF2-40B4-BE49-F238E27FC236}">
                      <a16:creationId xmlns:a16="http://schemas.microsoft.com/office/drawing/2014/main" id="{D6542C5A-A09B-E443-3391-A5B45E09F5DC}"/>
                    </a:ext>
                  </a:extLst>
                </p:cNvPr>
                <p:cNvSpPr/>
                <p:nvPr/>
              </p:nvSpPr>
              <p:spPr>
                <a:xfrm>
                  <a:off x="6834068" y="2677792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  <p:sp>
              <p:nvSpPr>
                <p:cNvPr id="47" name="Retângulo: Cantos Arredondados 46">
                  <a:extLst>
                    <a:ext uri="{FF2B5EF4-FFF2-40B4-BE49-F238E27FC236}">
                      <a16:creationId xmlns:a16="http://schemas.microsoft.com/office/drawing/2014/main" id="{5E897722-73E0-5B2C-FB1D-A5ED8168FF81}"/>
                    </a:ext>
                  </a:extLst>
                </p:cNvPr>
                <p:cNvSpPr/>
                <p:nvPr/>
              </p:nvSpPr>
              <p:spPr>
                <a:xfrm>
                  <a:off x="7890643" y="2672913"/>
                  <a:ext cx="966713" cy="462479"/>
                </a:xfrm>
                <a:prstGeom prst="roundRect">
                  <a:avLst/>
                </a:prstGeom>
                <a:noFill/>
                <a:ln>
                  <a:solidFill>
                    <a:srgbClr val="15366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600">
                    <a:solidFill>
                      <a:srgbClr val="153668"/>
                    </a:solidFill>
                    <a:latin typeface="Montserrat Medium" pitchFamily="2" charset="0"/>
                  </a:endParaRPr>
                </a:p>
              </p:txBody>
            </p:sp>
          </p:grpSp>
          <p:pic>
            <p:nvPicPr>
              <p:cNvPr id="53" name="Imagem 52">
                <a:extLst>
                  <a:ext uri="{FF2B5EF4-FFF2-40B4-BE49-F238E27FC236}">
                    <a16:creationId xmlns:a16="http://schemas.microsoft.com/office/drawing/2014/main" id="{2C892E67-0EE0-7A5F-0FFF-9E213BEA9F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5553" y="548865"/>
                <a:ext cx="911721" cy="139059"/>
              </a:xfrm>
              <a:prstGeom prst="rect">
                <a:avLst/>
              </a:prstGeom>
            </p:spPr>
          </p:pic>
          <p:pic>
            <p:nvPicPr>
              <p:cNvPr id="55" name="Imagem 54" descr="Logotipo&#10;&#10;Descrição gerada automaticamente">
                <a:extLst>
                  <a:ext uri="{FF2B5EF4-FFF2-40B4-BE49-F238E27FC236}">
                    <a16:creationId xmlns:a16="http://schemas.microsoft.com/office/drawing/2014/main" id="{90C436C9-E6CB-5897-2B3C-04391A3B56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2231" y="354222"/>
                <a:ext cx="1041294" cy="462478"/>
              </a:xfrm>
              <a:prstGeom prst="rect">
                <a:avLst/>
              </a:prstGeom>
            </p:spPr>
          </p:pic>
          <p:pic>
            <p:nvPicPr>
              <p:cNvPr id="58" name="Imagem 57" descr="Ícone&#10;&#10;Descrição gerada automaticamente com confiança média">
                <a:extLst>
                  <a:ext uri="{FF2B5EF4-FFF2-40B4-BE49-F238E27FC236}">
                    <a16:creationId xmlns:a16="http://schemas.microsoft.com/office/drawing/2014/main" id="{B484A6B6-EC84-8F3C-24E4-A3E86FBF6D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64298" y="487747"/>
                <a:ext cx="709375" cy="227607"/>
              </a:xfrm>
              <a:prstGeom prst="rect">
                <a:avLst/>
              </a:prstGeom>
            </p:spPr>
          </p:pic>
          <p:pic>
            <p:nvPicPr>
              <p:cNvPr id="60" name="Imagem 59" descr="Logotipo, Ícone&#10;&#10;Descrição gerada automaticamente">
                <a:extLst>
                  <a:ext uri="{FF2B5EF4-FFF2-40B4-BE49-F238E27FC236}">
                    <a16:creationId xmlns:a16="http://schemas.microsoft.com/office/drawing/2014/main" id="{09C9B2C6-E1D1-CA4F-DF6A-FE7B7ED232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1680" y="354222"/>
                <a:ext cx="879436" cy="494683"/>
              </a:xfrm>
              <a:prstGeom prst="rect">
                <a:avLst/>
              </a:prstGeom>
            </p:spPr>
          </p:pic>
          <p:pic>
            <p:nvPicPr>
              <p:cNvPr id="62" name="Imagem 61" descr="Logotipo, nome da empresa&#10;&#10;Descrição gerada automaticamente">
                <a:extLst>
                  <a:ext uri="{FF2B5EF4-FFF2-40B4-BE49-F238E27FC236}">
                    <a16:creationId xmlns:a16="http://schemas.microsoft.com/office/drawing/2014/main" id="{18A1CD95-A663-E7E4-BA81-037A918D68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72674" y="402719"/>
                <a:ext cx="701513" cy="394601"/>
              </a:xfrm>
              <a:prstGeom prst="rect">
                <a:avLst/>
              </a:prstGeom>
            </p:spPr>
          </p:pic>
          <p:pic>
            <p:nvPicPr>
              <p:cNvPr id="64" name="Imagem 63">
                <a:extLst>
                  <a:ext uri="{FF2B5EF4-FFF2-40B4-BE49-F238E27FC236}">
                    <a16:creationId xmlns:a16="http://schemas.microsoft.com/office/drawing/2014/main" id="{63E6B487-973E-0B78-50E6-A0804A3C10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699090" y="475487"/>
                <a:ext cx="930914" cy="239867"/>
              </a:xfrm>
              <a:prstGeom prst="rect">
                <a:avLst/>
              </a:prstGeom>
            </p:spPr>
          </p:pic>
        </p:grp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43A75260-0344-0AB7-9478-FC16893DE8EF}"/>
              </a:ext>
            </a:extLst>
          </p:cNvPr>
          <p:cNvGrpSpPr/>
          <p:nvPr/>
        </p:nvGrpSpPr>
        <p:grpSpPr>
          <a:xfrm>
            <a:off x="3768409" y="2946604"/>
            <a:ext cx="7361246" cy="3397583"/>
            <a:chOff x="3768409" y="2955071"/>
            <a:chExt cx="7361246" cy="3397583"/>
          </a:xfrm>
        </p:grpSpPr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90B7D58A-6822-FCB5-1035-2FF19030AD0C}"/>
                </a:ext>
              </a:extLst>
            </p:cNvPr>
            <p:cNvSpPr/>
            <p:nvPr/>
          </p:nvSpPr>
          <p:spPr>
            <a:xfrm>
              <a:off x="4342450" y="5576340"/>
              <a:ext cx="2555805" cy="762194"/>
            </a:xfrm>
            <a:custGeom>
              <a:avLst/>
              <a:gdLst>
                <a:gd name="connsiteX0" fmla="*/ 3448050 w 3448050"/>
                <a:gd name="connsiteY0" fmla="*/ 0 h 1092200"/>
                <a:gd name="connsiteX1" fmla="*/ 1695450 w 3448050"/>
                <a:gd name="connsiteY1" fmla="*/ 635000 h 1092200"/>
                <a:gd name="connsiteX2" fmla="*/ 0 w 3448050"/>
                <a:gd name="connsiteY2" fmla="*/ 1092200 h 109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48050" h="1092200">
                  <a:moveTo>
                    <a:pt x="3448050" y="0"/>
                  </a:moveTo>
                  <a:cubicBezTo>
                    <a:pt x="2859087" y="226483"/>
                    <a:pt x="2270125" y="452967"/>
                    <a:pt x="1695450" y="635000"/>
                  </a:cubicBezTo>
                  <a:cubicBezTo>
                    <a:pt x="1120775" y="817033"/>
                    <a:pt x="316442" y="1009650"/>
                    <a:pt x="0" y="10922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6B448F55-73FD-98B3-552D-DE99BB3C1D9A}"/>
                </a:ext>
              </a:extLst>
            </p:cNvPr>
            <p:cNvSpPr/>
            <p:nvPr/>
          </p:nvSpPr>
          <p:spPr>
            <a:xfrm>
              <a:off x="4337743" y="5624769"/>
              <a:ext cx="3817234" cy="713764"/>
            </a:xfrm>
            <a:custGeom>
              <a:avLst/>
              <a:gdLst>
                <a:gd name="connsiteX0" fmla="*/ 5149850 w 5149850"/>
                <a:gd name="connsiteY0" fmla="*/ 0 h 1098550"/>
                <a:gd name="connsiteX1" fmla="*/ 2273300 w 5149850"/>
                <a:gd name="connsiteY1" fmla="*/ 692150 h 1098550"/>
                <a:gd name="connsiteX2" fmla="*/ 0 w 5149850"/>
                <a:gd name="connsiteY2" fmla="*/ 1098550 h 109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9850" h="1098550">
                  <a:moveTo>
                    <a:pt x="5149850" y="0"/>
                  </a:moveTo>
                  <a:cubicBezTo>
                    <a:pt x="4140729" y="254529"/>
                    <a:pt x="3131608" y="509058"/>
                    <a:pt x="2273300" y="692150"/>
                  </a:cubicBezTo>
                  <a:cubicBezTo>
                    <a:pt x="1414992" y="875242"/>
                    <a:pt x="352425" y="1024467"/>
                    <a:pt x="0" y="10985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9A08EFF9-B8E5-DE3D-EA0D-BE11C1B6F13E}"/>
                </a:ext>
              </a:extLst>
            </p:cNvPr>
            <p:cNvSpPr/>
            <p:nvPr/>
          </p:nvSpPr>
          <p:spPr>
            <a:xfrm>
              <a:off x="5505036" y="5609517"/>
              <a:ext cx="1379099" cy="733723"/>
            </a:xfrm>
            <a:custGeom>
              <a:avLst/>
              <a:gdLst>
                <a:gd name="connsiteX0" fmla="*/ 1860550 w 1860550"/>
                <a:gd name="connsiteY0" fmla="*/ 0 h 1092200"/>
                <a:gd name="connsiteX1" fmla="*/ 908050 w 1860550"/>
                <a:gd name="connsiteY1" fmla="*/ 723900 h 1092200"/>
                <a:gd name="connsiteX2" fmla="*/ 0 w 1860550"/>
                <a:gd name="connsiteY2" fmla="*/ 1092200 h 109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60550" h="1092200">
                  <a:moveTo>
                    <a:pt x="1860550" y="0"/>
                  </a:moveTo>
                  <a:cubicBezTo>
                    <a:pt x="1539346" y="270933"/>
                    <a:pt x="1218142" y="541867"/>
                    <a:pt x="908050" y="723900"/>
                  </a:cubicBezTo>
                  <a:cubicBezTo>
                    <a:pt x="597958" y="905933"/>
                    <a:pt x="134408" y="1012825"/>
                    <a:pt x="0" y="10922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E97A958B-3CEC-F06B-2067-181587ECB497}"/>
                </a:ext>
              </a:extLst>
            </p:cNvPr>
            <p:cNvSpPr/>
            <p:nvPr/>
          </p:nvSpPr>
          <p:spPr>
            <a:xfrm>
              <a:off x="5519156" y="5610823"/>
              <a:ext cx="2631115" cy="723004"/>
            </a:xfrm>
            <a:custGeom>
              <a:avLst/>
              <a:gdLst>
                <a:gd name="connsiteX0" fmla="*/ 3549650 w 3549650"/>
                <a:gd name="connsiteY0" fmla="*/ 0 h 1073150"/>
                <a:gd name="connsiteX1" fmla="*/ 1905000 w 3549650"/>
                <a:gd name="connsiteY1" fmla="*/ 723900 h 1073150"/>
                <a:gd name="connsiteX2" fmla="*/ 0 w 3549650"/>
                <a:gd name="connsiteY2" fmla="*/ 1073150 h 107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9650" h="1073150">
                  <a:moveTo>
                    <a:pt x="3549650" y="0"/>
                  </a:moveTo>
                  <a:cubicBezTo>
                    <a:pt x="3023129" y="272521"/>
                    <a:pt x="2496608" y="545042"/>
                    <a:pt x="1905000" y="723900"/>
                  </a:cubicBezTo>
                  <a:cubicBezTo>
                    <a:pt x="1313392" y="902758"/>
                    <a:pt x="341842" y="1012825"/>
                    <a:pt x="0" y="10731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F1BDFB4A-663D-9998-EACD-30AE1B0C7F4B}"/>
                </a:ext>
              </a:extLst>
            </p:cNvPr>
            <p:cNvSpPr/>
            <p:nvPr/>
          </p:nvSpPr>
          <p:spPr>
            <a:xfrm>
              <a:off x="6688852" y="5645128"/>
              <a:ext cx="204696" cy="693405"/>
            </a:xfrm>
            <a:custGeom>
              <a:avLst/>
              <a:gdLst>
                <a:gd name="connsiteX0" fmla="*/ 276157 w 276157"/>
                <a:gd name="connsiteY0" fmla="*/ 0 h 1092200"/>
                <a:gd name="connsiteX1" fmla="*/ 9457 w 276157"/>
                <a:gd name="connsiteY1" fmla="*/ 596900 h 1092200"/>
                <a:gd name="connsiteX2" fmla="*/ 85657 w 276157"/>
                <a:gd name="connsiteY2" fmla="*/ 1092200 h 109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157" h="1092200">
                  <a:moveTo>
                    <a:pt x="276157" y="0"/>
                  </a:moveTo>
                  <a:cubicBezTo>
                    <a:pt x="158682" y="207433"/>
                    <a:pt x="41207" y="414867"/>
                    <a:pt x="9457" y="596900"/>
                  </a:cubicBezTo>
                  <a:cubicBezTo>
                    <a:pt x="-22293" y="778933"/>
                    <a:pt x="31682" y="935566"/>
                    <a:pt x="85657" y="10922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B19B3E49-DFAE-D7DF-0A78-CFA81B871E13}"/>
                </a:ext>
              </a:extLst>
            </p:cNvPr>
            <p:cNvSpPr/>
            <p:nvPr/>
          </p:nvSpPr>
          <p:spPr>
            <a:xfrm>
              <a:off x="6775878" y="5614223"/>
              <a:ext cx="1369686" cy="733724"/>
            </a:xfrm>
            <a:custGeom>
              <a:avLst/>
              <a:gdLst>
                <a:gd name="connsiteX0" fmla="*/ 1847850 w 1847850"/>
                <a:gd name="connsiteY0" fmla="*/ 0 h 1111250"/>
                <a:gd name="connsiteX1" fmla="*/ 831850 w 1847850"/>
                <a:gd name="connsiteY1" fmla="*/ 762000 h 1111250"/>
                <a:gd name="connsiteX2" fmla="*/ 0 w 1847850"/>
                <a:gd name="connsiteY2" fmla="*/ 1111250 h 111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7850" h="1111250">
                  <a:moveTo>
                    <a:pt x="1847850" y="0"/>
                  </a:moveTo>
                  <a:cubicBezTo>
                    <a:pt x="1493837" y="288396"/>
                    <a:pt x="1139825" y="576792"/>
                    <a:pt x="831850" y="762000"/>
                  </a:cubicBezTo>
                  <a:cubicBezTo>
                    <a:pt x="523875" y="947208"/>
                    <a:pt x="141817" y="1075267"/>
                    <a:pt x="0" y="11112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FD95A5C2-8D37-8F99-78CC-949BE754F93D}"/>
                </a:ext>
              </a:extLst>
            </p:cNvPr>
            <p:cNvSpPr/>
            <p:nvPr/>
          </p:nvSpPr>
          <p:spPr>
            <a:xfrm>
              <a:off x="8022816" y="5649130"/>
              <a:ext cx="85093" cy="703524"/>
            </a:xfrm>
            <a:custGeom>
              <a:avLst/>
              <a:gdLst>
                <a:gd name="connsiteX0" fmla="*/ 114800 w 114800"/>
                <a:gd name="connsiteY0" fmla="*/ 0 h 1085850"/>
                <a:gd name="connsiteX1" fmla="*/ 500 w 114800"/>
                <a:gd name="connsiteY1" fmla="*/ 590550 h 1085850"/>
                <a:gd name="connsiteX2" fmla="*/ 70350 w 114800"/>
                <a:gd name="connsiteY2" fmla="*/ 1085850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800" h="1085850">
                  <a:moveTo>
                    <a:pt x="114800" y="0"/>
                  </a:moveTo>
                  <a:cubicBezTo>
                    <a:pt x="61354" y="204787"/>
                    <a:pt x="7908" y="409575"/>
                    <a:pt x="500" y="590550"/>
                  </a:cubicBezTo>
                  <a:cubicBezTo>
                    <a:pt x="-6908" y="771525"/>
                    <a:pt x="70350" y="1085850"/>
                    <a:pt x="70350" y="10858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D8975359-7514-FB75-4494-CC0F6D1C25A6}"/>
                </a:ext>
              </a:extLst>
            </p:cNvPr>
            <p:cNvSpPr/>
            <p:nvPr/>
          </p:nvSpPr>
          <p:spPr>
            <a:xfrm>
              <a:off x="8130366" y="5625709"/>
              <a:ext cx="1249407" cy="703524"/>
            </a:xfrm>
            <a:custGeom>
              <a:avLst/>
              <a:gdLst>
                <a:gd name="connsiteX0" fmla="*/ 0 w 1685581"/>
                <a:gd name="connsiteY0" fmla="*/ 0 h 1079653"/>
                <a:gd name="connsiteX1" fmla="*/ 462709 w 1685581"/>
                <a:gd name="connsiteY1" fmla="*/ 572877 h 1079653"/>
                <a:gd name="connsiteX2" fmla="*/ 1685581 w 1685581"/>
                <a:gd name="connsiteY2" fmla="*/ 1079653 h 107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5581" h="1079653">
                  <a:moveTo>
                    <a:pt x="0" y="0"/>
                  </a:moveTo>
                  <a:cubicBezTo>
                    <a:pt x="90889" y="196467"/>
                    <a:pt x="181779" y="392935"/>
                    <a:pt x="462709" y="572877"/>
                  </a:cubicBezTo>
                  <a:cubicBezTo>
                    <a:pt x="743639" y="752819"/>
                    <a:pt x="1214610" y="916236"/>
                    <a:pt x="1685581" y="1079653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DD465DA9-032C-2151-25A1-DC4F41B84A57}"/>
                </a:ext>
              </a:extLst>
            </p:cNvPr>
            <p:cNvSpPr/>
            <p:nvPr/>
          </p:nvSpPr>
          <p:spPr>
            <a:xfrm>
              <a:off x="8146698" y="5649130"/>
              <a:ext cx="2637636" cy="688270"/>
            </a:xfrm>
            <a:custGeom>
              <a:avLst/>
              <a:gdLst>
                <a:gd name="connsiteX0" fmla="*/ 0 w 3558448"/>
                <a:gd name="connsiteY0" fmla="*/ 0 h 1112704"/>
                <a:gd name="connsiteX1" fmla="*/ 1839817 w 3558448"/>
                <a:gd name="connsiteY1" fmla="*/ 627962 h 1112704"/>
                <a:gd name="connsiteX2" fmla="*/ 3558448 w 3558448"/>
                <a:gd name="connsiteY2" fmla="*/ 1112704 h 111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8448" h="1112704">
                  <a:moveTo>
                    <a:pt x="0" y="0"/>
                  </a:moveTo>
                  <a:cubicBezTo>
                    <a:pt x="623371" y="221255"/>
                    <a:pt x="1246742" y="442511"/>
                    <a:pt x="1839817" y="627962"/>
                  </a:cubicBezTo>
                  <a:cubicBezTo>
                    <a:pt x="2432892" y="813413"/>
                    <a:pt x="2995670" y="963058"/>
                    <a:pt x="3558448" y="1112704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16A81CD8-53A9-DDBD-C650-268EBB674EC9}"/>
                </a:ext>
              </a:extLst>
            </p:cNvPr>
            <p:cNvSpPr/>
            <p:nvPr/>
          </p:nvSpPr>
          <p:spPr>
            <a:xfrm>
              <a:off x="5999344" y="2964819"/>
              <a:ext cx="938778" cy="2025182"/>
            </a:xfrm>
            <a:custGeom>
              <a:avLst/>
              <a:gdLst>
                <a:gd name="connsiteX0" fmla="*/ 1266510 w 1266510"/>
                <a:gd name="connsiteY0" fmla="*/ 0 h 2732183"/>
                <a:gd name="connsiteX1" fmla="*/ 274992 w 1266510"/>
                <a:gd name="connsiteY1" fmla="*/ 925416 h 2732183"/>
                <a:gd name="connsiteX2" fmla="*/ 43637 w 1266510"/>
                <a:gd name="connsiteY2" fmla="*/ 2137272 h 2732183"/>
                <a:gd name="connsiteX3" fmla="*/ 1002105 w 1266510"/>
                <a:gd name="connsiteY3" fmla="*/ 2732183 h 2732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6510" h="2732183">
                  <a:moveTo>
                    <a:pt x="1266510" y="0"/>
                  </a:moveTo>
                  <a:cubicBezTo>
                    <a:pt x="872657" y="284602"/>
                    <a:pt x="478804" y="569204"/>
                    <a:pt x="274992" y="925416"/>
                  </a:cubicBezTo>
                  <a:cubicBezTo>
                    <a:pt x="71180" y="1281628"/>
                    <a:pt x="-77548" y="1836144"/>
                    <a:pt x="43637" y="2137272"/>
                  </a:cubicBezTo>
                  <a:cubicBezTo>
                    <a:pt x="164822" y="2438400"/>
                    <a:pt x="1002105" y="2732183"/>
                    <a:pt x="1002105" y="2732183"/>
                  </a:cubicBezTo>
                </a:path>
              </a:pathLst>
            </a:custGeom>
            <a:noFill/>
            <a:ln w="28575">
              <a:solidFill>
                <a:srgbClr val="00ADEF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37AE748B-BEFE-FA52-3930-34B8334B7338}"/>
                </a:ext>
              </a:extLst>
            </p:cNvPr>
            <p:cNvSpPr/>
            <p:nvPr/>
          </p:nvSpPr>
          <p:spPr>
            <a:xfrm>
              <a:off x="8220193" y="2964819"/>
              <a:ext cx="1765151" cy="2049679"/>
            </a:xfrm>
            <a:custGeom>
              <a:avLst/>
              <a:gdLst>
                <a:gd name="connsiteX0" fmla="*/ 2302525 w 2381374"/>
                <a:gd name="connsiteY0" fmla="*/ 0 h 2765233"/>
                <a:gd name="connsiteX1" fmla="*/ 2324559 w 2381374"/>
                <a:gd name="connsiteY1" fmla="*/ 1299990 h 2765233"/>
                <a:gd name="connsiteX2" fmla="*/ 1663547 w 2381374"/>
                <a:gd name="connsiteY2" fmla="*/ 2214390 h 2765233"/>
                <a:gd name="connsiteX3" fmla="*/ 0 w 2381374"/>
                <a:gd name="connsiteY3" fmla="*/ 2765233 h 2765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374" h="2765233">
                  <a:moveTo>
                    <a:pt x="2302525" y="0"/>
                  </a:moveTo>
                  <a:cubicBezTo>
                    <a:pt x="2366790" y="465462"/>
                    <a:pt x="2431055" y="930925"/>
                    <a:pt x="2324559" y="1299990"/>
                  </a:cubicBezTo>
                  <a:cubicBezTo>
                    <a:pt x="2218063" y="1669055"/>
                    <a:pt x="2050973" y="1970183"/>
                    <a:pt x="1663547" y="2214390"/>
                  </a:cubicBezTo>
                  <a:cubicBezTo>
                    <a:pt x="1276120" y="2458597"/>
                    <a:pt x="638060" y="2611915"/>
                    <a:pt x="0" y="2765233"/>
                  </a:cubicBezTo>
                </a:path>
              </a:pathLst>
            </a:custGeom>
            <a:noFill/>
            <a:ln w="28575">
              <a:solidFill>
                <a:srgbClr val="00ADEF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B408BE2A-69BB-068F-9B30-93B28D6DA5C9}"/>
                </a:ext>
              </a:extLst>
            </p:cNvPr>
            <p:cNvSpPr/>
            <p:nvPr/>
          </p:nvSpPr>
          <p:spPr>
            <a:xfrm>
              <a:off x="3768409" y="2966810"/>
              <a:ext cx="2858120" cy="612454"/>
            </a:xfrm>
            <a:custGeom>
              <a:avLst/>
              <a:gdLst>
                <a:gd name="connsiteX0" fmla="*/ 0 w 3855904"/>
                <a:gd name="connsiteY0" fmla="*/ 0 h 826265"/>
                <a:gd name="connsiteX1" fmla="*/ 319489 w 3855904"/>
                <a:gd name="connsiteY1" fmla="*/ 539826 h 826265"/>
                <a:gd name="connsiteX2" fmla="*/ 1134737 w 3855904"/>
                <a:gd name="connsiteY2" fmla="*/ 760164 h 826265"/>
                <a:gd name="connsiteX3" fmla="*/ 3855904 w 3855904"/>
                <a:gd name="connsiteY3" fmla="*/ 826265 h 82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5904" h="826265">
                  <a:moveTo>
                    <a:pt x="0" y="0"/>
                  </a:moveTo>
                  <a:cubicBezTo>
                    <a:pt x="65183" y="206566"/>
                    <a:pt x="130366" y="413132"/>
                    <a:pt x="319489" y="539826"/>
                  </a:cubicBezTo>
                  <a:cubicBezTo>
                    <a:pt x="508612" y="666520"/>
                    <a:pt x="545335" y="712424"/>
                    <a:pt x="1134737" y="760164"/>
                  </a:cubicBezTo>
                  <a:cubicBezTo>
                    <a:pt x="1724139" y="807904"/>
                    <a:pt x="3308733" y="802395"/>
                    <a:pt x="3855904" y="826265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B978EEC4-1318-47E3-E406-A01817C491FD}"/>
                </a:ext>
              </a:extLst>
            </p:cNvPr>
            <p:cNvSpPr/>
            <p:nvPr/>
          </p:nvSpPr>
          <p:spPr>
            <a:xfrm>
              <a:off x="4948014" y="2964485"/>
              <a:ext cx="1703870" cy="569526"/>
            </a:xfrm>
            <a:custGeom>
              <a:avLst/>
              <a:gdLst>
                <a:gd name="connsiteX0" fmla="*/ 0 w 2298700"/>
                <a:gd name="connsiteY0" fmla="*/ 0 h 768350"/>
                <a:gd name="connsiteX1" fmla="*/ 254000 w 2298700"/>
                <a:gd name="connsiteY1" fmla="*/ 387350 h 768350"/>
                <a:gd name="connsiteX2" fmla="*/ 1289050 w 2298700"/>
                <a:gd name="connsiteY2" fmla="*/ 622300 h 768350"/>
                <a:gd name="connsiteX3" fmla="*/ 2298700 w 2298700"/>
                <a:gd name="connsiteY3" fmla="*/ 768350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8700" h="768350">
                  <a:moveTo>
                    <a:pt x="0" y="0"/>
                  </a:moveTo>
                  <a:cubicBezTo>
                    <a:pt x="19579" y="141816"/>
                    <a:pt x="39158" y="283633"/>
                    <a:pt x="254000" y="387350"/>
                  </a:cubicBezTo>
                  <a:cubicBezTo>
                    <a:pt x="468842" y="491067"/>
                    <a:pt x="948267" y="558800"/>
                    <a:pt x="1289050" y="622300"/>
                  </a:cubicBezTo>
                  <a:cubicBezTo>
                    <a:pt x="1629833" y="685800"/>
                    <a:pt x="1964266" y="727075"/>
                    <a:pt x="2298700" y="7683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E1110C65-3451-424F-153D-F3682C387DFC}"/>
                </a:ext>
              </a:extLst>
            </p:cNvPr>
            <p:cNvSpPr/>
            <p:nvPr/>
          </p:nvSpPr>
          <p:spPr>
            <a:xfrm>
              <a:off x="6094208" y="2964485"/>
              <a:ext cx="567090" cy="517751"/>
            </a:xfrm>
            <a:custGeom>
              <a:avLst/>
              <a:gdLst>
                <a:gd name="connsiteX0" fmla="*/ 47514 w 765064"/>
                <a:gd name="connsiteY0" fmla="*/ 0 h 698500"/>
                <a:gd name="connsiteX1" fmla="*/ 22114 w 765064"/>
                <a:gd name="connsiteY1" fmla="*/ 349250 h 698500"/>
                <a:gd name="connsiteX2" fmla="*/ 326914 w 765064"/>
                <a:gd name="connsiteY2" fmla="*/ 539750 h 698500"/>
                <a:gd name="connsiteX3" fmla="*/ 765064 w 765064"/>
                <a:gd name="connsiteY3" fmla="*/ 698500 h 69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064" h="698500">
                  <a:moveTo>
                    <a:pt x="47514" y="0"/>
                  </a:moveTo>
                  <a:cubicBezTo>
                    <a:pt x="11530" y="129646"/>
                    <a:pt x="-24453" y="259292"/>
                    <a:pt x="22114" y="349250"/>
                  </a:cubicBezTo>
                  <a:cubicBezTo>
                    <a:pt x="68681" y="439208"/>
                    <a:pt x="203089" y="481542"/>
                    <a:pt x="326914" y="539750"/>
                  </a:cubicBezTo>
                  <a:cubicBezTo>
                    <a:pt x="450739" y="597958"/>
                    <a:pt x="713206" y="676275"/>
                    <a:pt x="765064" y="6985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8CE1F5A4-C02F-8FE9-5A5D-FA0A009DBCA5}"/>
                </a:ext>
              </a:extLst>
            </p:cNvPr>
            <p:cNvSpPr/>
            <p:nvPr/>
          </p:nvSpPr>
          <p:spPr>
            <a:xfrm>
              <a:off x="6849571" y="2969192"/>
              <a:ext cx="98843" cy="277703"/>
            </a:xfrm>
            <a:custGeom>
              <a:avLst/>
              <a:gdLst>
                <a:gd name="connsiteX0" fmla="*/ 133350 w 133350"/>
                <a:gd name="connsiteY0" fmla="*/ 0 h 374650"/>
                <a:gd name="connsiteX1" fmla="*/ 25400 w 133350"/>
                <a:gd name="connsiteY1" fmla="*/ 196850 h 374650"/>
                <a:gd name="connsiteX2" fmla="*/ 0 w 133350"/>
                <a:gd name="connsiteY2" fmla="*/ 374650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50" h="374650">
                  <a:moveTo>
                    <a:pt x="133350" y="0"/>
                  </a:moveTo>
                  <a:cubicBezTo>
                    <a:pt x="90487" y="67204"/>
                    <a:pt x="47625" y="134408"/>
                    <a:pt x="25400" y="196850"/>
                  </a:cubicBezTo>
                  <a:cubicBezTo>
                    <a:pt x="3175" y="259292"/>
                    <a:pt x="0" y="374650"/>
                    <a:pt x="0" y="3746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F0CAB778-7531-8A00-A4C4-0FCC1AE339BB}"/>
                </a:ext>
              </a:extLst>
            </p:cNvPr>
            <p:cNvSpPr/>
            <p:nvPr/>
          </p:nvSpPr>
          <p:spPr>
            <a:xfrm>
              <a:off x="8111000" y="2973898"/>
              <a:ext cx="545218" cy="508337"/>
            </a:xfrm>
            <a:custGeom>
              <a:avLst/>
              <a:gdLst>
                <a:gd name="connsiteX0" fmla="*/ 628650 w 735556"/>
                <a:gd name="connsiteY0" fmla="*/ 0 h 685800"/>
                <a:gd name="connsiteX1" fmla="*/ 685800 w 735556"/>
                <a:gd name="connsiteY1" fmla="*/ 368300 h 685800"/>
                <a:gd name="connsiteX2" fmla="*/ 0 w 735556"/>
                <a:gd name="connsiteY2" fmla="*/ 68580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5556" h="685800">
                  <a:moveTo>
                    <a:pt x="628650" y="0"/>
                  </a:moveTo>
                  <a:cubicBezTo>
                    <a:pt x="709612" y="127000"/>
                    <a:pt x="790575" y="254000"/>
                    <a:pt x="685800" y="368300"/>
                  </a:cubicBezTo>
                  <a:cubicBezTo>
                    <a:pt x="581025" y="482600"/>
                    <a:pt x="0" y="685800"/>
                    <a:pt x="0" y="6858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C1A42C5F-E49C-5372-9DF3-33F2473B5BB3}"/>
                </a:ext>
              </a:extLst>
            </p:cNvPr>
            <p:cNvSpPr/>
            <p:nvPr/>
          </p:nvSpPr>
          <p:spPr>
            <a:xfrm>
              <a:off x="8096879" y="2973898"/>
              <a:ext cx="1821541" cy="552976"/>
            </a:xfrm>
            <a:custGeom>
              <a:avLst/>
              <a:gdLst>
                <a:gd name="connsiteX0" fmla="*/ 2457450 w 2457450"/>
                <a:gd name="connsiteY0" fmla="*/ 0 h 746023"/>
                <a:gd name="connsiteX1" fmla="*/ 2228850 w 2457450"/>
                <a:gd name="connsiteY1" fmla="*/ 419100 h 746023"/>
                <a:gd name="connsiteX2" fmla="*/ 1257300 w 2457450"/>
                <a:gd name="connsiteY2" fmla="*/ 723900 h 746023"/>
                <a:gd name="connsiteX3" fmla="*/ 0 w 2457450"/>
                <a:gd name="connsiteY3" fmla="*/ 730250 h 74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7450" h="746023">
                  <a:moveTo>
                    <a:pt x="2457450" y="0"/>
                  </a:moveTo>
                  <a:cubicBezTo>
                    <a:pt x="2443162" y="149225"/>
                    <a:pt x="2428875" y="298450"/>
                    <a:pt x="2228850" y="419100"/>
                  </a:cubicBezTo>
                  <a:cubicBezTo>
                    <a:pt x="2028825" y="539750"/>
                    <a:pt x="1628775" y="672042"/>
                    <a:pt x="1257300" y="723900"/>
                  </a:cubicBezTo>
                  <a:cubicBezTo>
                    <a:pt x="885825" y="775758"/>
                    <a:pt x="187325" y="718608"/>
                    <a:pt x="0" y="7302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D02EEA02-D143-C68E-B7BD-399B0AE8D73B}"/>
                </a:ext>
              </a:extLst>
            </p:cNvPr>
            <p:cNvSpPr/>
            <p:nvPr/>
          </p:nvSpPr>
          <p:spPr>
            <a:xfrm>
              <a:off x="8103167" y="2955071"/>
              <a:ext cx="3026488" cy="661406"/>
            </a:xfrm>
            <a:custGeom>
              <a:avLst/>
              <a:gdLst>
                <a:gd name="connsiteX0" fmla="*/ 4083050 w 4083050"/>
                <a:gd name="connsiteY0" fmla="*/ 0 h 892306"/>
                <a:gd name="connsiteX1" fmla="*/ 3790950 w 4083050"/>
                <a:gd name="connsiteY1" fmla="*/ 482600 h 892306"/>
                <a:gd name="connsiteX2" fmla="*/ 3086100 w 4083050"/>
                <a:gd name="connsiteY2" fmla="*/ 831850 h 892306"/>
                <a:gd name="connsiteX3" fmla="*/ 1841500 w 4083050"/>
                <a:gd name="connsiteY3" fmla="*/ 889000 h 892306"/>
                <a:gd name="connsiteX4" fmla="*/ 0 w 4083050"/>
                <a:gd name="connsiteY4" fmla="*/ 793750 h 892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050" h="892306">
                  <a:moveTo>
                    <a:pt x="4083050" y="0"/>
                  </a:moveTo>
                  <a:cubicBezTo>
                    <a:pt x="4020079" y="171979"/>
                    <a:pt x="3957108" y="343958"/>
                    <a:pt x="3790950" y="482600"/>
                  </a:cubicBezTo>
                  <a:cubicBezTo>
                    <a:pt x="3624792" y="621242"/>
                    <a:pt x="3411008" y="764117"/>
                    <a:pt x="3086100" y="831850"/>
                  </a:cubicBezTo>
                  <a:cubicBezTo>
                    <a:pt x="2761192" y="899583"/>
                    <a:pt x="2355850" y="895350"/>
                    <a:pt x="1841500" y="889000"/>
                  </a:cubicBezTo>
                  <a:cubicBezTo>
                    <a:pt x="1327150" y="882650"/>
                    <a:pt x="310092" y="802217"/>
                    <a:pt x="0" y="7937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</p:grpSp>
      <p:grpSp>
        <p:nvGrpSpPr>
          <p:cNvPr id="117" name="Agrupar 116">
            <a:extLst>
              <a:ext uri="{FF2B5EF4-FFF2-40B4-BE49-F238E27FC236}">
                <a16:creationId xmlns:a16="http://schemas.microsoft.com/office/drawing/2014/main" id="{70FBB400-1A4B-8AC5-E26E-740C61646AB4}"/>
              </a:ext>
            </a:extLst>
          </p:cNvPr>
          <p:cNvGrpSpPr/>
          <p:nvPr/>
        </p:nvGrpSpPr>
        <p:grpSpPr>
          <a:xfrm>
            <a:off x="290875" y="2353166"/>
            <a:ext cx="11626667" cy="4301988"/>
            <a:chOff x="290875" y="2353166"/>
            <a:chExt cx="11626667" cy="4301988"/>
          </a:xfrm>
        </p:grpSpPr>
        <p:sp>
          <p:nvSpPr>
            <p:cNvPr id="113" name="Retângulo: Cantos Arredondados 112">
              <a:extLst>
                <a:ext uri="{FF2B5EF4-FFF2-40B4-BE49-F238E27FC236}">
                  <a16:creationId xmlns:a16="http://schemas.microsoft.com/office/drawing/2014/main" id="{57B03BDA-9B2E-0DDC-D073-81B7ACD5D480}"/>
                </a:ext>
              </a:extLst>
            </p:cNvPr>
            <p:cNvSpPr/>
            <p:nvPr/>
          </p:nvSpPr>
          <p:spPr>
            <a:xfrm>
              <a:off x="290875" y="2353166"/>
              <a:ext cx="11626667" cy="4298987"/>
            </a:xfrm>
            <a:prstGeom prst="roundRect">
              <a:avLst>
                <a:gd name="adj" fmla="val 6769"/>
              </a:avLst>
            </a:prstGeom>
            <a:noFill/>
            <a:ln>
              <a:solidFill>
                <a:srgbClr val="15366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112" name="Retângulo: Cantos Arredondados 111">
              <a:extLst>
                <a:ext uri="{FF2B5EF4-FFF2-40B4-BE49-F238E27FC236}">
                  <a16:creationId xmlns:a16="http://schemas.microsoft.com/office/drawing/2014/main" id="{7AD9544B-694B-D69F-B1AB-9A497CBB48D5}"/>
                </a:ext>
              </a:extLst>
            </p:cNvPr>
            <p:cNvSpPr/>
            <p:nvPr/>
          </p:nvSpPr>
          <p:spPr>
            <a:xfrm>
              <a:off x="290875" y="2356167"/>
              <a:ext cx="2366663" cy="4298987"/>
            </a:xfrm>
            <a:prstGeom prst="roundRect">
              <a:avLst>
                <a:gd name="adj" fmla="val 10374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114" name="Retângulo 113">
              <a:extLst>
                <a:ext uri="{FF2B5EF4-FFF2-40B4-BE49-F238E27FC236}">
                  <a16:creationId xmlns:a16="http://schemas.microsoft.com/office/drawing/2014/main" id="{829F1650-B2C8-7B0F-B8FD-AB8B38C77EE7}"/>
                </a:ext>
              </a:extLst>
            </p:cNvPr>
            <p:cNvSpPr/>
            <p:nvPr/>
          </p:nvSpPr>
          <p:spPr>
            <a:xfrm>
              <a:off x="2300467" y="2356167"/>
              <a:ext cx="529793" cy="4296222"/>
            </a:xfrm>
            <a:prstGeom prst="rect">
              <a:avLst/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  <p:grpSp>
        <p:nvGrpSpPr>
          <p:cNvPr id="169" name="Agrupar 168">
            <a:extLst>
              <a:ext uri="{FF2B5EF4-FFF2-40B4-BE49-F238E27FC236}">
                <a16:creationId xmlns:a16="http://schemas.microsoft.com/office/drawing/2014/main" id="{BD61E070-C3D1-A307-BF1D-CB28EDCE2C5B}"/>
              </a:ext>
            </a:extLst>
          </p:cNvPr>
          <p:cNvGrpSpPr/>
          <p:nvPr/>
        </p:nvGrpSpPr>
        <p:grpSpPr>
          <a:xfrm>
            <a:off x="3858097" y="380971"/>
            <a:ext cx="6572022" cy="1691920"/>
            <a:chOff x="3232378" y="197019"/>
            <a:chExt cx="6572022" cy="1691920"/>
          </a:xfrm>
        </p:grpSpPr>
        <p:sp>
          <p:nvSpPr>
            <p:cNvPr id="110" name="Retângulo: Cantos Arredondados 109">
              <a:extLst>
                <a:ext uri="{FF2B5EF4-FFF2-40B4-BE49-F238E27FC236}">
                  <a16:creationId xmlns:a16="http://schemas.microsoft.com/office/drawing/2014/main" id="{6E73D153-1F5B-AA0B-4CC2-62CA8B37653B}"/>
                </a:ext>
              </a:extLst>
            </p:cNvPr>
            <p:cNvSpPr/>
            <p:nvPr/>
          </p:nvSpPr>
          <p:spPr>
            <a:xfrm>
              <a:off x="6772165" y="758983"/>
              <a:ext cx="1400186" cy="664102"/>
            </a:xfrm>
            <a:prstGeom prst="roundRect">
              <a:avLst/>
            </a:prstGeom>
            <a:noFill/>
            <a:ln>
              <a:solidFill>
                <a:srgbClr val="15366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00">
                <a:solidFill>
                  <a:srgbClr val="153668"/>
                </a:solidFill>
                <a:latin typeface="Montserrat Medium" pitchFamily="2" charset="0"/>
              </a:endParaRPr>
            </a:p>
          </p:txBody>
        </p:sp>
        <p:pic>
          <p:nvPicPr>
            <p:cNvPr id="111" name="Imagem 110">
              <a:extLst>
                <a:ext uri="{FF2B5EF4-FFF2-40B4-BE49-F238E27FC236}">
                  <a16:creationId xmlns:a16="http://schemas.microsoft.com/office/drawing/2014/main" id="{313D0146-2C6C-7993-4131-AE3F0A3EE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03367" y="906071"/>
              <a:ext cx="1337782" cy="344704"/>
            </a:xfrm>
            <a:prstGeom prst="rect">
              <a:avLst/>
            </a:prstGeom>
          </p:spPr>
        </p:pic>
        <p:sp>
          <p:nvSpPr>
            <p:cNvPr id="115" name="Retângulo: Cantos Arredondados 114">
              <a:extLst>
                <a:ext uri="{FF2B5EF4-FFF2-40B4-BE49-F238E27FC236}">
                  <a16:creationId xmlns:a16="http://schemas.microsoft.com/office/drawing/2014/main" id="{CC78BF5B-A947-6DF2-7F9C-A7BD09A4256D}"/>
                </a:ext>
              </a:extLst>
            </p:cNvPr>
            <p:cNvSpPr/>
            <p:nvPr/>
          </p:nvSpPr>
          <p:spPr>
            <a:xfrm>
              <a:off x="5124480" y="760939"/>
              <a:ext cx="1400186" cy="664102"/>
            </a:xfrm>
            <a:prstGeom prst="roundRect">
              <a:avLst/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/>
            </a:p>
          </p:txBody>
        </p:sp>
        <p:pic>
          <p:nvPicPr>
            <p:cNvPr id="116" name="Imagem 115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2D849F8F-6BDD-486F-657A-ED5DC5BBB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6124" y="836847"/>
              <a:ext cx="1132906" cy="445610"/>
            </a:xfrm>
            <a:prstGeom prst="rect">
              <a:avLst/>
            </a:prstGeom>
          </p:spPr>
        </p:pic>
        <p:sp>
          <p:nvSpPr>
            <p:cNvPr id="119" name="Retângulo: Cantos Arredondados 118">
              <a:extLst>
                <a:ext uri="{FF2B5EF4-FFF2-40B4-BE49-F238E27FC236}">
                  <a16:creationId xmlns:a16="http://schemas.microsoft.com/office/drawing/2014/main" id="{F1BDD387-4827-96C9-B800-D45D60C90E9F}"/>
                </a:ext>
              </a:extLst>
            </p:cNvPr>
            <p:cNvSpPr/>
            <p:nvPr/>
          </p:nvSpPr>
          <p:spPr>
            <a:xfrm>
              <a:off x="8404214" y="756054"/>
              <a:ext cx="1400186" cy="664102"/>
            </a:xfrm>
            <a:prstGeom prst="roundRect">
              <a:avLst/>
            </a:prstGeom>
            <a:solidFill>
              <a:srgbClr val="00AE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00">
                <a:solidFill>
                  <a:srgbClr val="153668"/>
                </a:solidFill>
                <a:latin typeface="Montserrat Medium" pitchFamily="2" charset="0"/>
              </a:endParaRPr>
            </a:p>
          </p:txBody>
        </p:sp>
        <p:pic>
          <p:nvPicPr>
            <p:cNvPr id="120" name="Imagem 119">
              <a:extLst>
                <a:ext uri="{FF2B5EF4-FFF2-40B4-BE49-F238E27FC236}">
                  <a16:creationId xmlns:a16="http://schemas.microsoft.com/office/drawing/2014/main" id="{E0A5ED46-6742-5C56-92B2-18738AE29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48009" y="872092"/>
              <a:ext cx="947423" cy="432025"/>
            </a:xfrm>
            <a:prstGeom prst="rect">
              <a:avLst/>
            </a:prstGeom>
          </p:spPr>
        </p:pic>
        <p:sp>
          <p:nvSpPr>
            <p:cNvPr id="121" name="Retângulo: Cantos Arredondados 120">
              <a:extLst>
                <a:ext uri="{FF2B5EF4-FFF2-40B4-BE49-F238E27FC236}">
                  <a16:creationId xmlns:a16="http://schemas.microsoft.com/office/drawing/2014/main" id="{6E27CE10-A753-B2B0-7562-92A31966304B}"/>
                </a:ext>
              </a:extLst>
            </p:cNvPr>
            <p:cNvSpPr/>
            <p:nvPr/>
          </p:nvSpPr>
          <p:spPr>
            <a:xfrm>
              <a:off x="3251200" y="197019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1</a:t>
              </a:r>
            </a:p>
          </p:txBody>
        </p:sp>
        <p:sp>
          <p:nvSpPr>
            <p:cNvPr id="122" name="Retângulo: Cantos Arredondados 121">
              <a:extLst>
                <a:ext uri="{FF2B5EF4-FFF2-40B4-BE49-F238E27FC236}">
                  <a16:creationId xmlns:a16="http://schemas.microsoft.com/office/drawing/2014/main" id="{809FEB5A-E74F-67A8-9408-D2A03D0E24B2}"/>
                </a:ext>
              </a:extLst>
            </p:cNvPr>
            <p:cNvSpPr/>
            <p:nvPr/>
          </p:nvSpPr>
          <p:spPr>
            <a:xfrm>
              <a:off x="3234598" y="487844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2</a:t>
              </a:r>
            </a:p>
          </p:txBody>
        </p:sp>
        <p:sp>
          <p:nvSpPr>
            <p:cNvPr id="123" name="Retângulo: Cantos Arredondados 122">
              <a:extLst>
                <a:ext uri="{FF2B5EF4-FFF2-40B4-BE49-F238E27FC236}">
                  <a16:creationId xmlns:a16="http://schemas.microsoft.com/office/drawing/2014/main" id="{FD3414A4-5188-79F5-89DA-652FDCA6FB55}"/>
                </a:ext>
              </a:extLst>
            </p:cNvPr>
            <p:cNvSpPr/>
            <p:nvPr/>
          </p:nvSpPr>
          <p:spPr>
            <a:xfrm>
              <a:off x="3234245" y="771525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3</a:t>
              </a:r>
            </a:p>
          </p:txBody>
        </p:sp>
        <p:sp>
          <p:nvSpPr>
            <p:cNvPr id="124" name="Retângulo: Cantos Arredondados 123">
              <a:extLst>
                <a:ext uri="{FF2B5EF4-FFF2-40B4-BE49-F238E27FC236}">
                  <a16:creationId xmlns:a16="http://schemas.microsoft.com/office/drawing/2014/main" id="{6AF0D683-9FA0-5F53-A099-0EA1124B5D22}"/>
                </a:ext>
              </a:extLst>
            </p:cNvPr>
            <p:cNvSpPr/>
            <p:nvPr/>
          </p:nvSpPr>
          <p:spPr>
            <a:xfrm>
              <a:off x="3234245" y="1060788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4</a:t>
              </a:r>
            </a:p>
          </p:txBody>
        </p:sp>
        <p:sp>
          <p:nvSpPr>
            <p:cNvPr id="125" name="Retângulo: Cantos Arredondados 124">
              <a:extLst>
                <a:ext uri="{FF2B5EF4-FFF2-40B4-BE49-F238E27FC236}">
                  <a16:creationId xmlns:a16="http://schemas.microsoft.com/office/drawing/2014/main" id="{7DA8E780-58ED-708B-B1E2-F33B957A4AA5}"/>
                </a:ext>
              </a:extLst>
            </p:cNvPr>
            <p:cNvSpPr/>
            <p:nvPr/>
          </p:nvSpPr>
          <p:spPr>
            <a:xfrm>
              <a:off x="3232378" y="1351319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5</a:t>
              </a:r>
            </a:p>
          </p:txBody>
        </p:sp>
        <p:cxnSp>
          <p:nvCxnSpPr>
            <p:cNvPr id="127" name="Conector reto 126">
              <a:extLst>
                <a:ext uri="{FF2B5EF4-FFF2-40B4-BE49-F238E27FC236}">
                  <a16:creationId xmlns:a16="http://schemas.microsoft.com/office/drawing/2014/main" id="{0D46623E-8B6A-56E7-6254-1714496EBF5D}"/>
                </a:ext>
              </a:extLst>
            </p:cNvPr>
            <p:cNvCxnSpPr>
              <a:cxnSpLocks/>
              <a:stCxn id="121" idx="3"/>
              <a:endCxn id="115" idx="1"/>
            </p:cNvCxnSpPr>
            <p:nvPr/>
          </p:nvCxnSpPr>
          <p:spPr>
            <a:xfrm>
              <a:off x="4443278" y="320852"/>
              <a:ext cx="681202" cy="772138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01C83CB9-505D-265C-49CB-6CD96DCE16C4}"/>
                </a:ext>
              </a:extLst>
            </p:cNvPr>
            <p:cNvCxnSpPr>
              <a:cxnSpLocks/>
              <a:stCxn id="122" idx="3"/>
              <a:endCxn id="115" idx="1"/>
            </p:cNvCxnSpPr>
            <p:nvPr/>
          </p:nvCxnSpPr>
          <p:spPr>
            <a:xfrm>
              <a:off x="4426676" y="611677"/>
              <a:ext cx="697804" cy="481313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>
              <a:extLst>
                <a:ext uri="{FF2B5EF4-FFF2-40B4-BE49-F238E27FC236}">
                  <a16:creationId xmlns:a16="http://schemas.microsoft.com/office/drawing/2014/main" id="{2C650C98-A238-08B8-0C54-12274850D5F5}"/>
                </a:ext>
              </a:extLst>
            </p:cNvPr>
            <p:cNvCxnSpPr>
              <a:cxnSpLocks/>
              <a:stCxn id="123" idx="3"/>
              <a:endCxn id="115" idx="1"/>
            </p:cNvCxnSpPr>
            <p:nvPr/>
          </p:nvCxnSpPr>
          <p:spPr>
            <a:xfrm>
              <a:off x="4426323" y="895358"/>
              <a:ext cx="698157" cy="197632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Conector reto 132">
              <a:extLst>
                <a:ext uri="{FF2B5EF4-FFF2-40B4-BE49-F238E27FC236}">
                  <a16:creationId xmlns:a16="http://schemas.microsoft.com/office/drawing/2014/main" id="{D2DC3E22-3284-4113-D92C-6B07D90C75A7}"/>
                </a:ext>
              </a:extLst>
            </p:cNvPr>
            <p:cNvCxnSpPr>
              <a:cxnSpLocks/>
              <a:stCxn id="124" idx="3"/>
              <a:endCxn id="115" idx="1"/>
            </p:cNvCxnSpPr>
            <p:nvPr/>
          </p:nvCxnSpPr>
          <p:spPr>
            <a:xfrm flipV="1">
              <a:off x="4426323" y="1092990"/>
              <a:ext cx="698157" cy="91631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to 134">
              <a:extLst>
                <a:ext uri="{FF2B5EF4-FFF2-40B4-BE49-F238E27FC236}">
                  <a16:creationId xmlns:a16="http://schemas.microsoft.com/office/drawing/2014/main" id="{55082F19-CD61-8B4D-32E9-E40D9821EE59}"/>
                </a:ext>
              </a:extLst>
            </p:cNvPr>
            <p:cNvCxnSpPr>
              <a:cxnSpLocks/>
              <a:stCxn id="125" idx="3"/>
              <a:endCxn id="115" idx="1"/>
            </p:cNvCxnSpPr>
            <p:nvPr/>
          </p:nvCxnSpPr>
          <p:spPr>
            <a:xfrm flipV="1">
              <a:off x="4424456" y="1092990"/>
              <a:ext cx="700024" cy="382162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Conector reto 136">
              <a:extLst>
                <a:ext uri="{FF2B5EF4-FFF2-40B4-BE49-F238E27FC236}">
                  <a16:creationId xmlns:a16="http://schemas.microsoft.com/office/drawing/2014/main" id="{3F7EEF9C-7FF2-8927-2C1F-C8DEF20EA509}"/>
                </a:ext>
              </a:extLst>
            </p:cNvPr>
            <p:cNvCxnSpPr>
              <a:cxnSpLocks/>
              <a:stCxn id="115" idx="3"/>
              <a:endCxn id="110" idx="1"/>
            </p:cNvCxnSpPr>
            <p:nvPr/>
          </p:nvCxnSpPr>
          <p:spPr>
            <a:xfrm flipV="1">
              <a:off x="6524666" y="1091034"/>
              <a:ext cx="247499" cy="1956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>
              <a:extLst>
                <a:ext uri="{FF2B5EF4-FFF2-40B4-BE49-F238E27FC236}">
                  <a16:creationId xmlns:a16="http://schemas.microsoft.com/office/drawing/2014/main" id="{840CE899-9F7A-2B73-F39F-1850227F906D}"/>
                </a:ext>
              </a:extLst>
            </p:cNvPr>
            <p:cNvCxnSpPr>
              <a:stCxn id="110" idx="3"/>
              <a:endCxn id="119" idx="1"/>
            </p:cNvCxnSpPr>
            <p:nvPr/>
          </p:nvCxnSpPr>
          <p:spPr>
            <a:xfrm flipV="1">
              <a:off x="8172351" y="1088105"/>
              <a:ext cx="231863" cy="2929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Retângulo: Cantos Arredondados 141">
              <a:extLst>
                <a:ext uri="{FF2B5EF4-FFF2-40B4-BE49-F238E27FC236}">
                  <a16:creationId xmlns:a16="http://schemas.microsoft.com/office/drawing/2014/main" id="{970E8FE5-1839-FB3B-66B5-021DBF20CF08}"/>
                </a:ext>
              </a:extLst>
            </p:cNvPr>
            <p:cNvSpPr/>
            <p:nvPr/>
          </p:nvSpPr>
          <p:spPr>
            <a:xfrm>
              <a:off x="3232378" y="1641273"/>
              <a:ext cx="1192078" cy="247666"/>
            </a:xfrm>
            <a:prstGeom prst="roundRect">
              <a:avLst>
                <a:gd name="adj" fmla="val 35671"/>
              </a:avLst>
            </a:prstGeom>
            <a:solidFill>
              <a:srgbClr val="1536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latin typeface="Montserrat" pitchFamily="2" charset="0"/>
                </a:rPr>
                <a:t>CONSUMIDOR 6</a:t>
              </a:r>
            </a:p>
          </p:txBody>
        </p:sp>
        <p:cxnSp>
          <p:nvCxnSpPr>
            <p:cNvPr id="148" name="Conector reto 147">
              <a:extLst>
                <a:ext uri="{FF2B5EF4-FFF2-40B4-BE49-F238E27FC236}">
                  <a16:creationId xmlns:a16="http://schemas.microsoft.com/office/drawing/2014/main" id="{828B83CF-620E-6EE6-8D9D-BA36AA6B0AFE}"/>
                </a:ext>
              </a:extLst>
            </p:cNvPr>
            <p:cNvCxnSpPr>
              <a:cxnSpLocks/>
              <a:stCxn id="115" idx="1"/>
              <a:endCxn id="142" idx="3"/>
            </p:cNvCxnSpPr>
            <p:nvPr/>
          </p:nvCxnSpPr>
          <p:spPr>
            <a:xfrm flipH="1">
              <a:off x="4424456" y="1092990"/>
              <a:ext cx="700024" cy="672116"/>
            </a:xfrm>
            <a:prstGeom prst="line">
              <a:avLst/>
            </a:prstGeom>
            <a:ln w="19050">
              <a:solidFill>
                <a:srgbClr val="ADC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0" name="Retângulo: Cantos Arredondados 169">
            <a:extLst>
              <a:ext uri="{FF2B5EF4-FFF2-40B4-BE49-F238E27FC236}">
                <a16:creationId xmlns:a16="http://schemas.microsoft.com/office/drawing/2014/main" id="{6FB95081-DC3C-1AE4-9ADC-B14D34F90684}"/>
              </a:ext>
            </a:extLst>
          </p:cNvPr>
          <p:cNvSpPr/>
          <p:nvPr/>
        </p:nvSpPr>
        <p:spPr>
          <a:xfrm>
            <a:off x="290875" y="204429"/>
            <a:ext cx="2366663" cy="1997793"/>
          </a:xfrm>
          <a:prstGeom prst="roundRect">
            <a:avLst>
              <a:gd name="adj" fmla="val 18491"/>
            </a:avLst>
          </a:prstGeom>
          <a:solidFill>
            <a:srgbClr val="ADC91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171" name="Retângulo 170">
            <a:extLst>
              <a:ext uri="{FF2B5EF4-FFF2-40B4-BE49-F238E27FC236}">
                <a16:creationId xmlns:a16="http://schemas.microsoft.com/office/drawing/2014/main" id="{BC1B10FE-A08F-9B96-B1B7-DFFC44ECEE94}"/>
              </a:ext>
            </a:extLst>
          </p:cNvPr>
          <p:cNvSpPr/>
          <p:nvPr/>
        </p:nvSpPr>
        <p:spPr>
          <a:xfrm>
            <a:off x="2256367" y="204429"/>
            <a:ext cx="562911" cy="1997793"/>
          </a:xfrm>
          <a:prstGeom prst="rect">
            <a:avLst/>
          </a:prstGeom>
          <a:solidFill>
            <a:srgbClr val="ADC91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172" name="Retângulo: Cantos Arredondados 171">
            <a:extLst>
              <a:ext uri="{FF2B5EF4-FFF2-40B4-BE49-F238E27FC236}">
                <a16:creationId xmlns:a16="http://schemas.microsoft.com/office/drawing/2014/main" id="{EC4771F2-74AA-810E-ED34-408FF73A4100}"/>
              </a:ext>
            </a:extLst>
          </p:cNvPr>
          <p:cNvSpPr/>
          <p:nvPr/>
        </p:nvSpPr>
        <p:spPr>
          <a:xfrm>
            <a:off x="282668" y="204429"/>
            <a:ext cx="11626666" cy="1994566"/>
          </a:xfrm>
          <a:prstGeom prst="roundRect">
            <a:avLst>
              <a:gd name="adj" fmla="val 18849"/>
            </a:avLst>
          </a:prstGeom>
          <a:noFill/>
          <a:ln>
            <a:solidFill>
              <a:srgbClr val="ADC91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3" name="CaixaDeTexto 172">
            <a:extLst>
              <a:ext uri="{FF2B5EF4-FFF2-40B4-BE49-F238E27FC236}">
                <a16:creationId xmlns:a16="http://schemas.microsoft.com/office/drawing/2014/main" id="{C2A2E401-7E28-D602-D136-B3CB29A909A4}"/>
              </a:ext>
            </a:extLst>
          </p:cNvPr>
          <p:cNvSpPr txBox="1"/>
          <p:nvPr/>
        </p:nvSpPr>
        <p:spPr>
          <a:xfrm>
            <a:off x="575057" y="847769"/>
            <a:ext cx="17348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>
                <a:solidFill>
                  <a:srgbClr val="153668"/>
                </a:solidFill>
                <a:latin typeface="Montserrat Medium" pitchFamily="2" charset="0"/>
              </a:rPr>
              <a:t>Mercado 2023</a:t>
            </a:r>
          </a:p>
        </p:txBody>
      </p:sp>
      <p:sp>
        <p:nvSpPr>
          <p:cNvPr id="174" name="CaixaDeTexto 173">
            <a:extLst>
              <a:ext uri="{FF2B5EF4-FFF2-40B4-BE49-F238E27FC236}">
                <a16:creationId xmlns:a16="http://schemas.microsoft.com/office/drawing/2014/main" id="{DDE3ED5C-6141-7D05-C7B2-6F0B63FEE626}"/>
              </a:ext>
            </a:extLst>
          </p:cNvPr>
          <p:cNvSpPr txBox="1"/>
          <p:nvPr/>
        </p:nvSpPr>
        <p:spPr>
          <a:xfrm>
            <a:off x="574014" y="2941764"/>
            <a:ext cx="22331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>
                <a:solidFill>
                  <a:schemeClr val="bg1"/>
                </a:solidFill>
                <a:latin typeface="Montserrat Medium" pitchFamily="2" charset="0"/>
              </a:rPr>
              <a:t>Com abertura do mercado livre no ES</a:t>
            </a:r>
          </a:p>
          <a:p>
            <a:endParaRPr lang="pt-BR" sz="2000">
              <a:solidFill>
                <a:schemeClr val="bg1"/>
              </a:solidFill>
              <a:latin typeface="Montserrat Medium" pitchFamily="2" charset="0"/>
            </a:endParaRPr>
          </a:p>
          <a:p>
            <a:r>
              <a:rPr lang="pt-BR" sz="1600">
                <a:solidFill>
                  <a:srgbClr val="153668"/>
                </a:solidFill>
                <a:highlight>
                  <a:srgbClr val="ADC91B"/>
                </a:highlight>
                <a:latin typeface="Montserrat ExtraBold" pitchFamily="2" charset="0"/>
              </a:rPr>
              <a:t>+1500% </a:t>
            </a:r>
            <a:r>
              <a:rPr lang="pt-BR" sz="1600">
                <a:solidFill>
                  <a:srgbClr val="153668"/>
                </a:solidFill>
                <a:highlight>
                  <a:srgbClr val="ADC91B"/>
                </a:highlight>
                <a:latin typeface="Montserrat Medium" pitchFamily="2" charset="0"/>
              </a:rPr>
              <a:t>em horas trabalhadas para programação</a:t>
            </a:r>
          </a:p>
          <a:p>
            <a:endParaRPr lang="pt-BR" sz="1600">
              <a:solidFill>
                <a:srgbClr val="153668"/>
              </a:solidFill>
              <a:highlight>
                <a:srgbClr val="ADC91B"/>
              </a:highlight>
              <a:latin typeface="Montserrat Medium" pitchFamily="2" charset="0"/>
            </a:endParaRPr>
          </a:p>
          <a:p>
            <a:r>
              <a:rPr lang="pt-BR" sz="1600">
                <a:solidFill>
                  <a:srgbClr val="153668"/>
                </a:solidFill>
                <a:highlight>
                  <a:srgbClr val="ADC91B"/>
                </a:highlight>
                <a:latin typeface="Montserrat ExtraBold" pitchFamily="2" charset="0"/>
              </a:rPr>
              <a:t>+1300% </a:t>
            </a:r>
            <a:r>
              <a:rPr lang="pt-BR" sz="1600">
                <a:solidFill>
                  <a:srgbClr val="153668"/>
                </a:solidFill>
                <a:highlight>
                  <a:srgbClr val="ADC91B"/>
                </a:highlight>
                <a:latin typeface="Montserrat Medium" pitchFamily="2" charset="0"/>
              </a:rPr>
              <a:t>em negociações contratuais</a:t>
            </a:r>
          </a:p>
        </p:txBody>
      </p:sp>
      <p:sp>
        <p:nvSpPr>
          <p:cNvPr id="187" name="Retângulo: Cantos Arredondados 186">
            <a:extLst>
              <a:ext uri="{FF2B5EF4-FFF2-40B4-BE49-F238E27FC236}">
                <a16:creationId xmlns:a16="http://schemas.microsoft.com/office/drawing/2014/main" id="{63D5401D-4CAA-05C1-E290-0E4251BC3E91}"/>
              </a:ext>
            </a:extLst>
          </p:cNvPr>
          <p:cNvSpPr/>
          <p:nvPr/>
        </p:nvSpPr>
        <p:spPr>
          <a:xfrm>
            <a:off x="3010563" y="3952167"/>
            <a:ext cx="8721189" cy="1813889"/>
          </a:xfrm>
          <a:prstGeom prst="roundRect">
            <a:avLst/>
          </a:prstGeom>
          <a:noFill/>
          <a:ln w="19050">
            <a:solidFill>
              <a:srgbClr val="ADC91B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56A4B8F9-0B25-92D7-5BBA-8E748A5D18B6}"/>
              </a:ext>
            </a:extLst>
          </p:cNvPr>
          <p:cNvCxnSpPr>
            <a:cxnSpLocks/>
          </p:cNvCxnSpPr>
          <p:nvPr/>
        </p:nvCxnSpPr>
        <p:spPr>
          <a:xfrm>
            <a:off x="7369307" y="4788148"/>
            <a:ext cx="9393" cy="59018"/>
          </a:xfrm>
          <a:prstGeom prst="line">
            <a:avLst/>
          </a:prstGeom>
          <a:noFill/>
          <a:ln w="28575">
            <a:solidFill>
              <a:srgbClr val="ADC91B">
                <a:alpha val="50196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8127BD69-AE9E-AD18-742E-642C5B0D819C}"/>
              </a:ext>
            </a:extLst>
          </p:cNvPr>
          <p:cNvGrpSpPr/>
          <p:nvPr/>
        </p:nvGrpSpPr>
        <p:grpSpPr>
          <a:xfrm>
            <a:off x="3461522" y="4797536"/>
            <a:ext cx="7878435" cy="544913"/>
            <a:chOff x="3455045" y="4792133"/>
            <a:chExt cx="7878435" cy="544913"/>
          </a:xfrm>
        </p:grpSpPr>
        <p:sp>
          <p:nvSpPr>
            <p:cNvPr id="2" name="Forma Livre: Forma 1">
              <a:extLst>
                <a:ext uri="{FF2B5EF4-FFF2-40B4-BE49-F238E27FC236}">
                  <a16:creationId xmlns:a16="http://schemas.microsoft.com/office/drawing/2014/main" id="{EE2027B5-7DCD-F3F4-6784-6FBB4738CB72}"/>
                </a:ext>
              </a:extLst>
            </p:cNvPr>
            <p:cNvSpPr/>
            <p:nvPr/>
          </p:nvSpPr>
          <p:spPr>
            <a:xfrm>
              <a:off x="3455045" y="4795595"/>
              <a:ext cx="3281680" cy="476982"/>
            </a:xfrm>
            <a:custGeom>
              <a:avLst/>
              <a:gdLst>
                <a:gd name="connsiteX0" fmla="*/ 0 w 3281680"/>
                <a:gd name="connsiteY0" fmla="*/ 0 h 476982"/>
                <a:gd name="connsiteX1" fmla="*/ 1518920 w 3281680"/>
                <a:gd name="connsiteY1" fmla="*/ 462280 h 476982"/>
                <a:gd name="connsiteX2" fmla="*/ 3281680 w 3281680"/>
                <a:gd name="connsiteY2" fmla="*/ 355600 h 47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1680" h="476982">
                  <a:moveTo>
                    <a:pt x="0" y="0"/>
                  </a:moveTo>
                  <a:cubicBezTo>
                    <a:pt x="485986" y="201506"/>
                    <a:pt x="971973" y="403013"/>
                    <a:pt x="1518920" y="462280"/>
                  </a:cubicBezTo>
                  <a:cubicBezTo>
                    <a:pt x="2065867" y="521547"/>
                    <a:pt x="3088640" y="384387"/>
                    <a:pt x="3281680" y="3556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5E6C4DF5-D14B-B1B4-D3CC-98A175F83550}"/>
                </a:ext>
              </a:extLst>
            </p:cNvPr>
            <p:cNvSpPr/>
            <p:nvPr/>
          </p:nvSpPr>
          <p:spPr>
            <a:xfrm>
              <a:off x="4262765" y="4805755"/>
              <a:ext cx="2473960" cy="332768"/>
            </a:xfrm>
            <a:custGeom>
              <a:avLst/>
              <a:gdLst>
                <a:gd name="connsiteX0" fmla="*/ 0 w 2473960"/>
                <a:gd name="connsiteY0" fmla="*/ 0 h 332768"/>
                <a:gd name="connsiteX1" fmla="*/ 1488440 w 2473960"/>
                <a:gd name="connsiteY1" fmla="*/ 294640 h 332768"/>
                <a:gd name="connsiteX2" fmla="*/ 2473960 w 2473960"/>
                <a:gd name="connsiteY2" fmla="*/ 320040 h 33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3960" h="332768">
                  <a:moveTo>
                    <a:pt x="0" y="0"/>
                  </a:moveTo>
                  <a:cubicBezTo>
                    <a:pt x="538056" y="120650"/>
                    <a:pt x="1076113" y="241300"/>
                    <a:pt x="1488440" y="294640"/>
                  </a:cubicBezTo>
                  <a:cubicBezTo>
                    <a:pt x="1900767" y="347980"/>
                    <a:pt x="2187363" y="334010"/>
                    <a:pt x="2473960" y="32004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A6AEDCCE-FAA8-C465-9EE4-BBFBF4CB204E}"/>
                </a:ext>
              </a:extLst>
            </p:cNvPr>
            <p:cNvSpPr/>
            <p:nvPr/>
          </p:nvSpPr>
          <p:spPr>
            <a:xfrm>
              <a:off x="5070485" y="4795595"/>
              <a:ext cx="1676400" cy="320040"/>
            </a:xfrm>
            <a:custGeom>
              <a:avLst/>
              <a:gdLst>
                <a:gd name="connsiteX0" fmla="*/ 0 w 1676400"/>
                <a:gd name="connsiteY0" fmla="*/ 0 h 320040"/>
                <a:gd name="connsiteX1" fmla="*/ 467360 w 1676400"/>
                <a:gd name="connsiteY1" fmla="*/ 162560 h 320040"/>
                <a:gd name="connsiteX2" fmla="*/ 1676400 w 1676400"/>
                <a:gd name="connsiteY2" fmla="*/ 320040 h 32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76400" h="320040">
                  <a:moveTo>
                    <a:pt x="0" y="0"/>
                  </a:moveTo>
                  <a:cubicBezTo>
                    <a:pt x="93980" y="54610"/>
                    <a:pt x="187960" y="109220"/>
                    <a:pt x="467360" y="162560"/>
                  </a:cubicBezTo>
                  <a:cubicBezTo>
                    <a:pt x="746760" y="215900"/>
                    <a:pt x="1211580" y="267970"/>
                    <a:pt x="1676400" y="32004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66DEEEB9-9309-2998-63A6-4B3E54761B17}"/>
                </a:ext>
              </a:extLst>
            </p:cNvPr>
            <p:cNvSpPr/>
            <p:nvPr/>
          </p:nvSpPr>
          <p:spPr>
            <a:xfrm>
              <a:off x="5751205" y="4795595"/>
              <a:ext cx="975360" cy="248920"/>
            </a:xfrm>
            <a:custGeom>
              <a:avLst/>
              <a:gdLst>
                <a:gd name="connsiteX0" fmla="*/ 0 w 975360"/>
                <a:gd name="connsiteY0" fmla="*/ 0 h 248920"/>
                <a:gd name="connsiteX1" fmla="*/ 386080 w 975360"/>
                <a:gd name="connsiteY1" fmla="*/ 157480 h 248920"/>
                <a:gd name="connsiteX2" fmla="*/ 975360 w 975360"/>
                <a:gd name="connsiteY2" fmla="*/ 248920 h 24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5360" h="248920">
                  <a:moveTo>
                    <a:pt x="0" y="0"/>
                  </a:moveTo>
                  <a:cubicBezTo>
                    <a:pt x="111760" y="57996"/>
                    <a:pt x="223520" y="115993"/>
                    <a:pt x="386080" y="157480"/>
                  </a:cubicBezTo>
                  <a:cubicBezTo>
                    <a:pt x="548640" y="198967"/>
                    <a:pt x="884767" y="225213"/>
                    <a:pt x="975360" y="24892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E084BCD7-D1B1-7F5B-6E9E-633F3F305896}"/>
                </a:ext>
              </a:extLst>
            </p:cNvPr>
            <p:cNvSpPr/>
            <p:nvPr/>
          </p:nvSpPr>
          <p:spPr>
            <a:xfrm>
              <a:off x="6514243" y="4792133"/>
              <a:ext cx="227340" cy="224367"/>
            </a:xfrm>
            <a:custGeom>
              <a:avLst/>
              <a:gdLst>
                <a:gd name="connsiteX0" fmla="*/ 857 w 227340"/>
                <a:gd name="connsiteY0" fmla="*/ 0 h 224367"/>
                <a:gd name="connsiteX1" fmla="*/ 34724 w 227340"/>
                <a:gd name="connsiteY1" fmla="*/ 160867 h 224367"/>
                <a:gd name="connsiteX2" fmla="*/ 227340 w 227340"/>
                <a:gd name="connsiteY2" fmla="*/ 224367 h 224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340" h="224367">
                  <a:moveTo>
                    <a:pt x="857" y="0"/>
                  </a:moveTo>
                  <a:cubicBezTo>
                    <a:pt x="-1083" y="61736"/>
                    <a:pt x="-3023" y="123473"/>
                    <a:pt x="34724" y="160867"/>
                  </a:cubicBezTo>
                  <a:cubicBezTo>
                    <a:pt x="72471" y="198261"/>
                    <a:pt x="149905" y="211314"/>
                    <a:pt x="227340" y="224367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33C6F236-3AB3-FB45-951B-2D1A53290EF1}"/>
                </a:ext>
              </a:extLst>
            </p:cNvPr>
            <p:cNvSpPr/>
            <p:nvPr/>
          </p:nvSpPr>
          <p:spPr>
            <a:xfrm>
              <a:off x="8198955" y="4796367"/>
              <a:ext cx="49804" cy="218016"/>
            </a:xfrm>
            <a:custGeom>
              <a:avLst/>
              <a:gdLst>
                <a:gd name="connsiteX0" fmla="*/ 11595 w 49804"/>
                <a:gd name="connsiteY0" fmla="*/ 0 h 218016"/>
                <a:gd name="connsiteX1" fmla="*/ 49695 w 49804"/>
                <a:gd name="connsiteY1" fmla="*/ 99483 h 218016"/>
                <a:gd name="connsiteX2" fmla="*/ 1012 w 49804"/>
                <a:gd name="connsiteY2" fmla="*/ 218016 h 21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04" h="218016">
                  <a:moveTo>
                    <a:pt x="11595" y="0"/>
                  </a:moveTo>
                  <a:cubicBezTo>
                    <a:pt x="31527" y="31573"/>
                    <a:pt x="51459" y="63147"/>
                    <a:pt x="49695" y="99483"/>
                  </a:cubicBezTo>
                  <a:cubicBezTo>
                    <a:pt x="47931" y="135819"/>
                    <a:pt x="-8160" y="200730"/>
                    <a:pt x="1012" y="218016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D8050FFF-6756-6DE7-02AE-303D5CC04D4B}"/>
                </a:ext>
              </a:extLst>
            </p:cNvPr>
            <p:cNvSpPr/>
            <p:nvPr/>
          </p:nvSpPr>
          <p:spPr>
            <a:xfrm>
              <a:off x="8210550" y="4802717"/>
              <a:ext cx="711200" cy="229584"/>
            </a:xfrm>
            <a:custGeom>
              <a:avLst/>
              <a:gdLst>
                <a:gd name="connsiteX0" fmla="*/ 711200 w 711200"/>
                <a:gd name="connsiteY0" fmla="*/ 0 h 229584"/>
                <a:gd name="connsiteX1" fmla="*/ 431800 w 711200"/>
                <a:gd name="connsiteY1" fmla="*/ 207433 h 229584"/>
                <a:gd name="connsiteX2" fmla="*/ 0 w 711200"/>
                <a:gd name="connsiteY2" fmla="*/ 213783 h 229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1200" h="229584">
                  <a:moveTo>
                    <a:pt x="711200" y="0"/>
                  </a:moveTo>
                  <a:cubicBezTo>
                    <a:pt x="630766" y="85901"/>
                    <a:pt x="550333" y="171803"/>
                    <a:pt x="431800" y="207433"/>
                  </a:cubicBezTo>
                  <a:cubicBezTo>
                    <a:pt x="313267" y="243063"/>
                    <a:pt x="156633" y="228423"/>
                    <a:pt x="0" y="213783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776CD710-968D-C8C8-9846-68B6CD27E49A}"/>
                </a:ext>
              </a:extLst>
            </p:cNvPr>
            <p:cNvSpPr/>
            <p:nvPr/>
          </p:nvSpPr>
          <p:spPr>
            <a:xfrm>
              <a:off x="8204200" y="4792133"/>
              <a:ext cx="1526117" cy="334214"/>
            </a:xfrm>
            <a:custGeom>
              <a:avLst/>
              <a:gdLst>
                <a:gd name="connsiteX0" fmla="*/ 1526117 w 1526117"/>
                <a:gd name="connsiteY0" fmla="*/ 0 h 334214"/>
                <a:gd name="connsiteX1" fmla="*/ 656167 w 1526117"/>
                <a:gd name="connsiteY1" fmla="*/ 323850 h 334214"/>
                <a:gd name="connsiteX2" fmla="*/ 0 w 1526117"/>
                <a:gd name="connsiteY2" fmla="*/ 260350 h 33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6117" h="334214">
                  <a:moveTo>
                    <a:pt x="1526117" y="0"/>
                  </a:moveTo>
                  <a:cubicBezTo>
                    <a:pt x="1218318" y="140229"/>
                    <a:pt x="910520" y="280458"/>
                    <a:pt x="656167" y="323850"/>
                  </a:cubicBezTo>
                  <a:cubicBezTo>
                    <a:pt x="401814" y="367242"/>
                    <a:pt x="0" y="260350"/>
                    <a:pt x="0" y="26035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40DC17B7-6B4C-3154-D0FF-E7E1F4F28894}"/>
                </a:ext>
              </a:extLst>
            </p:cNvPr>
            <p:cNvSpPr/>
            <p:nvPr/>
          </p:nvSpPr>
          <p:spPr>
            <a:xfrm>
              <a:off x="8195733" y="4792133"/>
              <a:ext cx="2383367" cy="465053"/>
            </a:xfrm>
            <a:custGeom>
              <a:avLst/>
              <a:gdLst>
                <a:gd name="connsiteX0" fmla="*/ 2383367 w 2383367"/>
                <a:gd name="connsiteY0" fmla="*/ 0 h 465053"/>
                <a:gd name="connsiteX1" fmla="*/ 933450 w 2383367"/>
                <a:gd name="connsiteY1" fmla="*/ 459317 h 465053"/>
                <a:gd name="connsiteX2" fmla="*/ 0 w 2383367"/>
                <a:gd name="connsiteY2" fmla="*/ 262467 h 46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83367" h="465053">
                  <a:moveTo>
                    <a:pt x="2383367" y="0"/>
                  </a:moveTo>
                  <a:cubicBezTo>
                    <a:pt x="1857022" y="207786"/>
                    <a:pt x="1330678" y="415573"/>
                    <a:pt x="933450" y="459317"/>
                  </a:cubicBezTo>
                  <a:cubicBezTo>
                    <a:pt x="536222" y="503061"/>
                    <a:pt x="101247" y="282928"/>
                    <a:pt x="0" y="262467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1ACE522F-794E-55CA-82A0-1A9047AD0547}"/>
                </a:ext>
              </a:extLst>
            </p:cNvPr>
            <p:cNvSpPr/>
            <p:nvPr/>
          </p:nvSpPr>
          <p:spPr>
            <a:xfrm>
              <a:off x="8178800" y="4805680"/>
              <a:ext cx="3154680" cy="531366"/>
            </a:xfrm>
            <a:custGeom>
              <a:avLst/>
              <a:gdLst>
                <a:gd name="connsiteX0" fmla="*/ 3154680 w 3154680"/>
                <a:gd name="connsiteY0" fmla="*/ 0 h 531366"/>
                <a:gd name="connsiteX1" fmla="*/ 2265680 w 3154680"/>
                <a:gd name="connsiteY1" fmla="*/ 391160 h 531366"/>
                <a:gd name="connsiteX2" fmla="*/ 1427480 w 3154680"/>
                <a:gd name="connsiteY2" fmla="*/ 523240 h 531366"/>
                <a:gd name="connsiteX3" fmla="*/ 609600 w 3154680"/>
                <a:gd name="connsiteY3" fmla="*/ 497840 h 531366"/>
                <a:gd name="connsiteX4" fmla="*/ 0 w 3154680"/>
                <a:gd name="connsiteY4" fmla="*/ 340360 h 531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4680" h="531366">
                  <a:moveTo>
                    <a:pt x="3154680" y="0"/>
                  </a:moveTo>
                  <a:cubicBezTo>
                    <a:pt x="2854113" y="151976"/>
                    <a:pt x="2553547" y="303953"/>
                    <a:pt x="2265680" y="391160"/>
                  </a:cubicBezTo>
                  <a:cubicBezTo>
                    <a:pt x="1977813" y="478367"/>
                    <a:pt x="1703493" y="505460"/>
                    <a:pt x="1427480" y="523240"/>
                  </a:cubicBezTo>
                  <a:cubicBezTo>
                    <a:pt x="1151467" y="541020"/>
                    <a:pt x="847513" y="528320"/>
                    <a:pt x="609600" y="497840"/>
                  </a:cubicBezTo>
                  <a:cubicBezTo>
                    <a:pt x="371687" y="467360"/>
                    <a:pt x="50800" y="360680"/>
                    <a:pt x="0" y="34036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</p:grp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D1A54FDB-73C1-6E08-9199-69D5C5AD8EA2}"/>
              </a:ext>
            </a:extLst>
          </p:cNvPr>
          <p:cNvGrpSpPr/>
          <p:nvPr/>
        </p:nvGrpSpPr>
        <p:grpSpPr>
          <a:xfrm>
            <a:off x="3448050" y="3439583"/>
            <a:ext cx="8105796" cy="1016000"/>
            <a:chOff x="3448050" y="3448050"/>
            <a:chExt cx="8105796" cy="1016000"/>
          </a:xfrm>
        </p:grpSpPr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DEF11F60-F6CE-3833-FE86-079BE8CB2DE1}"/>
                </a:ext>
              </a:extLst>
            </p:cNvPr>
            <p:cNvSpPr/>
            <p:nvPr/>
          </p:nvSpPr>
          <p:spPr>
            <a:xfrm>
              <a:off x="3448050" y="3448050"/>
              <a:ext cx="3200400" cy="1009650"/>
            </a:xfrm>
            <a:custGeom>
              <a:avLst/>
              <a:gdLst>
                <a:gd name="connsiteX0" fmla="*/ 0 w 3200400"/>
                <a:gd name="connsiteY0" fmla="*/ 1009650 h 1009650"/>
                <a:gd name="connsiteX1" fmla="*/ 1016000 w 3200400"/>
                <a:gd name="connsiteY1" fmla="*/ 215900 h 1009650"/>
                <a:gd name="connsiteX2" fmla="*/ 3200400 w 3200400"/>
                <a:gd name="connsiteY2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0400" h="1009650">
                  <a:moveTo>
                    <a:pt x="0" y="1009650"/>
                  </a:moveTo>
                  <a:cubicBezTo>
                    <a:pt x="241300" y="696912"/>
                    <a:pt x="482600" y="384175"/>
                    <a:pt x="1016000" y="215900"/>
                  </a:cubicBezTo>
                  <a:cubicBezTo>
                    <a:pt x="1549400" y="47625"/>
                    <a:pt x="2904067" y="20108"/>
                    <a:pt x="320040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F9331622-09C7-F1B5-80B4-76CCCF07E303}"/>
                </a:ext>
              </a:extLst>
            </p:cNvPr>
            <p:cNvSpPr/>
            <p:nvPr/>
          </p:nvSpPr>
          <p:spPr>
            <a:xfrm>
              <a:off x="4241800" y="3460750"/>
              <a:ext cx="2419350" cy="1003300"/>
            </a:xfrm>
            <a:custGeom>
              <a:avLst/>
              <a:gdLst>
                <a:gd name="connsiteX0" fmla="*/ 0 w 2419350"/>
                <a:gd name="connsiteY0" fmla="*/ 1003300 h 1003300"/>
                <a:gd name="connsiteX1" fmla="*/ 984250 w 2419350"/>
                <a:gd name="connsiteY1" fmla="*/ 266700 h 1003300"/>
                <a:gd name="connsiteX2" fmla="*/ 2419350 w 2419350"/>
                <a:gd name="connsiteY2" fmla="*/ 0 h 100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19350" h="1003300">
                  <a:moveTo>
                    <a:pt x="0" y="1003300"/>
                  </a:moveTo>
                  <a:cubicBezTo>
                    <a:pt x="290512" y="718608"/>
                    <a:pt x="581025" y="433917"/>
                    <a:pt x="984250" y="266700"/>
                  </a:cubicBezTo>
                  <a:cubicBezTo>
                    <a:pt x="1387475" y="99483"/>
                    <a:pt x="1903412" y="49741"/>
                    <a:pt x="241935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3EC21F20-8DA0-5AB8-842E-5A0F5E336F46}"/>
                </a:ext>
              </a:extLst>
            </p:cNvPr>
            <p:cNvSpPr/>
            <p:nvPr/>
          </p:nvSpPr>
          <p:spPr>
            <a:xfrm>
              <a:off x="5067300" y="3473450"/>
              <a:ext cx="1593850" cy="990600"/>
            </a:xfrm>
            <a:custGeom>
              <a:avLst/>
              <a:gdLst>
                <a:gd name="connsiteX0" fmla="*/ 0 w 1593850"/>
                <a:gd name="connsiteY0" fmla="*/ 990600 h 990600"/>
                <a:gd name="connsiteX1" fmla="*/ 641350 w 1593850"/>
                <a:gd name="connsiteY1" fmla="*/ 273050 h 990600"/>
                <a:gd name="connsiteX2" fmla="*/ 1593850 w 1593850"/>
                <a:gd name="connsiteY2" fmla="*/ 0 h 99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3850" h="990600">
                  <a:moveTo>
                    <a:pt x="0" y="990600"/>
                  </a:moveTo>
                  <a:cubicBezTo>
                    <a:pt x="187854" y="714375"/>
                    <a:pt x="375708" y="438150"/>
                    <a:pt x="641350" y="273050"/>
                  </a:cubicBezTo>
                  <a:cubicBezTo>
                    <a:pt x="906992" y="107950"/>
                    <a:pt x="1250421" y="53975"/>
                    <a:pt x="159385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02EA5DD3-CA0A-96DD-716C-8CDA13878412}"/>
                </a:ext>
              </a:extLst>
            </p:cNvPr>
            <p:cNvSpPr/>
            <p:nvPr/>
          </p:nvSpPr>
          <p:spPr>
            <a:xfrm>
              <a:off x="5759450" y="3448050"/>
              <a:ext cx="901700" cy="1003300"/>
            </a:xfrm>
            <a:custGeom>
              <a:avLst/>
              <a:gdLst>
                <a:gd name="connsiteX0" fmla="*/ 0 w 901700"/>
                <a:gd name="connsiteY0" fmla="*/ 1003300 h 1003300"/>
                <a:gd name="connsiteX1" fmla="*/ 241300 w 901700"/>
                <a:gd name="connsiteY1" fmla="*/ 298450 h 1003300"/>
                <a:gd name="connsiteX2" fmla="*/ 901700 w 901700"/>
                <a:gd name="connsiteY2" fmla="*/ 0 h 100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1700" h="1003300">
                  <a:moveTo>
                    <a:pt x="0" y="1003300"/>
                  </a:moveTo>
                  <a:cubicBezTo>
                    <a:pt x="45508" y="734483"/>
                    <a:pt x="91017" y="465667"/>
                    <a:pt x="241300" y="298450"/>
                  </a:cubicBezTo>
                  <a:cubicBezTo>
                    <a:pt x="391583" y="131233"/>
                    <a:pt x="646641" y="65616"/>
                    <a:pt x="90170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5B87D46E-1F52-2166-0788-FF75FDCA0E7A}"/>
                </a:ext>
              </a:extLst>
            </p:cNvPr>
            <p:cNvSpPr/>
            <p:nvPr/>
          </p:nvSpPr>
          <p:spPr>
            <a:xfrm>
              <a:off x="6267038" y="3486150"/>
              <a:ext cx="362362" cy="977900"/>
            </a:xfrm>
            <a:custGeom>
              <a:avLst/>
              <a:gdLst>
                <a:gd name="connsiteX0" fmla="*/ 305212 w 362362"/>
                <a:gd name="connsiteY0" fmla="*/ 977900 h 977900"/>
                <a:gd name="connsiteX1" fmla="*/ 412 w 362362"/>
                <a:gd name="connsiteY1" fmla="*/ 419100 h 977900"/>
                <a:gd name="connsiteX2" fmla="*/ 362362 w 362362"/>
                <a:gd name="connsiteY2" fmla="*/ 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362" h="977900">
                  <a:moveTo>
                    <a:pt x="305212" y="977900"/>
                  </a:moveTo>
                  <a:cubicBezTo>
                    <a:pt x="148049" y="779991"/>
                    <a:pt x="-9113" y="582083"/>
                    <a:pt x="412" y="419100"/>
                  </a:cubicBezTo>
                  <a:cubicBezTo>
                    <a:pt x="9937" y="256117"/>
                    <a:pt x="186149" y="128058"/>
                    <a:pt x="362362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F9A08668-6C11-CCEA-B778-4BC3FCBDAE85}"/>
                </a:ext>
              </a:extLst>
            </p:cNvPr>
            <p:cNvSpPr/>
            <p:nvPr/>
          </p:nvSpPr>
          <p:spPr>
            <a:xfrm>
              <a:off x="7147528" y="3829050"/>
              <a:ext cx="224822" cy="622300"/>
            </a:xfrm>
            <a:custGeom>
              <a:avLst/>
              <a:gdLst>
                <a:gd name="connsiteX0" fmla="*/ 224822 w 224822"/>
                <a:gd name="connsiteY0" fmla="*/ 622300 h 622300"/>
                <a:gd name="connsiteX1" fmla="*/ 2572 w 224822"/>
                <a:gd name="connsiteY1" fmla="*/ 317500 h 622300"/>
                <a:gd name="connsiteX2" fmla="*/ 97822 w 224822"/>
                <a:gd name="connsiteY2" fmla="*/ 0 h 6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822" h="622300">
                  <a:moveTo>
                    <a:pt x="224822" y="622300"/>
                  </a:moveTo>
                  <a:cubicBezTo>
                    <a:pt x="124280" y="521758"/>
                    <a:pt x="23739" y="421217"/>
                    <a:pt x="2572" y="317500"/>
                  </a:cubicBezTo>
                  <a:cubicBezTo>
                    <a:pt x="-18595" y="213783"/>
                    <a:pt x="97822" y="0"/>
                    <a:pt x="97822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19B2653D-F0FC-F847-16C7-CDE3BFE0C72D}"/>
                </a:ext>
              </a:extLst>
            </p:cNvPr>
            <p:cNvSpPr/>
            <p:nvPr/>
          </p:nvSpPr>
          <p:spPr>
            <a:xfrm>
              <a:off x="7778750" y="3841750"/>
              <a:ext cx="288290" cy="609600"/>
            </a:xfrm>
            <a:custGeom>
              <a:avLst/>
              <a:gdLst>
                <a:gd name="connsiteX0" fmla="*/ 0 w 288290"/>
                <a:gd name="connsiteY0" fmla="*/ 0 h 609600"/>
                <a:gd name="connsiteX1" fmla="*/ 254000 w 288290"/>
                <a:gd name="connsiteY1" fmla="*/ 190500 h 609600"/>
                <a:gd name="connsiteX2" fmla="*/ 285750 w 288290"/>
                <a:gd name="connsiteY2" fmla="*/ 60960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290" h="609600">
                  <a:moveTo>
                    <a:pt x="0" y="0"/>
                  </a:moveTo>
                  <a:cubicBezTo>
                    <a:pt x="103187" y="44450"/>
                    <a:pt x="206375" y="88900"/>
                    <a:pt x="254000" y="190500"/>
                  </a:cubicBezTo>
                  <a:cubicBezTo>
                    <a:pt x="301625" y="292100"/>
                    <a:pt x="285750" y="609600"/>
                    <a:pt x="285750" y="60960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485EE384-8EC3-125A-C0AA-CFE19627E138}"/>
                </a:ext>
              </a:extLst>
            </p:cNvPr>
            <p:cNvSpPr/>
            <p:nvPr/>
          </p:nvSpPr>
          <p:spPr>
            <a:xfrm>
              <a:off x="8108950" y="3530600"/>
              <a:ext cx="1071018" cy="927100"/>
            </a:xfrm>
            <a:custGeom>
              <a:avLst/>
              <a:gdLst>
                <a:gd name="connsiteX0" fmla="*/ 812800 w 1071018"/>
                <a:gd name="connsiteY0" fmla="*/ 927100 h 927100"/>
                <a:gd name="connsiteX1" fmla="*/ 1022350 w 1071018"/>
                <a:gd name="connsiteY1" fmla="*/ 254000 h 927100"/>
                <a:gd name="connsiteX2" fmla="*/ 0 w 1071018"/>
                <a:gd name="connsiteY2" fmla="*/ 0 h 92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1018" h="927100">
                  <a:moveTo>
                    <a:pt x="812800" y="927100"/>
                  </a:moveTo>
                  <a:cubicBezTo>
                    <a:pt x="985308" y="667808"/>
                    <a:pt x="1157817" y="408517"/>
                    <a:pt x="1022350" y="254000"/>
                  </a:cubicBezTo>
                  <a:cubicBezTo>
                    <a:pt x="886883" y="99483"/>
                    <a:pt x="182033" y="48683"/>
                    <a:pt x="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FB0EF04A-99AC-DDE5-AB75-B450B34FFFEE}"/>
                </a:ext>
              </a:extLst>
            </p:cNvPr>
            <p:cNvSpPr/>
            <p:nvPr/>
          </p:nvSpPr>
          <p:spPr>
            <a:xfrm>
              <a:off x="8121650" y="3511550"/>
              <a:ext cx="1920364" cy="939800"/>
            </a:xfrm>
            <a:custGeom>
              <a:avLst/>
              <a:gdLst>
                <a:gd name="connsiteX0" fmla="*/ 1593850 w 1920364"/>
                <a:gd name="connsiteY0" fmla="*/ 939800 h 939800"/>
                <a:gd name="connsiteX1" fmla="*/ 1803400 w 1920364"/>
                <a:gd name="connsiteY1" fmla="*/ 266700 h 939800"/>
                <a:gd name="connsiteX2" fmla="*/ 0 w 1920364"/>
                <a:gd name="connsiteY2" fmla="*/ 0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0364" h="939800">
                  <a:moveTo>
                    <a:pt x="1593850" y="939800"/>
                  </a:moveTo>
                  <a:cubicBezTo>
                    <a:pt x="1831446" y="681566"/>
                    <a:pt x="2069042" y="423333"/>
                    <a:pt x="1803400" y="266700"/>
                  </a:cubicBezTo>
                  <a:cubicBezTo>
                    <a:pt x="1537758" y="110067"/>
                    <a:pt x="768879" y="55033"/>
                    <a:pt x="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65592B9E-991B-E7BA-239D-D0193A090504}"/>
                </a:ext>
              </a:extLst>
            </p:cNvPr>
            <p:cNvSpPr/>
            <p:nvPr/>
          </p:nvSpPr>
          <p:spPr>
            <a:xfrm>
              <a:off x="8092440" y="3500120"/>
              <a:ext cx="3028748" cy="949960"/>
            </a:xfrm>
            <a:custGeom>
              <a:avLst/>
              <a:gdLst>
                <a:gd name="connsiteX0" fmla="*/ 2484120 w 3028748"/>
                <a:gd name="connsiteY0" fmla="*/ 949960 h 949960"/>
                <a:gd name="connsiteX1" fmla="*/ 2981960 w 3028748"/>
                <a:gd name="connsiteY1" fmla="*/ 731520 h 949960"/>
                <a:gd name="connsiteX2" fmla="*/ 2961640 w 3028748"/>
                <a:gd name="connsiteY2" fmla="*/ 375920 h 949960"/>
                <a:gd name="connsiteX3" fmla="*/ 2575560 w 3028748"/>
                <a:gd name="connsiteY3" fmla="*/ 182880 h 949960"/>
                <a:gd name="connsiteX4" fmla="*/ 1264920 w 3028748"/>
                <a:gd name="connsiteY4" fmla="*/ 30480 h 949960"/>
                <a:gd name="connsiteX5" fmla="*/ 0 w 3028748"/>
                <a:gd name="connsiteY5" fmla="*/ 0 h 94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8748" h="949960">
                  <a:moveTo>
                    <a:pt x="2484120" y="949960"/>
                  </a:moveTo>
                  <a:cubicBezTo>
                    <a:pt x="2693246" y="888576"/>
                    <a:pt x="2902373" y="827193"/>
                    <a:pt x="2981960" y="731520"/>
                  </a:cubicBezTo>
                  <a:cubicBezTo>
                    <a:pt x="3061547" y="635847"/>
                    <a:pt x="3029373" y="467360"/>
                    <a:pt x="2961640" y="375920"/>
                  </a:cubicBezTo>
                  <a:cubicBezTo>
                    <a:pt x="2893907" y="284480"/>
                    <a:pt x="2858347" y="240453"/>
                    <a:pt x="2575560" y="182880"/>
                  </a:cubicBezTo>
                  <a:cubicBezTo>
                    <a:pt x="2292773" y="125307"/>
                    <a:pt x="1694180" y="60960"/>
                    <a:pt x="1264920" y="30480"/>
                  </a:cubicBezTo>
                  <a:cubicBezTo>
                    <a:pt x="835660" y="0"/>
                    <a:pt x="100753" y="1693"/>
                    <a:pt x="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81797A5B-2A12-96E6-7825-701FD824C132}"/>
                </a:ext>
              </a:extLst>
            </p:cNvPr>
            <p:cNvSpPr/>
            <p:nvPr/>
          </p:nvSpPr>
          <p:spPr>
            <a:xfrm>
              <a:off x="8089900" y="3479800"/>
              <a:ext cx="3463946" cy="965200"/>
            </a:xfrm>
            <a:custGeom>
              <a:avLst/>
              <a:gdLst>
                <a:gd name="connsiteX0" fmla="*/ 3282950 w 3465279"/>
                <a:gd name="connsiteY0" fmla="*/ 965200 h 965200"/>
                <a:gd name="connsiteX1" fmla="*/ 3460750 w 3465279"/>
                <a:gd name="connsiteY1" fmla="*/ 387350 h 965200"/>
                <a:gd name="connsiteX2" fmla="*/ 3117850 w 3465279"/>
                <a:gd name="connsiteY2" fmla="*/ 165100 h 965200"/>
                <a:gd name="connsiteX3" fmla="*/ 2368550 w 3465279"/>
                <a:gd name="connsiteY3" fmla="*/ 25400 h 965200"/>
                <a:gd name="connsiteX4" fmla="*/ 0 w 3465279"/>
                <a:gd name="connsiteY4" fmla="*/ 0 h 965200"/>
                <a:gd name="connsiteX0" fmla="*/ 3282950 w 3463946"/>
                <a:gd name="connsiteY0" fmla="*/ 965200 h 965200"/>
                <a:gd name="connsiteX1" fmla="*/ 3460750 w 3463946"/>
                <a:gd name="connsiteY1" fmla="*/ 387350 h 965200"/>
                <a:gd name="connsiteX2" fmla="*/ 3149600 w 3463946"/>
                <a:gd name="connsiteY2" fmla="*/ 120650 h 965200"/>
                <a:gd name="connsiteX3" fmla="*/ 2368550 w 3463946"/>
                <a:gd name="connsiteY3" fmla="*/ 25400 h 965200"/>
                <a:gd name="connsiteX4" fmla="*/ 0 w 3463946"/>
                <a:gd name="connsiteY4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3946" h="965200">
                  <a:moveTo>
                    <a:pt x="3282950" y="965200"/>
                  </a:moveTo>
                  <a:cubicBezTo>
                    <a:pt x="3385608" y="742950"/>
                    <a:pt x="3482975" y="528108"/>
                    <a:pt x="3460750" y="387350"/>
                  </a:cubicBezTo>
                  <a:cubicBezTo>
                    <a:pt x="3438525" y="246592"/>
                    <a:pt x="3331633" y="180975"/>
                    <a:pt x="3149600" y="120650"/>
                  </a:cubicBezTo>
                  <a:cubicBezTo>
                    <a:pt x="2967567" y="60325"/>
                    <a:pt x="2888192" y="52917"/>
                    <a:pt x="2368550" y="25400"/>
                  </a:cubicBezTo>
                  <a:cubicBezTo>
                    <a:pt x="1848908" y="-2117"/>
                    <a:pt x="224367" y="1058"/>
                    <a:pt x="0" y="0"/>
                  </a:cubicBezTo>
                </a:path>
              </a:pathLst>
            </a:custGeom>
            <a:noFill/>
            <a:ln w="28575">
              <a:solidFill>
                <a:srgbClr val="ADC91B">
                  <a:alpha val="50196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</p:grpSp>
      <p:pic>
        <p:nvPicPr>
          <p:cNvPr id="35" name="Imagem 34">
            <a:extLst>
              <a:ext uri="{FF2B5EF4-FFF2-40B4-BE49-F238E27FC236}">
                <a16:creationId xmlns:a16="http://schemas.microsoft.com/office/drawing/2014/main" id="{428E8B14-64C3-D44E-9DE5-8D289804CD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5816" y="2550376"/>
            <a:ext cx="958389" cy="285958"/>
          </a:xfrm>
          <a:prstGeom prst="rect">
            <a:avLst/>
          </a:prstGeom>
        </p:spPr>
      </p:pic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E06419E3-C603-6873-942C-CAA9634B4687}"/>
              </a:ext>
            </a:extLst>
          </p:cNvPr>
          <p:cNvSpPr/>
          <p:nvPr/>
        </p:nvSpPr>
        <p:spPr>
          <a:xfrm>
            <a:off x="3124863" y="5232399"/>
            <a:ext cx="1345537" cy="470157"/>
          </a:xfrm>
          <a:prstGeom prst="roundRect">
            <a:avLst>
              <a:gd name="adj" fmla="val 15929"/>
            </a:avLst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>
                <a:solidFill>
                  <a:srgbClr val="163E64"/>
                </a:solidFill>
                <a:latin typeface="Montserrat" pitchFamily="2" charset="0"/>
              </a:rPr>
              <a:t>Biometano</a:t>
            </a:r>
          </a:p>
        </p:txBody>
      </p:sp>
    </p:spTree>
    <p:extLst>
      <p:ext uri="{BB962C8B-B14F-4D97-AF65-F5344CB8AC3E}">
        <p14:creationId xmlns:p14="http://schemas.microsoft.com/office/powerpoint/2010/main" val="183412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/>
      <p:bldP spid="18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E550C-0E3B-3493-B15A-1E2E27C3A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E9EEE936-7F3A-5BC4-EC40-6FBA4845B2E9}"/>
              </a:ext>
            </a:extLst>
          </p:cNvPr>
          <p:cNvSpPr/>
          <p:nvPr/>
        </p:nvSpPr>
        <p:spPr>
          <a:xfrm>
            <a:off x="0" y="0"/>
            <a:ext cx="12191999" cy="7000875"/>
          </a:xfrm>
          <a:prstGeom prst="rect">
            <a:avLst/>
          </a:prstGeom>
          <a:gradFill>
            <a:gsLst>
              <a:gs pos="0">
                <a:srgbClr val="05578E"/>
              </a:gs>
              <a:gs pos="96000">
                <a:srgbClr val="1D245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2A0315C-A378-138D-F732-3A2BD03CE173}"/>
              </a:ext>
            </a:extLst>
          </p:cNvPr>
          <p:cNvSpPr/>
          <p:nvPr/>
        </p:nvSpPr>
        <p:spPr>
          <a:xfrm>
            <a:off x="389626" y="1085875"/>
            <a:ext cx="11332474" cy="3584000"/>
          </a:xfrm>
          <a:prstGeom prst="roundRect">
            <a:avLst>
              <a:gd name="adj" fmla="val 773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2DAA7C53-45F5-9317-0E47-D79970859985}"/>
              </a:ext>
            </a:extLst>
          </p:cNvPr>
          <p:cNvSpPr txBox="1"/>
          <p:nvPr/>
        </p:nvSpPr>
        <p:spPr>
          <a:xfrm>
            <a:off x="10129623" y="1133830"/>
            <a:ext cx="16727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/>
              <a:t>QDC</a:t>
            </a:r>
          </a:p>
          <a:p>
            <a:r>
              <a:rPr lang="pt-BR" sz="800"/>
              <a:t>QER média da semana</a:t>
            </a:r>
          </a:p>
          <a:p>
            <a:r>
              <a:rPr lang="pt-BR" sz="800"/>
              <a:t>QER Dia de semana</a:t>
            </a:r>
          </a:p>
          <a:p>
            <a:r>
              <a:rPr lang="pt-BR" sz="800"/>
              <a:t>QER Fim de semana e feriados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F19B78D2-C097-DD0B-3299-B87F083CB0F8}"/>
              </a:ext>
            </a:extLst>
          </p:cNvPr>
          <p:cNvSpPr/>
          <p:nvPr/>
        </p:nvSpPr>
        <p:spPr>
          <a:xfrm>
            <a:off x="389625" y="4753669"/>
            <a:ext cx="7117625" cy="1978602"/>
          </a:xfrm>
          <a:prstGeom prst="roundRect">
            <a:avLst>
              <a:gd name="adj" fmla="val 1334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pt-BR" sz="140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74D8F7E5-2472-0018-2D7E-FC2EA158CDA2}"/>
              </a:ext>
            </a:extLst>
          </p:cNvPr>
          <p:cNvSpPr/>
          <p:nvPr/>
        </p:nvSpPr>
        <p:spPr>
          <a:xfrm>
            <a:off x="7578576" y="4754769"/>
            <a:ext cx="3956011" cy="587196"/>
          </a:xfrm>
          <a:prstGeom prst="roundRect">
            <a:avLst>
              <a:gd name="adj" fmla="val 43690"/>
            </a:avLst>
          </a:prstGeom>
          <a:solidFill>
            <a:srgbClr val="006199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709"/>
            <a:r>
              <a:rPr lang="pt-BR" sz="1500">
                <a:solidFill>
                  <a:prstClr val="white"/>
                </a:solidFill>
                <a:latin typeface="Montserrat" pitchFamily="2" charset="0"/>
              </a:rPr>
              <a:t>Mercado spot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25AAD700-FDE0-3B99-44E0-865D1512CA73}"/>
              </a:ext>
            </a:extLst>
          </p:cNvPr>
          <p:cNvSpPr/>
          <p:nvPr/>
        </p:nvSpPr>
        <p:spPr>
          <a:xfrm>
            <a:off x="7578576" y="6133446"/>
            <a:ext cx="3977461" cy="592963"/>
          </a:xfrm>
          <a:prstGeom prst="roundRect">
            <a:avLst>
              <a:gd name="adj" fmla="val 46236"/>
            </a:avLst>
          </a:prstGeom>
          <a:solidFill>
            <a:srgbClr val="006199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709"/>
            <a:r>
              <a:rPr lang="pt-BR" sz="1500">
                <a:solidFill>
                  <a:prstClr val="white"/>
                </a:solidFill>
                <a:latin typeface="Montserrat" pitchFamily="2" charset="0"/>
              </a:rPr>
              <a:t>Gestão de portfólio transporte</a:t>
            </a:r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13D8BDE0-CEBF-53DE-422C-C316DF0AFBE4}"/>
              </a:ext>
            </a:extLst>
          </p:cNvPr>
          <p:cNvSpPr/>
          <p:nvPr/>
        </p:nvSpPr>
        <p:spPr>
          <a:xfrm>
            <a:off x="7578576" y="5404481"/>
            <a:ext cx="3956010" cy="666448"/>
          </a:xfrm>
          <a:prstGeom prst="roundRect">
            <a:avLst>
              <a:gd name="adj" fmla="val 41188"/>
            </a:avLst>
          </a:prstGeom>
          <a:solidFill>
            <a:srgbClr val="006199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709"/>
            <a:r>
              <a:rPr lang="pt-BR" sz="1500">
                <a:solidFill>
                  <a:prstClr val="white"/>
                </a:solidFill>
                <a:latin typeface="Montserrat" pitchFamily="2" charset="0"/>
              </a:rPr>
              <a:t>Flexibilidade dos contratos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32C28D9F-DC16-86B8-A57B-49EB845A9E8A}"/>
              </a:ext>
            </a:extLst>
          </p:cNvPr>
          <p:cNvSpPr/>
          <p:nvPr/>
        </p:nvSpPr>
        <p:spPr>
          <a:xfrm>
            <a:off x="5468394" y="0"/>
            <a:ext cx="6723606" cy="725303"/>
          </a:xfrm>
          <a:prstGeom prst="rect">
            <a:avLst/>
          </a:prstGeom>
          <a:gradFill>
            <a:gsLst>
              <a:gs pos="100000">
                <a:srgbClr val="1F1F4D"/>
              </a:gs>
              <a:gs pos="49000">
                <a:srgbClr val="19193F">
                  <a:alpha val="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0">
              <a:defRPr/>
            </a:pPr>
            <a:endParaRPr lang="pt-BR" sz="1600">
              <a:solidFill>
                <a:prstClr val="white"/>
              </a:solidFill>
              <a:latin typeface="Aptos" panose="020B0004020202020204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837D7CA8-8689-2BFA-9068-E879028928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528" y="176263"/>
            <a:ext cx="965200" cy="379645"/>
          </a:xfrm>
          <a:prstGeom prst="rect">
            <a:avLst/>
          </a:prstGeom>
        </p:spPr>
      </p:pic>
      <p:sp>
        <p:nvSpPr>
          <p:cNvPr id="17" name="TextBox 52">
            <a:extLst>
              <a:ext uri="{FF2B5EF4-FFF2-40B4-BE49-F238E27FC236}">
                <a16:creationId xmlns:a16="http://schemas.microsoft.com/office/drawing/2014/main" id="{8DF95687-1DC9-940E-8739-5A17056BC457}"/>
              </a:ext>
            </a:extLst>
          </p:cNvPr>
          <p:cNvSpPr txBox="1"/>
          <p:nvPr/>
        </p:nvSpPr>
        <p:spPr>
          <a:xfrm>
            <a:off x="389627" y="439544"/>
            <a:ext cx="89388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 dirty="0">
                <a:solidFill>
                  <a:schemeClr val="bg1"/>
                </a:solidFill>
                <a:latin typeface="DM Sans SemiBold" pitchFamily="2" charset="0"/>
              </a:rPr>
              <a:t>Portfólio flexível</a:t>
            </a:r>
            <a:endParaRPr lang="pt-BR" sz="3200" dirty="0">
              <a:solidFill>
                <a:schemeClr val="bg1"/>
              </a:solidFill>
              <a:latin typeface="DM Sans" pitchFamily="2" charset="0"/>
            </a:endParaRP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65433C99-8053-4124-8900-D12BF0EC75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4444948"/>
              </p:ext>
            </p:extLst>
          </p:nvPr>
        </p:nvGraphicFramePr>
        <p:xfrm>
          <a:off x="389625" y="1224585"/>
          <a:ext cx="11332474" cy="3439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B1A65F89-C36B-22F9-35F4-86BD68C076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3582722"/>
              </p:ext>
            </p:extLst>
          </p:nvPr>
        </p:nvGraphicFramePr>
        <p:xfrm>
          <a:off x="469901" y="4753668"/>
          <a:ext cx="7143289" cy="1995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94D27B38-A452-20AE-FF0D-0F1A43516A4F}"/>
              </a:ext>
            </a:extLst>
          </p:cNvPr>
          <p:cNvSpPr/>
          <p:nvPr/>
        </p:nvSpPr>
        <p:spPr>
          <a:xfrm>
            <a:off x="13678770" y="4753669"/>
            <a:ext cx="3175037" cy="1872709"/>
          </a:xfrm>
          <a:prstGeom prst="roundRect">
            <a:avLst>
              <a:gd name="adj" fmla="val 37922"/>
            </a:avLst>
          </a:prstGeom>
          <a:solidFill>
            <a:srgbClr val="C2CD2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r>
              <a:rPr lang="pt-BR" sz="1400" b="1">
                <a:solidFill>
                  <a:prstClr val="white"/>
                </a:solidFill>
                <a:latin typeface="Montserrat"/>
              </a:rPr>
              <a:t>Volatilidade de Mercado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Domingo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22%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Segunda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10%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Terça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2%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Quinta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4%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Sexta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2%</a:t>
            </a:r>
          </a:p>
          <a:p>
            <a:pPr algn="ctr" defTabSz="1828709"/>
            <a:r>
              <a:rPr lang="pt-BR" sz="1400">
                <a:solidFill>
                  <a:prstClr val="white"/>
                </a:solidFill>
                <a:latin typeface="Montserrat"/>
              </a:rPr>
              <a:t>Quarta – Sábado </a:t>
            </a:r>
            <a:r>
              <a:rPr lang="pt-BR" sz="1400" b="1">
                <a:solidFill>
                  <a:srgbClr val="F37021"/>
                </a:solidFill>
                <a:latin typeface="Montserrat"/>
              </a:rPr>
              <a:t>-9% 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5C007674-43A7-1C73-4D99-42DBAEF42638}"/>
              </a:ext>
            </a:extLst>
          </p:cNvPr>
          <p:cNvSpPr txBox="1"/>
          <p:nvPr/>
        </p:nvSpPr>
        <p:spPr>
          <a:xfrm>
            <a:off x="2108199" y="4760052"/>
            <a:ext cx="1282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156082"/>
                </a:solidFill>
                <a:latin typeface="Montserrat" pitchFamily="2" charset="0"/>
              </a:rPr>
              <a:t>∆ 22%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BF7A8E27-F118-B088-0CE5-F9D39DD11A3A}"/>
              </a:ext>
            </a:extLst>
          </p:cNvPr>
          <p:cNvSpPr txBox="1"/>
          <p:nvPr/>
        </p:nvSpPr>
        <p:spPr>
          <a:xfrm>
            <a:off x="5232399" y="4773845"/>
            <a:ext cx="1282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F37021"/>
                </a:solidFill>
                <a:latin typeface="Montserrat" pitchFamily="2" charset="0"/>
              </a:rPr>
              <a:t>∆ 9%</a:t>
            </a:r>
          </a:p>
        </p:txBody>
      </p: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A08F48B0-1DAE-CE9D-D7F4-C11AD89465B2}"/>
              </a:ext>
            </a:extLst>
          </p:cNvPr>
          <p:cNvCxnSpPr>
            <a:cxnSpLocks/>
          </p:cNvCxnSpPr>
          <p:nvPr/>
        </p:nvCxnSpPr>
        <p:spPr>
          <a:xfrm flipV="1">
            <a:off x="581891" y="1797974"/>
            <a:ext cx="4331854" cy="1462462"/>
          </a:xfrm>
          <a:prstGeom prst="bentConnector3">
            <a:avLst>
              <a:gd name="adj1" fmla="val -107"/>
            </a:avLst>
          </a:prstGeom>
          <a:ln w="28575"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A90B9CB8-6F8B-0A8C-F52A-B8A34CD65575}"/>
              </a:ext>
            </a:extLst>
          </p:cNvPr>
          <p:cNvCxnSpPr>
            <a:cxnSpLocks/>
          </p:cNvCxnSpPr>
          <p:nvPr/>
        </p:nvCxnSpPr>
        <p:spPr>
          <a:xfrm>
            <a:off x="9910549" y="1234871"/>
            <a:ext cx="257175" cy="0"/>
          </a:xfrm>
          <a:prstGeom prst="line">
            <a:avLst/>
          </a:prstGeom>
          <a:ln w="28575">
            <a:solidFill>
              <a:srgbClr val="F37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F62020E4-CB27-007A-E98D-C9EE23434810}"/>
              </a:ext>
            </a:extLst>
          </p:cNvPr>
          <p:cNvCxnSpPr>
            <a:cxnSpLocks/>
          </p:cNvCxnSpPr>
          <p:nvPr/>
        </p:nvCxnSpPr>
        <p:spPr>
          <a:xfrm>
            <a:off x="9910549" y="1355521"/>
            <a:ext cx="257175" cy="0"/>
          </a:xfrm>
          <a:prstGeom prst="line">
            <a:avLst/>
          </a:prstGeom>
          <a:ln w="28575">
            <a:solidFill>
              <a:srgbClr val="163E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7BAD47DB-78EE-EDC2-C50E-8E1344476116}"/>
              </a:ext>
            </a:extLst>
          </p:cNvPr>
          <p:cNvCxnSpPr>
            <a:cxnSpLocks/>
          </p:cNvCxnSpPr>
          <p:nvPr/>
        </p:nvCxnSpPr>
        <p:spPr>
          <a:xfrm>
            <a:off x="9910548" y="1485696"/>
            <a:ext cx="257175" cy="0"/>
          </a:xfrm>
          <a:prstGeom prst="line">
            <a:avLst/>
          </a:prstGeom>
          <a:ln w="28575">
            <a:solidFill>
              <a:srgbClr val="C2CD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A01916A0-12C8-348E-9BC3-45AF161D503D}"/>
              </a:ext>
            </a:extLst>
          </p:cNvPr>
          <p:cNvCxnSpPr>
            <a:cxnSpLocks/>
          </p:cNvCxnSpPr>
          <p:nvPr/>
        </p:nvCxnSpPr>
        <p:spPr>
          <a:xfrm>
            <a:off x="9910547" y="1611637"/>
            <a:ext cx="257175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492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52428B-FA27-33E9-B546-F34E2BB730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EA41EFAC-024D-2075-D846-BAC6D181A57B}"/>
              </a:ext>
            </a:extLst>
          </p:cNvPr>
          <p:cNvSpPr/>
          <p:nvPr/>
        </p:nvSpPr>
        <p:spPr>
          <a:xfrm>
            <a:off x="0" y="0"/>
            <a:ext cx="12191999" cy="7000875"/>
          </a:xfrm>
          <a:prstGeom prst="rect">
            <a:avLst/>
          </a:prstGeom>
          <a:gradFill>
            <a:gsLst>
              <a:gs pos="0">
                <a:srgbClr val="05578E"/>
              </a:gs>
              <a:gs pos="96000">
                <a:srgbClr val="1D245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2A88A751-4B74-8285-28F4-025E598608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528" y="176263"/>
            <a:ext cx="965200" cy="379645"/>
          </a:xfrm>
          <a:prstGeom prst="rect">
            <a:avLst/>
          </a:prstGeom>
        </p:spPr>
      </p:pic>
      <p:sp>
        <p:nvSpPr>
          <p:cNvPr id="17" name="TextBox 52">
            <a:extLst>
              <a:ext uri="{FF2B5EF4-FFF2-40B4-BE49-F238E27FC236}">
                <a16:creationId xmlns:a16="http://schemas.microsoft.com/office/drawing/2014/main" id="{40705D54-0B5A-3105-8D51-C55C70505082}"/>
              </a:ext>
            </a:extLst>
          </p:cNvPr>
          <p:cNvSpPr txBox="1"/>
          <p:nvPr/>
        </p:nvSpPr>
        <p:spPr>
          <a:xfrm>
            <a:off x="423126" y="227812"/>
            <a:ext cx="89388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 dirty="0">
                <a:solidFill>
                  <a:schemeClr val="bg1"/>
                </a:solidFill>
                <a:latin typeface="DM Sans SemiBold" pitchFamily="2" charset="0"/>
              </a:rPr>
              <a:t>Regulação </a:t>
            </a:r>
            <a:endParaRPr lang="pt-BR" sz="3200" dirty="0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348CC352-0F50-A9AD-73AA-944F3411A0E6}"/>
              </a:ext>
            </a:extLst>
          </p:cNvPr>
          <p:cNvSpPr/>
          <p:nvPr/>
        </p:nvSpPr>
        <p:spPr>
          <a:xfrm>
            <a:off x="4218412" y="848762"/>
            <a:ext cx="3755174" cy="941527"/>
          </a:xfrm>
          <a:prstGeom prst="roundRect">
            <a:avLst>
              <a:gd name="adj" fmla="val 15929"/>
            </a:avLst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>
                <a:solidFill>
                  <a:srgbClr val="163E64"/>
                </a:solidFill>
                <a:latin typeface="Montserrat" pitchFamily="2" charset="0"/>
              </a:rPr>
              <a:t>Resolução ARSP nº 099/2026</a:t>
            </a:r>
          </a:p>
        </p:txBody>
      </p:sp>
      <p:sp>
        <p:nvSpPr>
          <p:cNvPr id="55" name="Retângulo: Cantos Arredondados 54">
            <a:extLst>
              <a:ext uri="{FF2B5EF4-FFF2-40B4-BE49-F238E27FC236}">
                <a16:creationId xmlns:a16="http://schemas.microsoft.com/office/drawing/2014/main" id="{54BFC022-F32F-3A1D-ABE7-B7B114B1AE08}"/>
              </a:ext>
            </a:extLst>
          </p:cNvPr>
          <p:cNvSpPr/>
          <p:nvPr/>
        </p:nvSpPr>
        <p:spPr>
          <a:xfrm>
            <a:off x="2741814" y="5489295"/>
            <a:ext cx="7013180" cy="941527"/>
          </a:xfrm>
          <a:prstGeom prst="roundRect">
            <a:avLst>
              <a:gd name="adj" fmla="val 15929"/>
            </a:avLst>
          </a:prstGeom>
          <a:solidFill>
            <a:srgbClr val="C1CE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163E64"/>
                </a:solidFill>
                <a:latin typeface="Montserrat" panose="00000500000000000000" pitchFamily="2" charset="0"/>
              </a:rPr>
              <a:t>MSA com Supridores</a:t>
            </a:r>
          </a:p>
          <a:p>
            <a:pPr algn="ctr"/>
            <a:r>
              <a:rPr lang="pt-BR" b="1" dirty="0">
                <a:solidFill>
                  <a:srgbClr val="163E64"/>
                </a:solidFill>
                <a:latin typeface="Montserrat" panose="00000500000000000000" pitchFamily="2" charset="0"/>
              </a:rPr>
              <a:t>Plataformas (</a:t>
            </a:r>
            <a:r>
              <a:rPr lang="pt-BR" b="1" dirty="0" err="1">
                <a:solidFill>
                  <a:srgbClr val="163E64"/>
                </a:solidFill>
                <a:latin typeface="Montserrat" panose="00000500000000000000" pitchFamily="2" charset="0"/>
              </a:rPr>
              <a:t>GasHUB</a:t>
            </a:r>
            <a:r>
              <a:rPr lang="pt-BR" b="1" dirty="0">
                <a:solidFill>
                  <a:srgbClr val="163E64"/>
                </a:solidFill>
                <a:latin typeface="Montserrat" panose="00000500000000000000" pitchFamily="2" charset="0"/>
              </a:rPr>
              <a:t>, PEG, Open Gás)</a:t>
            </a:r>
          </a:p>
          <a:p>
            <a:pPr algn="ctr"/>
            <a:r>
              <a:rPr lang="pt-BR" b="1" dirty="0">
                <a:solidFill>
                  <a:srgbClr val="163E64"/>
                </a:solidFill>
                <a:latin typeface="Montserrat" panose="00000500000000000000" pitchFamily="2" charset="0"/>
              </a:rPr>
              <a:t>Trocas com Carregadores</a:t>
            </a:r>
            <a:endParaRPr lang="pt-BR" b="1" dirty="0">
              <a:solidFill>
                <a:srgbClr val="163E64"/>
              </a:solidFill>
            </a:endParaRP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9DF14B40-B4CE-65E8-21F7-488A637F6223}"/>
              </a:ext>
            </a:extLst>
          </p:cNvPr>
          <p:cNvSpPr/>
          <p:nvPr/>
        </p:nvSpPr>
        <p:spPr>
          <a:xfrm>
            <a:off x="6542062" y="2867074"/>
            <a:ext cx="4502072" cy="941527"/>
          </a:xfrm>
          <a:prstGeom prst="roundRect">
            <a:avLst>
              <a:gd name="adj" fmla="val 15929"/>
            </a:avLst>
          </a:prstGeom>
          <a:solidFill>
            <a:srgbClr val="00517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b="1"/>
          </a:p>
        </p:txBody>
      </p:sp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75CDA377-14DB-9F2F-CC45-DF246F6DFE06}"/>
              </a:ext>
            </a:extLst>
          </p:cNvPr>
          <p:cNvSpPr/>
          <p:nvPr/>
        </p:nvSpPr>
        <p:spPr>
          <a:xfrm>
            <a:off x="759892" y="2867075"/>
            <a:ext cx="4865251" cy="941527"/>
          </a:xfrm>
          <a:prstGeom prst="roundRect">
            <a:avLst>
              <a:gd name="adj" fmla="val 15929"/>
            </a:avLst>
          </a:prstGeom>
          <a:solidFill>
            <a:srgbClr val="00517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b="1"/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1B10CE05-3446-6550-F479-91548EAE3B1A}"/>
              </a:ext>
            </a:extLst>
          </p:cNvPr>
          <p:cNvSpPr/>
          <p:nvPr/>
        </p:nvSpPr>
        <p:spPr>
          <a:xfrm>
            <a:off x="1507960" y="2857499"/>
            <a:ext cx="3974807" cy="941527"/>
          </a:xfrm>
          <a:prstGeom prst="roundRect">
            <a:avLst>
              <a:gd name="adj" fmla="val 15929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00">
                <a:latin typeface="Montserrat" pitchFamily="2" charset="0"/>
              </a:rPr>
              <a:t>Contratação direta de gás, sem chamada pública, para curto prazo (até 6 meses).</a:t>
            </a:r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7FE97118-5370-95A5-AF0B-D2C5703C0223}"/>
              </a:ext>
            </a:extLst>
          </p:cNvPr>
          <p:cNvSpPr/>
          <p:nvPr/>
        </p:nvSpPr>
        <p:spPr>
          <a:xfrm>
            <a:off x="7460235" y="2890775"/>
            <a:ext cx="3410966" cy="943200"/>
          </a:xfrm>
          <a:prstGeom prst="roundRect">
            <a:avLst>
              <a:gd name="adj" fmla="val 15929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00">
                <a:latin typeface="Montserrat" pitchFamily="2" charset="0"/>
              </a:rPr>
              <a:t>Permite operações de balanceamento, até 30% do volume mensal contratado.</a:t>
            </a:r>
            <a:endParaRPr lang="pt-BR" sz="170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15E9726A-F59B-9EF7-EDA2-2175BB04F8E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4303"/>
          <a:stretch>
            <a:fillRect/>
          </a:stretch>
        </p:blipFill>
        <p:spPr>
          <a:xfrm>
            <a:off x="709288" y="2840108"/>
            <a:ext cx="895211" cy="941527"/>
          </a:xfrm>
          <a:prstGeom prst="rect">
            <a:avLst/>
          </a:prstGeom>
        </p:spPr>
      </p:pic>
      <p:pic>
        <p:nvPicPr>
          <p:cNvPr id="24" name="Gráfico 23">
            <a:extLst>
              <a:ext uri="{FF2B5EF4-FFF2-40B4-BE49-F238E27FC236}">
                <a16:creationId xmlns:a16="http://schemas.microsoft.com/office/drawing/2014/main" id="{56525358-FDB5-09AA-2335-5258289A2D8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4303"/>
          <a:stretch>
            <a:fillRect/>
          </a:stretch>
        </p:blipFill>
        <p:spPr>
          <a:xfrm>
            <a:off x="6618201" y="2867074"/>
            <a:ext cx="843932" cy="887596"/>
          </a:xfrm>
          <a:prstGeom prst="rect">
            <a:avLst/>
          </a:prstGeom>
        </p:spPr>
      </p:pic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FE11EBE0-CD58-DD1E-2A2C-1DCF880674A5}"/>
              </a:ext>
            </a:extLst>
          </p:cNvPr>
          <p:cNvCxnSpPr>
            <a:cxnSpLocks/>
            <a:endCxn id="19" idx="0"/>
          </p:cNvCxnSpPr>
          <p:nvPr/>
        </p:nvCxnSpPr>
        <p:spPr>
          <a:xfrm rot="10800000" flipV="1">
            <a:off x="3495364" y="1815663"/>
            <a:ext cx="2753040" cy="1041835"/>
          </a:xfrm>
          <a:prstGeom prst="bentConnector2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FEBF9567-FEC7-A707-9BFA-D2227C7C84DF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6184900" y="1815667"/>
            <a:ext cx="2980818" cy="1075108"/>
          </a:xfrm>
          <a:prstGeom prst="bentConnector2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áfico 47">
            <a:extLst>
              <a:ext uri="{FF2B5EF4-FFF2-40B4-BE49-F238E27FC236}">
                <a16:creationId xmlns:a16="http://schemas.microsoft.com/office/drawing/2014/main" id="{84CA7440-FBDF-DF07-A41F-F5DCB7300E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4303"/>
          <a:stretch>
            <a:fillRect/>
          </a:stretch>
        </p:blipFill>
        <p:spPr>
          <a:xfrm>
            <a:off x="2873102" y="5452209"/>
            <a:ext cx="793250" cy="834292"/>
          </a:xfrm>
          <a:prstGeom prst="rect">
            <a:avLst/>
          </a:prstGeom>
        </p:spPr>
      </p:pic>
      <p:sp>
        <p:nvSpPr>
          <p:cNvPr id="51" name="Retângulo 50">
            <a:extLst>
              <a:ext uri="{FF2B5EF4-FFF2-40B4-BE49-F238E27FC236}">
                <a16:creationId xmlns:a16="http://schemas.microsoft.com/office/drawing/2014/main" id="{BD5A54D1-53DF-9E24-D204-CDE295472C7E}"/>
              </a:ext>
            </a:extLst>
          </p:cNvPr>
          <p:cNvSpPr/>
          <p:nvPr/>
        </p:nvSpPr>
        <p:spPr>
          <a:xfrm>
            <a:off x="381962" y="2463416"/>
            <a:ext cx="11250281" cy="1937562"/>
          </a:xfrm>
          <a:prstGeom prst="rect">
            <a:avLst/>
          </a:prstGeom>
          <a:noFill/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6" name="Conector de Seta Reta 55">
            <a:extLst>
              <a:ext uri="{FF2B5EF4-FFF2-40B4-BE49-F238E27FC236}">
                <a16:creationId xmlns:a16="http://schemas.microsoft.com/office/drawing/2014/main" id="{0BCA3010-5299-E185-7868-690FA1CE2BC5}"/>
              </a:ext>
            </a:extLst>
          </p:cNvPr>
          <p:cNvCxnSpPr>
            <a:cxnSpLocks/>
          </p:cNvCxnSpPr>
          <p:nvPr/>
        </p:nvCxnSpPr>
        <p:spPr>
          <a:xfrm>
            <a:off x="6137491" y="4411887"/>
            <a:ext cx="0" cy="96770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855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CF7595C87890B45B42D7294DE9AD261" ma:contentTypeVersion="12" ma:contentTypeDescription="Crie um novo documento." ma:contentTypeScope="" ma:versionID="3b4ad8b37f7891f2280d4b2c92275b5b">
  <xsd:schema xmlns:xsd="http://www.w3.org/2001/XMLSchema" xmlns:xs="http://www.w3.org/2001/XMLSchema" xmlns:p="http://schemas.microsoft.com/office/2006/metadata/properties" xmlns:ns2="defe9a96-77db-417a-968e-21f45bdaea43" xmlns:ns3="b774e486-1730-4c74-86a8-ce0596dfd864" targetNamespace="http://schemas.microsoft.com/office/2006/metadata/properties" ma:root="true" ma:fieldsID="e2858ff4c345df390fd0cd94aca1c1fb" ns2:_="" ns3:_="">
    <xsd:import namespace="defe9a96-77db-417a-968e-21f45bdaea43"/>
    <xsd:import namespace="b774e486-1730-4c74-86a8-ce0596dfd8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BillingMetadata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fe9a96-77db-417a-968e-21f45bdaea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Marcações de imagem" ma:readOnly="false" ma:fieldId="{5cf76f15-5ced-4ddc-b409-7134ff3c332f}" ma:taxonomyMulti="true" ma:sspId="39c4b66d-fcb2-4727-8ac1-aa661c0d97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17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74e486-1730-4c74-86a8-ce0596dfd86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31092f1-2b03-44c6-ade2-b2b0f6367a27}" ma:internalName="TaxCatchAll" ma:showField="CatchAllData" ma:web="b774e486-1730-4c74-86a8-ce0596dfd8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efe9a96-77db-417a-968e-21f45bdaea43">
      <Terms xmlns="http://schemas.microsoft.com/office/infopath/2007/PartnerControls"/>
    </lcf76f155ced4ddcb4097134ff3c332f>
    <TaxCatchAll xmlns="b774e486-1730-4c74-86a8-ce0596dfd864" xsi:nil="true"/>
  </documentManagement>
</p:properties>
</file>

<file path=customXml/itemProps1.xml><?xml version="1.0" encoding="utf-8"?>
<ds:datastoreItem xmlns:ds="http://schemas.openxmlformats.org/officeDocument/2006/customXml" ds:itemID="{D03ABD03-CEFD-4AEA-A0C7-19154522B0E5}">
  <ds:schemaRefs>
    <ds:schemaRef ds:uri="b774e486-1730-4c74-86a8-ce0596dfd864"/>
    <ds:schemaRef ds:uri="defe9a96-77db-417a-968e-21f45bdaea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1CF2188-8471-4D23-BD7E-0D0AC6424B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C99F67-4873-4675-8521-F42557D224E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b774e486-1730-4c74-86a8-ce0596dfd864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defe9a96-77db-417a-968e-21f45bdaea43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4</Words>
  <Application>Microsoft Office PowerPoint</Application>
  <PresentationFormat>Widescreen</PresentationFormat>
  <Paragraphs>213</Paragraphs>
  <Slides>12</Slides>
  <Notes>9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30" baseType="lpstr">
      <vt:lpstr>DM Sans 14pt Light</vt:lpstr>
      <vt:lpstr>Arial</vt:lpstr>
      <vt:lpstr>Montserrat SemiBold</vt:lpstr>
      <vt:lpstr>Montserrat ExtraBold</vt:lpstr>
      <vt:lpstr>Montserrat</vt:lpstr>
      <vt:lpstr>DM Sans</vt:lpstr>
      <vt:lpstr>Montserrat Black</vt:lpstr>
      <vt:lpstr>Calibri</vt:lpstr>
      <vt:lpstr>Aptos</vt:lpstr>
      <vt:lpstr>DM Sans SemiBold</vt:lpstr>
      <vt:lpstr>Century Gothic</vt:lpstr>
      <vt:lpstr>Aldhabi</vt:lpstr>
      <vt:lpstr>Montserrat Medium</vt:lpstr>
      <vt:lpstr>Corbel</vt:lpstr>
      <vt:lpstr>Custom Design</vt:lpstr>
      <vt:lpstr>1_Custom Design</vt:lpstr>
      <vt:lpstr>2_Custom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iane kawasaki minami</dc:creator>
  <cp:lastModifiedBy>Gabriel Mannarelli Vechiato</cp:lastModifiedBy>
  <cp:revision>2</cp:revision>
  <cp:lastPrinted>2026-01-28T20:44:43Z</cp:lastPrinted>
  <dcterms:created xsi:type="dcterms:W3CDTF">2024-02-05T21:52:55Z</dcterms:created>
  <dcterms:modified xsi:type="dcterms:W3CDTF">2026-04-28T14:3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F7595C87890B45B42D7294DE9AD261</vt:lpwstr>
  </property>
  <property fmtid="{D5CDD505-2E9C-101B-9397-08002B2CF9AE}" pid="3" name="MediaServiceImageTags">
    <vt:lpwstr/>
  </property>
</Properties>
</file>